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68" r:id="rId2"/>
    <p:sldId id="271" r:id="rId3"/>
    <p:sldId id="269" r:id="rId4"/>
    <p:sldId id="270" r:id="rId5"/>
    <p:sldId id="257" r:id="rId6"/>
    <p:sldId id="258" r:id="rId7"/>
    <p:sldId id="259" r:id="rId8"/>
    <p:sldId id="260" r:id="rId9"/>
    <p:sldId id="261" r:id="rId10"/>
    <p:sldId id="262" r:id="rId11"/>
    <p:sldId id="263" r:id="rId12"/>
    <p:sldId id="264" r:id="rId13"/>
    <p:sldId id="267" r:id="rId14"/>
    <p:sldId id="272" r:id="rId15"/>
    <p:sldId id="273" r:id="rId16"/>
    <p:sldId id="274" r:id="rId17"/>
    <p:sldId id="275" r:id="rId18"/>
    <p:sldId id="276" r:id="rId19"/>
    <p:sldId id="278" r:id="rId20"/>
    <p:sldId id="277" r:id="rId21"/>
    <p:sldId id="279" r:id="rId22"/>
    <p:sldId id="280" r:id="rId23"/>
    <p:sldId id="281" r:id="rId24"/>
    <p:sldId id="282" r:id="rId25"/>
    <p:sldId id="283" r:id="rId26"/>
    <p:sldId id="284" r:id="rId27"/>
    <p:sldId id="285" r:id="rId28"/>
    <p:sldId id="286" r:id="rId2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modifyVerifier cryptProviderType="rsaAES" cryptAlgorithmClass="hash" cryptAlgorithmType="typeAny" cryptAlgorithmSid="14" spinCount="100000" saltData="44MYSXblOQrObNhkj9W+CQ==" hashData="SNgR76tyQqmN6iMd+02kibsJVPqzO8jeJv+KbrxgIb516YA2sWGETzF8Cyag+kAxQfav/rLr6eX5ELNWo81O1g=="/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7296" userDrawn="1">
          <p15:clr>
            <a:srgbClr val="A4A3A4"/>
          </p15:clr>
        </p15:guide>
        <p15:guide id="4" pos="384" userDrawn="1">
          <p15:clr>
            <a:srgbClr val="A4A3A4"/>
          </p15:clr>
        </p15:guide>
        <p15:guide id="5" orient="horz" pos="912" userDrawn="1">
          <p15:clr>
            <a:srgbClr val="A4A3A4"/>
          </p15:clr>
        </p15:guide>
        <p15:guide id="6" orient="horz" pos="388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69B"/>
    <a:srgbClr val="164E49"/>
    <a:srgbClr val="26867C"/>
    <a:srgbClr val="41719C"/>
    <a:srgbClr val="F2F2F2"/>
    <a:srgbClr val="FFFFFF"/>
    <a:srgbClr val="ECECEC"/>
    <a:srgbClr val="E8E8E8"/>
    <a:srgbClr val="F3F3F3"/>
    <a:srgbClr val="F4F4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32" autoAdjust="0"/>
    <p:restoredTop sz="94660"/>
  </p:normalViewPr>
  <p:slideViewPr>
    <p:cSldViewPr snapToGrid="0" showGuides="1">
      <p:cViewPr varScale="1">
        <p:scale>
          <a:sx n="92" d="100"/>
          <a:sy n="92" d="100"/>
        </p:scale>
        <p:origin x="870" y="108"/>
      </p:cViewPr>
      <p:guideLst>
        <p:guide orient="horz" pos="2160"/>
        <p:guide pos="3840"/>
        <p:guide pos="7296"/>
        <p:guide pos="384"/>
        <p:guide orient="horz" pos="912"/>
        <p:guide orient="horz" pos="3888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72" d="100"/>
          <a:sy n="72" d="100"/>
        </p:scale>
        <p:origin x="1858" y="48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997028-2251-4705-8C2D-BF7E7D93F53E}" type="datetimeFigureOut">
              <a:rPr lang="en-US" smtClean="0"/>
              <a:t>1/23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A10C69-06BD-4805-B5AB-7277747C1F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9165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400" dirty="0"/>
              <a:t>Aloha,</a:t>
            </a:r>
          </a:p>
          <a:p>
            <a:endParaRPr lang="en-US" sz="1400" dirty="0"/>
          </a:p>
          <a:p>
            <a:r>
              <a:rPr lang="en-US" sz="1400" dirty="0"/>
              <a:t>Our topic  for today is MARITAL AGREEMENTS.</a:t>
            </a:r>
          </a:p>
          <a:p>
            <a:endParaRPr lang="en-US" sz="1400" dirty="0"/>
          </a:p>
          <a:p>
            <a:r>
              <a:rPr lang="en-US" sz="1400" dirty="0"/>
              <a:t>This is an important because as you will see,  marriage without a pre or post nuptial agreement is subjecting the couple to hazards which we will discuss.,</a:t>
            </a:r>
          </a:p>
          <a:p>
            <a:endParaRPr lang="en-US" sz="1400" dirty="0"/>
          </a:p>
          <a:p>
            <a:r>
              <a:rPr lang="en-US" sz="1400" dirty="0"/>
              <a:t>We will discuss the importance of these agreements, the moving parts and how they interplay with one another.</a:t>
            </a:r>
          </a:p>
          <a:p>
            <a:endParaRPr lang="en-US" sz="1400" dirty="0"/>
          </a:p>
          <a:p>
            <a:r>
              <a:rPr lang="en-US" sz="1400" dirty="0"/>
              <a:t>Do evaluate these slides with an open mind and an open heart because it is your future relationship harmony which we will be speaking abou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A10C69-06BD-4805-B5AB-7277747C1F6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554779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0A10C69-06BD-4805-B5AB-7277747C1F60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597471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24272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8" name="think-cell Slide" r:id="rId4" imgW="381" imgH="318" progId="TCLayout.ActiveDocument.1">
                  <p:embed/>
                </p:oleObj>
              </mc:Choice>
              <mc:Fallback>
                <p:oleObj name="think-cell Slide" r:id="rId4" imgW="381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4DF53E-B685-425E-BB3A-9C5E8FA51594}" type="datetime1">
              <a:rPr lang="en-US" smtClean="0"/>
              <a:t>1/2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2512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5A26BE-77C7-4FE5-884F-41CD5D7F6606}" type="datetime1">
              <a:rPr lang="en-US" smtClean="0"/>
              <a:t>1/2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81011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6B3A871-0E7F-4FB1-9CE6-66B8A18C7571}" type="datetime1">
              <a:rPr lang="en-US" smtClean="0"/>
              <a:t>1/2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89982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17178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0" name="think-cell Slide" r:id="rId4" imgW="381" imgH="318" progId="TCLayout.ActiveDocument.1">
                  <p:embed/>
                </p:oleObj>
              </mc:Choice>
              <mc:Fallback>
                <p:oleObj name="think-cell Slide" r:id="rId4" imgW="381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6F19B6-D371-4D53-859B-FE0CA09802EA}" type="datetime1">
              <a:rPr lang="en-US" smtClean="0"/>
              <a:t>1/2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89216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B9CA49-31B6-4514-95BD-69D0F63EBC41}" type="datetime1">
              <a:rPr lang="en-US" smtClean="0"/>
              <a:t>1/2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57664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C14BA-FAA6-472A-99B4-AEAE2526DBCD}" type="datetime1">
              <a:rPr lang="en-US" smtClean="0"/>
              <a:t>1/2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3632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385CB74-5439-4FE3-BF45-3A526E83BF05}" type="datetime1">
              <a:rPr lang="en-US" smtClean="0"/>
              <a:t>1/23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22694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8C4AE0-7A08-4C07-8AF3-DC8485D5B67D}" type="datetime1">
              <a:rPr lang="en-US" smtClean="0"/>
              <a:t>1/23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986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6B775C-4045-4836-848B-3D880AA29798}" type="datetime1">
              <a:rPr lang="en-US" smtClean="0"/>
              <a:t>1/23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3560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FDC4749-7FA7-4409-B055-056F2FEF56EF}" type="datetime1">
              <a:rPr lang="en-US" smtClean="0"/>
              <a:t>1/2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757479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E45D23-2AAA-4C4D-8261-8A35A83FA8B5}" type="datetime1">
              <a:rPr lang="en-US" smtClean="0"/>
              <a:t>1/23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29825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microsoft.com/office/2007/relationships/hdphoto" Target="../media/hdphoto1.wdp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760635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6" name="think-cell Slide" r:id="rId15" imgW="381" imgH="318" progId="TCLayout.ActiveDocument.1">
                  <p:embed/>
                </p:oleObj>
              </mc:Choice>
              <mc:Fallback>
                <p:oleObj name="think-cell Slide" r:id="rId15" imgW="381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7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saturation sat="0"/>
                    </a14:imgEffect>
                  </a14:imgLayer>
                </a14:imgProps>
              </a:ext>
            </a:extLst>
          </a:blip>
          <a:srcRect l="475" t="8203" r="475" b="8202"/>
          <a:stretch>
            <a:fillRect/>
          </a:stretch>
        </p:blipFill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7" name="Rectangle 1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alpha val="8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306E81-6A1A-48E2-86CD-3CFCFCC73FB2}" type="datetime1">
              <a:rPr lang="en-US" smtClean="0"/>
              <a:t>1/23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15750" y="6391275"/>
            <a:ext cx="438656" cy="4667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b="1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8F98B2C0-243A-48A4-8E70-2DFD2329F4A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Rectangle 25"/>
          <p:cNvSpPr/>
          <p:nvPr userDrawn="1"/>
        </p:nvSpPr>
        <p:spPr>
          <a:xfrm>
            <a:off x="0" y="0"/>
            <a:ext cx="12192000" cy="91440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1"/>
            <a:ext cx="10744200" cy="814797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7" name="Rectangle 26"/>
          <p:cNvSpPr/>
          <p:nvPr userDrawn="1"/>
        </p:nvSpPr>
        <p:spPr>
          <a:xfrm>
            <a:off x="0" y="814798"/>
            <a:ext cx="12192000" cy="46805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627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79623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83" name="think-cell Slide" r:id="rId5" imgW="381" imgH="318" progId="TCLayout.ActiveDocument.1">
                  <p:embed/>
                </p:oleObj>
              </mc:Choice>
              <mc:Fallback>
                <p:oleObj name="think-cell Slide" r:id="rId5" imgW="381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" name="Picture 25"/>
          <p:cNvPicPr>
            <a:picLocks noChangeAspect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4700"/>
                    </a14:imgEffect>
                    <a14:imgEffect>
                      <a14:saturation sat="33000"/>
                    </a14:imgEffect>
                  </a14:imgLayer>
                </a14:imgProps>
              </a:ext>
            </a:extLst>
          </a:blip>
          <a:srcRect l="475" t="8203" r="475" b="8202"/>
          <a:stretch>
            <a:fillRect/>
          </a:stretch>
        </p:blipFill>
        <p:spPr>
          <a:xfrm>
            <a:off x="-633898" y="-638175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27" name="Rectangle 26"/>
          <p:cNvSpPr/>
          <p:nvPr/>
        </p:nvSpPr>
        <p:spPr>
          <a:xfrm>
            <a:off x="0" y="2160588"/>
            <a:ext cx="12192000" cy="3078162"/>
          </a:xfrm>
          <a:prstGeom prst="rect">
            <a:avLst/>
          </a:prstGeom>
          <a:gradFill>
            <a:gsLst>
              <a:gs pos="0">
                <a:srgbClr val="00569B"/>
              </a:gs>
              <a:gs pos="100000">
                <a:srgbClr val="00569B">
                  <a:alpha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r>
              <a:rPr lang="en-US" sz="2000" dirty="0"/>
              <a:t>A WORKSHOP ON MARITAL AGREEMENTS</a:t>
            </a:r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Pre Nuptial Agreements</a:t>
            </a:r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Post Nuptial Agreements</a:t>
            </a:r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Co-Habitation Agreement</a:t>
            </a:r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International Agreements</a:t>
            </a:r>
          </a:p>
          <a:p>
            <a:pPr marL="274320" indent="-27432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Asset Protection Agreements</a:t>
            </a:r>
          </a:p>
        </p:txBody>
      </p:sp>
      <p:sp>
        <p:nvSpPr>
          <p:cNvPr id="29" name="Rectangle 28"/>
          <p:cNvSpPr/>
          <p:nvPr/>
        </p:nvSpPr>
        <p:spPr>
          <a:xfrm>
            <a:off x="0" y="1162050"/>
            <a:ext cx="12192000" cy="819150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40080" rtlCol="0" anchor="ctr"/>
          <a:lstStyle/>
          <a:p>
            <a:r>
              <a:rPr lang="en-US" sz="3200" b="1"/>
              <a:t>FOR RICH OR FOR RICHER</a:t>
            </a:r>
            <a:endParaRPr lang="en-US" sz="3200" b="1" dirty="0"/>
          </a:p>
        </p:txBody>
      </p:sp>
      <p:sp>
        <p:nvSpPr>
          <p:cNvPr id="31" name="Rectangle 30"/>
          <p:cNvSpPr/>
          <p:nvPr/>
        </p:nvSpPr>
        <p:spPr>
          <a:xfrm>
            <a:off x="6872642" y="5456238"/>
            <a:ext cx="5038017" cy="830997"/>
          </a:xfrm>
          <a:prstGeom prst="rect">
            <a:avLst/>
          </a:prstGeom>
        </p:spPr>
        <p:txBody>
          <a:bodyPr anchor="ctr">
            <a:spAutoFit/>
          </a:bodyPr>
          <a:lstStyle/>
          <a:p>
            <a:pPr algn="ctr"/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aul </a:t>
            </a:r>
            <a:r>
              <a:rPr lang="en-US" sz="2400" b="1" dirty="0" err="1">
                <a:solidFill>
                  <a:schemeClr val="tx1">
                    <a:lumMod val="85000"/>
                    <a:lumOff val="15000"/>
                  </a:schemeClr>
                </a:solidFill>
              </a:rPr>
              <a:t>Larner</a:t>
            </a:r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, Ph.D., LL.M., MBA</a:t>
            </a:r>
          </a:p>
          <a:p>
            <a:pPr algn="ctr"/>
            <a:r>
              <a:rPr lang="en-US" sz="24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esenter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883" y="169921"/>
            <a:ext cx="843343" cy="847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7061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REASONS WHY THEY ARE OFTEN CRUCI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10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731520" cy="73152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609600" y="2241912"/>
            <a:ext cx="731520" cy="73152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3036024"/>
            <a:ext cx="731520" cy="73152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609600" y="3830136"/>
            <a:ext cx="731520" cy="73152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609600" y="5418362"/>
            <a:ext cx="731520" cy="73152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1524000" y="1447800"/>
            <a:ext cx="566928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o insure their financial situation is certain and predictable.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524000" y="2241912"/>
            <a:ext cx="566928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pouses are inept in foreseeing the potential disputes which may occur.</a:t>
            </a:r>
          </a:p>
        </p:txBody>
      </p:sp>
      <p:sp>
        <p:nvSpPr>
          <p:cNvPr id="12" name="Rectangle 11"/>
          <p:cNvSpPr/>
          <p:nvPr/>
        </p:nvSpPr>
        <p:spPr>
          <a:xfrm>
            <a:off x="1524000" y="3830136"/>
            <a:ext cx="566928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ivate, although in writing. 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524000" y="4624248"/>
            <a:ext cx="566928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ntrol assets of surviving spouse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1524000" y="5418362"/>
            <a:ext cx="566928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ansferred or controlled upon death</a:t>
            </a:r>
          </a:p>
        </p:txBody>
      </p:sp>
      <p:sp>
        <p:nvSpPr>
          <p:cNvPr id="17" name="Rectangle 16"/>
          <p:cNvSpPr/>
          <p:nvPr/>
        </p:nvSpPr>
        <p:spPr>
          <a:xfrm>
            <a:off x="609600" y="4624248"/>
            <a:ext cx="731520" cy="73152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1524000" y="3036024"/>
            <a:ext cx="5669280" cy="73152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ouples have weathered the reality of marriage.  They wish contracts that currently what they now face.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7978611" y="1629372"/>
            <a:ext cx="3591251" cy="4397056"/>
            <a:chOff x="239753" y="1611086"/>
            <a:chExt cx="3865794" cy="4733204"/>
          </a:xfr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1090610" y="1986839"/>
              <a:ext cx="3014937" cy="4021185"/>
            </a:xfrm>
            <a:custGeom>
              <a:avLst/>
              <a:gdLst>
                <a:gd name="T0" fmla="*/ 305 w 2367"/>
                <a:gd name="T1" fmla="*/ 0 h 3157"/>
                <a:gd name="T2" fmla="*/ 1844 w 2367"/>
                <a:gd name="T3" fmla="*/ 102 h 3157"/>
                <a:gd name="T4" fmla="*/ 2054 w 2367"/>
                <a:gd name="T5" fmla="*/ 117 h 3157"/>
                <a:gd name="T6" fmla="*/ 2263 w 2367"/>
                <a:gd name="T7" fmla="*/ 130 h 3157"/>
                <a:gd name="T8" fmla="*/ 2289 w 2367"/>
                <a:gd name="T9" fmla="*/ 135 h 3157"/>
                <a:gd name="T10" fmla="*/ 2313 w 2367"/>
                <a:gd name="T11" fmla="*/ 146 h 3157"/>
                <a:gd name="T12" fmla="*/ 2333 w 2367"/>
                <a:gd name="T13" fmla="*/ 160 h 3157"/>
                <a:gd name="T14" fmla="*/ 2348 w 2367"/>
                <a:gd name="T15" fmla="*/ 180 h 3157"/>
                <a:gd name="T16" fmla="*/ 2359 w 2367"/>
                <a:gd name="T17" fmla="*/ 202 h 3157"/>
                <a:gd name="T18" fmla="*/ 2365 w 2367"/>
                <a:gd name="T19" fmla="*/ 227 h 3157"/>
                <a:gd name="T20" fmla="*/ 2367 w 2367"/>
                <a:gd name="T21" fmla="*/ 254 h 3157"/>
                <a:gd name="T22" fmla="*/ 2301 w 2367"/>
                <a:gd name="T23" fmla="*/ 1234 h 3157"/>
                <a:gd name="T24" fmla="*/ 2297 w 2367"/>
                <a:gd name="T25" fmla="*/ 1260 h 3157"/>
                <a:gd name="T26" fmla="*/ 2288 w 2367"/>
                <a:gd name="T27" fmla="*/ 1285 h 3157"/>
                <a:gd name="T28" fmla="*/ 2274 w 2367"/>
                <a:gd name="T29" fmla="*/ 1304 h 3157"/>
                <a:gd name="T30" fmla="*/ 2255 w 2367"/>
                <a:gd name="T31" fmla="*/ 1321 h 3157"/>
                <a:gd name="T32" fmla="*/ 2234 w 2367"/>
                <a:gd name="T33" fmla="*/ 1334 h 3157"/>
                <a:gd name="T34" fmla="*/ 2211 w 2367"/>
                <a:gd name="T35" fmla="*/ 1341 h 3157"/>
                <a:gd name="T36" fmla="*/ 2183 w 2367"/>
                <a:gd name="T37" fmla="*/ 1342 h 3157"/>
                <a:gd name="T38" fmla="*/ 2089 w 2367"/>
                <a:gd name="T39" fmla="*/ 1337 h 3157"/>
                <a:gd name="T40" fmla="*/ 1976 w 2367"/>
                <a:gd name="T41" fmla="*/ 3039 h 3157"/>
                <a:gd name="T42" fmla="*/ 1973 w 2367"/>
                <a:gd name="T43" fmla="*/ 3066 h 3157"/>
                <a:gd name="T44" fmla="*/ 1962 w 2367"/>
                <a:gd name="T45" fmla="*/ 3091 h 3157"/>
                <a:gd name="T46" fmla="*/ 1946 w 2367"/>
                <a:gd name="T47" fmla="*/ 3113 h 3157"/>
                <a:gd name="T48" fmla="*/ 1928 w 2367"/>
                <a:gd name="T49" fmla="*/ 3133 h 3157"/>
                <a:gd name="T50" fmla="*/ 1904 w 2367"/>
                <a:gd name="T51" fmla="*/ 3146 h 3157"/>
                <a:gd name="T52" fmla="*/ 1880 w 2367"/>
                <a:gd name="T53" fmla="*/ 3155 h 3157"/>
                <a:gd name="T54" fmla="*/ 1853 w 2367"/>
                <a:gd name="T55" fmla="*/ 3157 h 3157"/>
                <a:gd name="T56" fmla="*/ 104 w 2367"/>
                <a:gd name="T57" fmla="*/ 3041 h 3157"/>
                <a:gd name="T58" fmla="*/ 78 w 2367"/>
                <a:gd name="T59" fmla="*/ 3036 h 3157"/>
                <a:gd name="T60" fmla="*/ 55 w 2367"/>
                <a:gd name="T61" fmla="*/ 3024 h 3157"/>
                <a:gd name="T62" fmla="*/ 35 w 2367"/>
                <a:gd name="T63" fmla="*/ 3007 h 3157"/>
                <a:gd name="T64" fmla="*/ 19 w 2367"/>
                <a:gd name="T65" fmla="*/ 2986 h 3157"/>
                <a:gd name="T66" fmla="*/ 8 w 2367"/>
                <a:gd name="T67" fmla="*/ 2962 h 3157"/>
                <a:gd name="T68" fmla="*/ 1 w 2367"/>
                <a:gd name="T69" fmla="*/ 2935 h 3157"/>
                <a:gd name="T70" fmla="*/ 0 w 2367"/>
                <a:gd name="T71" fmla="*/ 2908 h 3157"/>
                <a:gd name="T72" fmla="*/ 184 w 2367"/>
                <a:gd name="T73" fmla="*/ 110 h 3157"/>
                <a:gd name="T74" fmla="*/ 190 w 2367"/>
                <a:gd name="T75" fmla="*/ 84 h 3157"/>
                <a:gd name="T76" fmla="*/ 199 w 2367"/>
                <a:gd name="T77" fmla="*/ 59 h 3157"/>
                <a:gd name="T78" fmla="*/ 213 w 2367"/>
                <a:gd name="T79" fmla="*/ 38 h 3157"/>
                <a:gd name="T80" fmla="*/ 231 w 2367"/>
                <a:gd name="T81" fmla="*/ 21 h 3157"/>
                <a:gd name="T82" fmla="*/ 254 w 2367"/>
                <a:gd name="T83" fmla="*/ 10 h 3157"/>
                <a:gd name="T84" fmla="*/ 279 w 2367"/>
                <a:gd name="T85" fmla="*/ 2 h 3157"/>
                <a:gd name="T86" fmla="*/ 305 w 2367"/>
                <a:gd name="T87" fmla="*/ 0 h 3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367" h="3157">
                  <a:moveTo>
                    <a:pt x="305" y="0"/>
                  </a:moveTo>
                  <a:lnTo>
                    <a:pt x="1844" y="102"/>
                  </a:lnTo>
                  <a:lnTo>
                    <a:pt x="2054" y="117"/>
                  </a:lnTo>
                  <a:lnTo>
                    <a:pt x="2263" y="130"/>
                  </a:lnTo>
                  <a:lnTo>
                    <a:pt x="2289" y="135"/>
                  </a:lnTo>
                  <a:lnTo>
                    <a:pt x="2313" y="146"/>
                  </a:lnTo>
                  <a:lnTo>
                    <a:pt x="2333" y="160"/>
                  </a:lnTo>
                  <a:lnTo>
                    <a:pt x="2348" y="180"/>
                  </a:lnTo>
                  <a:lnTo>
                    <a:pt x="2359" y="202"/>
                  </a:lnTo>
                  <a:lnTo>
                    <a:pt x="2365" y="227"/>
                  </a:lnTo>
                  <a:lnTo>
                    <a:pt x="2367" y="254"/>
                  </a:lnTo>
                  <a:lnTo>
                    <a:pt x="2301" y="1234"/>
                  </a:lnTo>
                  <a:lnTo>
                    <a:pt x="2297" y="1260"/>
                  </a:lnTo>
                  <a:lnTo>
                    <a:pt x="2288" y="1285"/>
                  </a:lnTo>
                  <a:lnTo>
                    <a:pt x="2274" y="1304"/>
                  </a:lnTo>
                  <a:lnTo>
                    <a:pt x="2255" y="1321"/>
                  </a:lnTo>
                  <a:lnTo>
                    <a:pt x="2234" y="1334"/>
                  </a:lnTo>
                  <a:lnTo>
                    <a:pt x="2211" y="1341"/>
                  </a:lnTo>
                  <a:lnTo>
                    <a:pt x="2183" y="1342"/>
                  </a:lnTo>
                  <a:lnTo>
                    <a:pt x="2089" y="1337"/>
                  </a:lnTo>
                  <a:lnTo>
                    <a:pt x="1976" y="3039"/>
                  </a:lnTo>
                  <a:lnTo>
                    <a:pt x="1973" y="3066"/>
                  </a:lnTo>
                  <a:lnTo>
                    <a:pt x="1962" y="3091"/>
                  </a:lnTo>
                  <a:lnTo>
                    <a:pt x="1946" y="3113"/>
                  </a:lnTo>
                  <a:lnTo>
                    <a:pt x="1928" y="3133"/>
                  </a:lnTo>
                  <a:lnTo>
                    <a:pt x="1904" y="3146"/>
                  </a:lnTo>
                  <a:lnTo>
                    <a:pt x="1880" y="3155"/>
                  </a:lnTo>
                  <a:lnTo>
                    <a:pt x="1853" y="3157"/>
                  </a:lnTo>
                  <a:lnTo>
                    <a:pt x="104" y="3041"/>
                  </a:lnTo>
                  <a:lnTo>
                    <a:pt x="78" y="3036"/>
                  </a:lnTo>
                  <a:lnTo>
                    <a:pt x="55" y="3024"/>
                  </a:lnTo>
                  <a:lnTo>
                    <a:pt x="35" y="3007"/>
                  </a:lnTo>
                  <a:lnTo>
                    <a:pt x="19" y="2986"/>
                  </a:lnTo>
                  <a:lnTo>
                    <a:pt x="8" y="2962"/>
                  </a:lnTo>
                  <a:lnTo>
                    <a:pt x="1" y="2935"/>
                  </a:lnTo>
                  <a:lnTo>
                    <a:pt x="0" y="2908"/>
                  </a:lnTo>
                  <a:lnTo>
                    <a:pt x="184" y="110"/>
                  </a:lnTo>
                  <a:lnTo>
                    <a:pt x="190" y="84"/>
                  </a:lnTo>
                  <a:lnTo>
                    <a:pt x="199" y="59"/>
                  </a:lnTo>
                  <a:lnTo>
                    <a:pt x="213" y="38"/>
                  </a:lnTo>
                  <a:lnTo>
                    <a:pt x="231" y="21"/>
                  </a:lnTo>
                  <a:lnTo>
                    <a:pt x="254" y="10"/>
                  </a:lnTo>
                  <a:lnTo>
                    <a:pt x="279" y="2"/>
                  </a:lnTo>
                  <a:lnTo>
                    <a:pt x="305" y="0"/>
                  </a:lnTo>
                  <a:close/>
                </a:path>
              </a:pathLst>
            </a:custGeom>
            <a:solidFill>
              <a:srgbClr val="818287"/>
            </a:solidFill>
            <a:ln w="0">
              <a:solidFill>
                <a:srgbClr val="81828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20" name="Freeform 8"/>
            <p:cNvSpPr>
              <a:spLocks/>
            </p:cNvSpPr>
            <p:nvPr/>
          </p:nvSpPr>
          <p:spPr bwMode="auto">
            <a:xfrm>
              <a:off x="969604" y="1980470"/>
              <a:ext cx="2602246" cy="4147284"/>
            </a:xfrm>
            <a:custGeom>
              <a:avLst/>
              <a:gdLst>
                <a:gd name="T0" fmla="*/ 315 w 2043"/>
                <a:gd name="T1" fmla="*/ 0 h 3256"/>
                <a:gd name="T2" fmla="*/ 1937 w 2043"/>
                <a:gd name="T3" fmla="*/ 224 h 3256"/>
                <a:gd name="T4" fmla="*/ 1963 w 2043"/>
                <a:gd name="T5" fmla="*/ 229 h 3256"/>
                <a:gd name="T6" fmla="*/ 1986 w 2043"/>
                <a:gd name="T7" fmla="*/ 240 h 3256"/>
                <a:gd name="T8" fmla="*/ 2006 w 2043"/>
                <a:gd name="T9" fmla="*/ 255 h 3256"/>
                <a:gd name="T10" fmla="*/ 2023 w 2043"/>
                <a:gd name="T11" fmla="*/ 274 h 3256"/>
                <a:gd name="T12" fmla="*/ 2035 w 2043"/>
                <a:gd name="T13" fmla="*/ 296 h 3256"/>
                <a:gd name="T14" fmla="*/ 2041 w 2043"/>
                <a:gd name="T15" fmla="*/ 322 h 3256"/>
                <a:gd name="T16" fmla="*/ 2043 w 2043"/>
                <a:gd name="T17" fmla="*/ 348 h 3256"/>
                <a:gd name="T18" fmla="*/ 1858 w 2043"/>
                <a:gd name="T19" fmla="*/ 3147 h 3256"/>
                <a:gd name="T20" fmla="*/ 1853 w 2043"/>
                <a:gd name="T21" fmla="*/ 3173 h 3256"/>
                <a:gd name="T22" fmla="*/ 1842 w 2043"/>
                <a:gd name="T23" fmla="*/ 3197 h 3256"/>
                <a:gd name="T24" fmla="*/ 1828 w 2043"/>
                <a:gd name="T25" fmla="*/ 3218 h 3256"/>
                <a:gd name="T26" fmla="*/ 1810 w 2043"/>
                <a:gd name="T27" fmla="*/ 3235 h 3256"/>
                <a:gd name="T28" fmla="*/ 1787 w 2043"/>
                <a:gd name="T29" fmla="*/ 3247 h 3256"/>
                <a:gd name="T30" fmla="*/ 1763 w 2043"/>
                <a:gd name="T31" fmla="*/ 3255 h 3256"/>
                <a:gd name="T32" fmla="*/ 1736 w 2043"/>
                <a:gd name="T33" fmla="*/ 3256 h 3256"/>
                <a:gd name="T34" fmla="*/ 114 w 2043"/>
                <a:gd name="T35" fmla="*/ 3032 h 3256"/>
                <a:gd name="T36" fmla="*/ 87 w 2043"/>
                <a:gd name="T37" fmla="*/ 3027 h 3256"/>
                <a:gd name="T38" fmla="*/ 63 w 2043"/>
                <a:gd name="T39" fmla="*/ 3016 h 3256"/>
                <a:gd name="T40" fmla="*/ 41 w 2043"/>
                <a:gd name="T41" fmla="*/ 3001 h 3256"/>
                <a:gd name="T42" fmla="*/ 24 w 2043"/>
                <a:gd name="T43" fmla="*/ 2981 h 3256"/>
                <a:gd name="T44" fmla="*/ 11 w 2043"/>
                <a:gd name="T45" fmla="*/ 2959 h 3256"/>
                <a:gd name="T46" fmla="*/ 3 w 2043"/>
                <a:gd name="T47" fmla="*/ 2934 h 3256"/>
                <a:gd name="T48" fmla="*/ 0 w 2043"/>
                <a:gd name="T49" fmla="*/ 2906 h 3256"/>
                <a:gd name="T50" fmla="*/ 186 w 2043"/>
                <a:gd name="T51" fmla="*/ 109 h 3256"/>
                <a:gd name="T52" fmla="*/ 192 w 2043"/>
                <a:gd name="T53" fmla="*/ 83 h 3256"/>
                <a:gd name="T54" fmla="*/ 202 w 2043"/>
                <a:gd name="T55" fmla="*/ 59 h 3256"/>
                <a:gd name="T56" fmla="*/ 218 w 2043"/>
                <a:gd name="T57" fmla="*/ 38 h 3256"/>
                <a:gd name="T58" fmla="*/ 239 w 2043"/>
                <a:gd name="T59" fmla="*/ 21 h 3256"/>
                <a:gd name="T60" fmla="*/ 261 w 2043"/>
                <a:gd name="T61" fmla="*/ 9 h 3256"/>
                <a:gd name="T62" fmla="*/ 287 w 2043"/>
                <a:gd name="T63" fmla="*/ 1 h 3256"/>
                <a:gd name="T64" fmla="*/ 315 w 2043"/>
                <a:gd name="T65" fmla="*/ 0 h 3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43" h="3256">
                  <a:moveTo>
                    <a:pt x="315" y="0"/>
                  </a:moveTo>
                  <a:lnTo>
                    <a:pt x="1937" y="224"/>
                  </a:lnTo>
                  <a:lnTo>
                    <a:pt x="1963" y="229"/>
                  </a:lnTo>
                  <a:lnTo>
                    <a:pt x="1986" y="240"/>
                  </a:lnTo>
                  <a:lnTo>
                    <a:pt x="2006" y="255"/>
                  </a:lnTo>
                  <a:lnTo>
                    <a:pt x="2023" y="274"/>
                  </a:lnTo>
                  <a:lnTo>
                    <a:pt x="2035" y="296"/>
                  </a:lnTo>
                  <a:lnTo>
                    <a:pt x="2041" y="322"/>
                  </a:lnTo>
                  <a:lnTo>
                    <a:pt x="2043" y="348"/>
                  </a:lnTo>
                  <a:lnTo>
                    <a:pt x="1858" y="3147"/>
                  </a:lnTo>
                  <a:lnTo>
                    <a:pt x="1853" y="3173"/>
                  </a:lnTo>
                  <a:lnTo>
                    <a:pt x="1842" y="3197"/>
                  </a:lnTo>
                  <a:lnTo>
                    <a:pt x="1828" y="3218"/>
                  </a:lnTo>
                  <a:lnTo>
                    <a:pt x="1810" y="3235"/>
                  </a:lnTo>
                  <a:lnTo>
                    <a:pt x="1787" y="3247"/>
                  </a:lnTo>
                  <a:lnTo>
                    <a:pt x="1763" y="3255"/>
                  </a:lnTo>
                  <a:lnTo>
                    <a:pt x="1736" y="3256"/>
                  </a:lnTo>
                  <a:lnTo>
                    <a:pt x="114" y="3032"/>
                  </a:lnTo>
                  <a:lnTo>
                    <a:pt x="87" y="3027"/>
                  </a:lnTo>
                  <a:lnTo>
                    <a:pt x="63" y="3016"/>
                  </a:lnTo>
                  <a:lnTo>
                    <a:pt x="41" y="3001"/>
                  </a:lnTo>
                  <a:lnTo>
                    <a:pt x="24" y="2981"/>
                  </a:lnTo>
                  <a:lnTo>
                    <a:pt x="11" y="2959"/>
                  </a:lnTo>
                  <a:lnTo>
                    <a:pt x="3" y="2934"/>
                  </a:lnTo>
                  <a:lnTo>
                    <a:pt x="0" y="2906"/>
                  </a:lnTo>
                  <a:lnTo>
                    <a:pt x="186" y="109"/>
                  </a:lnTo>
                  <a:lnTo>
                    <a:pt x="192" y="83"/>
                  </a:lnTo>
                  <a:lnTo>
                    <a:pt x="202" y="59"/>
                  </a:lnTo>
                  <a:lnTo>
                    <a:pt x="218" y="38"/>
                  </a:lnTo>
                  <a:lnTo>
                    <a:pt x="239" y="21"/>
                  </a:lnTo>
                  <a:lnTo>
                    <a:pt x="261" y="9"/>
                  </a:lnTo>
                  <a:lnTo>
                    <a:pt x="287" y="1"/>
                  </a:lnTo>
                  <a:lnTo>
                    <a:pt x="315" y="0"/>
                  </a:lnTo>
                  <a:close/>
                </a:path>
              </a:pathLst>
            </a:custGeom>
            <a:solidFill>
              <a:srgbClr val="164E49"/>
            </a:solidFill>
            <a:ln w="0">
              <a:solidFill>
                <a:srgbClr val="0A434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/>
          </p:nvSpPr>
          <p:spPr bwMode="auto">
            <a:xfrm>
              <a:off x="716131" y="5911219"/>
              <a:ext cx="1211325" cy="166860"/>
            </a:xfrm>
            <a:custGeom>
              <a:avLst/>
              <a:gdLst>
                <a:gd name="T0" fmla="*/ 292 w 951"/>
                <a:gd name="T1" fmla="*/ 48 h 131"/>
                <a:gd name="T2" fmla="*/ 288 w 951"/>
                <a:gd name="T3" fmla="*/ 63 h 131"/>
                <a:gd name="T4" fmla="*/ 273 w 951"/>
                <a:gd name="T5" fmla="*/ 57 h 131"/>
                <a:gd name="T6" fmla="*/ 258 w 951"/>
                <a:gd name="T7" fmla="*/ 104 h 131"/>
                <a:gd name="T8" fmla="*/ 6 w 951"/>
                <a:gd name="T9" fmla="*/ 131 h 131"/>
                <a:gd name="T10" fmla="*/ 0 w 951"/>
                <a:gd name="T11" fmla="*/ 81 h 131"/>
                <a:gd name="T12" fmla="*/ 292 w 951"/>
                <a:gd name="T13" fmla="*/ 48 h 131"/>
                <a:gd name="T14" fmla="*/ 710 w 951"/>
                <a:gd name="T15" fmla="*/ 0 h 131"/>
                <a:gd name="T16" fmla="*/ 951 w 951"/>
                <a:gd name="T17" fmla="*/ 34 h 131"/>
                <a:gd name="T18" fmla="*/ 468 w 951"/>
                <a:gd name="T19" fmla="*/ 83 h 131"/>
                <a:gd name="T20" fmla="*/ 486 w 951"/>
                <a:gd name="T21" fmla="*/ 26 h 131"/>
                <a:gd name="T22" fmla="*/ 710 w 951"/>
                <a:gd name="T23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51" h="131">
                  <a:moveTo>
                    <a:pt x="292" y="48"/>
                  </a:moveTo>
                  <a:lnTo>
                    <a:pt x="288" y="63"/>
                  </a:lnTo>
                  <a:lnTo>
                    <a:pt x="273" y="57"/>
                  </a:lnTo>
                  <a:lnTo>
                    <a:pt x="258" y="104"/>
                  </a:lnTo>
                  <a:lnTo>
                    <a:pt x="6" y="131"/>
                  </a:lnTo>
                  <a:lnTo>
                    <a:pt x="0" y="81"/>
                  </a:lnTo>
                  <a:lnTo>
                    <a:pt x="292" y="48"/>
                  </a:lnTo>
                  <a:close/>
                  <a:moveTo>
                    <a:pt x="710" y="0"/>
                  </a:moveTo>
                  <a:lnTo>
                    <a:pt x="951" y="34"/>
                  </a:lnTo>
                  <a:lnTo>
                    <a:pt x="468" y="83"/>
                  </a:lnTo>
                  <a:lnTo>
                    <a:pt x="486" y="26"/>
                  </a:lnTo>
                  <a:lnTo>
                    <a:pt x="710" y="0"/>
                  </a:lnTo>
                  <a:close/>
                </a:path>
              </a:pathLst>
            </a:custGeom>
            <a:solidFill>
              <a:srgbClr val="26867C"/>
            </a:solidFill>
            <a:ln w="0">
              <a:solidFill>
                <a:srgbClr val="148BA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3612610" y="5237413"/>
              <a:ext cx="91710" cy="543886"/>
            </a:xfrm>
            <a:custGeom>
              <a:avLst/>
              <a:gdLst>
                <a:gd name="T0" fmla="*/ 29 w 72"/>
                <a:gd name="T1" fmla="*/ 0 h 427"/>
                <a:gd name="T2" fmla="*/ 72 w 72"/>
                <a:gd name="T3" fmla="*/ 420 h 427"/>
                <a:gd name="T4" fmla="*/ 0 w 72"/>
                <a:gd name="T5" fmla="*/ 427 h 427"/>
                <a:gd name="T6" fmla="*/ 6 w 72"/>
                <a:gd name="T7" fmla="*/ 351 h 427"/>
                <a:gd name="T8" fmla="*/ 44 w 72"/>
                <a:gd name="T9" fmla="*/ 347 h 427"/>
                <a:gd name="T10" fmla="*/ 20 w 72"/>
                <a:gd name="T11" fmla="*/ 141 h 427"/>
                <a:gd name="T12" fmla="*/ 29 w 72"/>
                <a:gd name="T13" fmla="*/ 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427">
                  <a:moveTo>
                    <a:pt x="29" y="0"/>
                  </a:moveTo>
                  <a:lnTo>
                    <a:pt x="72" y="420"/>
                  </a:lnTo>
                  <a:lnTo>
                    <a:pt x="0" y="427"/>
                  </a:lnTo>
                  <a:lnTo>
                    <a:pt x="6" y="351"/>
                  </a:lnTo>
                  <a:lnTo>
                    <a:pt x="44" y="347"/>
                  </a:lnTo>
                  <a:lnTo>
                    <a:pt x="20" y="141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9D9D9D"/>
            </a:solidFill>
            <a:ln w="0">
              <a:solidFill>
                <a:srgbClr val="9D9D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/>
          </p:nvSpPr>
          <p:spPr bwMode="auto">
            <a:xfrm>
              <a:off x="3578219" y="5001771"/>
              <a:ext cx="71329" cy="782074"/>
            </a:xfrm>
            <a:custGeom>
              <a:avLst/>
              <a:gdLst>
                <a:gd name="T0" fmla="*/ 33 w 56"/>
                <a:gd name="T1" fmla="*/ 536 h 614"/>
                <a:gd name="T2" fmla="*/ 27 w 56"/>
                <a:gd name="T3" fmla="*/ 612 h 614"/>
                <a:gd name="T4" fmla="*/ 0 w 56"/>
                <a:gd name="T5" fmla="*/ 614 h 614"/>
                <a:gd name="T6" fmla="*/ 5 w 56"/>
                <a:gd name="T7" fmla="*/ 538 h 614"/>
                <a:gd name="T8" fmla="*/ 33 w 56"/>
                <a:gd name="T9" fmla="*/ 536 h 614"/>
                <a:gd name="T10" fmla="*/ 37 w 56"/>
                <a:gd name="T11" fmla="*/ 0 h 614"/>
                <a:gd name="T12" fmla="*/ 56 w 56"/>
                <a:gd name="T13" fmla="*/ 185 h 614"/>
                <a:gd name="T14" fmla="*/ 47 w 56"/>
                <a:gd name="T15" fmla="*/ 326 h 614"/>
                <a:gd name="T16" fmla="*/ 27 w 56"/>
                <a:gd name="T17" fmla="*/ 157 h 614"/>
                <a:gd name="T18" fmla="*/ 37 w 56"/>
                <a:gd name="T19" fmla="*/ 0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14">
                  <a:moveTo>
                    <a:pt x="33" y="536"/>
                  </a:moveTo>
                  <a:lnTo>
                    <a:pt x="27" y="612"/>
                  </a:lnTo>
                  <a:lnTo>
                    <a:pt x="0" y="614"/>
                  </a:lnTo>
                  <a:lnTo>
                    <a:pt x="5" y="538"/>
                  </a:lnTo>
                  <a:lnTo>
                    <a:pt x="33" y="536"/>
                  </a:lnTo>
                  <a:close/>
                  <a:moveTo>
                    <a:pt x="37" y="0"/>
                  </a:moveTo>
                  <a:lnTo>
                    <a:pt x="56" y="185"/>
                  </a:lnTo>
                  <a:lnTo>
                    <a:pt x="47" y="326"/>
                  </a:lnTo>
                  <a:lnTo>
                    <a:pt x="27" y="157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164E49"/>
            </a:solidFill>
            <a:ln w="0">
              <a:solidFill>
                <a:srgbClr val="0A434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24" name="Freeform 12"/>
            <p:cNvSpPr>
              <a:spLocks/>
            </p:cNvSpPr>
            <p:nvPr/>
          </p:nvSpPr>
          <p:spPr bwMode="auto">
            <a:xfrm>
              <a:off x="1620485" y="5830974"/>
              <a:ext cx="1213872" cy="123553"/>
            </a:xfrm>
            <a:custGeom>
              <a:avLst/>
              <a:gdLst>
                <a:gd name="T0" fmla="*/ 559 w 953"/>
                <a:gd name="T1" fmla="*/ 0 h 97"/>
                <a:gd name="T2" fmla="*/ 953 w 953"/>
                <a:gd name="T3" fmla="*/ 23 h 97"/>
                <a:gd name="T4" fmla="*/ 241 w 953"/>
                <a:gd name="T5" fmla="*/ 97 h 97"/>
                <a:gd name="T6" fmla="*/ 0 w 953"/>
                <a:gd name="T7" fmla="*/ 63 h 97"/>
                <a:gd name="T8" fmla="*/ 559 w 953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3" h="97">
                  <a:moveTo>
                    <a:pt x="559" y="0"/>
                  </a:moveTo>
                  <a:lnTo>
                    <a:pt x="953" y="23"/>
                  </a:lnTo>
                  <a:lnTo>
                    <a:pt x="241" y="97"/>
                  </a:lnTo>
                  <a:lnTo>
                    <a:pt x="0" y="63"/>
                  </a:lnTo>
                  <a:lnTo>
                    <a:pt x="559" y="0"/>
                  </a:lnTo>
                  <a:close/>
                </a:path>
              </a:pathLst>
            </a:custGeom>
            <a:solidFill>
              <a:srgbClr val="4A4A4C"/>
            </a:solidFill>
            <a:ln w="0">
              <a:solidFill>
                <a:srgbClr val="4A4A4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25" name="Freeform 13"/>
            <p:cNvSpPr>
              <a:spLocks/>
            </p:cNvSpPr>
            <p:nvPr/>
          </p:nvSpPr>
          <p:spPr bwMode="auto">
            <a:xfrm>
              <a:off x="239753" y="1725723"/>
              <a:ext cx="3428902" cy="4291217"/>
            </a:xfrm>
            <a:custGeom>
              <a:avLst/>
              <a:gdLst>
                <a:gd name="T0" fmla="*/ 2338 w 2692"/>
                <a:gd name="T1" fmla="*/ 0 h 3369"/>
                <a:gd name="T2" fmla="*/ 2692 w 2692"/>
                <a:gd name="T3" fmla="*/ 3104 h 3369"/>
                <a:gd name="T4" fmla="*/ 354 w 2692"/>
                <a:gd name="T5" fmla="*/ 3369 h 3369"/>
                <a:gd name="T6" fmla="*/ 0 w 2692"/>
                <a:gd name="T7" fmla="*/ 266 h 3369"/>
                <a:gd name="T8" fmla="*/ 2338 w 2692"/>
                <a:gd name="T9" fmla="*/ 0 h 3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92" h="3369">
                  <a:moveTo>
                    <a:pt x="2338" y="0"/>
                  </a:moveTo>
                  <a:lnTo>
                    <a:pt x="2692" y="3104"/>
                  </a:lnTo>
                  <a:lnTo>
                    <a:pt x="354" y="3369"/>
                  </a:lnTo>
                  <a:lnTo>
                    <a:pt x="0" y="266"/>
                  </a:lnTo>
                  <a:lnTo>
                    <a:pt x="2338" y="0"/>
                  </a:lnTo>
                  <a:close/>
                </a:path>
              </a:pathLst>
            </a:custGeom>
            <a:solidFill>
              <a:srgbClr val="7F7F7F"/>
            </a:solidFill>
            <a:ln w="0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26" name="Freeform 14"/>
            <p:cNvSpPr>
              <a:spLocks/>
            </p:cNvSpPr>
            <p:nvPr/>
          </p:nvSpPr>
          <p:spPr bwMode="auto">
            <a:xfrm>
              <a:off x="3342578" y="5783845"/>
              <a:ext cx="235642" cy="122279"/>
            </a:xfrm>
            <a:custGeom>
              <a:avLst/>
              <a:gdLst>
                <a:gd name="T0" fmla="*/ 185 w 185"/>
                <a:gd name="T1" fmla="*/ 0 h 96"/>
                <a:gd name="T2" fmla="*/ 180 w 185"/>
                <a:gd name="T3" fmla="*/ 96 h 96"/>
                <a:gd name="T4" fmla="*/ 0 w 185"/>
                <a:gd name="T5" fmla="*/ 85 h 96"/>
                <a:gd name="T6" fmla="*/ 4 w 185"/>
                <a:gd name="T7" fmla="*/ 20 h 96"/>
                <a:gd name="T8" fmla="*/ 59 w 185"/>
                <a:gd name="T9" fmla="*/ 13 h 96"/>
                <a:gd name="T10" fmla="*/ 163 w 185"/>
                <a:gd name="T11" fmla="*/ 19 h 96"/>
                <a:gd name="T12" fmla="*/ 163 w 185"/>
                <a:gd name="T13" fmla="*/ 3 h 96"/>
                <a:gd name="T14" fmla="*/ 185 w 185"/>
                <a:gd name="T15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" h="96">
                  <a:moveTo>
                    <a:pt x="185" y="0"/>
                  </a:moveTo>
                  <a:lnTo>
                    <a:pt x="180" y="96"/>
                  </a:lnTo>
                  <a:lnTo>
                    <a:pt x="0" y="85"/>
                  </a:lnTo>
                  <a:lnTo>
                    <a:pt x="4" y="20"/>
                  </a:lnTo>
                  <a:lnTo>
                    <a:pt x="59" y="13"/>
                  </a:lnTo>
                  <a:lnTo>
                    <a:pt x="163" y="19"/>
                  </a:lnTo>
                  <a:lnTo>
                    <a:pt x="163" y="3"/>
                  </a:lnTo>
                  <a:lnTo>
                    <a:pt x="185" y="0"/>
                  </a:lnTo>
                  <a:close/>
                </a:path>
              </a:pathLst>
            </a:custGeom>
            <a:solidFill>
              <a:sysClr val="window" lastClr="FFFFFF">
                <a:lumMod val="65000"/>
              </a:sysClr>
            </a:solidFill>
            <a:ln w="0">
              <a:solidFill>
                <a:srgbClr val="9D9D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27" name="Freeform 15"/>
            <p:cNvSpPr>
              <a:spLocks/>
            </p:cNvSpPr>
            <p:nvPr/>
          </p:nvSpPr>
          <p:spPr bwMode="auto">
            <a:xfrm>
              <a:off x="2834356" y="5809320"/>
              <a:ext cx="513317" cy="82793"/>
            </a:xfrm>
            <a:custGeom>
              <a:avLst/>
              <a:gdLst>
                <a:gd name="T0" fmla="*/ 403 w 403"/>
                <a:gd name="T1" fmla="*/ 0 h 65"/>
                <a:gd name="T2" fmla="*/ 399 w 403"/>
                <a:gd name="T3" fmla="*/ 65 h 65"/>
                <a:gd name="T4" fmla="*/ 0 w 403"/>
                <a:gd name="T5" fmla="*/ 40 h 65"/>
                <a:gd name="T6" fmla="*/ 403 w 403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3" h="65">
                  <a:moveTo>
                    <a:pt x="403" y="0"/>
                  </a:moveTo>
                  <a:lnTo>
                    <a:pt x="399" y="65"/>
                  </a:lnTo>
                  <a:lnTo>
                    <a:pt x="0" y="40"/>
                  </a:lnTo>
                  <a:lnTo>
                    <a:pt x="403" y="0"/>
                  </a:lnTo>
                  <a:close/>
                </a:path>
              </a:pathLst>
            </a:custGeom>
            <a:solidFill>
              <a:srgbClr val="4A4A4C"/>
            </a:solidFill>
            <a:ln w="0">
              <a:solidFill>
                <a:srgbClr val="4A4A4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28" name="Freeform 16"/>
            <p:cNvSpPr>
              <a:spLocks noEditPoints="1"/>
            </p:cNvSpPr>
            <p:nvPr/>
          </p:nvSpPr>
          <p:spPr bwMode="auto">
            <a:xfrm>
              <a:off x="3347673" y="5687041"/>
              <a:ext cx="236915" cy="122279"/>
            </a:xfrm>
            <a:custGeom>
              <a:avLst/>
              <a:gdLst>
                <a:gd name="T0" fmla="*/ 0 w 186"/>
                <a:gd name="T1" fmla="*/ 87 h 96"/>
                <a:gd name="T2" fmla="*/ 55 w 186"/>
                <a:gd name="T3" fmla="*/ 89 h 96"/>
                <a:gd name="T4" fmla="*/ 0 w 186"/>
                <a:gd name="T5" fmla="*/ 96 h 96"/>
                <a:gd name="T6" fmla="*/ 0 w 186"/>
                <a:gd name="T7" fmla="*/ 87 h 96"/>
                <a:gd name="T8" fmla="*/ 186 w 186"/>
                <a:gd name="T9" fmla="*/ 0 h 96"/>
                <a:gd name="T10" fmla="*/ 181 w 186"/>
                <a:gd name="T11" fmla="*/ 76 h 96"/>
                <a:gd name="T12" fmla="*/ 159 w 186"/>
                <a:gd name="T13" fmla="*/ 79 h 96"/>
                <a:gd name="T14" fmla="*/ 163 w 186"/>
                <a:gd name="T15" fmla="*/ 3 h 96"/>
                <a:gd name="T16" fmla="*/ 186 w 186"/>
                <a:gd name="T17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6" h="96">
                  <a:moveTo>
                    <a:pt x="0" y="87"/>
                  </a:moveTo>
                  <a:lnTo>
                    <a:pt x="55" y="89"/>
                  </a:lnTo>
                  <a:lnTo>
                    <a:pt x="0" y="96"/>
                  </a:lnTo>
                  <a:lnTo>
                    <a:pt x="0" y="87"/>
                  </a:lnTo>
                  <a:close/>
                  <a:moveTo>
                    <a:pt x="186" y="0"/>
                  </a:moveTo>
                  <a:lnTo>
                    <a:pt x="181" y="76"/>
                  </a:lnTo>
                  <a:lnTo>
                    <a:pt x="159" y="79"/>
                  </a:lnTo>
                  <a:lnTo>
                    <a:pt x="163" y="3"/>
                  </a:lnTo>
                  <a:lnTo>
                    <a:pt x="186" y="0"/>
                  </a:lnTo>
                  <a:close/>
                </a:path>
              </a:pathLst>
            </a:custGeom>
            <a:solidFill>
              <a:srgbClr val="023160"/>
            </a:solidFill>
            <a:ln w="0">
              <a:solidFill>
                <a:srgbClr val="02316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29" name="Freeform 17"/>
            <p:cNvSpPr>
              <a:spLocks/>
            </p:cNvSpPr>
            <p:nvPr/>
          </p:nvSpPr>
          <p:spPr bwMode="auto">
            <a:xfrm>
              <a:off x="2332503" y="5772382"/>
              <a:ext cx="1015169" cy="87888"/>
            </a:xfrm>
            <a:custGeom>
              <a:avLst/>
              <a:gdLst>
                <a:gd name="T0" fmla="*/ 399 w 797"/>
                <a:gd name="T1" fmla="*/ 0 h 69"/>
                <a:gd name="T2" fmla="*/ 797 w 797"/>
                <a:gd name="T3" fmla="*/ 20 h 69"/>
                <a:gd name="T4" fmla="*/ 797 w 797"/>
                <a:gd name="T5" fmla="*/ 29 h 69"/>
                <a:gd name="T6" fmla="*/ 394 w 797"/>
                <a:gd name="T7" fmla="*/ 69 h 69"/>
                <a:gd name="T8" fmla="*/ 0 w 797"/>
                <a:gd name="T9" fmla="*/ 46 h 69"/>
                <a:gd name="T10" fmla="*/ 399 w 797"/>
                <a:gd name="T1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7" h="69">
                  <a:moveTo>
                    <a:pt x="399" y="0"/>
                  </a:moveTo>
                  <a:lnTo>
                    <a:pt x="797" y="20"/>
                  </a:lnTo>
                  <a:lnTo>
                    <a:pt x="797" y="29"/>
                  </a:lnTo>
                  <a:lnTo>
                    <a:pt x="394" y="69"/>
                  </a:lnTo>
                  <a:lnTo>
                    <a:pt x="0" y="46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rgbClr val="26867C"/>
            </a:solidFill>
            <a:ln w="0">
              <a:solidFill>
                <a:srgbClr val="148BA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30" name="Freeform 18"/>
            <p:cNvSpPr>
              <a:spLocks noEditPoints="1"/>
            </p:cNvSpPr>
            <p:nvPr/>
          </p:nvSpPr>
          <p:spPr bwMode="auto">
            <a:xfrm>
              <a:off x="579841" y="1946079"/>
              <a:ext cx="3230199" cy="3782997"/>
            </a:xfrm>
            <a:custGeom>
              <a:avLst/>
              <a:gdLst>
                <a:gd name="T0" fmla="*/ 3 w 2536"/>
                <a:gd name="T1" fmla="*/ 2916 h 2970"/>
                <a:gd name="T2" fmla="*/ 55 w 2536"/>
                <a:gd name="T3" fmla="*/ 2919 h 2970"/>
                <a:gd name="T4" fmla="*/ 60 w 2536"/>
                <a:gd name="T5" fmla="*/ 2970 h 2970"/>
                <a:gd name="T6" fmla="*/ 0 w 2536"/>
                <a:gd name="T7" fmla="*/ 2966 h 2970"/>
                <a:gd name="T8" fmla="*/ 3 w 2536"/>
                <a:gd name="T9" fmla="*/ 2916 h 2970"/>
                <a:gd name="T10" fmla="*/ 2481 w 2536"/>
                <a:gd name="T11" fmla="*/ 0 h 2970"/>
                <a:gd name="T12" fmla="*/ 2536 w 2536"/>
                <a:gd name="T13" fmla="*/ 2 h 2970"/>
                <a:gd name="T14" fmla="*/ 2528 w 2536"/>
                <a:gd name="T15" fmla="*/ 153 h 2970"/>
                <a:gd name="T16" fmla="*/ 2474 w 2536"/>
                <a:gd name="T17" fmla="*/ 150 h 2970"/>
                <a:gd name="T18" fmla="*/ 2481 w 2536"/>
                <a:gd name="T19" fmla="*/ 0 h 2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6" h="2970">
                  <a:moveTo>
                    <a:pt x="3" y="2916"/>
                  </a:moveTo>
                  <a:lnTo>
                    <a:pt x="55" y="2919"/>
                  </a:lnTo>
                  <a:lnTo>
                    <a:pt x="60" y="2970"/>
                  </a:lnTo>
                  <a:lnTo>
                    <a:pt x="0" y="2966"/>
                  </a:lnTo>
                  <a:lnTo>
                    <a:pt x="3" y="2916"/>
                  </a:lnTo>
                  <a:close/>
                  <a:moveTo>
                    <a:pt x="2481" y="0"/>
                  </a:moveTo>
                  <a:lnTo>
                    <a:pt x="2536" y="2"/>
                  </a:lnTo>
                  <a:lnTo>
                    <a:pt x="2528" y="153"/>
                  </a:lnTo>
                  <a:lnTo>
                    <a:pt x="2474" y="150"/>
                  </a:lnTo>
                  <a:lnTo>
                    <a:pt x="2481" y="0"/>
                  </a:lnTo>
                  <a:close/>
                </a:path>
              </a:pathLst>
            </a:custGeom>
            <a:solidFill>
              <a:srgbClr val="26867C"/>
            </a:solidFill>
            <a:ln w="0">
              <a:solidFill>
                <a:srgbClr val="148BA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31" name="Freeform 19"/>
            <p:cNvSpPr>
              <a:spLocks/>
            </p:cNvSpPr>
            <p:nvPr/>
          </p:nvSpPr>
          <p:spPr bwMode="auto">
            <a:xfrm>
              <a:off x="3601146" y="2137140"/>
              <a:ext cx="198703" cy="2864633"/>
            </a:xfrm>
            <a:custGeom>
              <a:avLst/>
              <a:gdLst>
                <a:gd name="T0" fmla="*/ 102 w 156"/>
                <a:gd name="T1" fmla="*/ 0 h 2249"/>
                <a:gd name="T2" fmla="*/ 156 w 156"/>
                <a:gd name="T3" fmla="*/ 3 h 2249"/>
                <a:gd name="T4" fmla="*/ 19 w 156"/>
                <a:gd name="T5" fmla="*/ 2249 h 2249"/>
                <a:gd name="T6" fmla="*/ 0 w 156"/>
                <a:gd name="T7" fmla="*/ 2062 h 2249"/>
                <a:gd name="T8" fmla="*/ 102 w 156"/>
                <a:gd name="T9" fmla="*/ 0 h 2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2249">
                  <a:moveTo>
                    <a:pt x="102" y="0"/>
                  </a:moveTo>
                  <a:lnTo>
                    <a:pt x="156" y="3"/>
                  </a:lnTo>
                  <a:lnTo>
                    <a:pt x="19" y="2249"/>
                  </a:lnTo>
                  <a:lnTo>
                    <a:pt x="0" y="2062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rgbClr val="26867C"/>
            </a:solidFill>
            <a:ln w="0">
              <a:solidFill>
                <a:srgbClr val="148BA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32" name="Freeform 20"/>
            <p:cNvSpPr>
              <a:spLocks/>
            </p:cNvSpPr>
            <p:nvPr/>
          </p:nvSpPr>
          <p:spPr bwMode="auto">
            <a:xfrm>
              <a:off x="3589683" y="4763583"/>
              <a:ext cx="35665" cy="438165"/>
            </a:xfrm>
            <a:custGeom>
              <a:avLst/>
              <a:gdLst>
                <a:gd name="T0" fmla="*/ 9 w 28"/>
                <a:gd name="T1" fmla="*/ 0 h 344"/>
                <a:gd name="T2" fmla="*/ 28 w 28"/>
                <a:gd name="T3" fmla="*/ 187 h 344"/>
                <a:gd name="T4" fmla="*/ 18 w 28"/>
                <a:gd name="T5" fmla="*/ 344 h 344"/>
                <a:gd name="T6" fmla="*/ 0 w 28"/>
                <a:gd name="T7" fmla="*/ 181 h 344"/>
                <a:gd name="T8" fmla="*/ 9 w 28"/>
                <a:gd name="T9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44">
                  <a:moveTo>
                    <a:pt x="9" y="0"/>
                  </a:moveTo>
                  <a:lnTo>
                    <a:pt x="28" y="187"/>
                  </a:lnTo>
                  <a:lnTo>
                    <a:pt x="18" y="344"/>
                  </a:lnTo>
                  <a:lnTo>
                    <a:pt x="0" y="181"/>
                  </a:lnTo>
                  <a:lnTo>
                    <a:pt x="9" y="0"/>
                  </a:lnTo>
                  <a:close/>
                </a:path>
              </a:pathLst>
            </a:custGeom>
            <a:solidFill>
              <a:sysClr val="window" lastClr="FFFFFF">
                <a:lumMod val="65000"/>
              </a:sysClr>
            </a:solidFill>
            <a:ln w="0">
              <a:solidFill>
                <a:srgbClr val="9D9D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33" name="Freeform 21"/>
            <p:cNvSpPr>
              <a:spLocks noEditPoints="1"/>
            </p:cNvSpPr>
            <p:nvPr/>
          </p:nvSpPr>
          <p:spPr bwMode="auto">
            <a:xfrm>
              <a:off x="649897" y="4994129"/>
              <a:ext cx="2962714" cy="836845"/>
            </a:xfrm>
            <a:custGeom>
              <a:avLst/>
              <a:gdLst>
                <a:gd name="T0" fmla="*/ 596 w 2326"/>
                <a:gd name="T1" fmla="*/ 556 h 657"/>
                <a:gd name="T2" fmla="*/ 1720 w 2326"/>
                <a:gd name="T3" fmla="*/ 611 h 657"/>
                <a:gd name="T4" fmla="*/ 1321 w 2326"/>
                <a:gd name="T5" fmla="*/ 657 h 657"/>
                <a:gd name="T6" fmla="*/ 579 w 2326"/>
                <a:gd name="T7" fmla="*/ 611 h 657"/>
                <a:gd name="T8" fmla="*/ 596 w 2326"/>
                <a:gd name="T9" fmla="*/ 556 h 657"/>
                <a:gd name="T10" fmla="*/ 0 w 2326"/>
                <a:gd name="T11" fmla="*/ 526 h 657"/>
                <a:gd name="T12" fmla="*/ 412 w 2326"/>
                <a:gd name="T13" fmla="*/ 547 h 657"/>
                <a:gd name="T14" fmla="*/ 395 w 2326"/>
                <a:gd name="T15" fmla="*/ 601 h 657"/>
                <a:gd name="T16" fmla="*/ 5 w 2326"/>
                <a:gd name="T17" fmla="*/ 577 h 657"/>
                <a:gd name="T18" fmla="*/ 0 w 2326"/>
                <a:gd name="T19" fmla="*/ 526 h 657"/>
                <a:gd name="T20" fmla="*/ 2308 w 2326"/>
                <a:gd name="T21" fmla="*/ 0 h 657"/>
                <a:gd name="T22" fmla="*/ 2326 w 2326"/>
                <a:gd name="T23" fmla="*/ 163 h 657"/>
                <a:gd name="T24" fmla="*/ 2304 w 2326"/>
                <a:gd name="T25" fmla="*/ 544 h 657"/>
                <a:gd name="T26" fmla="*/ 2281 w 2326"/>
                <a:gd name="T27" fmla="*/ 547 h 657"/>
                <a:gd name="T28" fmla="*/ 2308 w 2326"/>
                <a:gd name="T29" fmla="*/ 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26" h="657">
                  <a:moveTo>
                    <a:pt x="596" y="556"/>
                  </a:moveTo>
                  <a:lnTo>
                    <a:pt x="1720" y="611"/>
                  </a:lnTo>
                  <a:lnTo>
                    <a:pt x="1321" y="657"/>
                  </a:lnTo>
                  <a:lnTo>
                    <a:pt x="579" y="611"/>
                  </a:lnTo>
                  <a:lnTo>
                    <a:pt x="596" y="556"/>
                  </a:lnTo>
                  <a:close/>
                  <a:moveTo>
                    <a:pt x="0" y="526"/>
                  </a:moveTo>
                  <a:lnTo>
                    <a:pt x="412" y="547"/>
                  </a:lnTo>
                  <a:lnTo>
                    <a:pt x="395" y="601"/>
                  </a:lnTo>
                  <a:lnTo>
                    <a:pt x="5" y="577"/>
                  </a:lnTo>
                  <a:lnTo>
                    <a:pt x="0" y="526"/>
                  </a:lnTo>
                  <a:close/>
                  <a:moveTo>
                    <a:pt x="2308" y="0"/>
                  </a:moveTo>
                  <a:lnTo>
                    <a:pt x="2326" y="163"/>
                  </a:lnTo>
                  <a:lnTo>
                    <a:pt x="2304" y="544"/>
                  </a:lnTo>
                  <a:lnTo>
                    <a:pt x="2281" y="547"/>
                  </a:lnTo>
                  <a:lnTo>
                    <a:pt x="2308" y="0"/>
                  </a:lnTo>
                  <a:close/>
                </a:path>
              </a:pathLst>
            </a:custGeom>
            <a:solidFill>
              <a:srgbClr val="D9D8D8"/>
            </a:solidFill>
            <a:ln w="0">
              <a:solidFill>
                <a:srgbClr val="D9D8D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34" name="Freeform 33"/>
            <p:cNvSpPr>
              <a:spLocks noEditPoints="1"/>
            </p:cNvSpPr>
            <p:nvPr/>
          </p:nvSpPr>
          <p:spPr bwMode="auto">
            <a:xfrm>
              <a:off x="497048" y="1730817"/>
              <a:ext cx="3092635" cy="3893811"/>
            </a:xfrm>
            <a:custGeom>
              <a:avLst/>
              <a:gdLst>
                <a:gd name="T0" fmla="*/ 13 w 2428"/>
                <a:gd name="T1" fmla="*/ 2520 h 3057"/>
                <a:gd name="T2" fmla="*/ 13 w 2428"/>
                <a:gd name="T3" fmla="*/ 3029 h 3057"/>
                <a:gd name="T4" fmla="*/ 49 w 2428"/>
                <a:gd name="T5" fmla="*/ 3029 h 3057"/>
                <a:gd name="T6" fmla="*/ 48 w 2428"/>
                <a:gd name="T7" fmla="*/ 3057 h 3057"/>
                <a:gd name="T8" fmla="*/ 0 w 2428"/>
                <a:gd name="T9" fmla="*/ 3055 h 3057"/>
                <a:gd name="T10" fmla="*/ 13 w 2428"/>
                <a:gd name="T11" fmla="*/ 2520 h 3057"/>
                <a:gd name="T12" fmla="*/ 2365 w 2428"/>
                <a:gd name="T13" fmla="*/ 0 h 3057"/>
                <a:gd name="T14" fmla="*/ 2428 w 2428"/>
                <a:gd name="T15" fmla="*/ 1 h 3057"/>
                <a:gd name="T16" fmla="*/ 2425 w 2428"/>
                <a:gd name="T17" fmla="*/ 74 h 3057"/>
                <a:gd name="T18" fmla="*/ 2365 w 2428"/>
                <a:gd name="T19" fmla="*/ 72 h 3057"/>
                <a:gd name="T20" fmla="*/ 2365 w 2428"/>
                <a:gd name="T21" fmla="*/ 0 h 30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28" h="3057">
                  <a:moveTo>
                    <a:pt x="13" y="2520"/>
                  </a:moveTo>
                  <a:lnTo>
                    <a:pt x="13" y="3029"/>
                  </a:lnTo>
                  <a:lnTo>
                    <a:pt x="49" y="3029"/>
                  </a:lnTo>
                  <a:lnTo>
                    <a:pt x="48" y="3057"/>
                  </a:lnTo>
                  <a:lnTo>
                    <a:pt x="0" y="3055"/>
                  </a:lnTo>
                  <a:lnTo>
                    <a:pt x="13" y="2520"/>
                  </a:lnTo>
                  <a:close/>
                  <a:moveTo>
                    <a:pt x="2365" y="0"/>
                  </a:moveTo>
                  <a:lnTo>
                    <a:pt x="2428" y="1"/>
                  </a:lnTo>
                  <a:lnTo>
                    <a:pt x="2425" y="74"/>
                  </a:lnTo>
                  <a:lnTo>
                    <a:pt x="2365" y="72"/>
                  </a:lnTo>
                  <a:lnTo>
                    <a:pt x="2365" y="0"/>
                  </a:lnTo>
                  <a:close/>
                </a:path>
              </a:pathLst>
            </a:custGeom>
            <a:solidFill>
              <a:srgbClr val="4A4A4C"/>
            </a:solidFill>
            <a:ln w="0">
              <a:solidFill>
                <a:srgbClr val="4A4A4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35" name="Freeform 40"/>
            <p:cNvSpPr>
              <a:spLocks/>
            </p:cNvSpPr>
            <p:nvPr/>
          </p:nvSpPr>
          <p:spPr bwMode="auto">
            <a:xfrm>
              <a:off x="1044755" y="5944336"/>
              <a:ext cx="290412" cy="99351"/>
            </a:xfrm>
            <a:custGeom>
              <a:avLst/>
              <a:gdLst>
                <a:gd name="T0" fmla="*/ 228 w 228"/>
                <a:gd name="T1" fmla="*/ 0 h 78"/>
                <a:gd name="T2" fmla="*/ 210 w 228"/>
                <a:gd name="T3" fmla="*/ 57 h 78"/>
                <a:gd name="T4" fmla="*/ 0 w 228"/>
                <a:gd name="T5" fmla="*/ 78 h 78"/>
                <a:gd name="T6" fmla="*/ 15 w 228"/>
                <a:gd name="T7" fmla="*/ 31 h 78"/>
                <a:gd name="T8" fmla="*/ 30 w 228"/>
                <a:gd name="T9" fmla="*/ 37 h 78"/>
                <a:gd name="T10" fmla="*/ 34 w 228"/>
                <a:gd name="T11" fmla="*/ 22 h 78"/>
                <a:gd name="T12" fmla="*/ 228 w 228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8" h="78">
                  <a:moveTo>
                    <a:pt x="228" y="0"/>
                  </a:moveTo>
                  <a:lnTo>
                    <a:pt x="210" y="57"/>
                  </a:lnTo>
                  <a:lnTo>
                    <a:pt x="0" y="78"/>
                  </a:lnTo>
                  <a:lnTo>
                    <a:pt x="15" y="31"/>
                  </a:lnTo>
                  <a:lnTo>
                    <a:pt x="30" y="37"/>
                  </a:lnTo>
                  <a:lnTo>
                    <a:pt x="34" y="22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148BA2"/>
            </a:solidFill>
            <a:ln w="0">
              <a:solidFill>
                <a:srgbClr val="148BA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grpSp>
          <p:nvGrpSpPr>
            <p:cNvPr id="36" name="Group 35"/>
            <p:cNvGrpSpPr/>
            <p:nvPr/>
          </p:nvGrpSpPr>
          <p:grpSpPr>
            <a:xfrm>
              <a:off x="556913" y="1684963"/>
              <a:ext cx="3189439" cy="4123084"/>
              <a:chOff x="4340225" y="533400"/>
              <a:chExt cx="3975100" cy="5138738"/>
            </a:xfrm>
          </p:grpSpPr>
          <p:sp>
            <p:nvSpPr>
              <p:cNvPr id="73" name="Freeform 22"/>
              <p:cNvSpPr>
                <a:spLocks/>
              </p:cNvSpPr>
              <p:nvPr/>
            </p:nvSpPr>
            <p:spPr bwMode="auto">
              <a:xfrm>
                <a:off x="4340225" y="533400"/>
                <a:ext cx="3975100" cy="5138738"/>
              </a:xfrm>
              <a:custGeom>
                <a:avLst/>
                <a:gdLst>
                  <a:gd name="T0" fmla="*/ 153 w 2504"/>
                  <a:gd name="T1" fmla="*/ 0 h 3237"/>
                  <a:gd name="T2" fmla="*/ 2504 w 2504"/>
                  <a:gd name="T3" fmla="*/ 117 h 3237"/>
                  <a:gd name="T4" fmla="*/ 2350 w 2504"/>
                  <a:gd name="T5" fmla="*/ 3237 h 3237"/>
                  <a:gd name="T6" fmla="*/ 0 w 2504"/>
                  <a:gd name="T7" fmla="*/ 3120 h 3237"/>
                  <a:gd name="T8" fmla="*/ 153 w 2504"/>
                  <a:gd name="T9" fmla="*/ 0 h 3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04" h="3237">
                    <a:moveTo>
                      <a:pt x="153" y="0"/>
                    </a:moveTo>
                    <a:lnTo>
                      <a:pt x="2504" y="117"/>
                    </a:lnTo>
                    <a:lnTo>
                      <a:pt x="2350" y="3237"/>
                    </a:lnTo>
                    <a:lnTo>
                      <a:pt x="0" y="3120"/>
                    </a:lnTo>
                    <a:lnTo>
                      <a:pt x="153" y="0"/>
                    </a:lnTo>
                    <a:close/>
                  </a:path>
                </a:pathLst>
              </a:custGeom>
              <a:solidFill>
                <a:srgbClr val="F2F0F0"/>
              </a:solidFill>
              <a:ln w="0">
                <a:solidFill>
                  <a:srgbClr val="F2F0F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74" name="Freeform 42"/>
              <p:cNvSpPr>
                <a:spLocks/>
              </p:cNvSpPr>
              <p:nvPr/>
            </p:nvSpPr>
            <p:spPr bwMode="auto">
              <a:xfrm>
                <a:off x="5083175" y="5526088"/>
                <a:ext cx="319088" cy="101600"/>
              </a:xfrm>
              <a:custGeom>
                <a:avLst/>
                <a:gdLst>
                  <a:gd name="T0" fmla="*/ 17 w 201"/>
                  <a:gd name="T1" fmla="*/ 0 h 64"/>
                  <a:gd name="T2" fmla="*/ 201 w 201"/>
                  <a:gd name="T3" fmla="*/ 9 h 64"/>
                  <a:gd name="T4" fmla="*/ 184 w 201"/>
                  <a:gd name="T5" fmla="*/ 64 h 64"/>
                  <a:gd name="T6" fmla="*/ 0 w 201"/>
                  <a:gd name="T7" fmla="*/ 54 h 64"/>
                  <a:gd name="T8" fmla="*/ 17 w 201"/>
                  <a:gd name="T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1" h="64">
                    <a:moveTo>
                      <a:pt x="17" y="0"/>
                    </a:moveTo>
                    <a:lnTo>
                      <a:pt x="201" y="9"/>
                    </a:lnTo>
                    <a:lnTo>
                      <a:pt x="184" y="64"/>
                    </a:lnTo>
                    <a:lnTo>
                      <a:pt x="0" y="54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D9D8D8"/>
              </a:solidFill>
              <a:ln w="0">
                <a:solidFill>
                  <a:srgbClr val="D9D8D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</p:grpSp>
        <p:grpSp>
          <p:nvGrpSpPr>
            <p:cNvPr id="37" name="Group 36"/>
            <p:cNvGrpSpPr/>
            <p:nvPr/>
          </p:nvGrpSpPr>
          <p:grpSpPr>
            <a:xfrm>
              <a:off x="558187" y="1822526"/>
              <a:ext cx="3027675" cy="3873431"/>
              <a:chOff x="4341813" y="704850"/>
              <a:chExt cx="3773488" cy="4827588"/>
            </a:xfrm>
          </p:grpSpPr>
          <p:sp>
            <p:nvSpPr>
              <p:cNvPr id="71" name="Freeform 24"/>
              <p:cNvSpPr>
                <a:spLocks noEditPoints="1"/>
              </p:cNvSpPr>
              <p:nvPr/>
            </p:nvSpPr>
            <p:spPr bwMode="auto">
              <a:xfrm>
                <a:off x="4341813" y="704850"/>
                <a:ext cx="3773488" cy="4827588"/>
              </a:xfrm>
              <a:custGeom>
                <a:avLst/>
                <a:gdLst>
                  <a:gd name="T0" fmla="*/ 694 w 2377"/>
                  <a:gd name="T1" fmla="*/ 2957 h 3041"/>
                  <a:gd name="T2" fmla="*/ 2305 w 2377"/>
                  <a:gd name="T3" fmla="*/ 2957 h 3041"/>
                  <a:gd name="T4" fmla="*/ 2304 w 2377"/>
                  <a:gd name="T5" fmla="*/ 3041 h 3041"/>
                  <a:gd name="T6" fmla="*/ 681 w 2377"/>
                  <a:gd name="T7" fmla="*/ 3000 h 3041"/>
                  <a:gd name="T8" fmla="*/ 694 w 2377"/>
                  <a:gd name="T9" fmla="*/ 2957 h 3041"/>
                  <a:gd name="T10" fmla="*/ 1 w 2377"/>
                  <a:gd name="T11" fmla="*/ 2957 h 3041"/>
                  <a:gd name="T12" fmla="*/ 508 w 2377"/>
                  <a:gd name="T13" fmla="*/ 2957 h 3041"/>
                  <a:gd name="T14" fmla="*/ 496 w 2377"/>
                  <a:gd name="T15" fmla="*/ 2996 h 3041"/>
                  <a:gd name="T16" fmla="*/ 0 w 2377"/>
                  <a:gd name="T17" fmla="*/ 2985 h 3041"/>
                  <a:gd name="T18" fmla="*/ 1 w 2377"/>
                  <a:gd name="T19" fmla="*/ 2957 h 3041"/>
                  <a:gd name="T20" fmla="*/ 2317 w 2377"/>
                  <a:gd name="T21" fmla="*/ 0 h 3041"/>
                  <a:gd name="T22" fmla="*/ 2377 w 2377"/>
                  <a:gd name="T23" fmla="*/ 2 h 3041"/>
                  <a:gd name="T24" fmla="*/ 2317 w 2377"/>
                  <a:gd name="T25" fmla="*/ 2477 h 3041"/>
                  <a:gd name="T26" fmla="*/ 2317 w 2377"/>
                  <a:gd name="T27" fmla="*/ 0 h 30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77" h="3041">
                    <a:moveTo>
                      <a:pt x="694" y="2957"/>
                    </a:moveTo>
                    <a:lnTo>
                      <a:pt x="2305" y="2957"/>
                    </a:lnTo>
                    <a:lnTo>
                      <a:pt x="2304" y="3041"/>
                    </a:lnTo>
                    <a:lnTo>
                      <a:pt x="681" y="3000"/>
                    </a:lnTo>
                    <a:lnTo>
                      <a:pt x="694" y="2957"/>
                    </a:lnTo>
                    <a:close/>
                    <a:moveTo>
                      <a:pt x="1" y="2957"/>
                    </a:moveTo>
                    <a:lnTo>
                      <a:pt x="508" y="2957"/>
                    </a:lnTo>
                    <a:lnTo>
                      <a:pt x="496" y="2996"/>
                    </a:lnTo>
                    <a:lnTo>
                      <a:pt x="0" y="2985"/>
                    </a:lnTo>
                    <a:lnTo>
                      <a:pt x="1" y="2957"/>
                    </a:lnTo>
                    <a:close/>
                    <a:moveTo>
                      <a:pt x="2317" y="0"/>
                    </a:moveTo>
                    <a:lnTo>
                      <a:pt x="2377" y="2"/>
                    </a:lnTo>
                    <a:lnTo>
                      <a:pt x="2317" y="2477"/>
                    </a:lnTo>
                    <a:lnTo>
                      <a:pt x="2317" y="0"/>
                    </a:lnTo>
                    <a:close/>
                  </a:path>
                </a:pathLst>
              </a:custGeom>
              <a:solidFill>
                <a:srgbClr val="D9D8D8"/>
              </a:solidFill>
              <a:ln w="0">
                <a:solidFill>
                  <a:srgbClr val="D9D8D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72" name="Freeform 44"/>
              <p:cNvSpPr>
                <a:spLocks/>
              </p:cNvSpPr>
              <p:nvPr/>
            </p:nvSpPr>
            <p:spPr bwMode="auto">
              <a:xfrm>
                <a:off x="5129213" y="5399088"/>
                <a:ext cx="314325" cy="68263"/>
              </a:xfrm>
              <a:custGeom>
                <a:avLst/>
                <a:gdLst>
                  <a:gd name="T0" fmla="*/ 12 w 198"/>
                  <a:gd name="T1" fmla="*/ 0 h 43"/>
                  <a:gd name="T2" fmla="*/ 198 w 198"/>
                  <a:gd name="T3" fmla="*/ 0 h 43"/>
                  <a:gd name="T4" fmla="*/ 185 w 198"/>
                  <a:gd name="T5" fmla="*/ 43 h 43"/>
                  <a:gd name="T6" fmla="*/ 0 w 198"/>
                  <a:gd name="T7" fmla="*/ 39 h 43"/>
                  <a:gd name="T8" fmla="*/ 12 w 198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43">
                    <a:moveTo>
                      <a:pt x="12" y="0"/>
                    </a:moveTo>
                    <a:lnTo>
                      <a:pt x="198" y="0"/>
                    </a:lnTo>
                    <a:lnTo>
                      <a:pt x="185" y="43"/>
                    </a:lnTo>
                    <a:lnTo>
                      <a:pt x="0" y="39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D9D8D8"/>
              </a:solidFill>
              <a:ln w="0">
                <a:solidFill>
                  <a:srgbClr val="D9D8D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</p:grpSp>
        <p:grpSp>
          <p:nvGrpSpPr>
            <p:cNvPr id="38" name="Group 37"/>
            <p:cNvGrpSpPr/>
            <p:nvPr/>
          </p:nvGrpSpPr>
          <p:grpSpPr>
            <a:xfrm>
              <a:off x="513606" y="1611086"/>
              <a:ext cx="2995831" cy="3977878"/>
              <a:chOff x="4286250" y="441325"/>
              <a:chExt cx="3733800" cy="4957763"/>
            </a:xfrm>
          </p:grpSpPr>
          <p:sp>
            <p:nvSpPr>
              <p:cNvPr id="50" name="Rectangle 49"/>
              <p:cNvSpPr>
                <a:spLocks noChangeArrowheads="1"/>
              </p:cNvSpPr>
              <p:nvPr/>
            </p:nvSpPr>
            <p:spPr bwMode="auto">
              <a:xfrm>
                <a:off x="4286250" y="441325"/>
                <a:ext cx="3733800" cy="4957763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grpSp>
            <p:nvGrpSpPr>
              <p:cNvPr id="51" name="Group 50"/>
              <p:cNvGrpSpPr/>
              <p:nvPr/>
            </p:nvGrpSpPr>
            <p:grpSpPr>
              <a:xfrm>
                <a:off x="4610100" y="1789113"/>
                <a:ext cx="3059113" cy="3078162"/>
                <a:chOff x="4610100" y="1789113"/>
                <a:chExt cx="3059113" cy="3078162"/>
              </a:xfrm>
            </p:grpSpPr>
            <p:sp>
              <p:nvSpPr>
                <p:cNvPr id="52" name="Freeform 26"/>
                <p:cNvSpPr>
                  <a:spLocks noEditPoints="1"/>
                </p:cNvSpPr>
                <p:nvPr/>
              </p:nvSpPr>
              <p:spPr bwMode="auto">
                <a:xfrm>
                  <a:off x="4684713" y="4268788"/>
                  <a:ext cx="600075" cy="73025"/>
                </a:xfrm>
                <a:custGeom>
                  <a:avLst/>
                  <a:gdLst>
                    <a:gd name="T0" fmla="*/ 0 w 378"/>
                    <a:gd name="T1" fmla="*/ 40 h 46"/>
                    <a:gd name="T2" fmla="*/ 8 w 378"/>
                    <a:gd name="T3" fmla="*/ 46 h 46"/>
                    <a:gd name="T4" fmla="*/ 0 w 378"/>
                    <a:gd name="T5" fmla="*/ 46 h 46"/>
                    <a:gd name="T6" fmla="*/ 0 w 378"/>
                    <a:gd name="T7" fmla="*/ 40 h 46"/>
                    <a:gd name="T8" fmla="*/ 0 w 378"/>
                    <a:gd name="T9" fmla="*/ 0 h 46"/>
                    <a:gd name="T10" fmla="*/ 378 w 378"/>
                    <a:gd name="T11" fmla="*/ 0 h 46"/>
                    <a:gd name="T12" fmla="*/ 378 w 378"/>
                    <a:gd name="T13" fmla="*/ 46 h 46"/>
                    <a:gd name="T14" fmla="*/ 21 w 378"/>
                    <a:gd name="T15" fmla="*/ 46 h 46"/>
                    <a:gd name="T16" fmla="*/ 11 w 378"/>
                    <a:gd name="T17" fmla="*/ 39 h 46"/>
                    <a:gd name="T18" fmla="*/ 0 w 378"/>
                    <a:gd name="T19" fmla="*/ 33 h 46"/>
                    <a:gd name="T20" fmla="*/ 0 w 378"/>
                    <a:gd name="T21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78" h="46">
                      <a:moveTo>
                        <a:pt x="0" y="40"/>
                      </a:moveTo>
                      <a:lnTo>
                        <a:pt x="8" y="46"/>
                      </a:lnTo>
                      <a:lnTo>
                        <a:pt x="0" y="46"/>
                      </a:lnTo>
                      <a:lnTo>
                        <a:pt x="0" y="40"/>
                      </a:lnTo>
                      <a:close/>
                      <a:moveTo>
                        <a:pt x="0" y="0"/>
                      </a:moveTo>
                      <a:lnTo>
                        <a:pt x="378" y="0"/>
                      </a:lnTo>
                      <a:lnTo>
                        <a:pt x="378" y="46"/>
                      </a:lnTo>
                      <a:lnTo>
                        <a:pt x="21" y="46"/>
                      </a:lnTo>
                      <a:lnTo>
                        <a:pt x="11" y="39"/>
                      </a:lnTo>
                      <a:lnTo>
                        <a:pt x="0" y="3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818287"/>
                </a:solidFill>
                <a:ln w="0">
                  <a:solidFill>
                    <a:srgbClr val="818287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53" name="Freeform 27"/>
                <p:cNvSpPr>
                  <a:spLocks noEditPoints="1"/>
                </p:cNvSpPr>
                <p:nvPr/>
              </p:nvSpPr>
              <p:spPr bwMode="auto">
                <a:xfrm>
                  <a:off x="4652963" y="4310063"/>
                  <a:ext cx="974725" cy="365125"/>
                </a:xfrm>
                <a:custGeom>
                  <a:avLst/>
                  <a:gdLst>
                    <a:gd name="T0" fmla="*/ 82 w 614"/>
                    <a:gd name="T1" fmla="*/ 151 h 230"/>
                    <a:gd name="T2" fmla="*/ 90 w 614"/>
                    <a:gd name="T3" fmla="*/ 190 h 230"/>
                    <a:gd name="T4" fmla="*/ 154 w 614"/>
                    <a:gd name="T5" fmla="*/ 194 h 230"/>
                    <a:gd name="T6" fmla="*/ 97 w 614"/>
                    <a:gd name="T7" fmla="*/ 126 h 230"/>
                    <a:gd name="T8" fmla="*/ 288 w 614"/>
                    <a:gd name="T9" fmla="*/ 136 h 230"/>
                    <a:gd name="T10" fmla="*/ 113 w 614"/>
                    <a:gd name="T11" fmla="*/ 114 h 230"/>
                    <a:gd name="T12" fmla="*/ 118 w 614"/>
                    <a:gd name="T13" fmla="*/ 122 h 230"/>
                    <a:gd name="T14" fmla="*/ 37 w 614"/>
                    <a:gd name="T15" fmla="*/ 52 h 230"/>
                    <a:gd name="T16" fmla="*/ 97 w 614"/>
                    <a:gd name="T17" fmla="*/ 115 h 230"/>
                    <a:gd name="T18" fmla="*/ 50 w 614"/>
                    <a:gd name="T19" fmla="*/ 38 h 230"/>
                    <a:gd name="T20" fmla="*/ 3 w 614"/>
                    <a:gd name="T21" fmla="*/ 0 h 230"/>
                    <a:gd name="T22" fmla="*/ 66 w 614"/>
                    <a:gd name="T23" fmla="*/ 43 h 230"/>
                    <a:gd name="T24" fmla="*/ 126 w 614"/>
                    <a:gd name="T25" fmla="*/ 101 h 230"/>
                    <a:gd name="T26" fmla="*/ 189 w 614"/>
                    <a:gd name="T27" fmla="*/ 127 h 230"/>
                    <a:gd name="T28" fmla="*/ 223 w 614"/>
                    <a:gd name="T29" fmla="*/ 175 h 230"/>
                    <a:gd name="T30" fmla="*/ 262 w 614"/>
                    <a:gd name="T31" fmla="*/ 152 h 230"/>
                    <a:gd name="T32" fmla="*/ 265 w 614"/>
                    <a:gd name="T33" fmla="*/ 162 h 230"/>
                    <a:gd name="T34" fmla="*/ 274 w 614"/>
                    <a:gd name="T35" fmla="*/ 173 h 230"/>
                    <a:gd name="T36" fmla="*/ 290 w 614"/>
                    <a:gd name="T37" fmla="*/ 169 h 230"/>
                    <a:gd name="T38" fmla="*/ 226 w 614"/>
                    <a:gd name="T39" fmla="*/ 114 h 230"/>
                    <a:gd name="T40" fmla="*/ 227 w 614"/>
                    <a:gd name="T41" fmla="*/ 107 h 230"/>
                    <a:gd name="T42" fmla="*/ 282 w 614"/>
                    <a:gd name="T43" fmla="*/ 123 h 230"/>
                    <a:gd name="T44" fmla="*/ 306 w 614"/>
                    <a:gd name="T45" fmla="*/ 145 h 230"/>
                    <a:gd name="T46" fmla="*/ 326 w 614"/>
                    <a:gd name="T47" fmla="*/ 64 h 230"/>
                    <a:gd name="T48" fmla="*/ 345 w 614"/>
                    <a:gd name="T49" fmla="*/ 55 h 230"/>
                    <a:gd name="T50" fmla="*/ 350 w 614"/>
                    <a:gd name="T51" fmla="*/ 143 h 230"/>
                    <a:gd name="T52" fmla="*/ 370 w 614"/>
                    <a:gd name="T53" fmla="*/ 165 h 230"/>
                    <a:gd name="T54" fmla="*/ 406 w 614"/>
                    <a:gd name="T55" fmla="*/ 177 h 230"/>
                    <a:gd name="T56" fmla="*/ 412 w 614"/>
                    <a:gd name="T57" fmla="*/ 192 h 230"/>
                    <a:gd name="T58" fmla="*/ 400 w 614"/>
                    <a:gd name="T59" fmla="*/ 203 h 230"/>
                    <a:gd name="T60" fmla="*/ 371 w 614"/>
                    <a:gd name="T61" fmla="*/ 217 h 230"/>
                    <a:gd name="T62" fmla="*/ 469 w 614"/>
                    <a:gd name="T63" fmla="*/ 190 h 230"/>
                    <a:gd name="T64" fmla="*/ 613 w 614"/>
                    <a:gd name="T65" fmla="*/ 182 h 230"/>
                    <a:gd name="T66" fmla="*/ 613 w 614"/>
                    <a:gd name="T67" fmla="*/ 189 h 230"/>
                    <a:gd name="T68" fmla="*/ 464 w 614"/>
                    <a:gd name="T69" fmla="*/ 198 h 230"/>
                    <a:gd name="T70" fmla="*/ 367 w 614"/>
                    <a:gd name="T71" fmla="*/ 225 h 230"/>
                    <a:gd name="T72" fmla="*/ 346 w 614"/>
                    <a:gd name="T73" fmla="*/ 219 h 230"/>
                    <a:gd name="T74" fmla="*/ 395 w 614"/>
                    <a:gd name="T75" fmla="*/ 198 h 230"/>
                    <a:gd name="T76" fmla="*/ 404 w 614"/>
                    <a:gd name="T77" fmla="*/ 190 h 230"/>
                    <a:gd name="T78" fmla="*/ 385 w 614"/>
                    <a:gd name="T79" fmla="*/ 174 h 230"/>
                    <a:gd name="T80" fmla="*/ 363 w 614"/>
                    <a:gd name="T81" fmla="*/ 172 h 230"/>
                    <a:gd name="T82" fmla="*/ 341 w 614"/>
                    <a:gd name="T83" fmla="*/ 136 h 230"/>
                    <a:gd name="T84" fmla="*/ 330 w 614"/>
                    <a:gd name="T85" fmla="*/ 71 h 230"/>
                    <a:gd name="T86" fmla="*/ 312 w 614"/>
                    <a:gd name="T87" fmla="*/ 152 h 230"/>
                    <a:gd name="T88" fmla="*/ 303 w 614"/>
                    <a:gd name="T89" fmla="*/ 152 h 230"/>
                    <a:gd name="T90" fmla="*/ 282 w 614"/>
                    <a:gd name="T91" fmla="*/ 181 h 230"/>
                    <a:gd name="T92" fmla="*/ 257 w 614"/>
                    <a:gd name="T93" fmla="*/ 161 h 230"/>
                    <a:gd name="T94" fmla="*/ 205 w 614"/>
                    <a:gd name="T95" fmla="*/ 191 h 230"/>
                    <a:gd name="T96" fmla="*/ 193 w 614"/>
                    <a:gd name="T97" fmla="*/ 151 h 230"/>
                    <a:gd name="T98" fmla="*/ 143 w 614"/>
                    <a:gd name="T99" fmla="*/ 107 h 230"/>
                    <a:gd name="T100" fmla="*/ 146 w 614"/>
                    <a:gd name="T101" fmla="*/ 155 h 230"/>
                    <a:gd name="T102" fmla="*/ 190 w 614"/>
                    <a:gd name="T103" fmla="*/ 227 h 230"/>
                    <a:gd name="T104" fmla="*/ 185 w 614"/>
                    <a:gd name="T105" fmla="*/ 229 h 230"/>
                    <a:gd name="T106" fmla="*/ 162 w 614"/>
                    <a:gd name="T107" fmla="*/ 195 h 230"/>
                    <a:gd name="T108" fmla="*/ 156 w 614"/>
                    <a:gd name="T109" fmla="*/ 200 h 230"/>
                    <a:gd name="T110" fmla="*/ 90 w 614"/>
                    <a:gd name="T111" fmla="*/ 199 h 230"/>
                    <a:gd name="T112" fmla="*/ 72 w 614"/>
                    <a:gd name="T113" fmla="*/ 152 h 230"/>
                    <a:gd name="T114" fmla="*/ 78 w 614"/>
                    <a:gd name="T115" fmla="*/ 106 h 230"/>
                    <a:gd name="T116" fmla="*/ 0 w 614"/>
                    <a:gd name="T117" fmla="*/ 4 h 2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614" h="230">
                      <a:moveTo>
                        <a:pt x="97" y="126"/>
                      </a:moveTo>
                      <a:lnTo>
                        <a:pt x="93" y="130"/>
                      </a:lnTo>
                      <a:lnTo>
                        <a:pt x="87" y="140"/>
                      </a:lnTo>
                      <a:lnTo>
                        <a:pt x="82" y="151"/>
                      </a:lnTo>
                      <a:lnTo>
                        <a:pt x="78" y="162"/>
                      </a:lnTo>
                      <a:lnTo>
                        <a:pt x="78" y="173"/>
                      </a:lnTo>
                      <a:lnTo>
                        <a:pt x="82" y="182"/>
                      </a:lnTo>
                      <a:lnTo>
                        <a:pt x="90" y="190"/>
                      </a:lnTo>
                      <a:lnTo>
                        <a:pt x="105" y="196"/>
                      </a:lnTo>
                      <a:lnTo>
                        <a:pt x="124" y="198"/>
                      </a:lnTo>
                      <a:lnTo>
                        <a:pt x="141" y="196"/>
                      </a:lnTo>
                      <a:lnTo>
                        <a:pt x="154" y="194"/>
                      </a:lnTo>
                      <a:lnTo>
                        <a:pt x="146" y="173"/>
                      </a:lnTo>
                      <a:lnTo>
                        <a:pt x="125" y="152"/>
                      </a:lnTo>
                      <a:lnTo>
                        <a:pt x="101" y="130"/>
                      </a:lnTo>
                      <a:lnTo>
                        <a:pt x="97" y="126"/>
                      </a:lnTo>
                      <a:close/>
                      <a:moveTo>
                        <a:pt x="254" y="120"/>
                      </a:moveTo>
                      <a:lnTo>
                        <a:pt x="270" y="127"/>
                      </a:lnTo>
                      <a:lnTo>
                        <a:pt x="290" y="138"/>
                      </a:lnTo>
                      <a:lnTo>
                        <a:pt x="288" y="136"/>
                      </a:lnTo>
                      <a:lnTo>
                        <a:pt x="275" y="127"/>
                      </a:lnTo>
                      <a:lnTo>
                        <a:pt x="260" y="122"/>
                      </a:lnTo>
                      <a:lnTo>
                        <a:pt x="254" y="120"/>
                      </a:lnTo>
                      <a:close/>
                      <a:moveTo>
                        <a:pt x="113" y="114"/>
                      </a:moveTo>
                      <a:lnTo>
                        <a:pt x="103" y="120"/>
                      </a:lnTo>
                      <a:lnTo>
                        <a:pt x="124" y="140"/>
                      </a:lnTo>
                      <a:lnTo>
                        <a:pt x="137" y="153"/>
                      </a:lnTo>
                      <a:lnTo>
                        <a:pt x="118" y="122"/>
                      </a:lnTo>
                      <a:lnTo>
                        <a:pt x="113" y="114"/>
                      </a:lnTo>
                      <a:close/>
                      <a:moveTo>
                        <a:pt x="12" y="11"/>
                      </a:moveTo>
                      <a:lnTo>
                        <a:pt x="21" y="29"/>
                      </a:lnTo>
                      <a:lnTo>
                        <a:pt x="37" y="52"/>
                      </a:lnTo>
                      <a:lnTo>
                        <a:pt x="57" y="75"/>
                      </a:lnTo>
                      <a:lnTo>
                        <a:pt x="76" y="96"/>
                      </a:lnTo>
                      <a:lnTo>
                        <a:pt x="97" y="115"/>
                      </a:lnTo>
                      <a:lnTo>
                        <a:pt x="97" y="115"/>
                      </a:lnTo>
                      <a:lnTo>
                        <a:pt x="109" y="107"/>
                      </a:lnTo>
                      <a:lnTo>
                        <a:pt x="95" y="88"/>
                      </a:lnTo>
                      <a:lnTo>
                        <a:pt x="74" y="62"/>
                      </a:lnTo>
                      <a:lnTo>
                        <a:pt x="50" y="38"/>
                      </a:lnTo>
                      <a:lnTo>
                        <a:pt x="36" y="25"/>
                      </a:lnTo>
                      <a:lnTo>
                        <a:pt x="20" y="14"/>
                      </a:lnTo>
                      <a:lnTo>
                        <a:pt x="12" y="11"/>
                      </a:lnTo>
                      <a:close/>
                      <a:moveTo>
                        <a:pt x="3" y="0"/>
                      </a:moveTo>
                      <a:lnTo>
                        <a:pt x="6" y="0"/>
                      </a:lnTo>
                      <a:lnTo>
                        <a:pt x="28" y="11"/>
                      </a:lnTo>
                      <a:lnTo>
                        <a:pt x="48" y="25"/>
                      </a:lnTo>
                      <a:lnTo>
                        <a:pt x="66" y="43"/>
                      </a:lnTo>
                      <a:lnTo>
                        <a:pt x="83" y="62"/>
                      </a:lnTo>
                      <a:lnTo>
                        <a:pt x="99" y="81"/>
                      </a:lnTo>
                      <a:lnTo>
                        <a:pt x="116" y="105"/>
                      </a:lnTo>
                      <a:lnTo>
                        <a:pt x="126" y="101"/>
                      </a:lnTo>
                      <a:lnTo>
                        <a:pt x="143" y="100"/>
                      </a:lnTo>
                      <a:lnTo>
                        <a:pt x="160" y="102"/>
                      </a:lnTo>
                      <a:lnTo>
                        <a:pt x="175" y="111"/>
                      </a:lnTo>
                      <a:lnTo>
                        <a:pt x="189" y="127"/>
                      </a:lnTo>
                      <a:lnTo>
                        <a:pt x="199" y="145"/>
                      </a:lnTo>
                      <a:lnTo>
                        <a:pt x="205" y="166"/>
                      </a:lnTo>
                      <a:lnTo>
                        <a:pt x="209" y="182"/>
                      </a:lnTo>
                      <a:lnTo>
                        <a:pt x="223" y="175"/>
                      </a:lnTo>
                      <a:lnTo>
                        <a:pt x="241" y="164"/>
                      </a:lnTo>
                      <a:lnTo>
                        <a:pt x="258" y="152"/>
                      </a:lnTo>
                      <a:lnTo>
                        <a:pt x="260" y="152"/>
                      </a:lnTo>
                      <a:lnTo>
                        <a:pt x="262" y="152"/>
                      </a:lnTo>
                      <a:lnTo>
                        <a:pt x="264" y="153"/>
                      </a:lnTo>
                      <a:lnTo>
                        <a:pt x="264" y="156"/>
                      </a:lnTo>
                      <a:lnTo>
                        <a:pt x="264" y="158"/>
                      </a:lnTo>
                      <a:lnTo>
                        <a:pt x="265" y="162"/>
                      </a:lnTo>
                      <a:lnTo>
                        <a:pt x="266" y="166"/>
                      </a:lnTo>
                      <a:lnTo>
                        <a:pt x="268" y="169"/>
                      </a:lnTo>
                      <a:lnTo>
                        <a:pt x="270" y="172"/>
                      </a:lnTo>
                      <a:lnTo>
                        <a:pt x="274" y="173"/>
                      </a:lnTo>
                      <a:lnTo>
                        <a:pt x="278" y="174"/>
                      </a:lnTo>
                      <a:lnTo>
                        <a:pt x="282" y="173"/>
                      </a:lnTo>
                      <a:lnTo>
                        <a:pt x="286" y="172"/>
                      </a:lnTo>
                      <a:lnTo>
                        <a:pt x="290" y="169"/>
                      </a:lnTo>
                      <a:lnTo>
                        <a:pt x="295" y="158"/>
                      </a:lnTo>
                      <a:lnTo>
                        <a:pt x="295" y="148"/>
                      </a:lnTo>
                      <a:lnTo>
                        <a:pt x="266" y="134"/>
                      </a:lnTo>
                      <a:lnTo>
                        <a:pt x="226" y="114"/>
                      </a:lnTo>
                      <a:lnTo>
                        <a:pt x="224" y="113"/>
                      </a:lnTo>
                      <a:lnTo>
                        <a:pt x="224" y="110"/>
                      </a:lnTo>
                      <a:lnTo>
                        <a:pt x="224" y="109"/>
                      </a:lnTo>
                      <a:lnTo>
                        <a:pt x="227" y="107"/>
                      </a:lnTo>
                      <a:lnTo>
                        <a:pt x="228" y="107"/>
                      </a:lnTo>
                      <a:lnTo>
                        <a:pt x="251" y="111"/>
                      </a:lnTo>
                      <a:lnTo>
                        <a:pt x="271" y="118"/>
                      </a:lnTo>
                      <a:lnTo>
                        <a:pt x="282" y="123"/>
                      </a:lnTo>
                      <a:lnTo>
                        <a:pt x="291" y="128"/>
                      </a:lnTo>
                      <a:lnTo>
                        <a:pt x="298" y="136"/>
                      </a:lnTo>
                      <a:lnTo>
                        <a:pt x="302" y="144"/>
                      </a:lnTo>
                      <a:lnTo>
                        <a:pt x="306" y="145"/>
                      </a:lnTo>
                      <a:lnTo>
                        <a:pt x="307" y="123"/>
                      </a:lnTo>
                      <a:lnTo>
                        <a:pt x="311" y="96"/>
                      </a:lnTo>
                      <a:lnTo>
                        <a:pt x="316" y="79"/>
                      </a:lnTo>
                      <a:lnTo>
                        <a:pt x="326" y="64"/>
                      </a:lnTo>
                      <a:lnTo>
                        <a:pt x="340" y="52"/>
                      </a:lnTo>
                      <a:lnTo>
                        <a:pt x="341" y="52"/>
                      </a:lnTo>
                      <a:lnTo>
                        <a:pt x="343" y="54"/>
                      </a:lnTo>
                      <a:lnTo>
                        <a:pt x="345" y="55"/>
                      </a:lnTo>
                      <a:lnTo>
                        <a:pt x="346" y="77"/>
                      </a:lnTo>
                      <a:lnTo>
                        <a:pt x="346" y="98"/>
                      </a:lnTo>
                      <a:lnTo>
                        <a:pt x="346" y="120"/>
                      </a:lnTo>
                      <a:lnTo>
                        <a:pt x="350" y="143"/>
                      </a:lnTo>
                      <a:lnTo>
                        <a:pt x="353" y="149"/>
                      </a:lnTo>
                      <a:lnTo>
                        <a:pt x="357" y="157"/>
                      </a:lnTo>
                      <a:lnTo>
                        <a:pt x="362" y="164"/>
                      </a:lnTo>
                      <a:lnTo>
                        <a:pt x="370" y="165"/>
                      </a:lnTo>
                      <a:lnTo>
                        <a:pt x="385" y="166"/>
                      </a:lnTo>
                      <a:lnTo>
                        <a:pt x="398" y="172"/>
                      </a:lnTo>
                      <a:lnTo>
                        <a:pt x="402" y="174"/>
                      </a:lnTo>
                      <a:lnTo>
                        <a:pt x="406" y="177"/>
                      </a:lnTo>
                      <a:lnTo>
                        <a:pt x="409" y="181"/>
                      </a:lnTo>
                      <a:lnTo>
                        <a:pt x="412" y="185"/>
                      </a:lnTo>
                      <a:lnTo>
                        <a:pt x="412" y="189"/>
                      </a:lnTo>
                      <a:lnTo>
                        <a:pt x="412" y="192"/>
                      </a:lnTo>
                      <a:lnTo>
                        <a:pt x="409" y="195"/>
                      </a:lnTo>
                      <a:lnTo>
                        <a:pt x="406" y="198"/>
                      </a:lnTo>
                      <a:lnTo>
                        <a:pt x="404" y="200"/>
                      </a:lnTo>
                      <a:lnTo>
                        <a:pt x="400" y="203"/>
                      </a:lnTo>
                      <a:lnTo>
                        <a:pt x="384" y="211"/>
                      </a:lnTo>
                      <a:lnTo>
                        <a:pt x="367" y="216"/>
                      </a:lnTo>
                      <a:lnTo>
                        <a:pt x="364" y="217"/>
                      </a:lnTo>
                      <a:lnTo>
                        <a:pt x="371" y="217"/>
                      </a:lnTo>
                      <a:lnTo>
                        <a:pt x="391" y="213"/>
                      </a:lnTo>
                      <a:lnTo>
                        <a:pt x="410" y="206"/>
                      </a:lnTo>
                      <a:lnTo>
                        <a:pt x="439" y="196"/>
                      </a:lnTo>
                      <a:lnTo>
                        <a:pt x="469" y="190"/>
                      </a:lnTo>
                      <a:lnTo>
                        <a:pt x="516" y="185"/>
                      </a:lnTo>
                      <a:lnTo>
                        <a:pt x="563" y="183"/>
                      </a:lnTo>
                      <a:lnTo>
                        <a:pt x="611" y="182"/>
                      </a:lnTo>
                      <a:lnTo>
                        <a:pt x="613" y="182"/>
                      </a:lnTo>
                      <a:lnTo>
                        <a:pt x="614" y="183"/>
                      </a:lnTo>
                      <a:lnTo>
                        <a:pt x="614" y="186"/>
                      </a:lnTo>
                      <a:lnTo>
                        <a:pt x="614" y="187"/>
                      </a:lnTo>
                      <a:lnTo>
                        <a:pt x="613" y="189"/>
                      </a:lnTo>
                      <a:lnTo>
                        <a:pt x="611" y="190"/>
                      </a:lnTo>
                      <a:lnTo>
                        <a:pt x="562" y="190"/>
                      </a:lnTo>
                      <a:lnTo>
                        <a:pt x="512" y="192"/>
                      </a:lnTo>
                      <a:lnTo>
                        <a:pt x="464" y="198"/>
                      </a:lnTo>
                      <a:lnTo>
                        <a:pt x="432" y="206"/>
                      </a:lnTo>
                      <a:lnTo>
                        <a:pt x="404" y="216"/>
                      </a:lnTo>
                      <a:lnTo>
                        <a:pt x="385" y="223"/>
                      </a:lnTo>
                      <a:lnTo>
                        <a:pt x="367" y="225"/>
                      </a:lnTo>
                      <a:lnTo>
                        <a:pt x="349" y="224"/>
                      </a:lnTo>
                      <a:lnTo>
                        <a:pt x="346" y="223"/>
                      </a:lnTo>
                      <a:lnTo>
                        <a:pt x="346" y="221"/>
                      </a:lnTo>
                      <a:lnTo>
                        <a:pt x="346" y="219"/>
                      </a:lnTo>
                      <a:lnTo>
                        <a:pt x="347" y="217"/>
                      </a:lnTo>
                      <a:lnTo>
                        <a:pt x="363" y="211"/>
                      </a:lnTo>
                      <a:lnTo>
                        <a:pt x="379" y="204"/>
                      </a:lnTo>
                      <a:lnTo>
                        <a:pt x="395" y="198"/>
                      </a:lnTo>
                      <a:lnTo>
                        <a:pt x="397" y="196"/>
                      </a:lnTo>
                      <a:lnTo>
                        <a:pt x="400" y="195"/>
                      </a:lnTo>
                      <a:lnTo>
                        <a:pt x="402" y="192"/>
                      </a:lnTo>
                      <a:lnTo>
                        <a:pt x="404" y="190"/>
                      </a:lnTo>
                      <a:lnTo>
                        <a:pt x="405" y="187"/>
                      </a:lnTo>
                      <a:lnTo>
                        <a:pt x="404" y="185"/>
                      </a:lnTo>
                      <a:lnTo>
                        <a:pt x="396" y="178"/>
                      </a:lnTo>
                      <a:lnTo>
                        <a:pt x="385" y="174"/>
                      </a:lnTo>
                      <a:lnTo>
                        <a:pt x="375" y="173"/>
                      </a:lnTo>
                      <a:lnTo>
                        <a:pt x="371" y="173"/>
                      </a:lnTo>
                      <a:lnTo>
                        <a:pt x="367" y="173"/>
                      </a:lnTo>
                      <a:lnTo>
                        <a:pt x="363" y="172"/>
                      </a:lnTo>
                      <a:lnTo>
                        <a:pt x="359" y="170"/>
                      </a:lnTo>
                      <a:lnTo>
                        <a:pt x="357" y="168"/>
                      </a:lnTo>
                      <a:lnTo>
                        <a:pt x="346" y="153"/>
                      </a:lnTo>
                      <a:lnTo>
                        <a:pt x="341" y="136"/>
                      </a:lnTo>
                      <a:lnTo>
                        <a:pt x="340" y="110"/>
                      </a:lnTo>
                      <a:lnTo>
                        <a:pt x="340" y="84"/>
                      </a:lnTo>
                      <a:lnTo>
                        <a:pt x="338" y="63"/>
                      </a:lnTo>
                      <a:lnTo>
                        <a:pt x="330" y="71"/>
                      </a:lnTo>
                      <a:lnTo>
                        <a:pt x="321" y="85"/>
                      </a:lnTo>
                      <a:lnTo>
                        <a:pt x="317" y="101"/>
                      </a:lnTo>
                      <a:lnTo>
                        <a:pt x="315" y="126"/>
                      </a:lnTo>
                      <a:lnTo>
                        <a:pt x="312" y="152"/>
                      </a:lnTo>
                      <a:lnTo>
                        <a:pt x="312" y="153"/>
                      </a:lnTo>
                      <a:lnTo>
                        <a:pt x="309" y="155"/>
                      </a:lnTo>
                      <a:lnTo>
                        <a:pt x="307" y="155"/>
                      </a:lnTo>
                      <a:lnTo>
                        <a:pt x="303" y="152"/>
                      </a:lnTo>
                      <a:lnTo>
                        <a:pt x="303" y="156"/>
                      </a:lnTo>
                      <a:lnTo>
                        <a:pt x="299" y="168"/>
                      </a:lnTo>
                      <a:lnTo>
                        <a:pt x="292" y="175"/>
                      </a:lnTo>
                      <a:lnTo>
                        <a:pt x="282" y="181"/>
                      </a:lnTo>
                      <a:lnTo>
                        <a:pt x="271" y="179"/>
                      </a:lnTo>
                      <a:lnTo>
                        <a:pt x="264" y="174"/>
                      </a:lnTo>
                      <a:lnTo>
                        <a:pt x="258" y="166"/>
                      </a:lnTo>
                      <a:lnTo>
                        <a:pt x="257" y="161"/>
                      </a:lnTo>
                      <a:lnTo>
                        <a:pt x="244" y="170"/>
                      </a:lnTo>
                      <a:lnTo>
                        <a:pt x="226" y="182"/>
                      </a:lnTo>
                      <a:lnTo>
                        <a:pt x="206" y="191"/>
                      </a:lnTo>
                      <a:lnTo>
                        <a:pt x="205" y="191"/>
                      </a:lnTo>
                      <a:lnTo>
                        <a:pt x="202" y="190"/>
                      </a:lnTo>
                      <a:lnTo>
                        <a:pt x="202" y="187"/>
                      </a:lnTo>
                      <a:lnTo>
                        <a:pt x="198" y="169"/>
                      </a:lnTo>
                      <a:lnTo>
                        <a:pt x="193" y="151"/>
                      </a:lnTo>
                      <a:lnTo>
                        <a:pt x="184" y="132"/>
                      </a:lnTo>
                      <a:lnTo>
                        <a:pt x="172" y="118"/>
                      </a:lnTo>
                      <a:lnTo>
                        <a:pt x="159" y="110"/>
                      </a:lnTo>
                      <a:lnTo>
                        <a:pt x="143" y="107"/>
                      </a:lnTo>
                      <a:lnTo>
                        <a:pt x="127" y="107"/>
                      </a:lnTo>
                      <a:lnTo>
                        <a:pt x="120" y="111"/>
                      </a:lnTo>
                      <a:lnTo>
                        <a:pt x="124" y="117"/>
                      </a:lnTo>
                      <a:lnTo>
                        <a:pt x="146" y="155"/>
                      </a:lnTo>
                      <a:lnTo>
                        <a:pt x="152" y="170"/>
                      </a:lnTo>
                      <a:lnTo>
                        <a:pt x="172" y="194"/>
                      </a:lnTo>
                      <a:lnTo>
                        <a:pt x="190" y="224"/>
                      </a:lnTo>
                      <a:lnTo>
                        <a:pt x="190" y="227"/>
                      </a:lnTo>
                      <a:lnTo>
                        <a:pt x="190" y="228"/>
                      </a:lnTo>
                      <a:lnTo>
                        <a:pt x="189" y="229"/>
                      </a:lnTo>
                      <a:lnTo>
                        <a:pt x="186" y="230"/>
                      </a:lnTo>
                      <a:lnTo>
                        <a:pt x="185" y="229"/>
                      </a:lnTo>
                      <a:lnTo>
                        <a:pt x="184" y="228"/>
                      </a:lnTo>
                      <a:lnTo>
                        <a:pt x="167" y="200"/>
                      </a:lnTo>
                      <a:lnTo>
                        <a:pt x="162" y="192"/>
                      </a:lnTo>
                      <a:lnTo>
                        <a:pt x="162" y="195"/>
                      </a:lnTo>
                      <a:lnTo>
                        <a:pt x="163" y="196"/>
                      </a:lnTo>
                      <a:lnTo>
                        <a:pt x="162" y="199"/>
                      </a:lnTo>
                      <a:lnTo>
                        <a:pt x="160" y="199"/>
                      </a:lnTo>
                      <a:lnTo>
                        <a:pt x="156" y="200"/>
                      </a:lnTo>
                      <a:lnTo>
                        <a:pt x="135" y="204"/>
                      </a:lnTo>
                      <a:lnTo>
                        <a:pt x="116" y="204"/>
                      </a:lnTo>
                      <a:lnTo>
                        <a:pt x="103" y="203"/>
                      </a:lnTo>
                      <a:lnTo>
                        <a:pt x="90" y="199"/>
                      </a:lnTo>
                      <a:lnTo>
                        <a:pt x="80" y="191"/>
                      </a:lnTo>
                      <a:lnTo>
                        <a:pt x="72" y="179"/>
                      </a:lnTo>
                      <a:lnTo>
                        <a:pt x="70" y="166"/>
                      </a:lnTo>
                      <a:lnTo>
                        <a:pt x="72" y="152"/>
                      </a:lnTo>
                      <a:lnTo>
                        <a:pt x="79" y="138"/>
                      </a:lnTo>
                      <a:lnTo>
                        <a:pt x="87" y="126"/>
                      </a:lnTo>
                      <a:lnTo>
                        <a:pt x="92" y="120"/>
                      </a:lnTo>
                      <a:lnTo>
                        <a:pt x="78" y="106"/>
                      </a:lnTo>
                      <a:lnTo>
                        <a:pt x="55" y="84"/>
                      </a:lnTo>
                      <a:lnTo>
                        <a:pt x="35" y="59"/>
                      </a:lnTo>
                      <a:lnTo>
                        <a:pt x="16" y="33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148BA2"/>
                </a:solidFill>
                <a:ln w="0">
                  <a:solidFill>
                    <a:srgbClr val="148BA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54" name="Freeform 28"/>
                <p:cNvSpPr>
                  <a:spLocks noEditPoints="1"/>
                </p:cNvSpPr>
                <p:nvPr/>
              </p:nvSpPr>
              <p:spPr bwMode="auto">
                <a:xfrm>
                  <a:off x="6473825" y="4283075"/>
                  <a:ext cx="301625" cy="423863"/>
                </a:xfrm>
                <a:custGeom>
                  <a:avLst/>
                  <a:gdLst>
                    <a:gd name="T0" fmla="*/ 125 w 190"/>
                    <a:gd name="T1" fmla="*/ 11 h 267"/>
                    <a:gd name="T2" fmla="*/ 81 w 190"/>
                    <a:gd name="T3" fmla="*/ 30 h 267"/>
                    <a:gd name="T4" fmla="*/ 53 w 190"/>
                    <a:gd name="T5" fmla="*/ 63 h 267"/>
                    <a:gd name="T6" fmla="*/ 41 w 190"/>
                    <a:gd name="T7" fmla="*/ 103 h 267"/>
                    <a:gd name="T8" fmla="*/ 45 w 190"/>
                    <a:gd name="T9" fmla="*/ 162 h 267"/>
                    <a:gd name="T10" fmla="*/ 91 w 190"/>
                    <a:gd name="T11" fmla="*/ 147 h 267"/>
                    <a:gd name="T12" fmla="*/ 143 w 190"/>
                    <a:gd name="T13" fmla="*/ 115 h 267"/>
                    <a:gd name="T14" fmla="*/ 169 w 190"/>
                    <a:gd name="T15" fmla="*/ 88 h 267"/>
                    <a:gd name="T16" fmla="*/ 182 w 190"/>
                    <a:gd name="T17" fmla="*/ 52 h 267"/>
                    <a:gd name="T18" fmla="*/ 181 w 190"/>
                    <a:gd name="T19" fmla="*/ 29 h 267"/>
                    <a:gd name="T20" fmla="*/ 167 w 190"/>
                    <a:gd name="T21" fmla="*/ 12 h 267"/>
                    <a:gd name="T22" fmla="*/ 147 w 190"/>
                    <a:gd name="T23" fmla="*/ 8 h 267"/>
                    <a:gd name="T24" fmla="*/ 155 w 190"/>
                    <a:gd name="T25" fmla="*/ 1 h 267"/>
                    <a:gd name="T26" fmla="*/ 178 w 190"/>
                    <a:gd name="T27" fmla="*/ 12 h 267"/>
                    <a:gd name="T28" fmla="*/ 190 w 190"/>
                    <a:gd name="T29" fmla="*/ 35 h 267"/>
                    <a:gd name="T30" fmla="*/ 184 w 190"/>
                    <a:gd name="T31" fmla="*/ 76 h 267"/>
                    <a:gd name="T32" fmla="*/ 160 w 190"/>
                    <a:gd name="T33" fmla="*/ 110 h 267"/>
                    <a:gd name="T34" fmla="*/ 112 w 190"/>
                    <a:gd name="T35" fmla="*/ 144 h 267"/>
                    <a:gd name="T36" fmla="*/ 46 w 190"/>
                    <a:gd name="T37" fmla="*/ 170 h 267"/>
                    <a:gd name="T38" fmla="*/ 55 w 190"/>
                    <a:gd name="T39" fmla="*/ 207 h 267"/>
                    <a:gd name="T40" fmla="*/ 57 w 190"/>
                    <a:gd name="T41" fmla="*/ 234 h 267"/>
                    <a:gd name="T42" fmla="*/ 46 w 190"/>
                    <a:gd name="T43" fmla="*/ 259 h 267"/>
                    <a:gd name="T44" fmla="*/ 32 w 190"/>
                    <a:gd name="T45" fmla="*/ 267 h 267"/>
                    <a:gd name="T46" fmla="*/ 29 w 190"/>
                    <a:gd name="T47" fmla="*/ 263 h 267"/>
                    <a:gd name="T48" fmla="*/ 30 w 190"/>
                    <a:gd name="T49" fmla="*/ 258 h 267"/>
                    <a:gd name="T50" fmla="*/ 33 w 190"/>
                    <a:gd name="T51" fmla="*/ 254 h 267"/>
                    <a:gd name="T52" fmla="*/ 40 w 190"/>
                    <a:gd name="T53" fmla="*/ 251 h 267"/>
                    <a:gd name="T54" fmla="*/ 43 w 190"/>
                    <a:gd name="T55" fmla="*/ 250 h 267"/>
                    <a:gd name="T56" fmla="*/ 50 w 190"/>
                    <a:gd name="T57" fmla="*/ 234 h 267"/>
                    <a:gd name="T58" fmla="*/ 49 w 190"/>
                    <a:gd name="T59" fmla="*/ 211 h 267"/>
                    <a:gd name="T60" fmla="*/ 43 w 190"/>
                    <a:gd name="T61" fmla="*/ 189 h 267"/>
                    <a:gd name="T62" fmla="*/ 5 w 190"/>
                    <a:gd name="T63" fmla="*/ 182 h 267"/>
                    <a:gd name="T64" fmla="*/ 2 w 190"/>
                    <a:gd name="T65" fmla="*/ 181 h 267"/>
                    <a:gd name="T66" fmla="*/ 0 w 190"/>
                    <a:gd name="T67" fmla="*/ 177 h 267"/>
                    <a:gd name="T68" fmla="*/ 3 w 190"/>
                    <a:gd name="T69" fmla="*/ 174 h 267"/>
                    <a:gd name="T70" fmla="*/ 38 w 190"/>
                    <a:gd name="T71" fmla="*/ 165 h 267"/>
                    <a:gd name="T72" fmla="*/ 33 w 190"/>
                    <a:gd name="T73" fmla="*/ 136 h 267"/>
                    <a:gd name="T74" fmla="*/ 36 w 190"/>
                    <a:gd name="T75" fmla="*/ 89 h 267"/>
                    <a:gd name="T76" fmla="*/ 50 w 190"/>
                    <a:gd name="T77" fmla="*/ 52 h 267"/>
                    <a:gd name="T78" fmla="*/ 85 w 190"/>
                    <a:gd name="T79" fmla="*/ 20 h 267"/>
                    <a:gd name="T80" fmla="*/ 142 w 190"/>
                    <a:gd name="T81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90" h="267">
                      <a:moveTo>
                        <a:pt x="147" y="8"/>
                      </a:moveTo>
                      <a:lnTo>
                        <a:pt x="125" y="11"/>
                      </a:lnTo>
                      <a:lnTo>
                        <a:pt x="102" y="18"/>
                      </a:lnTo>
                      <a:lnTo>
                        <a:pt x="81" y="30"/>
                      </a:lnTo>
                      <a:lnTo>
                        <a:pt x="64" y="46"/>
                      </a:lnTo>
                      <a:lnTo>
                        <a:pt x="53" y="63"/>
                      </a:lnTo>
                      <a:lnTo>
                        <a:pt x="45" y="83"/>
                      </a:lnTo>
                      <a:lnTo>
                        <a:pt x="41" y="103"/>
                      </a:lnTo>
                      <a:lnTo>
                        <a:pt x="40" y="124"/>
                      </a:lnTo>
                      <a:lnTo>
                        <a:pt x="45" y="162"/>
                      </a:lnTo>
                      <a:lnTo>
                        <a:pt x="62" y="157"/>
                      </a:lnTo>
                      <a:lnTo>
                        <a:pt x="91" y="147"/>
                      </a:lnTo>
                      <a:lnTo>
                        <a:pt x="118" y="132"/>
                      </a:lnTo>
                      <a:lnTo>
                        <a:pt x="143" y="115"/>
                      </a:lnTo>
                      <a:lnTo>
                        <a:pt x="157" y="102"/>
                      </a:lnTo>
                      <a:lnTo>
                        <a:pt x="169" y="88"/>
                      </a:lnTo>
                      <a:lnTo>
                        <a:pt x="177" y="71"/>
                      </a:lnTo>
                      <a:lnTo>
                        <a:pt x="182" y="52"/>
                      </a:lnTo>
                      <a:lnTo>
                        <a:pt x="182" y="41"/>
                      </a:lnTo>
                      <a:lnTo>
                        <a:pt x="181" y="29"/>
                      </a:lnTo>
                      <a:lnTo>
                        <a:pt x="174" y="18"/>
                      </a:lnTo>
                      <a:lnTo>
                        <a:pt x="167" y="12"/>
                      </a:lnTo>
                      <a:lnTo>
                        <a:pt x="157" y="9"/>
                      </a:lnTo>
                      <a:lnTo>
                        <a:pt x="147" y="8"/>
                      </a:lnTo>
                      <a:close/>
                      <a:moveTo>
                        <a:pt x="142" y="0"/>
                      </a:moveTo>
                      <a:lnTo>
                        <a:pt x="155" y="1"/>
                      </a:lnTo>
                      <a:lnTo>
                        <a:pt x="168" y="5"/>
                      </a:lnTo>
                      <a:lnTo>
                        <a:pt x="178" y="12"/>
                      </a:lnTo>
                      <a:lnTo>
                        <a:pt x="186" y="22"/>
                      </a:lnTo>
                      <a:lnTo>
                        <a:pt x="190" y="35"/>
                      </a:lnTo>
                      <a:lnTo>
                        <a:pt x="189" y="56"/>
                      </a:lnTo>
                      <a:lnTo>
                        <a:pt x="184" y="76"/>
                      </a:lnTo>
                      <a:lnTo>
                        <a:pt x="173" y="94"/>
                      </a:lnTo>
                      <a:lnTo>
                        <a:pt x="160" y="110"/>
                      </a:lnTo>
                      <a:lnTo>
                        <a:pt x="138" y="128"/>
                      </a:lnTo>
                      <a:lnTo>
                        <a:pt x="112" y="144"/>
                      </a:lnTo>
                      <a:lnTo>
                        <a:pt x="85" y="156"/>
                      </a:lnTo>
                      <a:lnTo>
                        <a:pt x="46" y="170"/>
                      </a:lnTo>
                      <a:lnTo>
                        <a:pt x="50" y="187"/>
                      </a:lnTo>
                      <a:lnTo>
                        <a:pt x="55" y="207"/>
                      </a:lnTo>
                      <a:lnTo>
                        <a:pt x="57" y="220"/>
                      </a:lnTo>
                      <a:lnTo>
                        <a:pt x="57" y="234"/>
                      </a:lnTo>
                      <a:lnTo>
                        <a:pt x="53" y="247"/>
                      </a:lnTo>
                      <a:lnTo>
                        <a:pt x="46" y="259"/>
                      </a:lnTo>
                      <a:lnTo>
                        <a:pt x="34" y="267"/>
                      </a:lnTo>
                      <a:lnTo>
                        <a:pt x="32" y="267"/>
                      </a:lnTo>
                      <a:lnTo>
                        <a:pt x="30" y="266"/>
                      </a:lnTo>
                      <a:lnTo>
                        <a:pt x="29" y="263"/>
                      </a:lnTo>
                      <a:lnTo>
                        <a:pt x="29" y="261"/>
                      </a:lnTo>
                      <a:lnTo>
                        <a:pt x="30" y="258"/>
                      </a:lnTo>
                      <a:lnTo>
                        <a:pt x="32" y="255"/>
                      </a:lnTo>
                      <a:lnTo>
                        <a:pt x="33" y="254"/>
                      </a:lnTo>
                      <a:lnTo>
                        <a:pt x="37" y="253"/>
                      </a:lnTo>
                      <a:lnTo>
                        <a:pt x="40" y="251"/>
                      </a:lnTo>
                      <a:lnTo>
                        <a:pt x="43" y="250"/>
                      </a:lnTo>
                      <a:lnTo>
                        <a:pt x="43" y="250"/>
                      </a:lnTo>
                      <a:lnTo>
                        <a:pt x="47" y="245"/>
                      </a:lnTo>
                      <a:lnTo>
                        <a:pt x="50" y="234"/>
                      </a:lnTo>
                      <a:lnTo>
                        <a:pt x="50" y="223"/>
                      </a:lnTo>
                      <a:lnTo>
                        <a:pt x="49" y="211"/>
                      </a:lnTo>
                      <a:lnTo>
                        <a:pt x="46" y="199"/>
                      </a:lnTo>
                      <a:lnTo>
                        <a:pt x="43" y="189"/>
                      </a:lnTo>
                      <a:lnTo>
                        <a:pt x="40" y="172"/>
                      </a:lnTo>
                      <a:lnTo>
                        <a:pt x="5" y="182"/>
                      </a:lnTo>
                      <a:lnTo>
                        <a:pt x="3" y="182"/>
                      </a:lnTo>
                      <a:lnTo>
                        <a:pt x="2" y="181"/>
                      </a:lnTo>
                      <a:lnTo>
                        <a:pt x="2" y="179"/>
                      </a:lnTo>
                      <a:lnTo>
                        <a:pt x="0" y="177"/>
                      </a:lnTo>
                      <a:lnTo>
                        <a:pt x="2" y="175"/>
                      </a:lnTo>
                      <a:lnTo>
                        <a:pt x="3" y="174"/>
                      </a:lnTo>
                      <a:lnTo>
                        <a:pt x="33" y="166"/>
                      </a:lnTo>
                      <a:lnTo>
                        <a:pt x="38" y="165"/>
                      </a:lnTo>
                      <a:lnTo>
                        <a:pt x="37" y="162"/>
                      </a:lnTo>
                      <a:lnTo>
                        <a:pt x="33" y="136"/>
                      </a:lnTo>
                      <a:lnTo>
                        <a:pt x="33" y="109"/>
                      </a:lnTo>
                      <a:lnTo>
                        <a:pt x="36" y="89"/>
                      </a:lnTo>
                      <a:lnTo>
                        <a:pt x="41" y="71"/>
                      </a:lnTo>
                      <a:lnTo>
                        <a:pt x="50" y="52"/>
                      </a:lnTo>
                      <a:lnTo>
                        <a:pt x="63" y="37"/>
                      </a:lnTo>
                      <a:lnTo>
                        <a:pt x="85" y="20"/>
                      </a:lnTo>
                      <a:lnTo>
                        <a:pt x="113" y="7"/>
                      </a:lnTo>
                      <a:lnTo>
                        <a:pt x="142" y="0"/>
                      </a:lnTo>
                      <a:close/>
                    </a:path>
                  </a:pathLst>
                </a:custGeom>
                <a:solidFill>
                  <a:srgbClr val="148BA2"/>
                </a:solidFill>
                <a:ln w="0">
                  <a:solidFill>
                    <a:srgbClr val="148BA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55" name="Freeform 29"/>
                <p:cNvSpPr>
                  <a:spLocks noEditPoints="1"/>
                </p:cNvSpPr>
                <p:nvPr/>
              </p:nvSpPr>
              <p:spPr bwMode="auto">
                <a:xfrm>
                  <a:off x="6473825" y="4422775"/>
                  <a:ext cx="811213" cy="433388"/>
                </a:xfrm>
                <a:custGeom>
                  <a:avLst/>
                  <a:gdLst>
                    <a:gd name="T0" fmla="*/ 144 w 511"/>
                    <a:gd name="T1" fmla="*/ 97 h 273"/>
                    <a:gd name="T2" fmla="*/ 117 w 511"/>
                    <a:gd name="T3" fmla="*/ 129 h 273"/>
                    <a:gd name="T4" fmla="*/ 155 w 511"/>
                    <a:gd name="T5" fmla="*/ 121 h 273"/>
                    <a:gd name="T6" fmla="*/ 184 w 511"/>
                    <a:gd name="T7" fmla="*/ 90 h 273"/>
                    <a:gd name="T8" fmla="*/ 410 w 511"/>
                    <a:gd name="T9" fmla="*/ 0 h 273"/>
                    <a:gd name="T10" fmla="*/ 423 w 511"/>
                    <a:gd name="T11" fmla="*/ 9 h 273"/>
                    <a:gd name="T12" fmla="*/ 423 w 511"/>
                    <a:gd name="T13" fmla="*/ 38 h 273"/>
                    <a:gd name="T14" fmla="*/ 428 w 511"/>
                    <a:gd name="T15" fmla="*/ 69 h 273"/>
                    <a:gd name="T16" fmla="*/ 461 w 511"/>
                    <a:gd name="T17" fmla="*/ 60 h 273"/>
                    <a:gd name="T18" fmla="*/ 506 w 511"/>
                    <a:gd name="T19" fmla="*/ 23 h 273"/>
                    <a:gd name="T20" fmla="*/ 511 w 511"/>
                    <a:gd name="T21" fmla="*/ 26 h 273"/>
                    <a:gd name="T22" fmla="*/ 502 w 511"/>
                    <a:gd name="T23" fmla="*/ 64 h 273"/>
                    <a:gd name="T24" fmla="*/ 458 w 511"/>
                    <a:gd name="T25" fmla="*/ 133 h 273"/>
                    <a:gd name="T26" fmla="*/ 393 w 511"/>
                    <a:gd name="T27" fmla="*/ 246 h 273"/>
                    <a:gd name="T28" fmla="*/ 380 w 511"/>
                    <a:gd name="T29" fmla="*/ 273 h 273"/>
                    <a:gd name="T30" fmla="*/ 376 w 511"/>
                    <a:gd name="T31" fmla="*/ 272 h 273"/>
                    <a:gd name="T32" fmla="*/ 410 w 511"/>
                    <a:gd name="T33" fmla="*/ 199 h 273"/>
                    <a:gd name="T34" fmla="*/ 483 w 511"/>
                    <a:gd name="T35" fmla="*/ 82 h 273"/>
                    <a:gd name="T36" fmla="*/ 503 w 511"/>
                    <a:gd name="T37" fmla="*/ 35 h 273"/>
                    <a:gd name="T38" fmla="*/ 466 w 511"/>
                    <a:gd name="T39" fmla="*/ 65 h 273"/>
                    <a:gd name="T40" fmla="*/ 430 w 511"/>
                    <a:gd name="T41" fmla="*/ 77 h 273"/>
                    <a:gd name="T42" fmla="*/ 414 w 511"/>
                    <a:gd name="T43" fmla="*/ 56 h 273"/>
                    <a:gd name="T44" fmla="*/ 419 w 511"/>
                    <a:gd name="T45" fmla="*/ 29 h 273"/>
                    <a:gd name="T46" fmla="*/ 407 w 511"/>
                    <a:gd name="T47" fmla="*/ 6 h 273"/>
                    <a:gd name="T48" fmla="*/ 385 w 511"/>
                    <a:gd name="T49" fmla="*/ 25 h 273"/>
                    <a:gd name="T50" fmla="*/ 389 w 511"/>
                    <a:gd name="T51" fmla="*/ 65 h 273"/>
                    <a:gd name="T52" fmla="*/ 401 w 511"/>
                    <a:gd name="T53" fmla="*/ 78 h 273"/>
                    <a:gd name="T54" fmla="*/ 385 w 511"/>
                    <a:gd name="T55" fmla="*/ 89 h 273"/>
                    <a:gd name="T56" fmla="*/ 333 w 511"/>
                    <a:gd name="T57" fmla="*/ 91 h 273"/>
                    <a:gd name="T58" fmla="*/ 259 w 511"/>
                    <a:gd name="T59" fmla="*/ 91 h 273"/>
                    <a:gd name="T60" fmla="*/ 218 w 511"/>
                    <a:gd name="T61" fmla="*/ 115 h 273"/>
                    <a:gd name="T62" fmla="*/ 194 w 511"/>
                    <a:gd name="T63" fmla="*/ 118 h 273"/>
                    <a:gd name="T64" fmla="*/ 186 w 511"/>
                    <a:gd name="T65" fmla="*/ 108 h 273"/>
                    <a:gd name="T66" fmla="*/ 180 w 511"/>
                    <a:gd name="T67" fmla="*/ 108 h 273"/>
                    <a:gd name="T68" fmla="*/ 142 w 511"/>
                    <a:gd name="T69" fmla="*/ 136 h 273"/>
                    <a:gd name="T70" fmla="*/ 109 w 511"/>
                    <a:gd name="T71" fmla="*/ 135 h 273"/>
                    <a:gd name="T72" fmla="*/ 115 w 511"/>
                    <a:gd name="T73" fmla="*/ 116 h 273"/>
                    <a:gd name="T74" fmla="*/ 160 w 511"/>
                    <a:gd name="T75" fmla="*/ 77 h 273"/>
                    <a:gd name="T76" fmla="*/ 187 w 511"/>
                    <a:gd name="T77" fmla="*/ 65 h 273"/>
                    <a:gd name="T78" fmla="*/ 194 w 511"/>
                    <a:gd name="T79" fmla="*/ 69 h 273"/>
                    <a:gd name="T80" fmla="*/ 172 w 511"/>
                    <a:gd name="T81" fmla="*/ 46 h 273"/>
                    <a:gd name="T82" fmla="*/ 96 w 511"/>
                    <a:gd name="T83" fmla="*/ 98 h 273"/>
                    <a:gd name="T84" fmla="*/ 34 w 511"/>
                    <a:gd name="T85" fmla="*/ 141 h 273"/>
                    <a:gd name="T86" fmla="*/ 5 w 511"/>
                    <a:gd name="T87" fmla="*/ 169 h 273"/>
                    <a:gd name="T88" fmla="*/ 2 w 511"/>
                    <a:gd name="T89" fmla="*/ 166 h 273"/>
                    <a:gd name="T90" fmla="*/ 13 w 511"/>
                    <a:gd name="T91" fmla="*/ 149 h 273"/>
                    <a:gd name="T92" fmla="*/ 70 w 511"/>
                    <a:gd name="T93" fmla="*/ 108 h 273"/>
                    <a:gd name="T94" fmla="*/ 143 w 511"/>
                    <a:gd name="T95" fmla="*/ 53 h 273"/>
                    <a:gd name="T96" fmla="*/ 201 w 511"/>
                    <a:gd name="T97" fmla="*/ 27 h 273"/>
                    <a:gd name="T98" fmla="*/ 206 w 511"/>
                    <a:gd name="T99" fmla="*/ 47 h 273"/>
                    <a:gd name="T100" fmla="*/ 191 w 511"/>
                    <a:gd name="T101" fmla="*/ 93 h 273"/>
                    <a:gd name="T102" fmla="*/ 193 w 511"/>
                    <a:gd name="T103" fmla="*/ 106 h 273"/>
                    <a:gd name="T104" fmla="*/ 198 w 511"/>
                    <a:gd name="T105" fmla="*/ 112 h 273"/>
                    <a:gd name="T106" fmla="*/ 212 w 511"/>
                    <a:gd name="T107" fmla="*/ 108 h 273"/>
                    <a:gd name="T108" fmla="*/ 266 w 511"/>
                    <a:gd name="T109" fmla="*/ 82 h 273"/>
                    <a:gd name="T110" fmla="*/ 335 w 511"/>
                    <a:gd name="T111" fmla="*/ 84 h 273"/>
                    <a:gd name="T112" fmla="*/ 383 w 511"/>
                    <a:gd name="T113" fmla="*/ 81 h 273"/>
                    <a:gd name="T114" fmla="*/ 384 w 511"/>
                    <a:gd name="T115" fmla="*/ 69 h 273"/>
                    <a:gd name="T116" fmla="*/ 379 w 511"/>
                    <a:gd name="T117" fmla="*/ 22 h 273"/>
                    <a:gd name="T118" fmla="*/ 401 w 511"/>
                    <a:gd name="T119" fmla="*/ 0 h 2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11" h="273">
                      <a:moveTo>
                        <a:pt x="182" y="73"/>
                      </a:moveTo>
                      <a:lnTo>
                        <a:pt x="164" y="82"/>
                      </a:lnTo>
                      <a:lnTo>
                        <a:pt x="144" y="97"/>
                      </a:lnTo>
                      <a:lnTo>
                        <a:pt x="132" y="107"/>
                      </a:lnTo>
                      <a:lnTo>
                        <a:pt x="122" y="119"/>
                      </a:lnTo>
                      <a:lnTo>
                        <a:pt x="117" y="129"/>
                      </a:lnTo>
                      <a:lnTo>
                        <a:pt x="127" y="132"/>
                      </a:lnTo>
                      <a:lnTo>
                        <a:pt x="142" y="128"/>
                      </a:lnTo>
                      <a:lnTo>
                        <a:pt x="155" y="121"/>
                      </a:lnTo>
                      <a:lnTo>
                        <a:pt x="167" y="112"/>
                      </a:lnTo>
                      <a:lnTo>
                        <a:pt x="176" y="102"/>
                      </a:lnTo>
                      <a:lnTo>
                        <a:pt x="184" y="90"/>
                      </a:lnTo>
                      <a:lnTo>
                        <a:pt x="184" y="86"/>
                      </a:lnTo>
                      <a:lnTo>
                        <a:pt x="182" y="73"/>
                      </a:lnTo>
                      <a:close/>
                      <a:moveTo>
                        <a:pt x="410" y="0"/>
                      </a:moveTo>
                      <a:lnTo>
                        <a:pt x="414" y="1"/>
                      </a:lnTo>
                      <a:lnTo>
                        <a:pt x="419" y="4"/>
                      </a:lnTo>
                      <a:lnTo>
                        <a:pt x="423" y="9"/>
                      </a:lnTo>
                      <a:lnTo>
                        <a:pt x="424" y="13"/>
                      </a:lnTo>
                      <a:lnTo>
                        <a:pt x="426" y="18"/>
                      </a:lnTo>
                      <a:lnTo>
                        <a:pt x="423" y="38"/>
                      </a:lnTo>
                      <a:lnTo>
                        <a:pt x="420" y="57"/>
                      </a:lnTo>
                      <a:lnTo>
                        <a:pt x="423" y="65"/>
                      </a:lnTo>
                      <a:lnTo>
                        <a:pt x="428" y="69"/>
                      </a:lnTo>
                      <a:lnTo>
                        <a:pt x="436" y="69"/>
                      </a:lnTo>
                      <a:lnTo>
                        <a:pt x="445" y="68"/>
                      </a:lnTo>
                      <a:lnTo>
                        <a:pt x="461" y="60"/>
                      </a:lnTo>
                      <a:lnTo>
                        <a:pt x="477" y="48"/>
                      </a:lnTo>
                      <a:lnTo>
                        <a:pt x="491" y="36"/>
                      </a:lnTo>
                      <a:lnTo>
                        <a:pt x="506" y="23"/>
                      </a:lnTo>
                      <a:lnTo>
                        <a:pt x="507" y="23"/>
                      </a:lnTo>
                      <a:lnTo>
                        <a:pt x="509" y="23"/>
                      </a:lnTo>
                      <a:lnTo>
                        <a:pt x="511" y="26"/>
                      </a:lnTo>
                      <a:lnTo>
                        <a:pt x="511" y="27"/>
                      </a:lnTo>
                      <a:lnTo>
                        <a:pt x="508" y="46"/>
                      </a:lnTo>
                      <a:lnTo>
                        <a:pt x="502" y="64"/>
                      </a:lnTo>
                      <a:lnTo>
                        <a:pt x="492" y="81"/>
                      </a:lnTo>
                      <a:lnTo>
                        <a:pt x="475" y="107"/>
                      </a:lnTo>
                      <a:lnTo>
                        <a:pt x="458" y="133"/>
                      </a:lnTo>
                      <a:lnTo>
                        <a:pt x="419" y="199"/>
                      </a:lnTo>
                      <a:lnTo>
                        <a:pt x="406" y="222"/>
                      </a:lnTo>
                      <a:lnTo>
                        <a:pt x="393" y="246"/>
                      </a:lnTo>
                      <a:lnTo>
                        <a:pt x="383" y="272"/>
                      </a:lnTo>
                      <a:lnTo>
                        <a:pt x="383" y="273"/>
                      </a:lnTo>
                      <a:lnTo>
                        <a:pt x="380" y="273"/>
                      </a:lnTo>
                      <a:lnTo>
                        <a:pt x="379" y="273"/>
                      </a:lnTo>
                      <a:lnTo>
                        <a:pt x="377" y="273"/>
                      </a:lnTo>
                      <a:lnTo>
                        <a:pt x="376" y="272"/>
                      </a:lnTo>
                      <a:lnTo>
                        <a:pt x="376" y="269"/>
                      </a:lnTo>
                      <a:lnTo>
                        <a:pt x="392" y="233"/>
                      </a:lnTo>
                      <a:lnTo>
                        <a:pt x="410" y="199"/>
                      </a:lnTo>
                      <a:lnTo>
                        <a:pt x="449" y="135"/>
                      </a:lnTo>
                      <a:lnTo>
                        <a:pt x="466" y="108"/>
                      </a:lnTo>
                      <a:lnTo>
                        <a:pt x="483" y="82"/>
                      </a:lnTo>
                      <a:lnTo>
                        <a:pt x="492" y="65"/>
                      </a:lnTo>
                      <a:lnTo>
                        <a:pt x="500" y="47"/>
                      </a:lnTo>
                      <a:lnTo>
                        <a:pt x="503" y="35"/>
                      </a:lnTo>
                      <a:lnTo>
                        <a:pt x="495" y="42"/>
                      </a:lnTo>
                      <a:lnTo>
                        <a:pt x="482" y="53"/>
                      </a:lnTo>
                      <a:lnTo>
                        <a:pt x="466" y="65"/>
                      </a:lnTo>
                      <a:lnTo>
                        <a:pt x="451" y="73"/>
                      </a:lnTo>
                      <a:lnTo>
                        <a:pt x="440" y="76"/>
                      </a:lnTo>
                      <a:lnTo>
                        <a:pt x="430" y="77"/>
                      </a:lnTo>
                      <a:lnTo>
                        <a:pt x="420" y="73"/>
                      </a:lnTo>
                      <a:lnTo>
                        <a:pt x="415" y="65"/>
                      </a:lnTo>
                      <a:lnTo>
                        <a:pt x="414" y="56"/>
                      </a:lnTo>
                      <a:lnTo>
                        <a:pt x="414" y="47"/>
                      </a:lnTo>
                      <a:lnTo>
                        <a:pt x="417" y="38"/>
                      </a:lnTo>
                      <a:lnTo>
                        <a:pt x="419" y="29"/>
                      </a:lnTo>
                      <a:lnTo>
                        <a:pt x="419" y="18"/>
                      </a:lnTo>
                      <a:lnTo>
                        <a:pt x="415" y="10"/>
                      </a:lnTo>
                      <a:lnTo>
                        <a:pt x="407" y="6"/>
                      </a:lnTo>
                      <a:lnTo>
                        <a:pt x="400" y="8"/>
                      </a:lnTo>
                      <a:lnTo>
                        <a:pt x="393" y="13"/>
                      </a:lnTo>
                      <a:lnTo>
                        <a:pt x="385" y="25"/>
                      </a:lnTo>
                      <a:lnTo>
                        <a:pt x="383" y="39"/>
                      </a:lnTo>
                      <a:lnTo>
                        <a:pt x="384" y="52"/>
                      </a:lnTo>
                      <a:lnTo>
                        <a:pt x="389" y="65"/>
                      </a:lnTo>
                      <a:lnTo>
                        <a:pt x="400" y="74"/>
                      </a:lnTo>
                      <a:lnTo>
                        <a:pt x="401" y="76"/>
                      </a:lnTo>
                      <a:lnTo>
                        <a:pt x="401" y="78"/>
                      </a:lnTo>
                      <a:lnTo>
                        <a:pt x="401" y="80"/>
                      </a:lnTo>
                      <a:lnTo>
                        <a:pt x="400" y="81"/>
                      </a:lnTo>
                      <a:lnTo>
                        <a:pt x="385" y="89"/>
                      </a:lnTo>
                      <a:lnTo>
                        <a:pt x="367" y="91"/>
                      </a:lnTo>
                      <a:lnTo>
                        <a:pt x="350" y="91"/>
                      </a:lnTo>
                      <a:lnTo>
                        <a:pt x="333" y="91"/>
                      </a:lnTo>
                      <a:lnTo>
                        <a:pt x="292" y="89"/>
                      </a:lnTo>
                      <a:lnTo>
                        <a:pt x="275" y="89"/>
                      </a:lnTo>
                      <a:lnTo>
                        <a:pt x="259" y="91"/>
                      </a:lnTo>
                      <a:lnTo>
                        <a:pt x="245" y="98"/>
                      </a:lnTo>
                      <a:lnTo>
                        <a:pt x="231" y="107"/>
                      </a:lnTo>
                      <a:lnTo>
                        <a:pt x="218" y="115"/>
                      </a:lnTo>
                      <a:lnTo>
                        <a:pt x="203" y="120"/>
                      </a:lnTo>
                      <a:lnTo>
                        <a:pt x="198" y="120"/>
                      </a:lnTo>
                      <a:lnTo>
                        <a:pt x="194" y="118"/>
                      </a:lnTo>
                      <a:lnTo>
                        <a:pt x="191" y="116"/>
                      </a:lnTo>
                      <a:lnTo>
                        <a:pt x="187" y="112"/>
                      </a:lnTo>
                      <a:lnTo>
                        <a:pt x="186" y="108"/>
                      </a:lnTo>
                      <a:lnTo>
                        <a:pt x="185" y="104"/>
                      </a:lnTo>
                      <a:lnTo>
                        <a:pt x="185" y="102"/>
                      </a:lnTo>
                      <a:lnTo>
                        <a:pt x="180" y="108"/>
                      </a:lnTo>
                      <a:lnTo>
                        <a:pt x="169" y="119"/>
                      </a:lnTo>
                      <a:lnTo>
                        <a:pt x="156" y="129"/>
                      </a:lnTo>
                      <a:lnTo>
                        <a:pt x="142" y="136"/>
                      </a:lnTo>
                      <a:lnTo>
                        <a:pt x="127" y="139"/>
                      </a:lnTo>
                      <a:lnTo>
                        <a:pt x="110" y="136"/>
                      </a:lnTo>
                      <a:lnTo>
                        <a:pt x="109" y="135"/>
                      </a:lnTo>
                      <a:lnTo>
                        <a:pt x="109" y="133"/>
                      </a:lnTo>
                      <a:lnTo>
                        <a:pt x="109" y="132"/>
                      </a:lnTo>
                      <a:lnTo>
                        <a:pt x="115" y="116"/>
                      </a:lnTo>
                      <a:lnTo>
                        <a:pt x="126" y="103"/>
                      </a:lnTo>
                      <a:lnTo>
                        <a:pt x="139" y="91"/>
                      </a:lnTo>
                      <a:lnTo>
                        <a:pt x="160" y="77"/>
                      </a:lnTo>
                      <a:lnTo>
                        <a:pt x="184" y="64"/>
                      </a:lnTo>
                      <a:lnTo>
                        <a:pt x="185" y="64"/>
                      </a:lnTo>
                      <a:lnTo>
                        <a:pt x="187" y="65"/>
                      </a:lnTo>
                      <a:lnTo>
                        <a:pt x="189" y="67"/>
                      </a:lnTo>
                      <a:lnTo>
                        <a:pt x="190" y="80"/>
                      </a:lnTo>
                      <a:lnTo>
                        <a:pt x="194" y="69"/>
                      </a:lnTo>
                      <a:lnTo>
                        <a:pt x="198" y="51"/>
                      </a:lnTo>
                      <a:lnTo>
                        <a:pt x="197" y="36"/>
                      </a:lnTo>
                      <a:lnTo>
                        <a:pt x="172" y="46"/>
                      </a:lnTo>
                      <a:lnTo>
                        <a:pt x="146" y="61"/>
                      </a:lnTo>
                      <a:lnTo>
                        <a:pt x="121" y="80"/>
                      </a:lnTo>
                      <a:lnTo>
                        <a:pt x="96" y="98"/>
                      </a:lnTo>
                      <a:lnTo>
                        <a:pt x="74" y="115"/>
                      </a:lnTo>
                      <a:lnTo>
                        <a:pt x="50" y="131"/>
                      </a:lnTo>
                      <a:lnTo>
                        <a:pt x="34" y="141"/>
                      </a:lnTo>
                      <a:lnTo>
                        <a:pt x="20" y="153"/>
                      </a:lnTo>
                      <a:lnTo>
                        <a:pt x="7" y="167"/>
                      </a:lnTo>
                      <a:lnTo>
                        <a:pt x="5" y="169"/>
                      </a:lnTo>
                      <a:lnTo>
                        <a:pt x="4" y="169"/>
                      </a:lnTo>
                      <a:lnTo>
                        <a:pt x="3" y="167"/>
                      </a:lnTo>
                      <a:lnTo>
                        <a:pt x="2" y="166"/>
                      </a:lnTo>
                      <a:lnTo>
                        <a:pt x="0" y="165"/>
                      </a:lnTo>
                      <a:lnTo>
                        <a:pt x="2" y="163"/>
                      </a:lnTo>
                      <a:lnTo>
                        <a:pt x="13" y="149"/>
                      </a:lnTo>
                      <a:lnTo>
                        <a:pt x="29" y="136"/>
                      </a:lnTo>
                      <a:lnTo>
                        <a:pt x="45" y="125"/>
                      </a:lnTo>
                      <a:lnTo>
                        <a:pt x="70" y="108"/>
                      </a:lnTo>
                      <a:lnTo>
                        <a:pt x="95" y="90"/>
                      </a:lnTo>
                      <a:lnTo>
                        <a:pt x="118" y="72"/>
                      </a:lnTo>
                      <a:lnTo>
                        <a:pt x="143" y="53"/>
                      </a:lnTo>
                      <a:lnTo>
                        <a:pt x="169" y="38"/>
                      </a:lnTo>
                      <a:lnTo>
                        <a:pt x="198" y="27"/>
                      </a:lnTo>
                      <a:lnTo>
                        <a:pt x="201" y="27"/>
                      </a:lnTo>
                      <a:lnTo>
                        <a:pt x="202" y="29"/>
                      </a:lnTo>
                      <a:lnTo>
                        <a:pt x="203" y="30"/>
                      </a:lnTo>
                      <a:lnTo>
                        <a:pt x="206" y="47"/>
                      </a:lnTo>
                      <a:lnTo>
                        <a:pt x="203" y="63"/>
                      </a:lnTo>
                      <a:lnTo>
                        <a:pt x="198" y="80"/>
                      </a:lnTo>
                      <a:lnTo>
                        <a:pt x="191" y="93"/>
                      </a:lnTo>
                      <a:lnTo>
                        <a:pt x="191" y="99"/>
                      </a:lnTo>
                      <a:lnTo>
                        <a:pt x="191" y="103"/>
                      </a:lnTo>
                      <a:lnTo>
                        <a:pt x="193" y="106"/>
                      </a:lnTo>
                      <a:lnTo>
                        <a:pt x="194" y="108"/>
                      </a:lnTo>
                      <a:lnTo>
                        <a:pt x="195" y="111"/>
                      </a:lnTo>
                      <a:lnTo>
                        <a:pt x="198" y="112"/>
                      </a:lnTo>
                      <a:lnTo>
                        <a:pt x="201" y="112"/>
                      </a:lnTo>
                      <a:lnTo>
                        <a:pt x="207" y="111"/>
                      </a:lnTo>
                      <a:lnTo>
                        <a:pt x="212" y="108"/>
                      </a:lnTo>
                      <a:lnTo>
                        <a:pt x="229" y="99"/>
                      </a:lnTo>
                      <a:lnTo>
                        <a:pt x="246" y="89"/>
                      </a:lnTo>
                      <a:lnTo>
                        <a:pt x="266" y="82"/>
                      </a:lnTo>
                      <a:lnTo>
                        <a:pt x="288" y="81"/>
                      </a:lnTo>
                      <a:lnTo>
                        <a:pt x="312" y="82"/>
                      </a:lnTo>
                      <a:lnTo>
                        <a:pt x="335" y="84"/>
                      </a:lnTo>
                      <a:lnTo>
                        <a:pt x="350" y="85"/>
                      </a:lnTo>
                      <a:lnTo>
                        <a:pt x="367" y="85"/>
                      </a:lnTo>
                      <a:lnTo>
                        <a:pt x="383" y="81"/>
                      </a:lnTo>
                      <a:lnTo>
                        <a:pt x="390" y="77"/>
                      </a:lnTo>
                      <a:lnTo>
                        <a:pt x="388" y="74"/>
                      </a:lnTo>
                      <a:lnTo>
                        <a:pt x="384" y="69"/>
                      </a:lnTo>
                      <a:lnTo>
                        <a:pt x="376" y="55"/>
                      </a:lnTo>
                      <a:lnTo>
                        <a:pt x="375" y="39"/>
                      </a:lnTo>
                      <a:lnTo>
                        <a:pt x="379" y="22"/>
                      </a:lnTo>
                      <a:lnTo>
                        <a:pt x="388" y="9"/>
                      </a:lnTo>
                      <a:lnTo>
                        <a:pt x="393" y="4"/>
                      </a:lnTo>
                      <a:lnTo>
                        <a:pt x="401" y="0"/>
                      </a:lnTo>
                      <a:lnTo>
                        <a:pt x="410" y="0"/>
                      </a:lnTo>
                      <a:close/>
                    </a:path>
                  </a:pathLst>
                </a:custGeom>
                <a:solidFill>
                  <a:srgbClr val="148BA2"/>
                </a:solidFill>
                <a:ln w="0">
                  <a:solidFill>
                    <a:srgbClr val="148BA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56" name="Freeform 30"/>
                <p:cNvSpPr>
                  <a:spLocks/>
                </p:cNvSpPr>
                <p:nvPr/>
              </p:nvSpPr>
              <p:spPr bwMode="auto">
                <a:xfrm>
                  <a:off x="4684713" y="4794250"/>
                  <a:ext cx="646113" cy="73025"/>
                </a:xfrm>
                <a:custGeom>
                  <a:avLst/>
                  <a:gdLst>
                    <a:gd name="T0" fmla="*/ 0 w 407"/>
                    <a:gd name="T1" fmla="*/ 0 h 46"/>
                    <a:gd name="T2" fmla="*/ 407 w 407"/>
                    <a:gd name="T3" fmla="*/ 0 h 46"/>
                    <a:gd name="T4" fmla="*/ 394 w 407"/>
                    <a:gd name="T5" fmla="*/ 46 h 46"/>
                    <a:gd name="T6" fmla="*/ 0 w 407"/>
                    <a:gd name="T7" fmla="*/ 46 h 46"/>
                    <a:gd name="T8" fmla="*/ 0 w 407"/>
                    <a:gd name="T9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7" h="46">
                      <a:moveTo>
                        <a:pt x="0" y="0"/>
                      </a:moveTo>
                      <a:lnTo>
                        <a:pt x="407" y="0"/>
                      </a:lnTo>
                      <a:lnTo>
                        <a:pt x="394" y="46"/>
                      </a:lnTo>
                      <a:lnTo>
                        <a:pt x="0" y="4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rgbClr val="E3FDF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57" name="Rectangle 31"/>
                <p:cNvSpPr>
                  <a:spLocks noChangeArrowheads="1"/>
                </p:cNvSpPr>
                <p:nvPr/>
              </p:nvSpPr>
              <p:spPr bwMode="auto">
                <a:xfrm>
                  <a:off x="4610100" y="1789113"/>
                  <a:ext cx="2095500" cy="73025"/>
                </a:xfrm>
                <a:prstGeom prst="rect">
                  <a:avLst/>
                </a:prstGeom>
                <a:solidFill>
                  <a:srgbClr val="7F7F7F"/>
                </a:solidFill>
                <a:ln w="0">
                  <a:solidFill>
                    <a:srgbClr val="7F7F7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58" name="Rectangle 32"/>
                <p:cNvSpPr>
                  <a:spLocks noChangeArrowheads="1"/>
                </p:cNvSpPr>
                <p:nvPr/>
              </p:nvSpPr>
              <p:spPr bwMode="auto">
                <a:xfrm>
                  <a:off x="4610100" y="1938338"/>
                  <a:ext cx="3052763" cy="73025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59" name="Rectangle 33"/>
                <p:cNvSpPr>
                  <a:spLocks noChangeArrowheads="1"/>
                </p:cNvSpPr>
                <p:nvPr/>
              </p:nvSpPr>
              <p:spPr bwMode="auto">
                <a:xfrm>
                  <a:off x="4610100" y="2265363"/>
                  <a:ext cx="1385888" cy="69850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60" name="Rectangle 34"/>
                <p:cNvSpPr>
                  <a:spLocks noChangeArrowheads="1"/>
                </p:cNvSpPr>
                <p:nvPr/>
              </p:nvSpPr>
              <p:spPr bwMode="auto">
                <a:xfrm>
                  <a:off x="6370638" y="4119563"/>
                  <a:ext cx="1011238" cy="69850"/>
                </a:xfrm>
                <a:prstGeom prst="rect">
                  <a:avLst/>
                </a:prstGeom>
                <a:solidFill>
                  <a:srgbClr val="818287"/>
                </a:solidFill>
                <a:ln w="0">
                  <a:solidFill>
                    <a:srgbClr val="81828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61" name="Freeform 35"/>
                <p:cNvSpPr>
                  <a:spLocks noEditPoints="1"/>
                </p:cNvSpPr>
                <p:nvPr/>
              </p:nvSpPr>
              <p:spPr bwMode="auto">
                <a:xfrm>
                  <a:off x="6370638" y="4268788"/>
                  <a:ext cx="598488" cy="73025"/>
                </a:xfrm>
                <a:custGeom>
                  <a:avLst/>
                  <a:gdLst>
                    <a:gd name="T0" fmla="*/ 211 w 377"/>
                    <a:gd name="T1" fmla="*/ 17 h 46"/>
                    <a:gd name="T2" fmla="*/ 212 w 377"/>
                    <a:gd name="T3" fmla="*/ 17 h 46"/>
                    <a:gd name="T4" fmla="*/ 222 w 377"/>
                    <a:gd name="T5" fmla="*/ 18 h 46"/>
                    <a:gd name="T6" fmla="*/ 232 w 377"/>
                    <a:gd name="T7" fmla="*/ 21 h 46"/>
                    <a:gd name="T8" fmla="*/ 239 w 377"/>
                    <a:gd name="T9" fmla="*/ 27 h 46"/>
                    <a:gd name="T10" fmla="*/ 243 w 377"/>
                    <a:gd name="T11" fmla="*/ 31 h 46"/>
                    <a:gd name="T12" fmla="*/ 245 w 377"/>
                    <a:gd name="T13" fmla="*/ 35 h 46"/>
                    <a:gd name="T14" fmla="*/ 246 w 377"/>
                    <a:gd name="T15" fmla="*/ 40 h 46"/>
                    <a:gd name="T16" fmla="*/ 247 w 377"/>
                    <a:gd name="T17" fmla="*/ 46 h 46"/>
                    <a:gd name="T18" fmla="*/ 140 w 377"/>
                    <a:gd name="T19" fmla="*/ 46 h 46"/>
                    <a:gd name="T20" fmla="*/ 161 w 377"/>
                    <a:gd name="T21" fmla="*/ 30 h 46"/>
                    <a:gd name="T22" fmla="*/ 186 w 377"/>
                    <a:gd name="T23" fmla="*/ 20 h 46"/>
                    <a:gd name="T24" fmla="*/ 211 w 377"/>
                    <a:gd name="T25" fmla="*/ 17 h 46"/>
                    <a:gd name="T26" fmla="*/ 0 w 377"/>
                    <a:gd name="T27" fmla="*/ 0 h 46"/>
                    <a:gd name="T28" fmla="*/ 377 w 377"/>
                    <a:gd name="T29" fmla="*/ 0 h 46"/>
                    <a:gd name="T30" fmla="*/ 377 w 377"/>
                    <a:gd name="T31" fmla="*/ 46 h 46"/>
                    <a:gd name="T32" fmla="*/ 255 w 377"/>
                    <a:gd name="T33" fmla="*/ 46 h 46"/>
                    <a:gd name="T34" fmla="*/ 255 w 377"/>
                    <a:gd name="T35" fmla="*/ 44 h 46"/>
                    <a:gd name="T36" fmla="*/ 251 w 377"/>
                    <a:gd name="T37" fmla="*/ 31 h 46"/>
                    <a:gd name="T38" fmla="*/ 243 w 377"/>
                    <a:gd name="T39" fmla="*/ 22 h 46"/>
                    <a:gd name="T40" fmla="*/ 234 w 377"/>
                    <a:gd name="T41" fmla="*/ 14 h 46"/>
                    <a:gd name="T42" fmla="*/ 222 w 377"/>
                    <a:gd name="T43" fmla="*/ 10 h 46"/>
                    <a:gd name="T44" fmla="*/ 209 w 377"/>
                    <a:gd name="T45" fmla="*/ 9 h 46"/>
                    <a:gd name="T46" fmla="*/ 207 w 377"/>
                    <a:gd name="T47" fmla="*/ 9 h 46"/>
                    <a:gd name="T48" fmla="*/ 178 w 377"/>
                    <a:gd name="T49" fmla="*/ 14 h 46"/>
                    <a:gd name="T50" fmla="*/ 152 w 377"/>
                    <a:gd name="T51" fmla="*/ 27 h 46"/>
                    <a:gd name="T52" fmla="*/ 129 w 377"/>
                    <a:gd name="T53" fmla="*/ 46 h 46"/>
                    <a:gd name="T54" fmla="*/ 0 w 377"/>
                    <a:gd name="T55" fmla="*/ 46 h 46"/>
                    <a:gd name="T56" fmla="*/ 0 w 377"/>
                    <a:gd name="T57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77" h="46">
                      <a:moveTo>
                        <a:pt x="211" y="17"/>
                      </a:moveTo>
                      <a:lnTo>
                        <a:pt x="212" y="17"/>
                      </a:lnTo>
                      <a:lnTo>
                        <a:pt x="222" y="18"/>
                      </a:lnTo>
                      <a:lnTo>
                        <a:pt x="232" y="21"/>
                      </a:lnTo>
                      <a:lnTo>
                        <a:pt x="239" y="27"/>
                      </a:lnTo>
                      <a:lnTo>
                        <a:pt x="243" y="31"/>
                      </a:lnTo>
                      <a:lnTo>
                        <a:pt x="245" y="35"/>
                      </a:lnTo>
                      <a:lnTo>
                        <a:pt x="246" y="40"/>
                      </a:lnTo>
                      <a:lnTo>
                        <a:pt x="247" y="46"/>
                      </a:lnTo>
                      <a:lnTo>
                        <a:pt x="140" y="46"/>
                      </a:lnTo>
                      <a:lnTo>
                        <a:pt x="161" y="30"/>
                      </a:lnTo>
                      <a:lnTo>
                        <a:pt x="186" y="20"/>
                      </a:lnTo>
                      <a:lnTo>
                        <a:pt x="211" y="17"/>
                      </a:lnTo>
                      <a:close/>
                      <a:moveTo>
                        <a:pt x="0" y="0"/>
                      </a:moveTo>
                      <a:lnTo>
                        <a:pt x="377" y="0"/>
                      </a:lnTo>
                      <a:lnTo>
                        <a:pt x="377" y="46"/>
                      </a:lnTo>
                      <a:lnTo>
                        <a:pt x="255" y="46"/>
                      </a:lnTo>
                      <a:lnTo>
                        <a:pt x="255" y="44"/>
                      </a:lnTo>
                      <a:lnTo>
                        <a:pt x="251" y="31"/>
                      </a:lnTo>
                      <a:lnTo>
                        <a:pt x="243" y="22"/>
                      </a:lnTo>
                      <a:lnTo>
                        <a:pt x="234" y="14"/>
                      </a:lnTo>
                      <a:lnTo>
                        <a:pt x="222" y="10"/>
                      </a:lnTo>
                      <a:lnTo>
                        <a:pt x="209" y="9"/>
                      </a:lnTo>
                      <a:lnTo>
                        <a:pt x="207" y="9"/>
                      </a:lnTo>
                      <a:lnTo>
                        <a:pt x="178" y="14"/>
                      </a:lnTo>
                      <a:lnTo>
                        <a:pt x="152" y="27"/>
                      </a:lnTo>
                      <a:lnTo>
                        <a:pt x="129" y="46"/>
                      </a:lnTo>
                      <a:lnTo>
                        <a:pt x="0" y="4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75000"/>
                  </a:sysClr>
                </a:solidFill>
                <a:ln w="0">
                  <a:solidFill>
                    <a:sysClr val="window" lastClr="FFFFFF">
                      <a:lumMod val="75000"/>
                    </a:sys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62" name="Freeform 36"/>
                <p:cNvSpPr>
                  <a:spLocks/>
                </p:cNvSpPr>
                <p:nvPr/>
              </p:nvSpPr>
              <p:spPr bwMode="auto">
                <a:xfrm>
                  <a:off x="6575425" y="4283075"/>
                  <a:ext cx="200025" cy="58738"/>
                </a:xfrm>
                <a:custGeom>
                  <a:avLst/>
                  <a:gdLst>
                    <a:gd name="T0" fmla="*/ 80 w 126"/>
                    <a:gd name="T1" fmla="*/ 0 h 37"/>
                    <a:gd name="T2" fmla="*/ 93 w 126"/>
                    <a:gd name="T3" fmla="*/ 1 h 37"/>
                    <a:gd name="T4" fmla="*/ 105 w 126"/>
                    <a:gd name="T5" fmla="*/ 5 h 37"/>
                    <a:gd name="T6" fmla="*/ 114 w 126"/>
                    <a:gd name="T7" fmla="*/ 13 h 37"/>
                    <a:gd name="T8" fmla="*/ 122 w 126"/>
                    <a:gd name="T9" fmla="*/ 22 h 37"/>
                    <a:gd name="T10" fmla="*/ 126 w 126"/>
                    <a:gd name="T11" fmla="*/ 35 h 37"/>
                    <a:gd name="T12" fmla="*/ 126 w 126"/>
                    <a:gd name="T13" fmla="*/ 37 h 37"/>
                    <a:gd name="T14" fmla="*/ 118 w 126"/>
                    <a:gd name="T15" fmla="*/ 37 h 37"/>
                    <a:gd name="T16" fmla="*/ 117 w 126"/>
                    <a:gd name="T17" fmla="*/ 31 h 37"/>
                    <a:gd name="T18" fmla="*/ 116 w 126"/>
                    <a:gd name="T19" fmla="*/ 26 h 37"/>
                    <a:gd name="T20" fmla="*/ 114 w 126"/>
                    <a:gd name="T21" fmla="*/ 22 h 37"/>
                    <a:gd name="T22" fmla="*/ 110 w 126"/>
                    <a:gd name="T23" fmla="*/ 18 h 37"/>
                    <a:gd name="T24" fmla="*/ 103 w 126"/>
                    <a:gd name="T25" fmla="*/ 12 h 37"/>
                    <a:gd name="T26" fmla="*/ 93 w 126"/>
                    <a:gd name="T27" fmla="*/ 9 h 37"/>
                    <a:gd name="T28" fmla="*/ 83 w 126"/>
                    <a:gd name="T29" fmla="*/ 8 h 37"/>
                    <a:gd name="T30" fmla="*/ 82 w 126"/>
                    <a:gd name="T31" fmla="*/ 8 h 37"/>
                    <a:gd name="T32" fmla="*/ 57 w 126"/>
                    <a:gd name="T33" fmla="*/ 11 h 37"/>
                    <a:gd name="T34" fmla="*/ 32 w 126"/>
                    <a:gd name="T35" fmla="*/ 21 h 37"/>
                    <a:gd name="T36" fmla="*/ 11 w 126"/>
                    <a:gd name="T37" fmla="*/ 37 h 37"/>
                    <a:gd name="T38" fmla="*/ 0 w 126"/>
                    <a:gd name="T39" fmla="*/ 37 h 37"/>
                    <a:gd name="T40" fmla="*/ 23 w 126"/>
                    <a:gd name="T41" fmla="*/ 18 h 37"/>
                    <a:gd name="T42" fmla="*/ 49 w 126"/>
                    <a:gd name="T43" fmla="*/ 5 h 37"/>
                    <a:gd name="T44" fmla="*/ 78 w 126"/>
                    <a:gd name="T45" fmla="*/ 0 h 37"/>
                    <a:gd name="T46" fmla="*/ 80 w 126"/>
                    <a:gd name="T47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26" h="37">
                      <a:moveTo>
                        <a:pt x="80" y="0"/>
                      </a:moveTo>
                      <a:lnTo>
                        <a:pt x="93" y="1"/>
                      </a:lnTo>
                      <a:lnTo>
                        <a:pt x="105" y="5"/>
                      </a:lnTo>
                      <a:lnTo>
                        <a:pt x="114" y="13"/>
                      </a:lnTo>
                      <a:lnTo>
                        <a:pt x="122" y="22"/>
                      </a:lnTo>
                      <a:lnTo>
                        <a:pt x="126" y="35"/>
                      </a:lnTo>
                      <a:lnTo>
                        <a:pt x="126" y="37"/>
                      </a:lnTo>
                      <a:lnTo>
                        <a:pt x="118" y="37"/>
                      </a:lnTo>
                      <a:lnTo>
                        <a:pt x="117" y="31"/>
                      </a:lnTo>
                      <a:lnTo>
                        <a:pt x="116" y="26"/>
                      </a:lnTo>
                      <a:lnTo>
                        <a:pt x="114" y="22"/>
                      </a:lnTo>
                      <a:lnTo>
                        <a:pt x="110" y="18"/>
                      </a:lnTo>
                      <a:lnTo>
                        <a:pt x="103" y="12"/>
                      </a:lnTo>
                      <a:lnTo>
                        <a:pt x="93" y="9"/>
                      </a:lnTo>
                      <a:lnTo>
                        <a:pt x="83" y="8"/>
                      </a:lnTo>
                      <a:lnTo>
                        <a:pt x="82" y="8"/>
                      </a:lnTo>
                      <a:lnTo>
                        <a:pt x="57" y="11"/>
                      </a:lnTo>
                      <a:lnTo>
                        <a:pt x="32" y="21"/>
                      </a:lnTo>
                      <a:lnTo>
                        <a:pt x="11" y="37"/>
                      </a:lnTo>
                      <a:lnTo>
                        <a:pt x="0" y="37"/>
                      </a:lnTo>
                      <a:lnTo>
                        <a:pt x="23" y="18"/>
                      </a:lnTo>
                      <a:lnTo>
                        <a:pt x="49" y="5"/>
                      </a:lnTo>
                      <a:lnTo>
                        <a:pt x="78" y="0"/>
                      </a:ln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148BA2"/>
                </a:solidFill>
                <a:ln w="0">
                  <a:solidFill>
                    <a:srgbClr val="148BA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63" name="Freeform 37"/>
                <p:cNvSpPr>
                  <a:spLocks/>
                </p:cNvSpPr>
                <p:nvPr/>
              </p:nvSpPr>
              <p:spPr bwMode="auto">
                <a:xfrm>
                  <a:off x="6370638" y="4794250"/>
                  <a:ext cx="842963" cy="73025"/>
                </a:xfrm>
                <a:custGeom>
                  <a:avLst/>
                  <a:gdLst>
                    <a:gd name="T0" fmla="*/ 0 w 531"/>
                    <a:gd name="T1" fmla="*/ 0 h 46"/>
                    <a:gd name="T2" fmla="*/ 455 w 531"/>
                    <a:gd name="T3" fmla="*/ 0 h 46"/>
                    <a:gd name="T4" fmla="*/ 441 w 531"/>
                    <a:gd name="T5" fmla="*/ 35 h 46"/>
                    <a:gd name="T6" fmla="*/ 441 w 531"/>
                    <a:gd name="T7" fmla="*/ 37 h 46"/>
                    <a:gd name="T8" fmla="*/ 442 w 531"/>
                    <a:gd name="T9" fmla="*/ 39 h 46"/>
                    <a:gd name="T10" fmla="*/ 444 w 531"/>
                    <a:gd name="T11" fmla="*/ 39 h 46"/>
                    <a:gd name="T12" fmla="*/ 445 w 531"/>
                    <a:gd name="T13" fmla="*/ 39 h 46"/>
                    <a:gd name="T14" fmla="*/ 446 w 531"/>
                    <a:gd name="T15" fmla="*/ 39 h 46"/>
                    <a:gd name="T16" fmla="*/ 448 w 531"/>
                    <a:gd name="T17" fmla="*/ 39 h 46"/>
                    <a:gd name="T18" fmla="*/ 448 w 531"/>
                    <a:gd name="T19" fmla="*/ 38 h 46"/>
                    <a:gd name="T20" fmla="*/ 455 w 531"/>
                    <a:gd name="T21" fmla="*/ 18 h 46"/>
                    <a:gd name="T22" fmla="*/ 465 w 531"/>
                    <a:gd name="T23" fmla="*/ 0 h 46"/>
                    <a:gd name="T24" fmla="*/ 531 w 531"/>
                    <a:gd name="T25" fmla="*/ 0 h 46"/>
                    <a:gd name="T26" fmla="*/ 531 w 531"/>
                    <a:gd name="T27" fmla="*/ 46 h 46"/>
                    <a:gd name="T28" fmla="*/ 0 w 531"/>
                    <a:gd name="T29" fmla="*/ 46 h 46"/>
                    <a:gd name="T30" fmla="*/ 0 w 531"/>
                    <a:gd name="T31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531" h="46">
                      <a:moveTo>
                        <a:pt x="0" y="0"/>
                      </a:moveTo>
                      <a:lnTo>
                        <a:pt x="455" y="0"/>
                      </a:lnTo>
                      <a:lnTo>
                        <a:pt x="441" y="35"/>
                      </a:lnTo>
                      <a:lnTo>
                        <a:pt x="441" y="37"/>
                      </a:lnTo>
                      <a:lnTo>
                        <a:pt x="442" y="39"/>
                      </a:lnTo>
                      <a:lnTo>
                        <a:pt x="444" y="39"/>
                      </a:lnTo>
                      <a:lnTo>
                        <a:pt x="445" y="39"/>
                      </a:lnTo>
                      <a:lnTo>
                        <a:pt x="446" y="39"/>
                      </a:lnTo>
                      <a:lnTo>
                        <a:pt x="448" y="39"/>
                      </a:lnTo>
                      <a:lnTo>
                        <a:pt x="448" y="38"/>
                      </a:lnTo>
                      <a:lnTo>
                        <a:pt x="455" y="18"/>
                      </a:lnTo>
                      <a:lnTo>
                        <a:pt x="465" y="0"/>
                      </a:lnTo>
                      <a:lnTo>
                        <a:pt x="531" y="0"/>
                      </a:lnTo>
                      <a:lnTo>
                        <a:pt x="531" y="46"/>
                      </a:lnTo>
                      <a:lnTo>
                        <a:pt x="0" y="4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rgbClr val="E3FDF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64" name="Freeform 38"/>
                <p:cNvSpPr>
                  <a:spLocks/>
                </p:cNvSpPr>
                <p:nvPr/>
              </p:nvSpPr>
              <p:spPr bwMode="auto">
                <a:xfrm>
                  <a:off x="7070725" y="4794250"/>
                  <a:ext cx="38100" cy="61913"/>
                </a:xfrm>
                <a:custGeom>
                  <a:avLst/>
                  <a:gdLst>
                    <a:gd name="T0" fmla="*/ 14 w 24"/>
                    <a:gd name="T1" fmla="*/ 0 h 39"/>
                    <a:gd name="T2" fmla="*/ 24 w 24"/>
                    <a:gd name="T3" fmla="*/ 0 h 39"/>
                    <a:gd name="T4" fmla="*/ 14 w 24"/>
                    <a:gd name="T5" fmla="*/ 18 h 39"/>
                    <a:gd name="T6" fmla="*/ 7 w 24"/>
                    <a:gd name="T7" fmla="*/ 38 h 39"/>
                    <a:gd name="T8" fmla="*/ 7 w 24"/>
                    <a:gd name="T9" fmla="*/ 39 h 39"/>
                    <a:gd name="T10" fmla="*/ 5 w 24"/>
                    <a:gd name="T11" fmla="*/ 39 h 39"/>
                    <a:gd name="T12" fmla="*/ 4 w 24"/>
                    <a:gd name="T13" fmla="*/ 39 h 39"/>
                    <a:gd name="T14" fmla="*/ 3 w 24"/>
                    <a:gd name="T15" fmla="*/ 39 h 39"/>
                    <a:gd name="T16" fmla="*/ 1 w 24"/>
                    <a:gd name="T17" fmla="*/ 39 h 39"/>
                    <a:gd name="T18" fmla="*/ 0 w 24"/>
                    <a:gd name="T19" fmla="*/ 37 h 39"/>
                    <a:gd name="T20" fmla="*/ 0 w 24"/>
                    <a:gd name="T21" fmla="*/ 35 h 39"/>
                    <a:gd name="T22" fmla="*/ 14 w 24"/>
                    <a:gd name="T23" fmla="*/ 0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4" h="39">
                      <a:moveTo>
                        <a:pt x="14" y="0"/>
                      </a:moveTo>
                      <a:lnTo>
                        <a:pt x="24" y="0"/>
                      </a:lnTo>
                      <a:lnTo>
                        <a:pt x="14" y="18"/>
                      </a:lnTo>
                      <a:lnTo>
                        <a:pt x="7" y="38"/>
                      </a:lnTo>
                      <a:lnTo>
                        <a:pt x="7" y="39"/>
                      </a:lnTo>
                      <a:lnTo>
                        <a:pt x="5" y="39"/>
                      </a:lnTo>
                      <a:lnTo>
                        <a:pt x="4" y="39"/>
                      </a:lnTo>
                      <a:lnTo>
                        <a:pt x="3" y="39"/>
                      </a:lnTo>
                      <a:lnTo>
                        <a:pt x="1" y="39"/>
                      </a:lnTo>
                      <a:lnTo>
                        <a:pt x="0" y="37"/>
                      </a:lnTo>
                      <a:lnTo>
                        <a:pt x="0" y="35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solidFill>
                  <a:srgbClr val="148BA2"/>
                </a:solidFill>
                <a:ln w="0">
                  <a:solidFill>
                    <a:srgbClr val="148BA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65" name="Rectangle 49"/>
                <p:cNvSpPr>
                  <a:spLocks noChangeArrowheads="1"/>
                </p:cNvSpPr>
                <p:nvPr/>
              </p:nvSpPr>
              <p:spPr bwMode="auto">
                <a:xfrm>
                  <a:off x="4610100" y="2994025"/>
                  <a:ext cx="3052763" cy="73025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66" name="Freeform 50"/>
                <p:cNvSpPr>
                  <a:spLocks noEditPoints="1"/>
                </p:cNvSpPr>
                <p:nvPr/>
              </p:nvSpPr>
              <p:spPr bwMode="auto">
                <a:xfrm>
                  <a:off x="4610100" y="3146425"/>
                  <a:ext cx="1385888" cy="69850"/>
                </a:xfrm>
                <a:custGeom>
                  <a:avLst/>
                  <a:gdLst>
                    <a:gd name="T0" fmla="*/ 864 w 873"/>
                    <a:gd name="T1" fmla="*/ 0 h 44"/>
                    <a:gd name="T2" fmla="*/ 873 w 873"/>
                    <a:gd name="T3" fmla="*/ 0 h 44"/>
                    <a:gd name="T4" fmla="*/ 873 w 873"/>
                    <a:gd name="T5" fmla="*/ 44 h 44"/>
                    <a:gd name="T6" fmla="*/ 872 w 873"/>
                    <a:gd name="T7" fmla="*/ 44 h 44"/>
                    <a:gd name="T8" fmla="*/ 872 w 873"/>
                    <a:gd name="T9" fmla="*/ 21 h 44"/>
                    <a:gd name="T10" fmla="*/ 861 w 873"/>
                    <a:gd name="T11" fmla="*/ 18 h 44"/>
                    <a:gd name="T12" fmla="*/ 864 w 873"/>
                    <a:gd name="T13" fmla="*/ 0 h 44"/>
                    <a:gd name="T14" fmla="*/ 0 w 873"/>
                    <a:gd name="T15" fmla="*/ 0 h 44"/>
                    <a:gd name="T16" fmla="*/ 854 w 873"/>
                    <a:gd name="T17" fmla="*/ 0 h 44"/>
                    <a:gd name="T18" fmla="*/ 847 w 873"/>
                    <a:gd name="T19" fmla="*/ 14 h 44"/>
                    <a:gd name="T20" fmla="*/ 847 w 873"/>
                    <a:gd name="T21" fmla="*/ 13 h 44"/>
                    <a:gd name="T22" fmla="*/ 838 w 873"/>
                    <a:gd name="T23" fmla="*/ 10 h 44"/>
                    <a:gd name="T24" fmla="*/ 816 w 873"/>
                    <a:gd name="T25" fmla="*/ 44 h 44"/>
                    <a:gd name="T26" fmla="*/ 0 w 873"/>
                    <a:gd name="T27" fmla="*/ 44 h 44"/>
                    <a:gd name="T28" fmla="*/ 0 w 873"/>
                    <a:gd name="T29" fmla="*/ 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73" h="44">
                      <a:moveTo>
                        <a:pt x="864" y="0"/>
                      </a:moveTo>
                      <a:lnTo>
                        <a:pt x="873" y="0"/>
                      </a:lnTo>
                      <a:lnTo>
                        <a:pt x="873" y="44"/>
                      </a:lnTo>
                      <a:lnTo>
                        <a:pt x="872" y="44"/>
                      </a:lnTo>
                      <a:lnTo>
                        <a:pt x="872" y="21"/>
                      </a:lnTo>
                      <a:lnTo>
                        <a:pt x="861" y="18"/>
                      </a:lnTo>
                      <a:lnTo>
                        <a:pt x="864" y="0"/>
                      </a:lnTo>
                      <a:close/>
                      <a:moveTo>
                        <a:pt x="0" y="0"/>
                      </a:moveTo>
                      <a:lnTo>
                        <a:pt x="854" y="0"/>
                      </a:lnTo>
                      <a:lnTo>
                        <a:pt x="847" y="14"/>
                      </a:lnTo>
                      <a:lnTo>
                        <a:pt x="847" y="13"/>
                      </a:lnTo>
                      <a:lnTo>
                        <a:pt x="838" y="10"/>
                      </a:lnTo>
                      <a:lnTo>
                        <a:pt x="816" y="44"/>
                      </a:lnTo>
                      <a:lnTo>
                        <a:pt x="0" y="4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67" name="Rectangle 62"/>
                <p:cNvSpPr>
                  <a:spLocks noChangeArrowheads="1"/>
                </p:cNvSpPr>
                <p:nvPr/>
              </p:nvSpPr>
              <p:spPr bwMode="auto">
                <a:xfrm>
                  <a:off x="4610100" y="2846388"/>
                  <a:ext cx="3059113" cy="73025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68" name="Rectangle 63"/>
                <p:cNvSpPr>
                  <a:spLocks noChangeArrowheads="1"/>
                </p:cNvSpPr>
                <p:nvPr/>
              </p:nvSpPr>
              <p:spPr bwMode="auto">
                <a:xfrm>
                  <a:off x="4610100" y="2543175"/>
                  <a:ext cx="3059113" cy="74613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69" name="Rectangle 64"/>
                <p:cNvSpPr>
                  <a:spLocks noChangeArrowheads="1"/>
                </p:cNvSpPr>
                <p:nvPr/>
              </p:nvSpPr>
              <p:spPr bwMode="auto">
                <a:xfrm>
                  <a:off x="4610100" y="2693988"/>
                  <a:ext cx="3052763" cy="71438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70" name="Rectangle 65"/>
                <p:cNvSpPr>
                  <a:spLocks noChangeArrowheads="1"/>
                </p:cNvSpPr>
                <p:nvPr/>
              </p:nvSpPr>
              <p:spPr bwMode="auto">
                <a:xfrm>
                  <a:off x="4610100" y="2100263"/>
                  <a:ext cx="3052763" cy="73025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</p:grpSp>
        </p:grpSp>
        <p:grpSp>
          <p:nvGrpSpPr>
            <p:cNvPr id="39" name="Group 38"/>
            <p:cNvGrpSpPr/>
            <p:nvPr/>
          </p:nvGrpSpPr>
          <p:grpSpPr>
            <a:xfrm>
              <a:off x="925023" y="3631231"/>
              <a:ext cx="948934" cy="2713059"/>
              <a:chOff x="4799013" y="2959100"/>
              <a:chExt cx="1182687" cy="3381376"/>
            </a:xfrm>
          </p:grpSpPr>
          <p:sp>
            <p:nvSpPr>
              <p:cNvPr id="40" name="Freeform 52"/>
              <p:cNvSpPr>
                <a:spLocks/>
              </p:cNvSpPr>
              <p:nvPr/>
            </p:nvSpPr>
            <p:spPr bwMode="auto">
              <a:xfrm>
                <a:off x="4900613" y="3327400"/>
                <a:ext cx="1074738" cy="2752725"/>
              </a:xfrm>
              <a:custGeom>
                <a:avLst/>
                <a:gdLst>
                  <a:gd name="T0" fmla="*/ 511 w 677"/>
                  <a:gd name="T1" fmla="*/ 0 h 1734"/>
                  <a:gd name="T2" fmla="*/ 677 w 677"/>
                  <a:gd name="T3" fmla="*/ 50 h 1734"/>
                  <a:gd name="T4" fmla="*/ 167 w 677"/>
                  <a:gd name="T5" fmla="*/ 1734 h 1734"/>
                  <a:gd name="T6" fmla="*/ 0 w 677"/>
                  <a:gd name="T7" fmla="*/ 1683 h 1734"/>
                  <a:gd name="T8" fmla="*/ 511 w 677"/>
                  <a:gd name="T9" fmla="*/ 0 h 17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7" h="1734">
                    <a:moveTo>
                      <a:pt x="511" y="0"/>
                    </a:moveTo>
                    <a:lnTo>
                      <a:pt x="677" y="50"/>
                    </a:lnTo>
                    <a:lnTo>
                      <a:pt x="167" y="1734"/>
                    </a:lnTo>
                    <a:lnTo>
                      <a:pt x="0" y="1683"/>
                    </a:lnTo>
                    <a:lnTo>
                      <a:pt x="511" y="0"/>
                    </a:lnTo>
                    <a:close/>
                  </a:path>
                </a:pathLst>
              </a:custGeom>
              <a:solidFill>
                <a:srgbClr val="26867C"/>
              </a:solidFill>
              <a:ln w="0">
                <a:solidFill>
                  <a:srgbClr val="148BA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41" name="Freeform 53"/>
              <p:cNvSpPr>
                <a:spLocks/>
              </p:cNvSpPr>
              <p:nvPr/>
            </p:nvSpPr>
            <p:spPr bwMode="auto">
              <a:xfrm>
                <a:off x="5045074" y="3370264"/>
                <a:ext cx="936626" cy="2713039"/>
              </a:xfrm>
              <a:custGeom>
                <a:avLst/>
                <a:gdLst>
                  <a:gd name="T0" fmla="*/ 510 w 590"/>
                  <a:gd name="T1" fmla="*/ 0 h 1709"/>
                  <a:gd name="T2" fmla="*/ 590 w 590"/>
                  <a:gd name="T3" fmla="*/ 24 h 1709"/>
                  <a:gd name="T4" fmla="*/ 79 w 590"/>
                  <a:gd name="T5" fmla="*/ 1709 h 1709"/>
                  <a:gd name="T6" fmla="*/ 0 w 590"/>
                  <a:gd name="T7" fmla="*/ 1684 h 1709"/>
                  <a:gd name="T8" fmla="*/ 510 w 590"/>
                  <a:gd name="T9" fmla="*/ 0 h 1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0" h="1709">
                    <a:moveTo>
                      <a:pt x="510" y="0"/>
                    </a:moveTo>
                    <a:lnTo>
                      <a:pt x="590" y="24"/>
                    </a:lnTo>
                    <a:lnTo>
                      <a:pt x="79" y="1709"/>
                    </a:lnTo>
                    <a:lnTo>
                      <a:pt x="0" y="1684"/>
                    </a:lnTo>
                    <a:lnTo>
                      <a:pt x="510" y="0"/>
                    </a:lnTo>
                    <a:close/>
                  </a:path>
                </a:pathLst>
              </a:custGeom>
              <a:solidFill>
                <a:srgbClr val="26867C"/>
              </a:solidFill>
              <a:ln w="0">
                <a:solidFill>
                  <a:srgbClr val="148BA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42" name="Freeform 54"/>
              <p:cNvSpPr>
                <a:spLocks/>
              </p:cNvSpPr>
              <p:nvPr/>
            </p:nvSpPr>
            <p:spPr bwMode="auto">
              <a:xfrm>
                <a:off x="4799013" y="5757863"/>
                <a:ext cx="463550" cy="582613"/>
              </a:xfrm>
              <a:custGeom>
                <a:avLst/>
                <a:gdLst>
                  <a:gd name="T0" fmla="*/ 93 w 292"/>
                  <a:gd name="T1" fmla="*/ 0 h 367"/>
                  <a:gd name="T2" fmla="*/ 292 w 292"/>
                  <a:gd name="T3" fmla="*/ 61 h 367"/>
                  <a:gd name="T4" fmla="*/ 199 w 292"/>
                  <a:gd name="T5" fmla="*/ 367 h 367"/>
                  <a:gd name="T6" fmla="*/ 0 w 292"/>
                  <a:gd name="T7" fmla="*/ 307 h 367"/>
                  <a:gd name="T8" fmla="*/ 93 w 292"/>
                  <a:gd name="T9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2" h="367">
                    <a:moveTo>
                      <a:pt x="93" y="0"/>
                    </a:moveTo>
                    <a:lnTo>
                      <a:pt x="292" y="61"/>
                    </a:lnTo>
                    <a:lnTo>
                      <a:pt x="199" y="367"/>
                    </a:lnTo>
                    <a:lnTo>
                      <a:pt x="0" y="307"/>
                    </a:lnTo>
                    <a:lnTo>
                      <a:pt x="93" y="0"/>
                    </a:lnTo>
                    <a:close/>
                  </a:path>
                </a:pathLst>
              </a:custGeom>
              <a:solidFill>
                <a:srgbClr val="8F9095"/>
              </a:solidFill>
              <a:ln w="0">
                <a:solidFill>
                  <a:srgbClr val="8F909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43" name="Freeform 55"/>
              <p:cNvSpPr>
                <a:spLocks/>
              </p:cNvSpPr>
              <p:nvPr/>
            </p:nvSpPr>
            <p:spPr bwMode="auto">
              <a:xfrm>
                <a:off x="5875338" y="2959100"/>
                <a:ext cx="87313" cy="209550"/>
              </a:xfrm>
              <a:custGeom>
                <a:avLst/>
                <a:gdLst>
                  <a:gd name="T0" fmla="*/ 55 w 55"/>
                  <a:gd name="T1" fmla="*/ 0 h 132"/>
                  <a:gd name="T2" fmla="*/ 40 w 55"/>
                  <a:gd name="T3" fmla="*/ 132 h 132"/>
                  <a:gd name="T4" fmla="*/ 0 w 55"/>
                  <a:gd name="T5" fmla="*/ 119 h 132"/>
                  <a:gd name="T6" fmla="*/ 55 w 55"/>
                  <a:gd name="T7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5" h="132">
                    <a:moveTo>
                      <a:pt x="55" y="0"/>
                    </a:moveTo>
                    <a:lnTo>
                      <a:pt x="40" y="132"/>
                    </a:lnTo>
                    <a:lnTo>
                      <a:pt x="0" y="119"/>
                    </a:lnTo>
                    <a:lnTo>
                      <a:pt x="55" y="0"/>
                    </a:lnTo>
                    <a:close/>
                  </a:path>
                </a:pathLst>
              </a:custGeom>
              <a:solidFill>
                <a:srgbClr val="333333"/>
              </a:solidFill>
              <a:ln w="0">
                <a:solidFill>
                  <a:srgbClr val="333333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44" name="Rectangle 56"/>
              <p:cNvSpPr>
                <a:spLocks noChangeArrowheads="1"/>
              </p:cNvSpPr>
              <p:nvPr/>
            </p:nvSpPr>
            <p:spPr bwMode="auto">
              <a:xfrm>
                <a:off x="5967413" y="3152775"/>
                <a:ext cx="1588" cy="1588"/>
              </a:xfrm>
              <a:prstGeom prst="rect">
                <a:avLst/>
              </a:prstGeom>
              <a:solidFill>
                <a:srgbClr val="E8C27E"/>
              </a:solidFill>
              <a:ln w="0">
                <a:solidFill>
                  <a:srgbClr val="E8C27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45" name="Freeform 57"/>
              <p:cNvSpPr>
                <a:spLocks/>
              </p:cNvSpPr>
              <p:nvPr/>
            </p:nvSpPr>
            <p:spPr bwMode="auto">
              <a:xfrm>
                <a:off x="5711825" y="3030538"/>
                <a:ext cx="263525" cy="376238"/>
              </a:xfrm>
              <a:custGeom>
                <a:avLst/>
                <a:gdLst>
                  <a:gd name="T0" fmla="*/ 128 w 166"/>
                  <a:gd name="T1" fmla="*/ 0 h 237"/>
                  <a:gd name="T2" fmla="*/ 162 w 166"/>
                  <a:gd name="T3" fmla="*/ 10 h 237"/>
                  <a:gd name="T4" fmla="*/ 166 w 166"/>
                  <a:gd name="T5" fmla="*/ 237 h 237"/>
                  <a:gd name="T6" fmla="*/ 0 w 166"/>
                  <a:gd name="T7" fmla="*/ 187 h 237"/>
                  <a:gd name="T8" fmla="*/ 128 w 166"/>
                  <a:gd name="T9" fmla="*/ 0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6" h="237">
                    <a:moveTo>
                      <a:pt x="128" y="0"/>
                    </a:moveTo>
                    <a:lnTo>
                      <a:pt x="162" y="10"/>
                    </a:lnTo>
                    <a:lnTo>
                      <a:pt x="166" y="237"/>
                    </a:lnTo>
                    <a:lnTo>
                      <a:pt x="0" y="187"/>
                    </a:lnTo>
                    <a:lnTo>
                      <a:pt x="128" y="0"/>
                    </a:lnTo>
                    <a:close/>
                  </a:path>
                </a:pathLst>
              </a:custGeom>
              <a:solidFill>
                <a:srgbClr val="BFBFBF"/>
              </a:solidFill>
              <a:ln w="0">
                <a:solidFill>
                  <a:srgbClr val="BFBFB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46" name="Freeform 58"/>
              <p:cNvSpPr>
                <a:spLocks/>
              </p:cNvSpPr>
              <p:nvPr/>
            </p:nvSpPr>
            <p:spPr bwMode="auto">
              <a:xfrm>
                <a:off x="5375275" y="3327400"/>
                <a:ext cx="606425" cy="1190625"/>
              </a:xfrm>
              <a:custGeom>
                <a:avLst/>
                <a:gdLst>
                  <a:gd name="T0" fmla="*/ 212 w 382"/>
                  <a:gd name="T1" fmla="*/ 0 h 750"/>
                  <a:gd name="T2" fmla="*/ 382 w 382"/>
                  <a:gd name="T3" fmla="*/ 51 h 750"/>
                  <a:gd name="T4" fmla="*/ 170 w 382"/>
                  <a:gd name="T5" fmla="*/ 750 h 750"/>
                  <a:gd name="T6" fmla="*/ 0 w 382"/>
                  <a:gd name="T7" fmla="*/ 699 h 750"/>
                  <a:gd name="T8" fmla="*/ 212 w 382"/>
                  <a:gd name="T9" fmla="*/ 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750">
                    <a:moveTo>
                      <a:pt x="212" y="0"/>
                    </a:moveTo>
                    <a:lnTo>
                      <a:pt x="382" y="51"/>
                    </a:lnTo>
                    <a:lnTo>
                      <a:pt x="170" y="750"/>
                    </a:lnTo>
                    <a:lnTo>
                      <a:pt x="0" y="699"/>
                    </a:lnTo>
                    <a:lnTo>
                      <a:pt x="212" y="0"/>
                    </a:lnTo>
                    <a:close/>
                  </a:path>
                </a:pathLst>
              </a:custGeom>
              <a:solidFill>
                <a:srgbClr val="26867C"/>
              </a:solidFill>
              <a:ln w="0">
                <a:solidFill>
                  <a:srgbClr val="148BA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47" name="Freeform 59"/>
              <p:cNvSpPr>
                <a:spLocks/>
              </p:cNvSpPr>
              <p:nvPr/>
            </p:nvSpPr>
            <p:spPr bwMode="auto">
              <a:xfrm>
                <a:off x="5757863" y="3033713"/>
                <a:ext cx="192088" cy="333375"/>
              </a:xfrm>
              <a:custGeom>
                <a:avLst/>
                <a:gdLst>
                  <a:gd name="T0" fmla="*/ 107 w 121"/>
                  <a:gd name="T1" fmla="*/ 0 h 210"/>
                  <a:gd name="T2" fmla="*/ 121 w 121"/>
                  <a:gd name="T3" fmla="*/ 4 h 210"/>
                  <a:gd name="T4" fmla="*/ 53 w 121"/>
                  <a:gd name="T5" fmla="*/ 210 h 210"/>
                  <a:gd name="T6" fmla="*/ 0 w 121"/>
                  <a:gd name="T7" fmla="*/ 193 h 210"/>
                  <a:gd name="T8" fmla="*/ 107 w 121"/>
                  <a:gd name="T9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1" h="210">
                    <a:moveTo>
                      <a:pt x="107" y="0"/>
                    </a:moveTo>
                    <a:lnTo>
                      <a:pt x="121" y="4"/>
                    </a:lnTo>
                    <a:lnTo>
                      <a:pt x="53" y="210"/>
                    </a:lnTo>
                    <a:lnTo>
                      <a:pt x="0" y="193"/>
                    </a:lnTo>
                    <a:lnTo>
                      <a:pt x="107" y="0"/>
                    </a:lnTo>
                    <a:close/>
                  </a:path>
                </a:pathLst>
              </a:custGeom>
              <a:solidFill>
                <a:srgbClr val="E8E8E8"/>
              </a:solidFill>
              <a:ln w="0">
                <a:solidFill>
                  <a:srgbClr val="E8E8E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48" name="Freeform 60"/>
              <p:cNvSpPr>
                <a:spLocks/>
              </p:cNvSpPr>
              <p:nvPr/>
            </p:nvSpPr>
            <p:spPr bwMode="auto">
              <a:xfrm>
                <a:off x="4799013" y="6157913"/>
                <a:ext cx="342900" cy="182563"/>
              </a:xfrm>
              <a:custGeom>
                <a:avLst/>
                <a:gdLst>
                  <a:gd name="T0" fmla="*/ 17 w 216"/>
                  <a:gd name="T1" fmla="*/ 0 h 115"/>
                  <a:gd name="T2" fmla="*/ 216 w 216"/>
                  <a:gd name="T3" fmla="*/ 60 h 115"/>
                  <a:gd name="T4" fmla="*/ 199 w 216"/>
                  <a:gd name="T5" fmla="*/ 115 h 115"/>
                  <a:gd name="T6" fmla="*/ 0 w 216"/>
                  <a:gd name="T7" fmla="*/ 55 h 115"/>
                  <a:gd name="T8" fmla="*/ 17 w 216"/>
                  <a:gd name="T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6" h="115">
                    <a:moveTo>
                      <a:pt x="17" y="0"/>
                    </a:moveTo>
                    <a:lnTo>
                      <a:pt x="216" y="60"/>
                    </a:lnTo>
                    <a:lnTo>
                      <a:pt x="199" y="115"/>
                    </a:lnTo>
                    <a:lnTo>
                      <a:pt x="0" y="55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7F7F7F"/>
              </a:solidFill>
              <a:ln w="0">
                <a:solidFill>
                  <a:srgbClr val="7F7F7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49" name="Freeform 61"/>
              <p:cNvSpPr>
                <a:spLocks/>
              </p:cNvSpPr>
              <p:nvPr/>
            </p:nvSpPr>
            <p:spPr bwMode="auto">
              <a:xfrm>
                <a:off x="4918075" y="5319713"/>
                <a:ext cx="379413" cy="1000125"/>
              </a:xfrm>
              <a:custGeom>
                <a:avLst/>
                <a:gdLst>
                  <a:gd name="T0" fmla="*/ 186 w 239"/>
                  <a:gd name="T1" fmla="*/ 0 h 630"/>
                  <a:gd name="T2" fmla="*/ 239 w 239"/>
                  <a:gd name="T3" fmla="*/ 16 h 630"/>
                  <a:gd name="T4" fmla="*/ 53 w 239"/>
                  <a:gd name="T5" fmla="*/ 630 h 630"/>
                  <a:gd name="T6" fmla="*/ 0 w 239"/>
                  <a:gd name="T7" fmla="*/ 613 h 630"/>
                  <a:gd name="T8" fmla="*/ 186 w 239"/>
                  <a:gd name="T9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9" h="630">
                    <a:moveTo>
                      <a:pt x="186" y="0"/>
                    </a:moveTo>
                    <a:lnTo>
                      <a:pt x="239" y="16"/>
                    </a:lnTo>
                    <a:lnTo>
                      <a:pt x="53" y="630"/>
                    </a:lnTo>
                    <a:lnTo>
                      <a:pt x="0" y="613"/>
                    </a:lnTo>
                    <a:lnTo>
                      <a:pt x="186" y="0"/>
                    </a:ln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0">
                <a:solidFill>
                  <a:sysClr val="window" lastClr="FFFFFF">
                    <a:lumMod val="75000"/>
                  </a:sys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</p:grpSp>
      </p:grpSp>
      <p:grpSp>
        <p:nvGrpSpPr>
          <p:cNvPr id="75" name="Group 74"/>
          <p:cNvGrpSpPr>
            <a:grpSpLocks noChangeAspect="1"/>
          </p:cNvGrpSpPr>
          <p:nvPr/>
        </p:nvGrpSpPr>
        <p:grpSpPr bwMode="auto">
          <a:xfrm>
            <a:off x="768853" y="4762801"/>
            <a:ext cx="413014" cy="454414"/>
            <a:chOff x="-576" y="3243"/>
            <a:chExt cx="419" cy="461"/>
          </a:xfrm>
          <a:solidFill>
            <a:schemeClr val="bg1"/>
          </a:solidFill>
        </p:grpSpPr>
        <p:sp>
          <p:nvSpPr>
            <p:cNvPr id="76" name="Freeform 6"/>
            <p:cNvSpPr>
              <a:spLocks noEditPoints="1"/>
            </p:cNvSpPr>
            <p:nvPr/>
          </p:nvSpPr>
          <p:spPr bwMode="auto">
            <a:xfrm>
              <a:off x="-365" y="3496"/>
              <a:ext cx="208" cy="208"/>
            </a:xfrm>
            <a:custGeom>
              <a:avLst/>
              <a:gdLst>
                <a:gd name="T0" fmla="*/ 732 w 1672"/>
                <a:gd name="T1" fmla="*/ 934 h 1666"/>
                <a:gd name="T2" fmla="*/ 238 w 1672"/>
                <a:gd name="T3" fmla="*/ 797 h 1666"/>
                <a:gd name="T4" fmla="*/ 1380 w 1672"/>
                <a:gd name="T5" fmla="*/ 642 h 1666"/>
                <a:gd name="T6" fmla="*/ 836 w 1672"/>
                <a:gd name="T7" fmla="*/ 0 h 1666"/>
                <a:gd name="T8" fmla="*/ 986 w 1672"/>
                <a:gd name="T9" fmla="*/ 13 h 1666"/>
                <a:gd name="T10" fmla="*/ 1127 w 1672"/>
                <a:gd name="T11" fmla="*/ 51 h 1666"/>
                <a:gd name="T12" fmla="*/ 1257 w 1672"/>
                <a:gd name="T13" fmla="*/ 114 h 1666"/>
                <a:gd name="T14" fmla="*/ 1374 w 1672"/>
                <a:gd name="T15" fmla="*/ 195 h 1666"/>
                <a:gd name="T16" fmla="*/ 1474 w 1672"/>
                <a:gd name="T17" fmla="*/ 296 h 1666"/>
                <a:gd name="T18" fmla="*/ 1557 w 1672"/>
                <a:gd name="T19" fmla="*/ 412 h 1666"/>
                <a:gd name="T20" fmla="*/ 1619 w 1672"/>
                <a:gd name="T21" fmla="*/ 542 h 1666"/>
                <a:gd name="T22" fmla="*/ 1658 w 1672"/>
                <a:gd name="T23" fmla="*/ 683 h 1666"/>
                <a:gd name="T24" fmla="*/ 1672 w 1672"/>
                <a:gd name="T25" fmla="*/ 832 h 1666"/>
                <a:gd name="T26" fmla="*/ 1658 w 1672"/>
                <a:gd name="T27" fmla="*/ 982 h 1666"/>
                <a:gd name="T28" fmla="*/ 1619 w 1672"/>
                <a:gd name="T29" fmla="*/ 1123 h 1666"/>
                <a:gd name="T30" fmla="*/ 1557 w 1672"/>
                <a:gd name="T31" fmla="*/ 1252 h 1666"/>
                <a:gd name="T32" fmla="*/ 1474 w 1672"/>
                <a:gd name="T33" fmla="*/ 1369 h 1666"/>
                <a:gd name="T34" fmla="*/ 1374 w 1672"/>
                <a:gd name="T35" fmla="*/ 1469 h 1666"/>
                <a:gd name="T36" fmla="*/ 1257 w 1672"/>
                <a:gd name="T37" fmla="*/ 1552 h 1666"/>
                <a:gd name="T38" fmla="*/ 1127 w 1672"/>
                <a:gd name="T39" fmla="*/ 1613 h 1666"/>
                <a:gd name="T40" fmla="*/ 986 w 1672"/>
                <a:gd name="T41" fmla="*/ 1653 h 1666"/>
                <a:gd name="T42" fmla="*/ 836 w 1672"/>
                <a:gd name="T43" fmla="*/ 1666 h 1666"/>
                <a:gd name="T44" fmla="*/ 686 w 1672"/>
                <a:gd name="T45" fmla="*/ 1653 h 1666"/>
                <a:gd name="T46" fmla="*/ 545 w 1672"/>
                <a:gd name="T47" fmla="*/ 1613 h 1666"/>
                <a:gd name="T48" fmla="*/ 415 w 1672"/>
                <a:gd name="T49" fmla="*/ 1552 h 1666"/>
                <a:gd name="T50" fmla="*/ 298 w 1672"/>
                <a:gd name="T51" fmla="*/ 1469 h 1666"/>
                <a:gd name="T52" fmla="*/ 198 w 1672"/>
                <a:gd name="T53" fmla="*/ 1369 h 1666"/>
                <a:gd name="T54" fmla="*/ 115 w 1672"/>
                <a:gd name="T55" fmla="*/ 1252 h 1666"/>
                <a:gd name="T56" fmla="*/ 53 w 1672"/>
                <a:gd name="T57" fmla="*/ 1123 h 1666"/>
                <a:gd name="T58" fmla="*/ 14 w 1672"/>
                <a:gd name="T59" fmla="*/ 982 h 1666"/>
                <a:gd name="T60" fmla="*/ 0 w 1672"/>
                <a:gd name="T61" fmla="*/ 832 h 1666"/>
                <a:gd name="T62" fmla="*/ 14 w 1672"/>
                <a:gd name="T63" fmla="*/ 683 h 1666"/>
                <a:gd name="T64" fmla="*/ 53 w 1672"/>
                <a:gd name="T65" fmla="*/ 542 h 1666"/>
                <a:gd name="T66" fmla="*/ 115 w 1672"/>
                <a:gd name="T67" fmla="*/ 412 h 1666"/>
                <a:gd name="T68" fmla="*/ 198 w 1672"/>
                <a:gd name="T69" fmla="*/ 296 h 1666"/>
                <a:gd name="T70" fmla="*/ 298 w 1672"/>
                <a:gd name="T71" fmla="*/ 195 h 1666"/>
                <a:gd name="T72" fmla="*/ 415 w 1672"/>
                <a:gd name="T73" fmla="*/ 114 h 1666"/>
                <a:gd name="T74" fmla="*/ 545 w 1672"/>
                <a:gd name="T75" fmla="*/ 51 h 1666"/>
                <a:gd name="T76" fmla="*/ 686 w 1672"/>
                <a:gd name="T77" fmla="*/ 13 h 1666"/>
                <a:gd name="T78" fmla="*/ 836 w 1672"/>
                <a:gd name="T79" fmla="*/ 0 h 1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72" h="1666">
                  <a:moveTo>
                    <a:pt x="1202" y="465"/>
                  </a:moveTo>
                  <a:lnTo>
                    <a:pt x="732" y="934"/>
                  </a:lnTo>
                  <a:lnTo>
                    <a:pt x="416" y="619"/>
                  </a:lnTo>
                  <a:lnTo>
                    <a:pt x="238" y="797"/>
                  </a:lnTo>
                  <a:lnTo>
                    <a:pt x="732" y="1289"/>
                  </a:lnTo>
                  <a:lnTo>
                    <a:pt x="1380" y="642"/>
                  </a:lnTo>
                  <a:lnTo>
                    <a:pt x="1202" y="465"/>
                  </a:lnTo>
                  <a:close/>
                  <a:moveTo>
                    <a:pt x="836" y="0"/>
                  </a:moveTo>
                  <a:lnTo>
                    <a:pt x="912" y="3"/>
                  </a:lnTo>
                  <a:lnTo>
                    <a:pt x="986" y="13"/>
                  </a:lnTo>
                  <a:lnTo>
                    <a:pt x="1058" y="29"/>
                  </a:lnTo>
                  <a:lnTo>
                    <a:pt x="1127" y="51"/>
                  </a:lnTo>
                  <a:lnTo>
                    <a:pt x="1193" y="79"/>
                  </a:lnTo>
                  <a:lnTo>
                    <a:pt x="1257" y="114"/>
                  </a:lnTo>
                  <a:lnTo>
                    <a:pt x="1318" y="152"/>
                  </a:lnTo>
                  <a:lnTo>
                    <a:pt x="1374" y="195"/>
                  </a:lnTo>
                  <a:lnTo>
                    <a:pt x="1426" y="243"/>
                  </a:lnTo>
                  <a:lnTo>
                    <a:pt x="1474" y="296"/>
                  </a:lnTo>
                  <a:lnTo>
                    <a:pt x="1518" y="353"/>
                  </a:lnTo>
                  <a:lnTo>
                    <a:pt x="1557" y="412"/>
                  </a:lnTo>
                  <a:lnTo>
                    <a:pt x="1591" y="476"/>
                  </a:lnTo>
                  <a:lnTo>
                    <a:pt x="1619" y="542"/>
                  </a:lnTo>
                  <a:lnTo>
                    <a:pt x="1641" y="611"/>
                  </a:lnTo>
                  <a:lnTo>
                    <a:pt x="1658" y="683"/>
                  </a:lnTo>
                  <a:lnTo>
                    <a:pt x="1668" y="757"/>
                  </a:lnTo>
                  <a:lnTo>
                    <a:pt x="1672" y="832"/>
                  </a:lnTo>
                  <a:lnTo>
                    <a:pt x="1668" y="908"/>
                  </a:lnTo>
                  <a:lnTo>
                    <a:pt x="1658" y="982"/>
                  </a:lnTo>
                  <a:lnTo>
                    <a:pt x="1641" y="1054"/>
                  </a:lnTo>
                  <a:lnTo>
                    <a:pt x="1619" y="1123"/>
                  </a:lnTo>
                  <a:lnTo>
                    <a:pt x="1591" y="1190"/>
                  </a:lnTo>
                  <a:lnTo>
                    <a:pt x="1557" y="1252"/>
                  </a:lnTo>
                  <a:lnTo>
                    <a:pt x="1518" y="1313"/>
                  </a:lnTo>
                  <a:lnTo>
                    <a:pt x="1474" y="1369"/>
                  </a:lnTo>
                  <a:lnTo>
                    <a:pt x="1426" y="1421"/>
                  </a:lnTo>
                  <a:lnTo>
                    <a:pt x="1374" y="1469"/>
                  </a:lnTo>
                  <a:lnTo>
                    <a:pt x="1318" y="1513"/>
                  </a:lnTo>
                  <a:lnTo>
                    <a:pt x="1257" y="1552"/>
                  </a:lnTo>
                  <a:lnTo>
                    <a:pt x="1193" y="1586"/>
                  </a:lnTo>
                  <a:lnTo>
                    <a:pt x="1127" y="1613"/>
                  </a:lnTo>
                  <a:lnTo>
                    <a:pt x="1058" y="1636"/>
                  </a:lnTo>
                  <a:lnTo>
                    <a:pt x="986" y="1653"/>
                  </a:lnTo>
                  <a:lnTo>
                    <a:pt x="912" y="1663"/>
                  </a:lnTo>
                  <a:lnTo>
                    <a:pt x="836" y="1666"/>
                  </a:lnTo>
                  <a:lnTo>
                    <a:pt x="760" y="1663"/>
                  </a:lnTo>
                  <a:lnTo>
                    <a:pt x="686" y="1653"/>
                  </a:lnTo>
                  <a:lnTo>
                    <a:pt x="614" y="1636"/>
                  </a:lnTo>
                  <a:lnTo>
                    <a:pt x="545" y="1613"/>
                  </a:lnTo>
                  <a:lnTo>
                    <a:pt x="479" y="1586"/>
                  </a:lnTo>
                  <a:lnTo>
                    <a:pt x="415" y="1552"/>
                  </a:lnTo>
                  <a:lnTo>
                    <a:pt x="354" y="1513"/>
                  </a:lnTo>
                  <a:lnTo>
                    <a:pt x="298" y="1469"/>
                  </a:lnTo>
                  <a:lnTo>
                    <a:pt x="246" y="1421"/>
                  </a:lnTo>
                  <a:lnTo>
                    <a:pt x="198" y="1369"/>
                  </a:lnTo>
                  <a:lnTo>
                    <a:pt x="154" y="1313"/>
                  </a:lnTo>
                  <a:lnTo>
                    <a:pt x="115" y="1252"/>
                  </a:lnTo>
                  <a:lnTo>
                    <a:pt x="81" y="1190"/>
                  </a:lnTo>
                  <a:lnTo>
                    <a:pt x="53" y="1123"/>
                  </a:lnTo>
                  <a:lnTo>
                    <a:pt x="31" y="1054"/>
                  </a:lnTo>
                  <a:lnTo>
                    <a:pt x="14" y="982"/>
                  </a:lnTo>
                  <a:lnTo>
                    <a:pt x="4" y="908"/>
                  </a:lnTo>
                  <a:lnTo>
                    <a:pt x="0" y="832"/>
                  </a:lnTo>
                  <a:lnTo>
                    <a:pt x="4" y="757"/>
                  </a:lnTo>
                  <a:lnTo>
                    <a:pt x="14" y="683"/>
                  </a:lnTo>
                  <a:lnTo>
                    <a:pt x="31" y="611"/>
                  </a:lnTo>
                  <a:lnTo>
                    <a:pt x="53" y="542"/>
                  </a:lnTo>
                  <a:lnTo>
                    <a:pt x="81" y="476"/>
                  </a:lnTo>
                  <a:lnTo>
                    <a:pt x="115" y="412"/>
                  </a:lnTo>
                  <a:lnTo>
                    <a:pt x="154" y="353"/>
                  </a:lnTo>
                  <a:lnTo>
                    <a:pt x="198" y="296"/>
                  </a:lnTo>
                  <a:lnTo>
                    <a:pt x="246" y="243"/>
                  </a:lnTo>
                  <a:lnTo>
                    <a:pt x="298" y="195"/>
                  </a:lnTo>
                  <a:lnTo>
                    <a:pt x="354" y="152"/>
                  </a:lnTo>
                  <a:lnTo>
                    <a:pt x="415" y="114"/>
                  </a:lnTo>
                  <a:lnTo>
                    <a:pt x="479" y="79"/>
                  </a:lnTo>
                  <a:lnTo>
                    <a:pt x="545" y="51"/>
                  </a:lnTo>
                  <a:lnTo>
                    <a:pt x="614" y="29"/>
                  </a:lnTo>
                  <a:lnTo>
                    <a:pt x="686" y="13"/>
                  </a:lnTo>
                  <a:lnTo>
                    <a:pt x="760" y="3"/>
                  </a:lnTo>
                  <a:lnTo>
                    <a:pt x="83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7"/>
            <p:cNvSpPr>
              <a:spLocks/>
            </p:cNvSpPr>
            <p:nvPr/>
          </p:nvSpPr>
          <p:spPr bwMode="auto">
            <a:xfrm>
              <a:off x="-350" y="3259"/>
              <a:ext cx="73" cy="73"/>
            </a:xfrm>
            <a:custGeom>
              <a:avLst/>
              <a:gdLst>
                <a:gd name="T0" fmla="*/ 0 w 590"/>
                <a:gd name="T1" fmla="*/ 0 h 588"/>
                <a:gd name="T2" fmla="*/ 590 w 590"/>
                <a:gd name="T3" fmla="*/ 588 h 588"/>
                <a:gd name="T4" fmla="*/ 0 w 590"/>
                <a:gd name="T5" fmla="*/ 588 h 588"/>
                <a:gd name="T6" fmla="*/ 0 w 590"/>
                <a:gd name="T7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0" h="588">
                  <a:moveTo>
                    <a:pt x="0" y="0"/>
                  </a:moveTo>
                  <a:lnTo>
                    <a:pt x="590" y="588"/>
                  </a:lnTo>
                  <a:lnTo>
                    <a:pt x="0" y="5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8"/>
            <p:cNvSpPr>
              <a:spLocks noEditPoints="1"/>
            </p:cNvSpPr>
            <p:nvPr/>
          </p:nvSpPr>
          <p:spPr bwMode="auto">
            <a:xfrm>
              <a:off x="-576" y="3243"/>
              <a:ext cx="315" cy="435"/>
            </a:xfrm>
            <a:custGeom>
              <a:avLst/>
              <a:gdLst>
                <a:gd name="T0" fmla="*/ 420 w 2520"/>
                <a:gd name="T1" fmla="*/ 1487 h 3479"/>
                <a:gd name="T2" fmla="*/ 420 w 2520"/>
                <a:gd name="T3" fmla="*/ 1739 h 3479"/>
                <a:gd name="T4" fmla="*/ 2100 w 2520"/>
                <a:gd name="T5" fmla="*/ 1739 h 3479"/>
                <a:gd name="T6" fmla="*/ 2100 w 2520"/>
                <a:gd name="T7" fmla="*/ 1487 h 3479"/>
                <a:gd name="T8" fmla="*/ 420 w 2520"/>
                <a:gd name="T9" fmla="*/ 1487 h 3479"/>
                <a:gd name="T10" fmla="*/ 0 w 2520"/>
                <a:gd name="T11" fmla="*/ 0 h 3479"/>
                <a:gd name="T12" fmla="*/ 1555 w 2520"/>
                <a:gd name="T13" fmla="*/ 0 h 3479"/>
                <a:gd name="T14" fmla="*/ 1555 w 2520"/>
                <a:gd name="T15" fmla="*/ 964 h 3479"/>
                <a:gd name="T16" fmla="*/ 2520 w 2520"/>
                <a:gd name="T17" fmla="*/ 964 h 3479"/>
                <a:gd name="T18" fmla="*/ 2520 w 2520"/>
                <a:gd name="T19" fmla="*/ 1770 h 3479"/>
                <a:gd name="T20" fmla="*/ 2433 w 2520"/>
                <a:gd name="T21" fmla="*/ 1774 h 3479"/>
                <a:gd name="T22" fmla="*/ 2348 w 2520"/>
                <a:gd name="T23" fmla="*/ 1784 h 3479"/>
                <a:gd name="T24" fmla="*/ 2265 w 2520"/>
                <a:gd name="T25" fmla="*/ 1800 h 3479"/>
                <a:gd name="T26" fmla="*/ 2184 w 2520"/>
                <a:gd name="T27" fmla="*/ 1823 h 3479"/>
                <a:gd name="T28" fmla="*/ 2107 w 2520"/>
                <a:gd name="T29" fmla="*/ 1852 h 3479"/>
                <a:gd name="T30" fmla="*/ 2031 w 2520"/>
                <a:gd name="T31" fmla="*/ 1885 h 3479"/>
                <a:gd name="T32" fmla="*/ 1959 w 2520"/>
                <a:gd name="T33" fmla="*/ 1926 h 3479"/>
                <a:gd name="T34" fmla="*/ 1891 w 2520"/>
                <a:gd name="T35" fmla="*/ 1970 h 3479"/>
                <a:gd name="T36" fmla="*/ 1826 w 2520"/>
                <a:gd name="T37" fmla="*/ 2021 h 3479"/>
                <a:gd name="T38" fmla="*/ 1765 w 2520"/>
                <a:gd name="T39" fmla="*/ 2074 h 3479"/>
                <a:gd name="T40" fmla="*/ 420 w 2520"/>
                <a:gd name="T41" fmla="*/ 2074 h 3479"/>
                <a:gd name="T42" fmla="*/ 420 w 2520"/>
                <a:gd name="T43" fmla="*/ 2326 h 3479"/>
                <a:gd name="T44" fmla="*/ 1571 w 2520"/>
                <a:gd name="T45" fmla="*/ 2326 h 3479"/>
                <a:gd name="T46" fmla="*/ 1538 w 2520"/>
                <a:gd name="T47" fmla="*/ 2388 h 3479"/>
                <a:gd name="T48" fmla="*/ 1510 w 2520"/>
                <a:gd name="T49" fmla="*/ 2454 h 3479"/>
                <a:gd name="T50" fmla="*/ 1485 w 2520"/>
                <a:gd name="T51" fmla="*/ 2521 h 3479"/>
                <a:gd name="T52" fmla="*/ 1465 w 2520"/>
                <a:gd name="T53" fmla="*/ 2591 h 3479"/>
                <a:gd name="T54" fmla="*/ 1450 w 2520"/>
                <a:gd name="T55" fmla="*/ 2661 h 3479"/>
                <a:gd name="T56" fmla="*/ 420 w 2520"/>
                <a:gd name="T57" fmla="*/ 2661 h 3479"/>
                <a:gd name="T58" fmla="*/ 420 w 2520"/>
                <a:gd name="T59" fmla="*/ 2912 h 3479"/>
                <a:gd name="T60" fmla="*/ 1435 w 2520"/>
                <a:gd name="T61" fmla="*/ 2912 h 3479"/>
                <a:gd name="T62" fmla="*/ 1441 w 2520"/>
                <a:gd name="T63" fmla="*/ 2991 h 3479"/>
                <a:gd name="T64" fmla="*/ 1454 w 2520"/>
                <a:gd name="T65" fmla="*/ 3067 h 3479"/>
                <a:gd name="T66" fmla="*/ 1472 w 2520"/>
                <a:gd name="T67" fmla="*/ 3142 h 3479"/>
                <a:gd name="T68" fmla="*/ 1494 w 2520"/>
                <a:gd name="T69" fmla="*/ 3214 h 3479"/>
                <a:gd name="T70" fmla="*/ 1522 w 2520"/>
                <a:gd name="T71" fmla="*/ 3283 h 3479"/>
                <a:gd name="T72" fmla="*/ 1553 w 2520"/>
                <a:gd name="T73" fmla="*/ 3352 h 3479"/>
                <a:gd name="T74" fmla="*/ 1590 w 2520"/>
                <a:gd name="T75" fmla="*/ 3416 h 3479"/>
                <a:gd name="T76" fmla="*/ 1631 w 2520"/>
                <a:gd name="T77" fmla="*/ 3479 h 3479"/>
                <a:gd name="T78" fmla="*/ 0 w 2520"/>
                <a:gd name="T79" fmla="*/ 3479 h 3479"/>
                <a:gd name="T80" fmla="*/ 0 w 2520"/>
                <a:gd name="T81" fmla="*/ 0 h 3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520" h="3479">
                  <a:moveTo>
                    <a:pt x="420" y="1487"/>
                  </a:moveTo>
                  <a:lnTo>
                    <a:pt x="420" y="1739"/>
                  </a:lnTo>
                  <a:lnTo>
                    <a:pt x="2100" y="1739"/>
                  </a:lnTo>
                  <a:lnTo>
                    <a:pt x="2100" y="1487"/>
                  </a:lnTo>
                  <a:lnTo>
                    <a:pt x="420" y="1487"/>
                  </a:lnTo>
                  <a:close/>
                  <a:moveTo>
                    <a:pt x="0" y="0"/>
                  </a:moveTo>
                  <a:lnTo>
                    <a:pt x="1555" y="0"/>
                  </a:lnTo>
                  <a:lnTo>
                    <a:pt x="1555" y="964"/>
                  </a:lnTo>
                  <a:lnTo>
                    <a:pt x="2520" y="964"/>
                  </a:lnTo>
                  <a:lnTo>
                    <a:pt x="2520" y="1770"/>
                  </a:lnTo>
                  <a:lnTo>
                    <a:pt x="2433" y="1774"/>
                  </a:lnTo>
                  <a:lnTo>
                    <a:pt x="2348" y="1784"/>
                  </a:lnTo>
                  <a:lnTo>
                    <a:pt x="2265" y="1800"/>
                  </a:lnTo>
                  <a:lnTo>
                    <a:pt x="2184" y="1823"/>
                  </a:lnTo>
                  <a:lnTo>
                    <a:pt x="2107" y="1852"/>
                  </a:lnTo>
                  <a:lnTo>
                    <a:pt x="2031" y="1885"/>
                  </a:lnTo>
                  <a:lnTo>
                    <a:pt x="1959" y="1926"/>
                  </a:lnTo>
                  <a:lnTo>
                    <a:pt x="1891" y="1970"/>
                  </a:lnTo>
                  <a:lnTo>
                    <a:pt x="1826" y="2021"/>
                  </a:lnTo>
                  <a:lnTo>
                    <a:pt x="1765" y="2074"/>
                  </a:lnTo>
                  <a:lnTo>
                    <a:pt x="420" y="2074"/>
                  </a:lnTo>
                  <a:lnTo>
                    <a:pt x="420" y="2326"/>
                  </a:lnTo>
                  <a:lnTo>
                    <a:pt x="1571" y="2326"/>
                  </a:lnTo>
                  <a:lnTo>
                    <a:pt x="1538" y="2388"/>
                  </a:lnTo>
                  <a:lnTo>
                    <a:pt x="1510" y="2454"/>
                  </a:lnTo>
                  <a:lnTo>
                    <a:pt x="1485" y="2521"/>
                  </a:lnTo>
                  <a:lnTo>
                    <a:pt x="1465" y="2591"/>
                  </a:lnTo>
                  <a:lnTo>
                    <a:pt x="1450" y="2661"/>
                  </a:lnTo>
                  <a:lnTo>
                    <a:pt x="420" y="2661"/>
                  </a:lnTo>
                  <a:lnTo>
                    <a:pt x="420" y="2912"/>
                  </a:lnTo>
                  <a:lnTo>
                    <a:pt x="1435" y="2912"/>
                  </a:lnTo>
                  <a:lnTo>
                    <a:pt x="1441" y="2991"/>
                  </a:lnTo>
                  <a:lnTo>
                    <a:pt x="1454" y="3067"/>
                  </a:lnTo>
                  <a:lnTo>
                    <a:pt x="1472" y="3142"/>
                  </a:lnTo>
                  <a:lnTo>
                    <a:pt x="1494" y="3214"/>
                  </a:lnTo>
                  <a:lnTo>
                    <a:pt x="1522" y="3283"/>
                  </a:lnTo>
                  <a:lnTo>
                    <a:pt x="1553" y="3352"/>
                  </a:lnTo>
                  <a:lnTo>
                    <a:pt x="1590" y="3416"/>
                  </a:lnTo>
                  <a:lnTo>
                    <a:pt x="1631" y="3479"/>
                  </a:lnTo>
                  <a:lnTo>
                    <a:pt x="0" y="347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1" name="Group 90"/>
          <p:cNvGrpSpPr>
            <a:grpSpLocks noChangeAspect="1"/>
          </p:cNvGrpSpPr>
          <p:nvPr/>
        </p:nvGrpSpPr>
        <p:grpSpPr bwMode="auto">
          <a:xfrm>
            <a:off x="825716" y="1572460"/>
            <a:ext cx="320173" cy="457391"/>
            <a:chOff x="-776" y="2272"/>
            <a:chExt cx="448" cy="640"/>
          </a:xfrm>
          <a:solidFill>
            <a:schemeClr val="bg1"/>
          </a:solidFill>
        </p:grpSpPr>
        <p:sp>
          <p:nvSpPr>
            <p:cNvPr id="92" name="Freeform 6"/>
            <p:cNvSpPr>
              <a:spLocks/>
            </p:cNvSpPr>
            <p:nvPr/>
          </p:nvSpPr>
          <p:spPr bwMode="auto">
            <a:xfrm>
              <a:off x="-776" y="2336"/>
              <a:ext cx="448" cy="576"/>
            </a:xfrm>
            <a:custGeom>
              <a:avLst/>
              <a:gdLst>
                <a:gd name="T0" fmla="*/ 2444 w 2684"/>
                <a:gd name="T1" fmla="*/ 0 h 3456"/>
                <a:gd name="T2" fmla="*/ 2171 w 2684"/>
                <a:gd name="T3" fmla="*/ 0 h 3456"/>
                <a:gd name="T4" fmla="*/ 2171 w 2684"/>
                <a:gd name="T5" fmla="*/ 88 h 3456"/>
                <a:gd name="T6" fmla="*/ 2169 w 2684"/>
                <a:gd name="T7" fmla="*/ 128 h 3456"/>
                <a:gd name="T8" fmla="*/ 2161 w 2684"/>
                <a:gd name="T9" fmla="*/ 166 h 3456"/>
                <a:gd name="T10" fmla="*/ 2148 w 2684"/>
                <a:gd name="T11" fmla="*/ 200 h 3456"/>
                <a:gd name="T12" fmla="*/ 2131 w 2684"/>
                <a:gd name="T13" fmla="*/ 232 h 3456"/>
                <a:gd name="T14" fmla="*/ 2444 w 2684"/>
                <a:gd name="T15" fmla="*/ 232 h 3456"/>
                <a:gd name="T16" fmla="*/ 2444 w 2684"/>
                <a:gd name="T17" fmla="*/ 3224 h 3456"/>
                <a:gd name="T18" fmla="*/ 233 w 2684"/>
                <a:gd name="T19" fmla="*/ 3224 h 3456"/>
                <a:gd name="T20" fmla="*/ 233 w 2684"/>
                <a:gd name="T21" fmla="*/ 232 h 3456"/>
                <a:gd name="T22" fmla="*/ 546 w 2684"/>
                <a:gd name="T23" fmla="*/ 232 h 3456"/>
                <a:gd name="T24" fmla="*/ 529 w 2684"/>
                <a:gd name="T25" fmla="*/ 199 h 3456"/>
                <a:gd name="T26" fmla="*/ 516 w 2684"/>
                <a:gd name="T27" fmla="*/ 163 h 3456"/>
                <a:gd name="T28" fmla="*/ 508 w 2684"/>
                <a:gd name="T29" fmla="*/ 126 h 3456"/>
                <a:gd name="T30" fmla="*/ 505 w 2684"/>
                <a:gd name="T31" fmla="*/ 88 h 3456"/>
                <a:gd name="T32" fmla="*/ 505 w 2684"/>
                <a:gd name="T33" fmla="*/ 0 h 3456"/>
                <a:gd name="T34" fmla="*/ 233 w 2684"/>
                <a:gd name="T35" fmla="*/ 0 h 3456"/>
                <a:gd name="T36" fmla="*/ 195 w 2684"/>
                <a:gd name="T37" fmla="*/ 3 h 3456"/>
                <a:gd name="T38" fmla="*/ 160 w 2684"/>
                <a:gd name="T39" fmla="*/ 12 h 3456"/>
                <a:gd name="T40" fmla="*/ 126 w 2684"/>
                <a:gd name="T41" fmla="*/ 26 h 3456"/>
                <a:gd name="T42" fmla="*/ 96 w 2684"/>
                <a:gd name="T43" fmla="*/ 45 h 3456"/>
                <a:gd name="T44" fmla="*/ 69 w 2684"/>
                <a:gd name="T45" fmla="*/ 67 h 3456"/>
                <a:gd name="T46" fmla="*/ 46 w 2684"/>
                <a:gd name="T47" fmla="*/ 95 h 3456"/>
                <a:gd name="T48" fmla="*/ 26 w 2684"/>
                <a:gd name="T49" fmla="*/ 126 h 3456"/>
                <a:gd name="T50" fmla="*/ 12 w 2684"/>
                <a:gd name="T51" fmla="*/ 158 h 3456"/>
                <a:gd name="T52" fmla="*/ 4 w 2684"/>
                <a:gd name="T53" fmla="*/ 194 h 3456"/>
                <a:gd name="T54" fmla="*/ 0 w 2684"/>
                <a:gd name="T55" fmla="*/ 232 h 3456"/>
                <a:gd name="T56" fmla="*/ 0 w 2684"/>
                <a:gd name="T57" fmla="*/ 3224 h 3456"/>
                <a:gd name="T58" fmla="*/ 4 w 2684"/>
                <a:gd name="T59" fmla="*/ 3262 h 3456"/>
                <a:gd name="T60" fmla="*/ 12 w 2684"/>
                <a:gd name="T61" fmla="*/ 3298 h 3456"/>
                <a:gd name="T62" fmla="*/ 26 w 2684"/>
                <a:gd name="T63" fmla="*/ 3330 h 3456"/>
                <a:gd name="T64" fmla="*/ 46 w 2684"/>
                <a:gd name="T65" fmla="*/ 3361 h 3456"/>
                <a:gd name="T66" fmla="*/ 69 w 2684"/>
                <a:gd name="T67" fmla="*/ 3389 h 3456"/>
                <a:gd name="T68" fmla="*/ 96 w 2684"/>
                <a:gd name="T69" fmla="*/ 3411 h 3456"/>
                <a:gd name="T70" fmla="*/ 126 w 2684"/>
                <a:gd name="T71" fmla="*/ 3430 h 3456"/>
                <a:gd name="T72" fmla="*/ 160 w 2684"/>
                <a:gd name="T73" fmla="*/ 3444 h 3456"/>
                <a:gd name="T74" fmla="*/ 195 w 2684"/>
                <a:gd name="T75" fmla="*/ 3453 h 3456"/>
                <a:gd name="T76" fmla="*/ 233 w 2684"/>
                <a:gd name="T77" fmla="*/ 3456 h 3456"/>
                <a:gd name="T78" fmla="*/ 2452 w 2684"/>
                <a:gd name="T79" fmla="*/ 3456 h 3456"/>
                <a:gd name="T80" fmla="*/ 2489 w 2684"/>
                <a:gd name="T81" fmla="*/ 3453 h 3456"/>
                <a:gd name="T82" fmla="*/ 2525 w 2684"/>
                <a:gd name="T83" fmla="*/ 3444 h 3456"/>
                <a:gd name="T84" fmla="*/ 2559 w 2684"/>
                <a:gd name="T85" fmla="*/ 3430 h 3456"/>
                <a:gd name="T86" fmla="*/ 2589 w 2684"/>
                <a:gd name="T87" fmla="*/ 3411 h 3456"/>
                <a:gd name="T88" fmla="*/ 2616 w 2684"/>
                <a:gd name="T89" fmla="*/ 3389 h 3456"/>
                <a:gd name="T90" fmla="*/ 2639 w 2684"/>
                <a:gd name="T91" fmla="*/ 3361 h 3456"/>
                <a:gd name="T92" fmla="*/ 2658 w 2684"/>
                <a:gd name="T93" fmla="*/ 3330 h 3456"/>
                <a:gd name="T94" fmla="*/ 2672 w 2684"/>
                <a:gd name="T95" fmla="*/ 3298 h 3456"/>
                <a:gd name="T96" fmla="*/ 2681 w 2684"/>
                <a:gd name="T97" fmla="*/ 3262 h 3456"/>
                <a:gd name="T98" fmla="*/ 2684 w 2684"/>
                <a:gd name="T99" fmla="*/ 3224 h 3456"/>
                <a:gd name="T100" fmla="*/ 2684 w 2684"/>
                <a:gd name="T101" fmla="*/ 232 h 3456"/>
                <a:gd name="T102" fmla="*/ 2679 w 2684"/>
                <a:gd name="T103" fmla="*/ 194 h 3456"/>
                <a:gd name="T104" fmla="*/ 2669 w 2684"/>
                <a:gd name="T105" fmla="*/ 158 h 3456"/>
                <a:gd name="T106" fmla="*/ 2653 w 2684"/>
                <a:gd name="T107" fmla="*/ 126 h 3456"/>
                <a:gd name="T108" fmla="*/ 2632 w 2684"/>
                <a:gd name="T109" fmla="*/ 95 h 3456"/>
                <a:gd name="T110" fmla="*/ 2609 w 2684"/>
                <a:gd name="T111" fmla="*/ 67 h 3456"/>
                <a:gd name="T112" fmla="*/ 2581 w 2684"/>
                <a:gd name="T113" fmla="*/ 45 h 3456"/>
                <a:gd name="T114" fmla="*/ 2551 w 2684"/>
                <a:gd name="T115" fmla="*/ 26 h 3456"/>
                <a:gd name="T116" fmla="*/ 2517 w 2684"/>
                <a:gd name="T117" fmla="*/ 12 h 3456"/>
                <a:gd name="T118" fmla="*/ 2481 w 2684"/>
                <a:gd name="T119" fmla="*/ 3 h 3456"/>
                <a:gd name="T120" fmla="*/ 2444 w 2684"/>
                <a:gd name="T121" fmla="*/ 0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84" h="3456">
                  <a:moveTo>
                    <a:pt x="2444" y="0"/>
                  </a:moveTo>
                  <a:lnTo>
                    <a:pt x="2171" y="0"/>
                  </a:lnTo>
                  <a:lnTo>
                    <a:pt x="2171" y="88"/>
                  </a:lnTo>
                  <a:lnTo>
                    <a:pt x="2169" y="128"/>
                  </a:lnTo>
                  <a:lnTo>
                    <a:pt x="2161" y="166"/>
                  </a:lnTo>
                  <a:lnTo>
                    <a:pt x="2148" y="200"/>
                  </a:lnTo>
                  <a:lnTo>
                    <a:pt x="2131" y="232"/>
                  </a:lnTo>
                  <a:lnTo>
                    <a:pt x="2444" y="232"/>
                  </a:lnTo>
                  <a:lnTo>
                    <a:pt x="2444" y="3224"/>
                  </a:lnTo>
                  <a:lnTo>
                    <a:pt x="233" y="3224"/>
                  </a:lnTo>
                  <a:lnTo>
                    <a:pt x="233" y="232"/>
                  </a:lnTo>
                  <a:lnTo>
                    <a:pt x="546" y="232"/>
                  </a:lnTo>
                  <a:lnTo>
                    <a:pt x="529" y="199"/>
                  </a:lnTo>
                  <a:lnTo>
                    <a:pt x="516" y="163"/>
                  </a:lnTo>
                  <a:lnTo>
                    <a:pt x="508" y="126"/>
                  </a:lnTo>
                  <a:lnTo>
                    <a:pt x="505" y="88"/>
                  </a:lnTo>
                  <a:lnTo>
                    <a:pt x="505" y="0"/>
                  </a:lnTo>
                  <a:lnTo>
                    <a:pt x="233" y="0"/>
                  </a:lnTo>
                  <a:lnTo>
                    <a:pt x="195" y="3"/>
                  </a:lnTo>
                  <a:lnTo>
                    <a:pt x="160" y="12"/>
                  </a:lnTo>
                  <a:lnTo>
                    <a:pt x="126" y="26"/>
                  </a:lnTo>
                  <a:lnTo>
                    <a:pt x="96" y="45"/>
                  </a:lnTo>
                  <a:lnTo>
                    <a:pt x="69" y="67"/>
                  </a:lnTo>
                  <a:lnTo>
                    <a:pt x="46" y="95"/>
                  </a:lnTo>
                  <a:lnTo>
                    <a:pt x="26" y="126"/>
                  </a:lnTo>
                  <a:lnTo>
                    <a:pt x="12" y="158"/>
                  </a:lnTo>
                  <a:lnTo>
                    <a:pt x="4" y="194"/>
                  </a:lnTo>
                  <a:lnTo>
                    <a:pt x="0" y="232"/>
                  </a:lnTo>
                  <a:lnTo>
                    <a:pt x="0" y="3224"/>
                  </a:lnTo>
                  <a:lnTo>
                    <a:pt x="4" y="3262"/>
                  </a:lnTo>
                  <a:lnTo>
                    <a:pt x="12" y="3298"/>
                  </a:lnTo>
                  <a:lnTo>
                    <a:pt x="26" y="3330"/>
                  </a:lnTo>
                  <a:lnTo>
                    <a:pt x="46" y="3361"/>
                  </a:lnTo>
                  <a:lnTo>
                    <a:pt x="69" y="3389"/>
                  </a:lnTo>
                  <a:lnTo>
                    <a:pt x="96" y="3411"/>
                  </a:lnTo>
                  <a:lnTo>
                    <a:pt x="126" y="3430"/>
                  </a:lnTo>
                  <a:lnTo>
                    <a:pt x="160" y="3444"/>
                  </a:lnTo>
                  <a:lnTo>
                    <a:pt x="195" y="3453"/>
                  </a:lnTo>
                  <a:lnTo>
                    <a:pt x="233" y="3456"/>
                  </a:lnTo>
                  <a:lnTo>
                    <a:pt x="2452" y="3456"/>
                  </a:lnTo>
                  <a:lnTo>
                    <a:pt x="2489" y="3453"/>
                  </a:lnTo>
                  <a:lnTo>
                    <a:pt x="2525" y="3444"/>
                  </a:lnTo>
                  <a:lnTo>
                    <a:pt x="2559" y="3430"/>
                  </a:lnTo>
                  <a:lnTo>
                    <a:pt x="2589" y="3411"/>
                  </a:lnTo>
                  <a:lnTo>
                    <a:pt x="2616" y="3389"/>
                  </a:lnTo>
                  <a:lnTo>
                    <a:pt x="2639" y="3361"/>
                  </a:lnTo>
                  <a:lnTo>
                    <a:pt x="2658" y="3330"/>
                  </a:lnTo>
                  <a:lnTo>
                    <a:pt x="2672" y="3298"/>
                  </a:lnTo>
                  <a:lnTo>
                    <a:pt x="2681" y="3262"/>
                  </a:lnTo>
                  <a:lnTo>
                    <a:pt x="2684" y="3224"/>
                  </a:lnTo>
                  <a:lnTo>
                    <a:pt x="2684" y="232"/>
                  </a:lnTo>
                  <a:lnTo>
                    <a:pt x="2679" y="194"/>
                  </a:lnTo>
                  <a:lnTo>
                    <a:pt x="2669" y="158"/>
                  </a:lnTo>
                  <a:lnTo>
                    <a:pt x="2653" y="126"/>
                  </a:lnTo>
                  <a:lnTo>
                    <a:pt x="2632" y="95"/>
                  </a:lnTo>
                  <a:lnTo>
                    <a:pt x="2609" y="67"/>
                  </a:lnTo>
                  <a:lnTo>
                    <a:pt x="2581" y="45"/>
                  </a:lnTo>
                  <a:lnTo>
                    <a:pt x="2551" y="26"/>
                  </a:lnTo>
                  <a:lnTo>
                    <a:pt x="2517" y="12"/>
                  </a:lnTo>
                  <a:lnTo>
                    <a:pt x="2481" y="3"/>
                  </a:lnTo>
                  <a:lnTo>
                    <a:pt x="244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7"/>
            <p:cNvSpPr>
              <a:spLocks/>
            </p:cNvSpPr>
            <p:nvPr/>
          </p:nvSpPr>
          <p:spPr bwMode="auto">
            <a:xfrm>
              <a:off x="-666" y="2272"/>
              <a:ext cx="227" cy="104"/>
            </a:xfrm>
            <a:custGeom>
              <a:avLst/>
              <a:gdLst>
                <a:gd name="T0" fmla="*/ 160 w 1363"/>
                <a:gd name="T1" fmla="*/ 624 h 624"/>
                <a:gd name="T2" fmla="*/ 1210 w 1363"/>
                <a:gd name="T3" fmla="*/ 624 h 624"/>
                <a:gd name="T4" fmla="*/ 1241 w 1363"/>
                <a:gd name="T5" fmla="*/ 620 h 624"/>
                <a:gd name="T6" fmla="*/ 1270 w 1363"/>
                <a:gd name="T7" fmla="*/ 612 h 624"/>
                <a:gd name="T8" fmla="*/ 1297 w 1363"/>
                <a:gd name="T9" fmla="*/ 597 h 624"/>
                <a:gd name="T10" fmla="*/ 1319 w 1363"/>
                <a:gd name="T11" fmla="*/ 578 h 624"/>
                <a:gd name="T12" fmla="*/ 1337 w 1363"/>
                <a:gd name="T13" fmla="*/ 555 h 624"/>
                <a:gd name="T14" fmla="*/ 1351 w 1363"/>
                <a:gd name="T15" fmla="*/ 529 h 624"/>
                <a:gd name="T16" fmla="*/ 1359 w 1363"/>
                <a:gd name="T17" fmla="*/ 502 h 624"/>
                <a:gd name="T18" fmla="*/ 1363 w 1363"/>
                <a:gd name="T19" fmla="*/ 472 h 624"/>
                <a:gd name="T20" fmla="*/ 1363 w 1363"/>
                <a:gd name="T21" fmla="*/ 296 h 624"/>
                <a:gd name="T22" fmla="*/ 1359 w 1363"/>
                <a:gd name="T23" fmla="*/ 264 h 624"/>
                <a:gd name="T24" fmla="*/ 1350 w 1363"/>
                <a:gd name="T25" fmla="*/ 235 h 624"/>
                <a:gd name="T26" fmla="*/ 1335 w 1363"/>
                <a:gd name="T27" fmla="*/ 209 h 624"/>
                <a:gd name="T28" fmla="*/ 1316 w 1363"/>
                <a:gd name="T29" fmla="*/ 187 h 624"/>
                <a:gd name="T30" fmla="*/ 1294 w 1363"/>
                <a:gd name="T31" fmla="*/ 169 h 624"/>
                <a:gd name="T32" fmla="*/ 1267 w 1363"/>
                <a:gd name="T33" fmla="*/ 156 h 624"/>
                <a:gd name="T34" fmla="*/ 1239 w 1363"/>
                <a:gd name="T35" fmla="*/ 147 h 624"/>
                <a:gd name="T36" fmla="*/ 1210 w 1363"/>
                <a:gd name="T37" fmla="*/ 144 h 624"/>
                <a:gd name="T38" fmla="*/ 1018 w 1363"/>
                <a:gd name="T39" fmla="*/ 144 h 624"/>
                <a:gd name="T40" fmla="*/ 970 w 1363"/>
                <a:gd name="T41" fmla="*/ 80 h 624"/>
                <a:gd name="T42" fmla="*/ 955 w 1363"/>
                <a:gd name="T43" fmla="*/ 57 h 624"/>
                <a:gd name="T44" fmla="*/ 936 w 1363"/>
                <a:gd name="T45" fmla="*/ 38 h 624"/>
                <a:gd name="T46" fmla="*/ 914 w 1363"/>
                <a:gd name="T47" fmla="*/ 22 h 624"/>
                <a:gd name="T48" fmla="*/ 888 w 1363"/>
                <a:gd name="T49" fmla="*/ 10 h 624"/>
                <a:gd name="T50" fmla="*/ 862 w 1363"/>
                <a:gd name="T51" fmla="*/ 2 h 624"/>
                <a:gd name="T52" fmla="*/ 834 w 1363"/>
                <a:gd name="T53" fmla="*/ 0 h 624"/>
                <a:gd name="T54" fmla="*/ 521 w 1363"/>
                <a:gd name="T55" fmla="*/ 0 h 624"/>
                <a:gd name="T56" fmla="*/ 493 w 1363"/>
                <a:gd name="T57" fmla="*/ 2 h 624"/>
                <a:gd name="T58" fmla="*/ 468 w 1363"/>
                <a:gd name="T59" fmla="*/ 10 h 624"/>
                <a:gd name="T60" fmla="*/ 444 w 1363"/>
                <a:gd name="T61" fmla="*/ 22 h 624"/>
                <a:gd name="T62" fmla="*/ 422 w 1363"/>
                <a:gd name="T63" fmla="*/ 38 h 624"/>
                <a:gd name="T64" fmla="*/ 402 w 1363"/>
                <a:gd name="T65" fmla="*/ 57 h 624"/>
                <a:gd name="T66" fmla="*/ 385 w 1363"/>
                <a:gd name="T67" fmla="*/ 80 h 624"/>
                <a:gd name="T68" fmla="*/ 345 w 1363"/>
                <a:gd name="T69" fmla="*/ 144 h 624"/>
                <a:gd name="T70" fmla="*/ 153 w 1363"/>
                <a:gd name="T71" fmla="*/ 144 h 624"/>
                <a:gd name="T72" fmla="*/ 120 w 1363"/>
                <a:gd name="T73" fmla="*/ 148 h 624"/>
                <a:gd name="T74" fmla="*/ 91 w 1363"/>
                <a:gd name="T75" fmla="*/ 156 h 624"/>
                <a:gd name="T76" fmla="*/ 66 w 1363"/>
                <a:gd name="T77" fmla="*/ 171 h 624"/>
                <a:gd name="T78" fmla="*/ 44 w 1363"/>
                <a:gd name="T79" fmla="*/ 190 h 624"/>
                <a:gd name="T80" fmla="*/ 25 w 1363"/>
                <a:gd name="T81" fmla="*/ 213 h 624"/>
                <a:gd name="T82" fmla="*/ 12 w 1363"/>
                <a:gd name="T83" fmla="*/ 239 h 624"/>
                <a:gd name="T84" fmla="*/ 3 w 1363"/>
                <a:gd name="T85" fmla="*/ 266 h 624"/>
                <a:gd name="T86" fmla="*/ 0 w 1363"/>
                <a:gd name="T87" fmla="*/ 296 h 624"/>
                <a:gd name="T88" fmla="*/ 0 w 1363"/>
                <a:gd name="T89" fmla="*/ 464 h 624"/>
                <a:gd name="T90" fmla="*/ 4 w 1363"/>
                <a:gd name="T91" fmla="*/ 496 h 624"/>
                <a:gd name="T92" fmla="*/ 13 w 1363"/>
                <a:gd name="T93" fmla="*/ 526 h 624"/>
                <a:gd name="T94" fmla="*/ 27 w 1363"/>
                <a:gd name="T95" fmla="*/ 553 h 624"/>
                <a:gd name="T96" fmla="*/ 47 w 1363"/>
                <a:gd name="T97" fmla="*/ 577 h 624"/>
                <a:gd name="T98" fmla="*/ 72 w 1363"/>
                <a:gd name="T99" fmla="*/ 597 h 624"/>
                <a:gd name="T100" fmla="*/ 98 w 1363"/>
                <a:gd name="T101" fmla="*/ 611 h 624"/>
                <a:gd name="T102" fmla="*/ 129 w 1363"/>
                <a:gd name="T103" fmla="*/ 620 h 624"/>
                <a:gd name="T104" fmla="*/ 160 w 1363"/>
                <a:gd name="T105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3" h="624">
                  <a:moveTo>
                    <a:pt x="160" y="624"/>
                  </a:moveTo>
                  <a:lnTo>
                    <a:pt x="1210" y="624"/>
                  </a:lnTo>
                  <a:lnTo>
                    <a:pt x="1241" y="620"/>
                  </a:lnTo>
                  <a:lnTo>
                    <a:pt x="1270" y="612"/>
                  </a:lnTo>
                  <a:lnTo>
                    <a:pt x="1297" y="597"/>
                  </a:lnTo>
                  <a:lnTo>
                    <a:pt x="1319" y="578"/>
                  </a:lnTo>
                  <a:lnTo>
                    <a:pt x="1337" y="555"/>
                  </a:lnTo>
                  <a:lnTo>
                    <a:pt x="1351" y="529"/>
                  </a:lnTo>
                  <a:lnTo>
                    <a:pt x="1359" y="502"/>
                  </a:lnTo>
                  <a:lnTo>
                    <a:pt x="1363" y="472"/>
                  </a:lnTo>
                  <a:lnTo>
                    <a:pt x="1363" y="296"/>
                  </a:lnTo>
                  <a:lnTo>
                    <a:pt x="1359" y="264"/>
                  </a:lnTo>
                  <a:lnTo>
                    <a:pt x="1350" y="235"/>
                  </a:lnTo>
                  <a:lnTo>
                    <a:pt x="1335" y="209"/>
                  </a:lnTo>
                  <a:lnTo>
                    <a:pt x="1316" y="187"/>
                  </a:lnTo>
                  <a:lnTo>
                    <a:pt x="1294" y="169"/>
                  </a:lnTo>
                  <a:lnTo>
                    <a:pt x="1267" y="156"/>
                  </a:lnTo>
                  <a:lnTo>
                    <a:pt x="1239" y="147"/>
                  </a:lnTo>
                  <a:lnTo>
                    <a:pt x="1210" y="144"/>
                  </a:lnTo>
                  <a:lnTo>
                    <a:pt x="1018" y="144"/>
                  </a:lnTo>
                  <a:lnTo>
                    <a:pt x="970" y="80"/>
                  </a:lnTo>
                  <a:lnTo>
                    <a:pt x="955" y="57"/>
                  </a:lnTo>
                  <a:lnTo>
                    <a:pt x="936" y="38"/>
                  </a:lnTo>
                  <a:lnTo>
                    <a:pt x="914" y="22"/>
                  </a:lnTo>
                  <a:lnTo>
                    <a:pt x="888" y="10"/>
                  </a:lnTo>
                  <a:lnTo>
                    <a:pt x="862" y="2"/>
                  </a:lnTo>
                  <a:lnTo>
                    <a:pt x="834" y="0"/>
                  </a:lnTo>
                  <a:lnTo>
                    <a:pt x="521" y="0"/>
                  </a:lnTo>
                  <a:lnTo>
                    <a:pt x="493" y="2"/>
                  </a:lnTo>
                  <a:lnTo>
                    <a:pt x="468" y="10"/>
                  </a:lnTo>
                  <a:lnTo>
                    <a:pt x="444" y="22"/>
                  </a:lnTo>
                  <a:lnTo>
                    <a:pt x="422" y="38"/>
                  </a:lnTo>
                  <a:lnTo>
                    <a:pt x="402" y="57"/>
                  </a:lnTo>
                  <a:lnTo>
                    <a:pt x="385" y="80"/>
                  </a:lnTo>
                  <a:lnTo>
                    <a:pt x="345" y="144"/>
                  </a:lnTo>
                  <a:lnTo>
                    <a:pt x="153" y="144"/>
                  </a:lnTo>
                  <a:lnTo>
                    <a:pt x="120" y="148"/>
                  </a:lnTo>
                  <a:lnTo>
                    <a:pt x="91" y="156"/>
                  </a:lnTo>
                  <a:lnTo>
                    <a:pt x="66" y="171"/>
                  </a:lnTo>
                  <a:lnTo>
                    <a:pt x="44" y="190"/>
                  </a:lnTo>
                  <a:lnTo>
                    <a:pt x="25" y="213"/>
                  </a:lnTo>
                  <a:lnTo>
                    <a:pt x="12" y="239"/>
                  </a:lnTo>
                  <a:lnTo>
                    <a:pt x="3" y="266"/>
                  </a:lnTo>
                  <a:lnTo>
                    <a:pt x="0" y="296"/>
                  </a:lnTo>
                  <a:lnTo>
                    <a:pt x="0" y="464"/>
                  </a:lnTo>
                  <a:lnTo>
                    <a:pt x="4" y="496"/>
                  </a:lnTo>
                  <a:lnTo>
                    <a:pt x="13" y="526"/>
                  </a:lnTo>
                  <a:lnTo>
                    <a:pt x="27" y="553"/>
                  </a:lnTo>
                  <a:lnTo>
                    <a:pt x="47" y="577"/>
                  </a:lnTo>
                  <a:lnTo>
                    <a:pt x="72" y="597"/>
                  </a:lnTo>
                  <a:lnTo>
                    <a:pt x="98" y="611"/>
                  </a:lnTo>
                  <a:lnTo>
                    <a:pt x="129" y="620"/>
                  </a:lnTo>
                  <a:lnTo>
                    <a:pt x="160" y="62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Rectangle 8"/>
            <p:cNvSpPr>
              <a:spLocks noChangeArrowheads="1"/>
            </p:cNvSpPr>
            <p:nvPr/>
          </p:nvSpPr>
          <p:spPr bwMode="auto">
            <a:xfrm>
              <a:off x="-702" y="2441"/>
              <a:ext cx="184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Rectangle 9"/>
            <p:cNvSpPr>
              <a:spLocks noChangeArrowheads="1"/>
            </p:cNvSpPr>
            <p:nvPr/>
          </p:nvSpPr>
          <p:spPr bwMode="auto">
            <a:xfrm>
              <a:off x="-702" y="2512"/>
              <a:ext cx="184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Rectangle 10"/>
            <p:cNvSpPr>
              <a:spLocks noChangeArrowheads="1"/>
            </p:cNvSpPr>
            <p:nvPr/>
          </p:nvSpPr>
          <p:spPr bwMode="auto">
            <a:xfrm>
              <a:off x="-702" y="2583"/>
              <a:ext cx="299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Rectangle 11"/>
            <p:cNvSpPr>
              <a:spLocks noChangeArrowheads="1"/>
            </p:cNvSpPr>
            <p:nvPr/>
          </p:nvSpPr>
          <p:spPr bwMode="auto">
            <a:xfrm>
              <a:off x="-702" y="2653"/>
              <a:ext cx="299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Rectangle 12"/>
            <p:cNvSpPr>
              <a:spLocks noChangeArrowheads="1"/>
            </p:cNvSpPr>
            <p:nvPr/>
          </p:nvSpPr>
          <p:spPr bwMode="auto">
            <a:xfrm>
              <a:off x="-574" y="2725"/>
              <a:ext cx="171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Rectangle 13"/>
            <p:cNvSpPr>
              <a:spLocks noChangeArrowheads="1"/>
            </p:cNvSpPr>
            <p:nvPr/>
          </p:nvSpPr>
          <p:spPr bwMode="auto">
            <a:xfrm>
              <a:off x="-574" y="2796"/>
              <a:ext cx="171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14"/>
            <p:cNvSpPr>
              <a:spLocks noEditPoints="1"/>
            </p:cNvSpPr>
            <p:nvPr/>
          </p:nvSpPr>
          <p:spPr bwMode="auto">
            <a:xfrm>
              <a:off x="-695" y="2715"/>
              <a:ext cx="72" cy="112"/>
            </a:xfrm>
            <a:custGeom>
              <a:avLst/>
              <a:gdLst>
                <a:gd name="T0" fmla="*/ 248 w 432"/>
                <a:gd name="T1" fmla="*/ 617 h 673"/>
                <a:gd name="T2" fmla="*/ 311 w 432"/>
                <a:gd name="T3" fmla="*/ 609 h 673"/>
                <a:gd name="T4" fmla="*/ 363 w 432"/>
                <a:gd name="T5" fmla="*/ 586 h 673"/>
                <a:gd name="T6" fmla="*/ 405 w 432"/>
                <a:gd name="T7" fmla="*/ 544 h 673"/>
                <a:gd name="T8" fmla="*/ 428 w 432"/>
                <a:gd name="T9" fmla="*/ 483 h 673"/>
                <a:gd name="T10" fmla="*/ 429 w 432"/>
                <a:gd name="T11" fmla="*/ 422 h 673"/>
                <a:gd name="T12" fmla="*/ 414 w 432"/>
                <a:gd name="T13" fmla="*/ 376 h 673"/>
                <a:gd name="T14" fmla="*/ 384 w 432"/>
                <a:gd name="T15" fmla="*/ 337 h 673"/>
                <a:gd name="T16" fmla="*/ 348 w 432"/>
                <a:gd name="T17" fmla="*/ 313 h 673"/>
                <a:gd name="T18" fmla="*/ 304 w 432"/>
                <a:gd name="T19" fmla="*/ 294 h 673"/>
                <a:gd name="T20" fmla="*/ 248 w 432"/>
                <a:gd name="T21" fmla="*/ 281 h 673"/>
                <a:gd name="T22" fmla="*/ 287 w 432"/>
                <a:gd name="T23" fmla="*/ 140 h 673"/>
                <a:gd name="T24" fmla="*/ 368 w 432"/>
                <a:gd name="T25" fmla="*/ 177 h 673"/>
                <a:gd name="T26" fmla="*/ 382 w 432"/>
                <a:gd name="T27" fmla="*/ 80 h 673"/>
                <a:gd name="T28" fmla="*/ 298 w 432"/>
                <a:gd name="T29" fmla="*/ 49 h 673"/>
                <a:gd name="T30" fmla="*/ 256 w 432"/>
                <a:gd name="T31" fmla="*/ 0 h 673"/>
                <a:gd name="T32" fmla="*/ 200 w 432"/>
                <a:gd name="T33" fmla="*/ 41 h 673"/>
                <a:gd name="T34" fmla="*/ 139 w 432"/>
                <a:gd name="T35" fmla="*/ 48 h 673"/>
                <a:gd name="T36" fmla="*/ 92 w 432"/>
                <a:gd name="T37" fmla="*/ 71 h 673"/>
                <a:gd name="T38" fmla="*/ 51 w 432"/>
                <a:gd name="T39" fmla="*/ 114 h 673"/>
                <a:gd name="T40" fmla="*/ 26 w 432"/>
                <a:gd name="T41" fmla="*/ 171 h 673"/>
                <a:gd name="T42" fmla="*/ 25 w 432"/>
                <a:gd name="T43" fmla="*/ 228 h 673"/>
                <a:gd name="T44" fmla="*/ 39 w 432"/>
                <a:gd name="T45" fmla="*/ 272 h 673"/>
                <a:gd name="T46" fmla="*/ 64 w 432"/>
                <a:gd name="T47" fmla="*/ 305 h 673"/>
                <a:gd name="T48" fmla="*/ 120 w 432"/>
                <a:gd name="T49" fmla="*/ 336 h 673"/>
                <a:gd name="T50" fmla="*/ 200 w 432"/>
                <a:gd name="T51" fmla="*/ 361 h 673"/>
                <a:gd name="T52" fmla="*/ 164 w 432"/>
                <a:gd name="T53" fmla="*/ 512 h 673"/>
                <a:gd name="T54" fmla="*/ 92 w 432"/>
                <a:gd name="T55" fmla="*/ 476 h 673"/>
                <a:gd name="T56" fmla="*/ 0 w 432"/>
                <a:gd name="T57" fmla="*/ 521 h 673"/>
                <a:gd name="T58" fmla="*/ 73 w 432"/>
                <a:gd name="T59" fmla="*/ 571 h 673"/>
                <a:gd name="T60" fmla="*/ 157 w 432"/>
                <a:gd name="T61" fmla="*/ 601 h 673"/>
                <a:gd name="T62" fmla="*/ 200 w 432"/>
                <a:gd name="T63" fmla="*/ 665 h 673"/>
                <a:gd name="T64" fmla="*/ 248 w 432"/>
                <a:gd name="T65" fmla="*/ 673 h 673"/>
                <a:gd name="T66" fmla="*/ 270 w 432"/>
                <a:gd name="T67" fmla="*/ 393 h 673"/>
                <a:gd name="T68" fmla="*/ 302 w 432"/>
                <a:gd name="T69" fmla="*/ 410 h 673"/>
                <a:gd name="T70" fmla="*/ 318 w 432"/>
                <a:gd name="T71" fmla="*/ 424 h 673"/>
                <a:gd name="T72" fmla="*/ 326 w 432"/>
                <a:gd name="T73" fmla="*/ 448 h 673"/>
                <a:gd name="T74" fmla="*/ 325 w 432"/>
                <a:gd name="T75" fmla="*/ 481 h 673"/>
                <a:gd name="T76" fmla="*/ 304 w 432"/>
                <a:gd name="T77" fmla="*/ 514 h 673"/>
                <a:gd name="T78" fmla="*/ 278 w 432"/>
                <a:gd name="T79" fmla="*/ 531 h 673"/>
                <a:gd name="T80" fmla="*/ 240 w 432"/>
                <a:gd name="T81" fmla="*/ 537 h 673"/>
                <a:gd name="T82" fmla="*/ 248 w 432"/>
                <a:gd name="T83" fmla="*/ 386 h 673"/>
                <a:gd name="T84" fmla="*/ 128 w 432"/>
                <a:gd name="T85" fmla="*/ 231 h 673"/>
                <a:gd name="T86" fmla="*/ 120 w 432"/>
                <a:gd name="T87" fmla="*/ 201 h 673"/>
                <a:gd name="T88" fmla="*/ 130 w 432"/>
                <a:gd name="T89" fmla="*/ 169 h 673"/>
                <a:gd name="T90" fmla="*/ 156 w 432"/>
                <a:gd name="T91" fmla="*/ 144 h 673"/>
                <a:gd name="T92" fmla="*/ 182 w 432"/>
                <a:gd name="T93" fmla="*/ 134 h 673"/>
                <a:gd name="T94" fmla="*/ 200 w 432"/>
                <a:gd name="T95" fmla="*/ 273 h 673"/>
                <a:gd name="T96" fmla="*/ 158 w 432"/>
                <a:gd name="T97" fmla="*/ 254 h 673"/>
                <a:gd name="T98" fmla="*/ 136 w 432"/>
                <a:gd name="T99" fmla="*/ 241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2" h="673">
                  <a:moveTo>
                    <a:pt x="248" y="673"/>
                  </a:moveTo>
                  <a:lnTo>
                    <a:pt x="248" y="617"/>
                  </a:lnTo>
                  <a:lnTo>
                    <a:pt x="280" y="615"/>
                  </a:lnTo>
                  <a:lnTo>
                    <a:pt x="311" y="609"/>
                  </a:lnTo>
                  <a:lnTo>
                    <a:pt x="339" y="600"/>
                  </a:lnTo>
                  <a:lnTo>
                    <a:pt x="363" y="586"/>
                  </a:lnTo>
                  <a:lnTo>
                    <a:pt x="384" y="569"/>
                  </a:lnTo>
                  <a:lnTo>
                    <a:pt x="405" y="544"/>
                  </a:lnTo>
                  <a:lnTo>
                    <a:pt x="420" y="515"/>
                  </a:lnTo>
                  <a:lnTo>
                    <a:pt x="428" y="483"/>
                  </a:lnTo>
                  <a:lnTo>
                    <a:pt x="432" y="450"/>
                  </a:lnTo>
                  <a:lnTo>
                    <a:pt x="429" y="422"/>
                  </a:lnTo>
                  <a:lnTo>
                    <a:pt x="424" y="398"/>
                  </a:lnTo>
                  <a:lnTo>
                    <a:pt x="414" y="376"/>
                  </a:lnTo>
                  <a:lnTo>
                    <a:pt x="402" y="356"/>
                  </a:lnTo>
                  <a:lnTo>
                    <a:pt x="384" y="337"/>
                  </a:lnTo>
                  <a:lnTo>
                    <a:pt x="367" y="325"/>
                  </a:lnTo>
                  <a:lnTo>
                    <a:pt x="348" y="313"/>
                  </a:lnTo>
                  <a:lnTo>
                    <a:pt x="328" y="303"/>
                  </a:lnTo>
                  <a:lnTo>
                    <a:pt x="304" y="294"/>
                  </a:lnTo>
                  <a:lnTo>
                    <a:pt x="278" y="287"/>
                  </a:lnTo>
                  <a:lnTo>
                    <a:pt x="248" y="281"/>
                  </a:lnTo>
                  <a:lnTo>
                    <a:pt x="248" y="130"/>
                  </a:lnTo>
                  <a:lnTo>
                    <a:pt x="287" y="140"/>
                  </a:lnTo>
                  <a:lnTo>
                    <a:pt x="328" y="155"/>
                  </a:lnTo>
                  <a:lnTo>
                    <a:pt x="368" y="177"/>
                  </a:lnTo>
                  <a:lnTo>
                    <a:pt x="424" y="105"/>
                  </a:lnTo>
                  <a:lnTo>
                    <a:pt x="382" y="80"/>
                  </a:lnTo>
                  <a:lnTo>
                    <a:pt x="340" y="61"/>
                  </a:lnTo>
                  <a:lnTo>
                    <a:pt x="298" y="49"/>
                  </a:lnTo>
                  <a:lnTo>
                    <a:pt x="256" y="41"/>
                  </a:lnTo>
                  <a:lnTo>
                    <a:pt x="256" y="0"/>
                  </a:lnTo>
                  <a:lnTo>
                    <a:pt x="200" y="0"/>
                  </a:lnTo>
                  <a:lnTo>
                    <a:pt x="200" y="41"/>
                  </a:lnTo>
                  <a:lnTo>
                    <a:pt x="167" y="43"/>
                  </a:lnTo>
                  <a:lnTo>
                    <a:pt x="139" y="48"/>
                  </a:lnTo>
                  <a:lnTo>
                    <a:pt x="114" y="59"/>
                  </a:lnTo>
                  <a:lnTo>
                    <a:pt x="92" y="71"/>
                  </a:lnTo>
                  <a:lnTo>
                    <a:pt x="72" y="89"/>
                  </a:lnTo>
                  <a:lnTo>
                    <a:pt x="51" y="114"/>
                  </a:lnTo>
                  <a:lnTo>
                    <a:pt x="36" y="142"/>
                  </a:lnTo>
                  <a:lnTo>
                    <a:pt x="26" y="171"/>
                  </a:lnTo>
                  <a:lnTo>
                    <a:pt x="23" y="201"/>
                  </a:lnTo>
                  <a:lnTo>
                    <a:pt x="25" y="228"/>
                  </a:lnTo>
                  <a:lnTo>
                    <a:pt x="30" y="252"/>
                  </a:lnTo>
                  <a:lnTo>
                    <a:pt x="39" y="272"/>
                  </a:lnTo>
                  <a:lnTo>
                    <a:pt x="50" y="289"/>
                  </a:lnTo>
                  <a:lnTo>
                    <a:pt x="64" y="305"/>
                  </a:lnTo>
                  <a:lnTo>
                    <a:pt x="89" y="322"/>
                  </a:lnTo>
                  <a:lnTo>
                    <a:pt x="120" y="336"/>
                  </a:lnTo>
                  <a:lnTo>
                    <a:pt x="156" y="348"/>
                  </a:lnTo>
                  <a:lnTo>
                    <a:pt x="200" y="361"/>
                  </a:lnTo>
                  <a:lnTo>
                    <a:pt x="200" y="521"/>
                  </a:lnTo>
                  <a:lnTo>
                    <a:pt x="164" y="512"/>
                  </a:lnTo>
                  <a:lnTo>
                    <a:pt x="128" y="497"/>
                  </a:lnTo>
                  <a:lnTo>
                    <a:pt x="92" y="476"/>
                  </a:lnTo>
                  <a:lnTo>
                    <a:pt x="55" y="450"/>
                  </a:lnTo>
                  <a:lnTo>
                    <a:pt x="0" y="521"/>
                  </a:lnTo>
                  <a:lnTo>
                    <a:pt x="34" y="547"/>
                  </a:lnTo>
                  <a:lnTo>
                    <a:pt x="73" y="571"/>
                  </a:lnTo>
                  <a:lnTo>
                    <a:pt x="114" y="588"/>
                  </a:lnTo>
                  <a:lnTo>
                    <a:pt x="157" y="601"/>
                  </a:lnTo>
                  <a:lnTo>
                    <a:pt x="200" y="609"/>
                  </a:lnTo>
                  <a:lnTo>
                    <a:pt x="200" y="665"/>
                  </a:lnTo>
                  <a:lnTo>
                    <a:pt x="248" y="665"/>
                  </a:lnTo>
                  <a:lnTo>
                    <a:pt x="248" y="673"/>
                  </a:lnTo>
                  <a:close/>
                  <a:moveTo>
                    <a:pt x="248" y="386"/>
                  </a:moveTo>
                  <a:lnTo>
                    <a:pt x="270" y="393"/>
                  </a:lnTo>
                  <a:lnTo>
                    <a:pt x="288" y="401"/>
                  </a:lnTo>
                  <a:lnTo>
                    <a:pt x="302" y="410"/>
                  </a:lnTo>
                  <a:lnTo>
                    <a:pt x="312" y="417"/>
                  </a:lnTo>
                  <a:lnTo>
                    <a:pt x="318" y="424"/>
                  </a:lnTo>
                  <a:lnTo>
                    <a:pt x="322" y="434"/>
                  </a:lnTo>
                  <a:lnTo>
                    <a:pt x="326" y="448"/>
                  </a:lnTo>
                  <a:lnTo>
                    <a:pt x="328" y="465"/>
                  </a:lnTo>
                  <a:lnTo>
                    <a:pt x="325" y="481"/>
                  </a:lnTo>
                  <a:lnTo>
                    <a:pt x="316" y="497"/>
                  </a:lnTo>
                  <a:lnTo>
                    <a:pt x="304" y="514"/>
                  </a:lnTo>
                  <a:lnTo>
                    <a:pt x="291" y="524"/>
                  </a:lnTo>
                  <a:lnTo>
                    <a:pt x="278" y="531"/>
                  </a:lnTo>
                  <a:lnTo>
                    <a:pt x="261" y="536"/>
                  </a:lnTo>
                  <a:lnTo>
                    <a:pt x="240" y="537"/>
                  </a:lnTo>
                  <a:lnTo>
                    <a:pt x="240" y="386"/>
                  </a:lnTo>
                  <a:lnTo>
                    <a:pt x="248" y="386"/>
                  </a:lnTo>
                  <a:close/>
                  <a:moveTo>
                    <a:pt x="136" y="241"/>
                  </a:moveTo>
                  <a:lnTo>
                    <a:pt x="128" y="231"/>
                  </a:lnTo>
                  <a:lnTo>
                    <a:pt x="122" y="217"/>
                  </a:lnTo>
                  <a:lnTo>
                    <a:pt x="120" y="201"/>
                  </a:lnTo>
                  <a:lnTo>
                    <a:pt x="122" y="185"/>
                  </a:lnTo>
                  <a:lnTo>
                    <a:pt x="130" y="169"/>
                  </a:lnTo>
                  <a:lnTo>
                    <a:pt x="143" y="153"/>
                  </a:lnTo>
                  <a:lnTo>
                    <a:pt x="156" y="144"/>
                  </a:lnTo>
                  <a:lnTo>
                    <a:pt x="168" y="138"/>
                  </a:lnTo>
                  <a:lnTo>
                    <a:pt x="182" y="134"/>
                  </a:lnTo>
                  <a:lnTo>
                    <a:pt x="200" y="130"/>
                  </a:lnTo>
                  <a:lnTo>
                    <a:pt x="200" y="273"/>
                  </a:lnTo>
                  <a:lnTo>
                    <a:pt x="177" y="262"/>
                  </a:lnTo>
                  <a:lnTo>
                    <a:pt x="158" y="254"/>
                  </a:lnTo>
                  <a:lnTo>
                    <a:pt x="144" y="247"/>
                  </a:lnTo>
                  <a:lnTo>
                    <a:pt x="136" y="24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15"/>
            <p:cNvSpPr>
              <a:spLocks noEditPoints="1"/>
            </p:cNvSpPr>
            <p:nvPr/>
          </p:nvSpPr>
          <p:spPr bwMode="auto">
            <a:xfrm>
              <a:off x="-475" y="2441"/>
              <a:ext cx="73" cy="111"/>
            </a:xfrm>
            <a:custGeom>
              <a:avLst/>
              <a:gdLst>
                <a:gd name="T0" fmla="*/ 200 w 440"/>
                <a:gd name="T1" fmla="*/ 39 h 664"/>
                <a:gd name="T2" fmla="*/ 140 w 440"/>
                <a:gd name="T3" fmla="*/ 48 h 664"/>
                <a:gd name="T4" fmla="*/ 92 w 440"/>
                <a:gd name="T5" fmla="*/ 71 h 664"/>
                <a:gd name="T6" fmla="*/ 51 w 440"/>
                <a:gd name="T7" fmla="*/ 114 h 664"/>
                <a:gd name="T8" fmla="*/ 27 w 440"/>
                <a:gd name="T9" fmla="*/ 170 h 664"/>
                <a:gd name="T10" fmla="*/ 25 w 440"/>
                <a:gd name="T11" fmla="*/ 227 h 664"/>
                <a:gd name="T12" fmla="*/ 39 w 440"/>
                <a:gd name="T13" fmla="*/ 271 h 664"/>
                <a:gd name="T14" fmla="*/ 64 w 440"/>
                <a:gd name="T15" fmla="*/ 304 h 664"/>
                <a:gd name="T16" fmla="*/ 120 w 440"/>
                <a:gd name="T17" fmla="*/ 335 h 664"/>
                <a:gd name="T18" fmla="*/ 200 w 440"/>
                <a:gd name="T19" fmla="*/ 359 h 664"/>
                <a:gd name="T20" fmla="*/ 164 w 440"/>
                <a:gd name="T21" fmla="*/ 511 h 664"/>
                <a:gd name="T22" fmla="*/ 92 w 440"/>
                <a:gd name="T23" fmla="*/ 475 h 664"/>
                <a:gd name="T24" fmla="*/ 0 w 440"/>
                <a:gd name="T25" fmla="*/ 520 h 664"/>
                <a:gd name="T26" fmla="*/ 74 w 440"/>
                <a:gd name="T27" fmla="*/ 569 h 664"/>
                <a:gd name="T28" fmla="*/ 157 w 440"/>
                <a:gd name="T29" fmla="*/ 600 h 664"/>
                <a:gd name="T30" fmla="*/ 200 w 440"/>
                <a:gd name="T31" fmla="*/ 664 h 664"/>
                <a:gd name="T32" fmla="*/ 256 w 440"/>
                <a:gd name="T33" fmla="*/ 608 h 664"/>
                <a:gd name="T34" fmla="*/ 319 w 440"/>
                <a:gd name="T35" fmla="*/ 600 h 664"/>
                <a:gd name="T36" fmla="*/ 371 w 440"/>
                <a:gd name="T37" fmla="*/ 577 h 664"/>
                <a:gd name="T38" fmla="*/ 413 w 440"/>
                <a:gd name="T39" fmla="*/ 534 h 664"/>
                <a:gd name="T40" fmla="*/ 438 w 440"/>
                <a:gd name="T41" fmla="*/ 475 h 664"/>
                <a:gd name="T42" fmla="*/ 439 w 440"/>
                <a:gd name="T43" fmla="*/ 413 h 664"/>
                <a:gd name="T44" fmla="*/ 423 w 440"/>
                <a:gd name="T45" fmla="*/ 368 h 664"/>
                <a:gd name="T46" fmla="*/ 392 w 440"/>
                <a:gd name="T47" fmla="*/ 328 h 664"/>
                <a:gd name="T48" fmla="*/ 358 w 440"/>
                <a:gd name="T49" fmla="*/ 305 h 664"/>
                <a:gd name="T50" fmla="*/ 313 w 440"/>
                <a:gd name="T51" fmla="*/ 285 h 664"/>
                <a:gd name="T52" fmla="*/ 256 w 440"/>
                <a:gd name="T53" fmla="*/ 272 h 664"/>
                <a:gd name="T54" fmla="*/ 296 w 440"/>
                <a:gd name="T55" fmla="*/ 130 h 664"/>
                <a:gd name="T56" fmla="*/ 376 w 440"/>
                <a:gd name="T57" fmla="*/ 169 h 664"/>
                <a:gd name="T58" fmla="*/ 374 w 440"/>
                <a:gd name="T59" fmla="*/ 78 h 664"/>
                <a:gd name="T60" fmla="*/ 290 w 440"/>
                <a:gd name="T61" fmla="*/ 48 h 664"/>
                <a:gd name="T62" fmla="*/ 248 w 440"/>
                <a:gd name="T63" fmla="*/ 0 h 664"/>
                <a:gd name="T64" fmla="*/ 200 w 440"/>
                <a:gd name="T65" fmla="*/ 272 h 664"/>
                <a:gd name="T66" fmla="*/ 162 w 440"/>
                <a:gd name="T67" fmla="*/ 259 h 664"/>
                <a:gd name="T68" fmla="*/ 136 w 440"/>
                <a:gd name="T69" fmla="*/ 240 h 664"/>
                <a:gd name="T70" fmla="*/ 122 w 440"/>
                <a:gd name="T71" fmla="*/ 215 h 664"/>
                <a:gd name="T72" fmla="*/ 122 w 440"/>
                <a:gd name="T73" fmla="*/ 184 h 664"/>
                <a:gd name="T74" fmla="*/ 144 w 440"/>
                <a:gd name="T75" fmla="*/ 152 h 664"/>
                <a:gd name="T76" fmla="*/ 169 w 440"/>
                <a:gd name="T77" fmla="*/ 137 h 664"/>
                <a:gd name="T78" fmla="*/ 200 w 440"/>
                <a:gd name="T79" fmla="*/ 128 h 664"/>
                <a:gd name="T80" fmla="*/ 312 w 440"/>
                <a:gd name="T81" fmla="*/ 416 h 664"/>
                <a:gd name="T82" fmla="*/ 324 w 440"/>
                <a:gd name="T83" fmla="*/ 434 h 664"/>
                <a:gd name="T84" fmla="*/ 328 w 440"/>
                <a:gd name="T85" fmla="*/ 464 h 664"/>
                <a:gd name="T86" fmla="*/ 318 w 440"/>
                <a:gd name="T87" fmla="*/ 496 h 664"/>
                <a:gd name="T88" fmla="*/ 292 w 440"/>
                <a:gd name="T89" fmla="*/ 522 h 664"/>
                <a:gd name="T90" fmla="*/ 262 w 440"/>
                <a:gd name="T91" fmla="*/ 534 h 664"/>
                <a:gd name="T92" fmla="*/ 240 w 440"/>
                <a:gd name="T93" fmla="*/ 392 h 664"/>
                <a:gd name="T94" fmla="*/ 289 w 440"/>
                <a:gd name="T95" fmla="*/ 404 h 664"/>
                <a:gd name="T96" fmla="*/ 312 w 440"/>
                <a:gd name="T97" fmla="*/ 41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40" h="664">
                  <a:moveTo>
                    <a:pt x="200" y="0"/>
                  </a:moveTo>
                  <a:lnTo>
                    <a:pt x="200" y="39"/>
                  </a:lnTo>
                  <a:lnTo>
                    <a:pt x="169" y="42"/>
                  </a:lnTo>
                  <a:lnTo>
                    <a:pt x="140" y="48"/>
                  </a:lnTo>
                  <a:lnTo>
                    <a:pt x="115" y="57"/>
                  </a:lnTo>
                  <a:lnTo>
                    <a:pt x="92" y="71"/>
                  </a:lnTo>
                  <a:lnTo>
                    <a:pt x="72" y="88"/>
                  </a:lnTo>
                  <a:lnTo>
                    <a:pt x="51" y="114"/>
                  </a:lnTo>
                  <a:lnTo>
                    <a:pt x="36" y="141"/>
                  </a:lnTo>
                  <a:lnTo>
                    <a:pt x="27" y="170"/>
                  </a:lnTo>
                  <a:lnTo>
                    <a:pt x="24" y="200"/>
                  </a:lnTo>
                  <a:lnTo>
                    <a:pt x="25" y="227"/>
                  </a:lnTo>
                  <a:lnTo>
                    <a:pt x="31" y="250"/>
                  </a:lnTo>
                  <a:lnTo>
                    <a:pt x="39" y="271"/>
                  </a:lnTo>
                  <a:lnTo>
                    <a:pt x="51" y="288"/>
                  </a:lnTo>
                  <a:lnTo>
                    <a:pt x="64" y="304"/>
                  </a:lnTo>
                  <a:lnTo>
                    <a:pt x="90" y="321"/>
                  </a:lnTo>
                  <a:lnTo>
                    <a:pt x="120" y="335"/>
                  </a:lnTo>
                  <a:lnTo>
                    <a:pt x="156" y="348"/>
                  </a:lnTo>
                  <a:lnTo>
                    <a:pt x="200" y="359"/>
                  </a:lnTo>
                  <a:lnTo>
                    <a:pt x="200" y="520"/>
                  </a:lnTo>
                  <a:lnTo>
                    <a:pt x="164" y="511"/>
                  </a:lnTo>
                  <a:lnTo>
                    <a:pt x="128" y="496"/>
                  </a:lnTo>
                  <a:lnTo>
                    <a:pt x="92" y="475"/>
                  </a:lnTo>
                  <a:lnTo>
                    <a:pt x="56" y="448"/>
                  </a:lnTo>
                  <a:lnTo>
                    <a:pt x="0" y="520"/>
                  </a:lnTo>
                  <a:lnTo>
                    <a:pt x="35" y="547"/>
                  </a:lnTo>
                  <a:lnTo>
                    <a:pt x="74" y="569"/>
                  </a:lnTo>
                  <a:lnTo>
                    <a:pt x="115" y="587"/>
                  </a:lnTo>
                  <a:lnTo>
                    <a:pt x="157" y="600"/>
                  </a:lnTo>
                  <a:lnTo>
                    <a:pt x="200" y="608"/>
                  </a:lnTo>
                  <a:lnTo>
                    <a:pt x="200" y="664"/>
                  </a:lnTo>
                  <a:lnTo>
                    <a:pt x="256" y="664"/>
                  </a:lnTo>
                  <a:lnTo>
                    <a:pt x="256" y="608"/>
                  </a:lnTo>
                  <a:lnTo>
                    <a:pt x="289" y="606"/>
                  </a:lnTo>
                  <a:lnTo>
                    <a:pt x="319" y="600"/>
                  </a:lnTo>
                  <a:lnTo>
                    <a:pt x="347" y="591"/>
                  </a:lnTo>
                  <a:lnTo>
                    <a:pt x="371" y="577"/>
                  </a:lnTo>
                  <a:lnTo>
                    <a:pt x="392" y="560"/>
                  </a:lnTo>
                  <a:lnTo>
                    <a:pt x="413" y="534"/>
                  </a:lnTo>
                  <a:lnTo>
                    <a:pt x="429" y="506"/>
                  </a:lnTo>
                  <a:lnTo>
                    <a:pt x="438" y="475"/>
                  </a:lnTo>
                  <a:lnTo>
                    <a:pt x="440" y="440"/>
                  </a:lnTo>
                  <a:lnTo>
                    <a:pt x="439" y="413"/>
                  </a:lnTo>
                  <a:lnTo>
                    <a:pt x="433" y="389"/>
                  </a:lnTo>
                  <a:lnTo>
                    <a:pt x="423" y="368"/>
                  </a:lnTo>
                  <a:lnTo>
                    <a:pt x="410" y="348"/>
                  </a:lnTo>
                  <a:lnTo>
                    <a:pt x="392" y="328"/>
                  </a:lnTo>
                  <a:lnTo>
                    <a:pt x="376" y="316"/>
                  </a:lnTo>
                  <a:lnTo>
                    <a:pt x="358" y="305"/>
                  </a:lnTo>
                  <a:lnTo>
                    <a:pt x="337" y="294"/>
                  </a:lnTo>
                  <a:lnTo>
                    <a:pt x="313" y="285"/>
                  </a:lnTo>
                  <a:lnTo>
                    <a:pt x="286" y="277"/>
                  </a:lnTo>
                  <a:lnTo>
                    <a:pt x="256" y="272"/>
                  </a:lnTo>
                  <a:lnTo>
                    <a:pt x="256" y="120"/>
                  </a:lnTo>
                  <a:lnTo>
                    <a:pt x="296" y="130"/>
                  </a:lnTo>
                  <a:lnTo>
                    <a:pt x="337" y="146"/>
                  </a:lnTo>
                  <a:lnTo>
                    <a:pt x="376" y="169"/>
                  </a:lnTo>
                  <a:lnTo>
                    <a:pt x="417" y="103"/>
                  </a:lnTo>
                  <a:lnTo>
                    <a:pt x="374" y="78"/>
                  </a:lnTo>
                  <a:lnTo>
                    <a:pt x="332" y="60"/>
                  </a:lnTo>
                  <a:lnTo>
                    <a:pt x="290" y="48"/>
                  </a:lnTo>
                  <a:lnTo>
                    <a:pt x="248" y="39"/>
                  </a:lnTo>
                  <a:lnTo>
                    <a:pt x="248" y="0"/>
                  </a:lnTo>
                  <a:lnTo>
                    <a:pt x="200" y="0"/>
                  </a:lnTo>
                  <a:close/>
                  <a:moveTo>
                    <a:pt x="200" y="272"/>
                  </a:moveTo>
                  <a:lnTo>
                    <a:pt x="179" y="266"/>
                  </a:lnTo>
                  <a:lnTo>
                    <a:pt x="162" y="259"/>
                  </a:lnTo>
                  <a:lnTo>
                    <a:pt x="148" y="251"/>
                  </a:lnTo>
                  <a:lnTo>
                    <a:pt x="136" y="240"/>
                  </a:lnTo>
                  <a:lnTo>
                    <a:pt x="128" y="229"/>
                  </a:lnTo>
                  <a:lnTo>
                    <a:pt x="122" y="215"/>
                  </a:lnTo>
                  <a:lnTo>
                    <a:pt x="120" y="200"/>
                  </a:lnTo>
                  <a:lnTo>
                    <a:pt x="122" y="184"/>
                  </a:lnTo>
                  <a:lnTo>
                    <a:pt x="130" y="169"/>
                  </a:lnTo>
                  <a:lnTo>
                    <a:pt x="144" y="152"/>
                  </a:lnTo>
                  <a:lnTo>
                    <a:pt x="156" y="143"/>
                  </a:lnTo>
                  <a:lnTo>
                    <a:pt x="169" y="137"/>
                  </a:lnTo>
                  <a:lnTo>
                    <a:pt x="184" y="133"/>
                  </a:lnTo>
                  <a:lnTo>
                    <a:pt x="200" y="128"/>
                  </a:lnTo>
                  <a:lnTo>
                    <a:pt x="200" y="272"/>
                  </a:lnTo>
                  <a:close/>
                  <a:moveTo>
                    <a:pt x="312" y="416"/>
                  </a:moveTo>
                  <a:lnTo>
                    <a:pt x="318" y="423"/>
                  </a:lnTo>
                  <a:lnTo>
                    <a:pt x="324" y="434"/>
                  </a:lnTo>
                  <a:lnTo>
                    <a:pt x="327" y="448"/>
                  </a:lnTo>
                  <a:lnTo>
                    <a:pt x="328" y="464"/>
                  </a:lnTo>
                  <a:lnTo>
                    <a:pt x="326" y="480"/>
                  </a:lnTo>
                  <a:lnTo>
                    <a:pt x="318" y="496"/>
                  </a:lnTo>
                  <a:lnTo>
                    <a:pt x="304" y="512"/>
                  </a:lnTo>
                  <a:lnTo>
                    <a:pt x="292" y="522"/>
                  </a:lnTo>
                  <a:lnTo>
                    <a:pt x="278" y="530"/>
                  </a:lnTo>
                  <a:lnTo>
                    <a:pt x="262" y="534"/>
                  </a:lnTo>
                  <a:lnTo>
                    <a:pt x="240" y="536"/>
                  </a:lnTo>
                  <a:lnTo>
                    <a:pt x="240" y="392"/>
                  </a:lnTo>
                  <a:lnTo>
                    <a:pt x="268" y="398"/>
                  </a:lnTo>
                  <a:lnTo>
                    <a:pt x="289" y="404"/>
                  </a:lnTo>
                  <a:lnTo>
                    <a:pt x="303" y="409"/>
                  </a:lnTo>
                  <a:lnTo>
                    <a:pt x="312" y="41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9" name="Group 4"/>
          <p:cNvGrpSpPr>
            <a:grpSpLocks noChangeAspect="1"/>
          </p:cNvGrpSpPr>
          <p:nvPr/>
        </p:nvGrpSpPr>
        <p:grpSpPr bwMode="auto">
          <a:xfrm>
            <a:off x="769187" y="2398012"/>
            <a:ext cx="425083" cy="425083"/>
            <a:chOff x="592" y="2862"/>
            <a:chExt cx="324" cy="324"/>
          </a:xfrm>
          <a:solidFill>
            <a:schemeClr val="bg1"/>
          </a:solidFill>
        </p:grpSpPr>
        <p:sp>
          <p:nvSpPr>
            <p:cNvPr id="120" name="Freeform 6"/>
            <p:cNvSpPr>
              <a:spLocks noEditPoints="1"/>
            </p:cNvSpPr>
            <p:nvPr/>
          </p:nvSpPr>
          <p:spPr bwMode="auto">
            <a:xfrm>
              <a:off x="785" y="3061"/>
              <a:ext cx="131" cy="125"/>
            </a:xfrm>
            <a:custGeom>
              <a:avLst/>
              <a:gdLst>
                <a:gd name="T0" fmla="*/ 648 w 1432"/>
                <a:gd name="T1" fmla="*/ 3 h 1377"/>
                <a:gd name="T2" fmla="*/ 515 w 1432"/>
                <a:gd name="T3" fmla="*/ 27 h 1377"/>
                <a:gd name="T4" fmla="*/ 393 w 1432"/>
                <a:gd name="T5" fmla="*/ 73 h 1377"/>
                <a:gd name="T6" fmla="*/ 283 w 1432"/>
                <a:gd name="T7" fmla="*/ 140 h 1377"/>
                <a:gd name="T8" fmla="*/ 188 w 1432"/>
                <a:gd name="T9" fmla="*/ 224 h 1377"/>
                <a:gd name="T10" fmla="*/ 109 w 1432"/>
                <a:gd name="T11" fmla="*/ 323 h 1377"/>
                <a:gd name="T12" fmla="*/ 50 w 1432"/>
                <a:gd name="T13" fmla="*/ 435 h 1377"/>
                <a:gd name="T14" fmla="*/ 13 w 1432"/>
                <a:gd name="T15" fmla="*/ 558 h 1377"/>
                <a:gd name="T16" fmla="*/ 0 w 1432"/>
                <a:gd name="T17" fmla="*/ 688 h 1377"/>
                <a:gd name="T18" fmla="*/ 13 w 1432"/>
                <a:gd name="T19" fmla="*/ 819 h 1377"/>
                <a:gd name="T20" fmla="*/ 50 w 1432"/>
                <a:gd name="T21" fmla="*/ 942 h 1377"/>
                <a:gd name="T22" fmla="*/ 109 w 1432"/>
                <a:gd name="T23" fmla="*/ 1053 h 1377"/>
                <a:gd name="T24" fmla="*/ 188 w 1432"/>
                <a:gd name="T25" fmla="*/ 1153 h 1377"/>
                <a:gd name="T26" fmla="*/ 283 w 1432"/>
                <a:gd name="T27" fmla="*/ 1236 h 1377"/>
                <a:gd name="T28" fmla="*/ 393 w 1432"/>
                <a:gd name="T29" fmla="*/ 1303 h 1377"/>
                <a:gd name="T30" fmla="*/ 515 w 1432"/>
                <a:gd name="T31" fmla="*/ 1350 h 1377"/>
                <a:gd name="T32" fmla="*/ 648 w 1432"/>
                <a:gd name="T33" fmla="*/ 1374 h 1377"/>
                <a:gd name="T34" fmla="*/ 785 w 1432"/>
                <a:gd name="T35" fmla="*/ 1374 h 1377"/>
                <a:gd name="T36" fmla="*/ 917 w 1432"/>
                <a:gd name="T37" fmla="*/ 1350 h 1377"/>
                <a:gd name="T38" fmla="*/ 1039 w 1432"/>
                <a:gd name="T39" fmla="*/ 1303 h 1377"/>
                <a:gd name="T40" fmla="*/ 1149 w 1432"/>
                <a:gd name="T41" fmla="*/ 1236 h 1377"/>
                <a:gd name="T42" fmla="*/ 1245 w 1432"/>
                <a:gd name="T43" fmla="*/ 1153 h 1377"/>
                <a:gd name="T44" fmla="*/ 1323 w 1432"/>
                <a:gd name="T45" fmla="*/ 1053 h 1377"/>
                <a:gd name="T46" fmla="*/ 1382 w 1432"/>
                <a:gd name="T47" fmla="*/ 942 h 1377"/>
                <a:gd name="T48" fmla="*/ 1419 w 1432"/>
                <a:gd name="T49" fmla="*/ 819 h 1377"/>
                <a:gd name="T50" fmla="*/ 1432 w 1432"/>
                <a:gd name="T51" fmla="*/ 689 h 1377"/>
                <a:gd name="T52" fmla="*/ 1419 w 1432"/>
                <a:gd name="T53" fmla="*/ 558 h 1377"/>
                <a:gd name="T54" fmla="*/ 1382 w 1432"/>
                <a:gd name="T55" fmla="*/ 436 h 1377"/>
                <a:gd name="T56" fmla="*/ 1323 w 1432"/>
                <a:gd name="T57" fmla="*/ 323 h 1377"/>
                <a:gd name="T58" fmla="*/ 1245 w 1432"/>
                <a:gd name="T59" fmla="*/ 224 h 1377"/>
                <a:gd name="T60" fmla="*/ 1149 w 1432"/>
                <a:gd name="T61" fmla="*/ 140 h 1377"/>
                <a:gd name="T62" fmla="*/ 1039 w 1432"/>
                <a:gd name="T63" fmla="*/ 73 h 1377"/>
                <a:gd name="T64" fmla="*/ 917 w 1432"/>
                <a:gd name="T65" fmla="*/ 27 h 1377"/>
                <a:gd name="T66" fmla="*/ 785 w 1432"/>
                <a:gd name="T67" fmla="*/ 3 h 1377"/>
                <a:gd name="T68" fmla="*/ 1013 w 1432"/>
                <a:gd name="T69" fmla="*/ 877 h 1377"/>
                <a:gd name="T70" fmla="*/ 1033 w 1432"/>
                <a:gd name="T71" fmla="*/ 912 h 1377"/>
                <a:gd name="T72" fmla="*/ 1033 w 1432"/>
                <a:gd name="T73" fmla="*/ 950 h 1377"/>
                <a:gd name="T74" fmla="*/ 1014 w 1432"/>
                <a:gd name="T75" fmla="*/ 984 h 1377"/>
                <a:gd name="T76" fmla="*/ 979 w 1432"/>
                <a:gd name="T77" fmla="*/ 1004 h 1377"/>
                <a:gd name="T78" fmla="*/ 940 w 1432"/>
                <a:gd name="T79" fmla="*/ 1004 h 1377"/>
                <a:gd name="T80" fmla="*/ 906 w 1432"/>
                <a:gd name="T81" fmla="*/ 984 h 1377"/>
                <a:gd name="T82" fmla="*/ 526 w 1432"/>
                <a:gd name="T83" fmla="*/ 984 h 1377"/>
                <a:gd name="T84" fmla="*/ 492 w 1432"/>
                <a:gd name="T85" fmla="*/ 1004 h 1377"/>
                <a:gd name="T86" fmla="*/ 453 w 1432"/>
                <a:gd name="T87" fmla="*/ 1004 h 1377"/>
                <a:gd name="T88" fmla="*/ 419 w 1432"/>
                <a:gd name="T89" fmla="*/ 984 h 1377"/>
                <a:gd name="T90" fmla="*/ 399 w 1432"/>
                <a:gd name="T91" fmla="*/ 950 h 1377"/>
                <a:gd name="T92" fmla="*/ 399 w 1432"/>
                <a:gd name="T93" fmla="*/ 912 h 1377"/>
                <a:gd name="T94" fmla="*/ 419 w 1432"/>
                <a:gd name="T95" fmla="*/ 877 h 1377"/>
                <a:gd name="T96" fmla="*/ 419 w 1432"/>
                <a:gd name="T97" fmla="*/ 500 h 1377"/>
                <a:gd name="T98" fmla="*/ 399 w 1432"/>
                <a:gd name="T99" fmla="*/ 466 h 1377"/>
                <a:gd name="T100" fmla="*/ 399 w 1432"/>
                <a:gd name="T101" fmla="*/ 427 h 1377"/>
                <a:gd name="T102" fmla="*/ 419 w 1432"/>
                <a:gd name="T103" fmla="*/ 392 h 1377"/>
                <a:gd name="T104" fmla="*/ 453 w 1432"/>
                <a:gd name="T105" fmla="*/ 373 h 1377"/>
                <a:gd name="T106" fmla="*/ 491 w 1432"/>
                <a:gd name="T107" fmla="*/ 373 h 1377"/>
                <a:gd name="T108" fmla="*/ 526 w 1432"/>
                <a:gd name="T109" fmla="*/ 392 h 1377"/>
                <a:gd name="T110" fmla="*/ 906 w 1432"/>
                <a:gd name="T111" fmla="*/ 392 h 1377"/>
                <a:gd name="T112" fmla="*/ 940 w 1432"/>
                <a:gd name="T113" fmla="*/ 373 h 1377"/>
                <a:gd name="T114" fmla="*/ 979 w 1432"/>
                <a:gd name="T115" fmla="*/ 373 h 1377"/>
                <a:gd name="T116" fmla="*/ 1013 w 1432"/>
                <a:gd name="T117" fmla="*/ 392 h 1377"/>
                <a:gd name="T118" fmla="*/ 1033 w 1432"/>
                <a:gd name="T119" fmla="*/ 427 h 1377"/>
                <a:gd name="T120" fmla="*/ 1032 w 1432"/>
                <a:gd name="T121" fmla="*/ 466 h 1377"/>
                <a:gd name="T122" fmla="*/ 1013 w 1432"/>
                <a:gd name="T123" fmla="*/ 500 h 1377"/>
                <a:gd name="T124" fmla="*/ 1013 w 1432"/>
                <a:gd name="T125" fmla="*/ 877 h 1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32" h="1377">
                  <a:moveTo>
                    <a:pt x="716" y="0"/>
                  </a:moveTo>
                  <a:lnTo>
                    <a:pt x="648" y="3"/>
                  </a:lnTo>
                  <a:lnTo>
                    <a:pt x="581" y="12"/>
                  </a:lnTo>
                  <a:lnTo>
                    <a:pt x="515" y="27"/>
                  </a:lnTo>
                  <a:lnTo>
                    <a:pt x="453" y="48"/>
                  </a:lnTo>
                  <a:lnTo>
                    <a:pt x="393" y="73"/>
                  </a:lnTo>
                  <a:lnTo>
                    <a:pt x="337" y="105"/>
                  </a:lnTo>
                  <a:lnTo>
                    <a:pt x="283" y="140"/>
                  </a:lnTo>
                  <a:lnTo>
                    <a:pt x="233" y="180"/>
                  </a:lnTo>
                  <a:lnTo>
                    <a:pt x="188" y="224"/>
                  </a:lnTo>
                  <a:lnTo>
                    <a:pt x="146" y="272"/>
                  </a:lnTo>
                  <a:lnTo>
                    <a:pt x="109" y="323"/>
                  </a:lnTo>
                  <a:lnTo>
                    <a:pt x="77" y="377"/>
                  </a:lnTo>
                  <a:lnTo>
                    <a:pt x="50" y="435"/>
                  </a:lnTo>
                  <a:lnTo>
                    <a:pt x="29" y="495"/>
                  </a:lnTo>
                  <a:lnTo>
                    <a:pt x="13" y="558"/>
                  </a:lnTo>
                  <a:lnTo>
                    <a:pt x="3" y="622"/>
                  </a:lnTo>
                  <a:lnTo>
                    <a:pt x="0" y="688"/>
                  </a:lnTo>
                  <a:lnTo>
                    <a:pt x="3" y="755"/>
                  </a:lnTo>
                  <a:lnTo>
                    <a:pt x="13" y="819"/>
                  </a:lnTo>
                  <a:lnTo>
                    <a:pt x="29" y="881"/>
                  </a:lnTo>
                  <a:lnTo>
                    <a:pt x="50" y="942"/>
                  </a:lnTo>
                  <a:lnTo>
                    <a:pt x="77" y="999"/>
                  </a:lnTo>
                  <a:lnTo>
                    <a:pt x="109" y="1053"/>
                  </a:lnTo>
                  <a:lnTo>
                    <a:pt x="146" y="1105"/>
                  </a:lnTo>
                  <a:lnTo>
                    <a:pt x="188" y="1153"/>
                  </a:lnTo>
                  <a:lnTo>
                    <a:pt x="233" y="1196"/>
                  </a:lnTo>
                  <a:lnTo>
                    <a:pt x="283" y="1236"/>
                  </a:lnTo>
                  <a:lnTo>
                    <a:pt x="337" y="1272"/>
                  </a:lnTo>
                  <a:lnTo>
                    <a:pt x="393" y="1303"/>
                  </a:lnTo>
                  <a:lnTo>
                    <a:pt x="453" y="1329"/>
                  </a:lnTo>
                  <a:lnTo>
                    <a:pt x="515" y="1350"/>
                  </a:lnTo>
                  <a:lnTo>
                    <a:pt x="581" y="1365"/>
                  </a:lnTo>
                  <a:lnTo>
                    <a:pt x="648" y="1374"/>
                  </a:lnTo>
                  <a:lnTo>
                    <a:pt x="716" y="1377"/>
                  </a:lnTo>
                  <a:lnTo>
                    <a:pt x="785" y="1374"/>
                  </a:lnTo>
                  <a:lnTo>
                    <a:pt x="852" y="1365"/>
                  </a:lnTo>
                  <a:lnTo>
                    <a:pt x="917" y="1350"/>
                  </a:lnTo>
                  <a:lnTo>
                    <a:pt x="979" y="1329"/>
                  </a:lnTo>
                  <a:lnTo>
                    <a:pt x="1039" y="1303"/>
                  </a:lnTo>
                  <a:lnTo>
                    <a:pt x="1096" y="1272"/>
                  </a:lnTo>
                  <a:lnTo>
                    <a:pt x="1149" y="1236"/>
                  </a:lnTo>
                  <a:lnTo>
                    <a:pt x="1198" y="1196"/>
                  </a:lnTo>
                  <a:lnTo>
                    <a:pt x="1245" y="1153"/>
                  </a:lnTo>
                  <a:lnTo>
                    <a:pt x="1286" y="1105"/>
                  </a:lnTo>
                  <a:lnTo>
                    <a:pt x="1323" y="1053"/>
                  </a:lnTo>
                  <a:lnTo>
                    <a:pt x="1355" y="999"/>
                  </a:lnTo>
                  <a:lnTo>
                    <a:pt x="1382" y="942"/>
                  </a:lnTo>
                  <a:lnTo>
                    <a:pt x="1404" y="881"/>
                  </a:lnTo>
                  <a:lnTo>
                    <a:pt x="1419" y="819"/>
                  </a:lnTo>
                  <a:lnTo>
                    <a:pt x="1428" y="755"/>
                  </a:lnTo>
                  <a:lnTo>
                    <a:pt x="1432" y="689"/>
                  </a:lnTo>
                  <a:lnTo>
                    <a:pt x="1428" y="622"/>
                  </a:lnTo>
                  <a:lnTo>
                    <a:pt x="1419" y="558"/>
                  </a:lnTo>
                  <a:lnTo>
                    <a:pt x="1404" y="495"/>
                  </a:lnTo>
                  <a:lnTo>
                    <a:pt x="1382" y="436"/>
                  </a:lnTo>
                  <a:lnTo>
                    <a:pt x="1355" y="377"/>
                  </a:lnTo>
                  <a:lnTo>
                    <a:pt x="1323" y="323"/>
                  </a:lnTo>
                  <a:lnTo>
                    <a:pt x="1286" y="272"/>
                  </a:lnTo>
                  <a:lnTo>
                    <a:pt x="1245" y="224"/>
                  </a:lnTo>
                  <a:lnTo>
                    <a:pt x="1198" y="180"/>
                  </a:lnTo>
                  <a:lnTo>
                    <a:pt x="1149" y="140"/>
                  </a:lnTo>
                  <a:lnTo>
                    <a:pt x="1096" y="105"/>
                  </a:lnTo>
                  <a:lnTo>
                    <a:pt x="1039" y="73"/>
                  </a:lnTo>
                  <a:lnTo>
                    <a:pt x="979" y="48"/>
                  </a:lnTo>
                  <a:lnTo>
                    <a:pt x="917" y="27"/>
                  </a:lnTo>
                  <a:lnTo>
                    <a:pt x="852" y="12"/>
                  </a:lnTo>
                  <a:lnTo>
                    <a:pt x="785" y="3"/>
                  </a:lnTo>
                  <a:lnTo>
                    <a:pt x="716" y="0"/>
                  </a:lnTo>
                  <a:close/>
                  <a:moveTo>
                    <a:pt x="1013" y="877"/>
                  </a:moveTo>
                  <a:lnTo>
                    <a:pt x="1026" y="893"/>
                  </a:lnTo>
                  <a:lnTo>
                    <a:pt x="1033" y="912"/>
                  </a:lnTo>
                  <a:lnTo>
                    <a:pt x="1035" y="930"/>
                  </a:lnTo>
                  <a:lnTo>
                    <a:pt x="1033" y="950"/>
                  </a:lnTo>
                  <a:lnTo>
                    <a:pt x="1026" y="968"/>
                  </a:lnTo>
                  <a:lnTo>
                    <a:pt x="1014" y="984"/>
                  </a:lnTo>
                  <a:lnTo>
                    <a:pt x="998" y="996"/>
                  </a:lnTo>
                  <a:lnTo>
                    <a:pt x="979" y="1004"/>
                  </a:lnTo>
                  <a:lnTo>
                    <a:pt x="960" y="1007"/>
                  </a:lnTo>
                  <a:lnTo>
                    <a:pt x="940" y="1004"/>
                  </a:lnTo>
                  <a:lnTo>
                    <a:pt x="922" y="997"/>
                  </a:lnTo>
                  <a:lnTo>
                    <a:pt x="906" y="984"/>
                  </a:lnTo>
                  <a:lnTo>
                    <a:pt x="716" y="795"/>
                  </a:lnTo>
                  <a:lnTo>
                    <a:pt x="526" y="984"/>
                  </a:lnTo>
                  <a:lnTo>
                    <a:pt x="509" y="997"/>
                  </a:lnTo>
                  <a:lnTo>
                    <a:pt x="492" y="1004"/>
                  </a:lnTo>
                  <a:lnTo>
                    <a:pt x="473" y="1007"/>
                  </a:lnTo>
                  <a:lnTo>
                    <a:pt x="453" y="1004"/>
                  </a:lnTo>
                  <a:lnTo>
                    <a:pt x="435" y="996"/>
                  </a:lnTo>
                  <a:lnTo>
                    <a:pt x="419" y="984"/>
                  </a:lnTo>
                  <a:lnTo>
                    <a:pt x="407" y="968"/>
                  </a:lnTo>
                  <a:lnTo>
                    <a:pt x="399" y="950"/>
                  </a:lnTo>
                  <a:lnTo>
                    <a:pt x="397" y="930"/>
                  </a:lnTo>
                  <a:lnTo>
                    <a:pt x="399" y="912"/>
                  </a:lnTo>
                  <a:lnTo>
                    <a:pt x="407" y="893"/>
                  </a:lnTo>
                  <a:lnTo>
                    <a:pt x="419" y="877"/>
                  </a:lnTo>
                  <a:lnTo>
                    <a:pt x="609" y="689"/>
                  </a:lnTo>
                  <a:lnTo>
                    <a:pt x="419" y="500"/>
                  </a:lnTo>
                  <a:lnTo>
                    <a:pt x="407" y="483"/>
                  </a:lnTo>
                  <a:lnTo>
                    <a:pt x="399" y="466"/>
                  </a:lnTo>
                  <a:lnTo>
                    <a:pt x="397" y="447"/>
                  </a:lnTo>
                  <a:lnTo>
                    <a:pt x="399" y="427"/>
                  </a:lnTo>
                  <a:lnTo>
                    <a:pt x="407" y="409"/>
                  </a:lnTo>
                  <a:lnTo>
                    <a:pt x="419" y="392"/>
                  </a:lnTo>
                  <a:lnTo>
                    <a:pt x="435" y="381"/>
                  </a:lnTo>
                  <a:lnTo>
                    <a:pt x="453" y="373"/>
                  </a:lnTo>
                  <a:lnTo>
                    <a:pt x="473" y="371"/>
                  </a:lnTo>
                  <a:lnTo>
                    <a:pt x="491" y="373"/>
                  </a:lnTo>
                  <a:lnTo>
                    <a:pt x="509" y="381"/>
                  </a:lnTo>
                  <a:lnTo>
                    <a:pt x="526" y="392"/>
                  </a:lnTo>
                  <a:lnTo>
                    <a:pt x="716" y="582"/>
                  </a:lnTo>
                  <a:lnTo>
                    <a:pt x="906" y="392"/>
                  </a:lnTo>
                  <a:lnTo>
                    <a:pt x="922" y="381"/>
                  </a:lnTo>
                  <a:lnTo>
                    <a:pt x="940" y="373"/>
                  </a:lnTo>
                  <a:lnTo>
                    <a:pt x="960" y="371"/>
                  </a:lnTo>
                  <a:lnTo>
                    <a:pt x="979" y="373"/>
                  </a:lnTo>
                  <a:lnTo>
                    <a:pt x="996" y="381"/>
                  </a:lnTo>
                  <a:lnTo>
                    <a:pt x="1013" y="392"/>
                  </a:lnTo>
                  <a:lnTo>
                    <a:pt x="1026" y="409"/>
                  </a:lnTo>
                  <a:lnTo>
                    <a:pt x="1033" y="427"/>
                  </a:lnTo>
                  <a:lnTo>
                    <a:pt x="1035" y="447"/>
                  </a:lnTo>
                  <a:lnTo>
                    <a:pt x="1032" y="466"/>
                  </a:lnTo>
                  <a:lnTo>
                    <a:pt x="1026" y="483"/>
                  </a:lnTo>
                  <a:lnTo>
                    <a:pt x="1013" y="500"/>
                  </a:lnTo>
                  <a:lnTo>
                    <a:pt x="824" y="689"/>
                  </a:lnTo>
                  <a:lnTo>
                    <a:pt x="1013" y="87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1" name="Freeform 7"/>
            <p:cNvSpPr>
              <a:spLocks noEditPoints="1"/>
            </p:cNvSpPr>
            <p:nvPr/>
          </p:nvSpPr>
          <p:spPr bwMode="auto">
            <a:xfrm>
              <a:off x="592" y="2862"/>
              <a:ext cx="225" cy="291"/>
            </a:xfrm>
            <a:custGeom>
              <a:avLst/>
              <a:gdLst>
                <a:gd name="T0" fmla="*/ 1987 w 2473"/>
                <a:gd name="T1" fmla="*/ 2735 h 3197"/>
                <a:gd name="T2" fmla="*/ 2048 w 2473"/>
                <a:gd name="T3" fmla="*/ 2538 h 3197"/>
                <a:gd name="T4" fmla="*/ 2154 w 2473"/>
                <a:gd name="T5" fmla="*/ 2366 h 3197"/>
                <a:gd name="T6" fmla="*/ 2297 w 2473"/>
                <a:gd name="T7" fmla="*/ 2222 h 3197"/>
                <a:gd name="T8" fmla="*/ 2473 w 2473"/>
                <a:gd name="T9" fmla="*/ 2116 h 3197"/>
                <a:gd name="T10" fmla="*/ 2464 w 2473"/>
                <a:gd name="T11" fmla="*/ 2 h 3197"/>
                <a:gd name="T12" fmla="*/ 9 w 2473"/>
                <a:gd name="T13" fmla="*/ 2 h 3197"/>
                <a:gd name="T14" fmla="*/ 0 w 2473"/>
                <a:gd name="T15" fmla="*/ 3179 h 3197"/>
                <a:gd name="T16" fmla="*/ 19 w 2473"/>
                <a:gd name="T17" fmla="*/ 3197 h 3197"/>
                <a:gd name="T18" fmla="*/ 1999 w 2473"/>
                <a:gd name="T19" fmla="*/ 3074 h 3197"/>
                <a:gd name="T20" fmla="*/ 1974 w 2473"/>
                <a:gd name="T21" fmla="*/ 2876 h 3197"/>
                <a:gd name="T22" fmla="*/ 1933 w 2473"/>
                <a:gd name="T23" fmla="*/ 526 h 3197"/>
                <a:gd name="T24" fmla="*/ 1979 w 2473"/>
                <a:gd name="T25" fmla="*/ 562 h 3197"/>
                <a:gd name="T26" fmla="*/ 1986 w 2473"/>
                <a:gd name="T27" fmla="*/ 620 h 3197"/>
                <a:gd name="T28" fmla="*/ 1951 w 2473"/>
                <a:gd name="T29" fmla="*/ 665 h 3197"/>
                <a:gd name="T30" fmla="*/ 560 w 2473"/>
                <a:gd name="T31" fmla="*/ 675 h 3197"/>
                <a:gd name="T32" fmla="*/ 507 w 2473"/>
                <a:gd name="T33" fmla="*/ 654 h 3197"/>
                <a:gd name="T34" fmla="*/ 484 w 2473"/>
                <a:gd name="T35" fmla="*/ 599 h 3197"/>
                <a:gd name="T36" fmla="*/ 507 w 2473"/>
                <a:gd name="T37" fmla="*/ 546 h 3197"/>
                <a:gd name="T38" fmla="*/ 560 w 2473"/>
                <a:gd name="T39" fmla="*/ 524 h 3197"/>
                <a:gd name="T40" fmla="*/ 1933 w 2473"/>
                <a:gd name="T41" fmla="*/ 1026 h 3197"/>
                <a:gd name="T42" fmla="*/ 1979 w 2473"/>
                <a:gd name="T43" fmla="*/ 1060 h 3197"/>
                <a:gd name="T44" fmla="*/ 1986 w 2473"/>
                <a:gd name="T45" fmla="*/ 1119 h 3197"/>
                <a:gd name="T46" fmla="*/ 1951 w 2473"/>
                <a:gd name="T47" fmla="*/ 1164 h 3197"/>
                <a:gd name="T48" fmla="*/ 560 w 2473"/>
                <a:gd name="T49" fmla="*/ 1175 h 3197"/>
                <a:gd name="T50" fmla="*/ 507 w 2473"/>
                <a:gd name="T51" fmla="*/ 1152 h 3197"/>
                <a:gd name="T52" fmla="*/ 484 w 2473"/>
                <a:gd name="T53" fmla="*/ 1099 h 3197"/>
                <a:gd name="T54" fmla="*/ 507 w 2473"/>
                <a:gd name="T55" fmla="*/ 1045 h 3197"/>
                <a:gd name="T56" fmla="*/ 560 w 2473"/>
                <a:gd name="T57" fmla="*/ 1024 h 3197"/>
                <a:gd name="T58" fmla="*/ 1933 w 2473"/>
                <a:gd name="T59" fmla="*/ 1526 h 3197"/>
                <a:gd name="T60" fmla="*/ 1979 w 2473"/>
                <a:gd name="T61" fmla="*/ 1560 h 3197"/>
                <a:gd name="T62" fmla="*/ 1986 w 2473"/>
                <a:gd name="T63" fmla="*/ 1619 h 3197"/>
                <a:gd name="T64" fmla="*/ 1951 w 2473"/>
                <a:gd name="T65" fmla="*/ 1664 h 3197"/>
                <a:gd name="T66" fmla="*/ 560 w 2473"/>
                <a:gd name="T67" fmla="*/ 1675 h 3197"/>
                <a:gd name="T68" fmla="*/ 507 w 2473"/>
                <a:gd name="T69" fmla="*/ 1652 h 3197"/>
                <a:gd name="T70" fmla="*/ 484 w 2473"/>
                <a:gd name="T71" fmla="*/ 1598 h 3197"/>
                <a:gd name="T72" fmla="*/ 507 w 2473"/>
                <a:gd name="T73" fmla="*/ 1545 h 3197"/>
                <a:gd name="T74" fmla="*/ 560 w 2473"/>
                <a:gd name="T75" fmla="*/ 1522 h 3197"/>
                <a:gd name="T76" fmla="*/ 1933 w 2473"/>
                <a:gd name="T77" fmla="*/ 2025 h 3197"/>
                <a:gd name="T78" fmla="*/ 1979 w 2473"/>
                <a:gd name="T79" fmla="*/ 2060 h 3197"/>
                <a:gd name="T80" fmla="*/ 1986 w 2473"/>
                <a:gd name="T81" fmla="*/ 2118 h 3197"/>
                <a:gd name="T82" fmla="*/ 1951 w 2473"/>
                <a:gd name="T83" fmla="*/ 2164 h 3197"/>
                <a:gd name="T84" fmla="*/ 560 w 2473"/>
                <a:gd name="T85" fmla="*/ 2174 h 3197"/>
                <a:gd name="T86" fmla="*/ 507 w 2473"/>
                <a:gd name="T87" fmla="*/ 2152 h 3197"/>
                <a:gd name="T88" fmla="*/ 484 w 2473"/>
                <a:gd name="T89" fmla="*/ 2098 h 3197"/>
                <a:gd name="T90" fmla="*/ 507 w 2473"/>
                <a:gd name="T91" fmla="*/ 2045 h 3197"/>
                <a:gd name="T92" fmla="*/ 560 w 2473"/>
                <a:gd name="T93" fmla="*/ 2022 h 3197"/>
                <a:gd name="T94" fmla="*/ 540 w 2473"/>
                <a:gd name="T95" fmla="*/ 2670 h 3197"/>
                <a:gd name="T96" fmla="*/ 495 w 2473"/>
                <a:gd name="T97" fmla="*/ 2636 h 3197"/>
                <a:gd name="T98" fmla="*/ 487 w 2473"/>
                <a:gd name="T99" fmla="*/ 2577 h 3197"/>
                <a:gd name="T100" fmla="*/ 522 w 2473"/>
                <a:gd name="T101" fmla="*/ 2532 h 3197"/>
                <a:gd name="T102" fmla="*/ 1913 w 2473"/>
                <a:gd name="T103" fmla="*/ 2522 h 3197"/>
                <a:gd name="T104" fmla="*/ 1967 w 2473"/>
                <a:gd name="T105" fmla="*/ 2544 h 3197"/>
                <a:gd name="T106" fmla="*/ 1988 w 2473"/>
                <a:gd name="T107" fmla="*/ 2598 h 3197"/>
                <a:gd name="T108" fmla="*/ 1967 w 2473"/>
                <a:gd name="T109" fmla="*/ 2651 h 3197"/>
                <a:gd name="T110" fmla="*/ 1913 w 2473"/>
                <a:gd name="T111" fmla="*/ 2674 h 3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73" h="3197">
                  <a:moveTo>
                    <a:pt x="1974" y="2876"/>
                  </a:moveTo>
                  <a:lnTo>
                    <a:pt x="1978" y="2804"/>
                  </a:lnTo>
                  <a:lnTo>
                    <a:pt x="1987" y="2735"/>
                  </a:lnTo>
                  <a:lnTo>
                    <a:pt x="2001" y="2667"/>
                  </a:lnTo>
                  <a:lnTo>
                    <a:pt x="2022" y="2602"/>
                  </a:lnTo>
                  <a:lnTo>
                    <a:pt x="2048" y="2538"/>
                  </a:lnTo>
                  <a:lnTo>
                    <a:pt x="2078" y="2478"/>
                  </a:lnTo>
                  <a:lnTo>
                    <a:pt x="2114" y="2420"/>
                  </a:lnTo>
                  <a:lnTo>
                    <a:pt x="2154" y="2366"/>
                  </a:lnTo>
                  <a:lnTo>
                    <a:pt x="2198" y="2314"/>
                  </a:lnTo>
                  <a:lnTo>
                    <a:pt x="2245" y="2267"/>
                  </a:lnTo>
                  <a:lnTo>
                    <a:pt x="2297" y="2222"/>
                  </a:lnTo>
                  <a:lnTo>
                    <a:pt x="2352" y="2182"/>
                  </a:lnTo>
                  <a:lnTo>
                    <a:pt x="2412" y="2147"/>
                  </a:lnTo>
                  <a:lnTo>
                    <a:pt x="2473" y="2116"/>
                  </a:lnTo>
                  <a:lnTo>
                    <a:pt x="2473" y="18"/>
                  </a:lnTo>
                  <a:lnTo>
                    <a:pt x="2470" y="9"/>
                  </a:lnTo>
                  <a:lnTo>
                    <a:pt x="2464" y="2"/>
                  </a:lnTo>
                  <a:lnTo>
                    <a:pt x="2454" y="0"/>
                  </a:lnTo>
                  <a:lnTo>
                    <a:pt x="19" y="0"/>
                  </a:lnTo>
                  <a:lnTo>
                    <a:pt x="9" y="2"/>
                  </a:lnTo>
                  <a:lnTo>
                    <a:pt x="2" y="9"/>
                  </a:lnTo>
                  <a:lnTo>
                    <a:pt x="0" y="18"/>
                  </a:lnTo>
                  <a:lnTo>
                    <a:pt x="0" y="3179"/>
                  </a:lnTo>
                  <a:lnTo>
                    <a:pt x="2" y="3189"/>
                  </a:lnTo>
                  <a:lnTo>
                    <a:pt x="9" y="3195"/>
                  </a:lnTo>
                  <a:lnTo>
                    <a:pt x="19" y="3197"/>
                  </a:lnTo>
                  <a:lnTo>
                    <a:pt x="2041" y="3197"/>
                  </a:lnTo>
                  <a:lnTo>
                    <a:pt x="2018" y="3137"/>
                  </a:lnTo>
                  <a:lnTo>
                    <a:pt x="1999" y="3074"/>
                  </a:lnTo>
                  <a:lnTo>
                    <a:pt x="1986" y="3010"/>
                  </a:lnTo>
                  <a:lnTo>
                    <a:pt x="1978" y="2943"/>
                  </a:lnTo>
                  <a:lnTo>
                    <a:pt x="1974" y="2876"/>
                  </a:lnTo>
                  <a:close/>
                  <a:moveTo>
                    <a:pt x="560" y="524"/>
                  </a:moveTo>
                  <a:lnTo>
                    <a:pt x="1913" y="524"/>
                  </a:lnTo>
                  <a:lnTo>
                    <a:pt x="1933" y="526"/>
                  </a:lnTo>
                  <a:lnTo>
                    <a:pt x="1951" y="534"/>
                  </a:lnTo>
                  <a:lnTo>
                    <a:pt x="1967" y="545"/>
                  </a:lnTo>
                  <a:lnTo>
                    <a:pt x="1979" y="562"/>
                  </a:lnTo>
                  <a:lnTo>
                    <a:pt x="1986" y="579"/>
                  </a:lnTo>
                  <a:lnTo>
                    <a:pt x="1988" y="599"/>
                  </a:lnTo>
                  <a:lnTo>
                    <a:pt x="1986" y="620"/>
                  </a:lnTo>
                  <a:lnTo>
                    <a:pt x="1979" y="637"/>
                  </a:lnTo>
                  <a:lnTo>
                    <a:pt x="1967" y="654"/>
                  </a:lnTo>
                  <a:lnTo>
                    <a:pt x="1951" y="665"/>
                  </a:lnTo>
                  <a:lnTo>
                    <a:pt x="1933" y="673"/>
                  </a:lnTo>
                  <a:lnTo>
                    <a:pt x="1913" y="675"/>
                  </a:lnTo>
                  <a:lnTo>
                    <a:pt x="560" y="675"/>
                  </a:lnTo>
                  <a:lnTo>
                    <a:pt x="540" y="673"/>
                  </a:lnTo>
                  <a:lnTo>
                    <a:pt x="522" y="665"/>
                  </a:lnTo>
                  <a:lnTo>
                    <a:pt x="507" y="654"/>
                  </a:lnTo>
                  <a:lnTo>
                    <a:pt x="495" y="637"/>
                  </a:lnTo>
                  <a:lnTo>
                    <a:pt x="487" y="620"/>
                  </a:lnTo>
                  <a:lnTo>
                    <a:pt x="484" y="599"/>
                  </a:lnTo>
                  <a:lnTo>
                    <a:pt x="487" y="579"/>
                  </a:lnTo>
                  <a:lnTo>
                    <a:pt x="495" y="562"/>
                  </a:lnTo>
                  <a:lnTo>
                    <a:pt x="507" y="546"/>
                  </a:lnTo>
                  <a:lnTo>
                    <a:pt x="522" y="534"/>
                  </a:lnTo>
                  <a:lnTo>
                    <a:pt x="540" y="527"/>
                  </a:lnTo>
                  <a:lnTo>
                    <a:pt x="560" y="524"/>
                  </a:lnTo>
                  <a:close/>
                  <a:moveTo>
                    <a:pt x="560" y="1024"/>
                  </a:moveTo>
                  <a:lnTo>
                    <a:pt x="1913" y="1024"/>
                  </a:lnTo>
                  <a:lnTo>
                    <a:pt x="1933" y="1026"/>
                  </a:lnTo>
                  <a:lnTo>
                    <a:pt x="1951" y="1033"/>
                  </a:lnTo>
                  <a:lnTo>
                    <a:pt x="1967" y="1045"/>
                  </a:lnTo>
                  <a:lnTo>
                    <a:pt x="1979" y="1060"/>
                  </a:lnTo>
                  <a:lnTo>
                    <a:pt x="1986" y="1079"/>
                  </a:lnTo>
                  <a:lnTo>
                    <a:pt x="1988" y="1099"/>
                  </a:lnTo>
                  <a:lnTo>
                    <a:pt x="1986" y="1119"/>
                  </a:lnTo>
                  <a:lnTo>
                    <a:pt x="1979" y="1137"/>
                  </a:lnTo>
                  <a:lnTo>
                    <a:pt x="1967" y="1152"/>
                  </a:lnTo>
                  <a:lnTo>
                    <a:pt x="1951" y="1164"/>
                  </a:lnTo>
                  <a:lnTo>
                    <a:pt x="1933" y="1172"/>
                  </a:lnTo>
                  <a:lnTo>
                    <a:pt x="1913" y="1175"/>
                  </a:lnTo>
                  <a:lnTo>
                    <a:pt x="560" y="1175"/>
                  </a:lnTo>
                  <a:lnTo>
                    <a:pt x="540" y="1172"/>
                  </a:lnTo>
                  <a:lnTo>
                    <a:pt x="522" y="1164"/>
                  </a:lnTo>
                  <a:lnTo>
                    <a:pt x="507" y="1152"/>
                  </a:lnTo>
                  <a:lnTo>
                    <a:pt x="495" y="1137"/>
                  </a:lnTo>
                  <a:lnTo>
                    <a:pt x="487" y="1119"/>
                  </a:lnTo>
                  <a:lnTo>
                    <a:pt x="484" y="1099"/>
                  </a:lnTo>
                  <a:lnTo>
                    <a:pt x="487" y="1079"/>
                  </a:lnTo>
                  <a:lnTo>
                    <a:pt x="495" y="1060"/>
                  </a:lnTo>
                  <a:lnTo>
                    <a:pt x="507" y="1045"/>
                  </a:lnTo>
                  <a:lnTo>
                    <a:pt x="522" y="1033"/>
                  </a:lnTo>
                  <a:lnTo>
                    <a:pt x="540" y="1026"/>
                  </a:lnTo>
                  <a:lnTo>
                    <a:pt x="560" y="1024"/>
                  </a:lnTo>
                  <a:close/>
                  <a:moveTo>
                    <a:pt x="560" y="1522"/>
                  </a:moveTo>
                  <a:lnTo>
                    <a:pt x="1913" y="1522"/>
                  </a:lnTo>
                  <a:lnTo>
                    <a:pt x="1933" y="1526"/>
                  </a:lnTo>
                  <a:lnTo>
                    <a:pt x="1951" y="1533"/>
                  </a:lnTo>
                  <a:lnTo>
                    <a:pt x="1967" y="1545"/>
                  </a:lnTo>
                  <a:lnTo>
                    <a:pt x="1979" y="1560"/>
                  </a:lnTo>
                  <a:lnTo>
                    <a:pt x="1986" y="1579"/>
                  </a:lnTo>
                  <a:lnTo>
                    <a:pt x="1988" y="1598"/>
                  </a:lnTo>
                  <a:lnTo>
                    <a:pt x="1986" y="1619"/>
                  </a:lnTo>
                  <a:lnTo>
                    <a:pt x="1979" y="1637"/>
                  </a:lnTo>
                  <a:lnTo>
                    <a:pt x="1967" y="1652"/>
                  </a:lnTo>
                  <a:lnTo>
                    <a:pt x="1951" y="1664"/>
                  </a:lnTo>
                  <a:lnTo>
                    <a:pt x="1933" y="1672"/>
                  </a:lnTo>
                  <a:lnTo>
                    <a:pt x="1913" y="1675"/>
                  </a:lnTo>
                  <a:lnTo>
                    <a:pt x="560" y="1675"/>
                  </a:lnTo>
                  <a:lnTo>
                    <a:pt x="540" y="1672"/>
                  </a:lnTo>
                  <a:lnTo>
                    <a:pt x="522" y="1664"/>
                  </a:lnTo>
                  <a:lnTo>
                    <a:pt x="507" y="1652"/>
                  </a:lnTo>
                  <a:lnTo>
                    <a:pt x="495" y="1637"/>
                  </a:lnTo>
                  <a:lnTo>
                    <a:pt x="487" y="1619"/>
                  </a:lnTo>
                  <a:lnTo>
                    <a:pt x="484" y="1598"/>
                  </a:lnTo>
                  <a:lnTo>
                    <a:pt x="487" y="1579"/>
                  </a:lnTo>
                  <a:lnTo>
                    <a:pt x="495" y="1560"/>
                  </a:lnTo>
                  <a:lnTo>
                    <a:pt x="507" y="1545"/>
                  </a:lnTo>
                  <a:lnTo>
                    <a:pt x="522" y="1533"/>
                  </a:lnTo>
                  <a:lnTo>
                    <a:pt x="540" y="1526"/>
                  </a:lnTo>
                  <a:lnTo>
                    <a:pt x="560" y="1522"/>
                  </a:lnTo>
                  <a:close/>
                  <a:moveTo>
                    <a:pt x="560" y="2022"/>
                  </a:moveTo>
                  <a:lnTo>
                    <a:pt x="1913" y="2022"/>
                  </a:lnTo>
                  <a:lnTo>
                    <a:pt x="1933" y="2025"/>
                  </a:lnTo>
                  <a:lnTo>
                    <a:pt x="1951" y="2033"/>
                  </a:lnTo>
                  <a:lnTo>
                    <a:pt x="1967" y="2045"/>
                  </a:lnTo>
                  <a:lnTo>
                    <a:pt x="1979" y="2060"/>
                  </a:lnTo>
                  <a:lnTo>
                    <a:pt x="1986" y="2077"/>
                  </a:lnTo>
                  <a:lnTo>
                    <a:pt x="1988" y="2098"/>
                  </a:lnTo>
                  <a:lnTo>
                    <a:pt x="1986" y="2118"/>
                  </a:lnTo>
                  <a:lnTo>
                    <a:pt x="1979" y="2136"/>
                  </a:lnTo>
                  <a:lnTo>
                    <a:pt x="1967" y="2152"/>
                  </a:lnTo>
                  <a:lnTo>
                    <a:pt x="1951" y="2164"/>
                  </a:lnTo>
                  <a:lnTo>
                    <a:pt x="1933" y="2172"/>
                  </a:lnTo>
                  <a:lnTo>
                    <a:pt x="1913" y="2174"/>
                  </a:lnTo>
                  <a:lnTo>
                    <a:pt x="560" y="2174"/>
                  </a:lnTo>
                  <a:lnTo>
                    <a:pt x="540" y="2172"/>
                  </a:lnTo>
                  <a:lnTo>
                    <a:pt x="522" y="2164"/>
                  </a:lnTo>
                  <a:lnTo>
                    <a:pt x="507" y="2152"/>
                  </a:lnTo>
                  <a:lnTo>
                    <a:pt x="495" y="2136"/>
                  </a:lnTo>
                  <a:lnTo>
                    <a:pt x="487" y="2118"/>
                  </a:lnTo>
                  <a:lnTo>
                    <a:pt x="484" y="2098"/>
                  </a:lnTo>
                  <a:lnTo>
                    <a:pt x="487" y="2077"/>
                  </a:lnTo>
                  <a:lnTo>
                    <a:pt x="495" y="2060"/>
                  </a:lnTo>
                  <a:lnTo>
                    <a:pt x="507" y="2045"/>
                  </a:lnTo>
                  <a:lnTo>
                    <a:pt x="522" y="2033"/>
                  </a:lnTo>
                  <a:lnTo>
                    <a:pt x="540" y="2025"/>
                  </a:lnTo>
                  <a:lnTo>
                    <a:pt x="560" y="2022"/>
                  </a:lnTo>
                  <a:close/>
                  <a:moveTo>
                    <a:pt x="1913" y="2674"/>
                  </a:moveTo>
                  <a:lnTo>
                    <a:pt x="560" y="2674"/>
                  </a:lnTo>
                  <a:lnTo>
                    <a:pt x="540" y="2670"/>
                  </a:lnTo>
                  <a:lnTo>
                    <a:pt x="522" y="2663"/>
                  </a:lnTo>
                  <a:lnTo>
                    <a:pt x="507" y="2651"/>
                  </a:lnTo>
                  <a:lnTo>
                    <a:pt x="495" y="2636"/>
                  </a:lnTo>
                  <a:lnTo>
                    <a:pt x="487" y="2618"/>
                  </a:lnTo>
                  <a:lnTo>
                    <a:pt x="484" y="2598"/>
                  </a:lnTo>
                  <a:lnTo>
                    <a:pt x="487" y="2577"/>
                  </a:lnTo>
                  <a:lnTo>
                    <a:pt x="495" y="2560"/>
                  </a:lnTo>
                  <a:lnTo>
                    <a:pt x="507" y="2544"/>
                  </a:lnTo>
                  <a:lnTo>
                    <a:pt x="522" y="2532"/>
                  </a:lnTo>
                  <a:lnTo>
                    <a:pt x="540" y="2524"/>
                  </a:lnTo>
                  <a:lnTo>
                    <a:pt x="560" y="2522"/>
                  </a:lnTo>
                  <a:lnTo>
                    <a:pt x="1913" y="2522"/>
                  </a:lnTo>
                  <a:lnTo>
                    <a:pt x="1933" y="2524"/>
                  </a:lnTo>
                  <a:lnTo>
                    <a:pt x="1951" y="2532"/>
                  </a:lnTo>
                  <a:lnTo>
                    <a:pt x="1967" y="2544"/>
                  </a:lnTo>
                  <a:lnTo>
                    <a:pt x="1979" y="2560"/>
                  </a:lnTo>
                  <a:lnTo>
                    <a:pt x="1986" y="2577"/>
                  </a:lnTo>
                  <a:lnTo>
                    <a:pt x="1988" y="2598"/>
                  </a:lnTo>
                  <a:lnTo>
                    <a:pt x="1986" y="2618"/>
                  </a:lnTo>
                  <a:lnTo>
                    <a:pt x="1979" y="2636"/>
                  </a:lnTo>
                  <a:lnTo>
                    <a:pt x="1967" y="2651"/>
                  </a:lnTo>
                  <a:lnTo>
                    <a:pt x="1951" y="2663"/>
                  </a:lnTo>
                  <a:lnTo>
                    <a:pt x="1933" y="2670"/>
                  </a:lnTo>
                  <a:lnTo>
                    <a:pt x="1913" y="267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2" name="Group 4"/>
          <p:cNvGrpSpPr>
            <a:grpSpLocks noChangeAspect="1"/>
          </p:cNvGrpSpPr>
          <p:nvPr/>
        </p:nvGrpSpPr>
        <p:grpSpPr bwMode="auto">
          <a:xfrm>
            <a:off x="777976" y="3194530"/>
            <a:ext cx="427383" cy="393671"/>
            <a:chOff x="-413" y="1979"/>
            <a:chExt cx="393" cy="362"/>
          </a:xfrm>
          <a:solidFill>
            <a:schemeClr val="bg1"/>
          </a:solidFill>
        </p:grpSpPr>
        <p:sp>
          <p:nvSpPr>
            <p:cNvPr id="123" name="Rectangle 6"/>
            <p:cNvSpPr>
              <a:spLocks noChangeArrowheads="1"/>
            </p:cNvSpPr>
            <p:nvPr/>
          </p:nvSpPr>
          <p:spPr bwMode="auto">
            <a:xfrm>
              <a:off x="-389" y="2104"/>
              <a:ext cx="17" cy="4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4" name="Rectangle 7"/>
            <p:cNvSpPr>
              <a:spLocks noChangeArrowheads="1"/>
            </p:cNvSpPr>
            <p:nvPr/>
          </p:nvSpPr>
          <p:spPr bwMode="auto">
            <a:xfrm>
              <a:off x="-389" y="2176"/>
              <a:ext cx="17" cy="4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5" name="Freeform 8"/>
            <p:cNvSpPr>
              <a:spLocks/>
            </p:cNvSpPr>
            <p:nvPr/>
          </p:nvSpPr>
          <p:spPr bwMode="auto">
            <a:xfrm>
              <a:off x="-389" y="1979"/>
              <a:ext cx="305" cy="153"/>
            </a:xfrm>
            <a:custGeom>
              <a:avLst/>
              <a:gdLst>
                <a:gd name="T0" fmla="*/ 2746 w 2746"/>
                <a:gd name="T1" fmla="*/ 942 h 1381"/>
                <a:gd name="T2" fmla="*/ 2746 w 2746"/>
                <a:gd name="T3" fmla="*/ 1225 h 1381"/>
                <a:gd name="T4" fmla="*/ 2589 w 2746"/>
                <a:gd name="T5" fmla="*/ 1381 h 1381"/>
                <a:gd name="T6" fmla="*/ 2589 w 2746"/>
                <a:gd name="T7" fmla="*/ 287 h 1381"/>
                <a:gd name="T8" fmla="*/ 2586 w 2746"/>
                <a:gd name="T9" fmla="*/ 260 h 1381"/>
                <a:gd name="T10" fmla="*/ 2579 w 2746"/>
                <a:gd name="T11" fmla="*/ 236 h 1381"/>
                <a:gd name="T12" fmla="*/ 2567 w 2746"/>
                <a:gd name="T13" fmla="*/ 214 h 1381"/>
                <a:gd name="T14" fmla="*/ 2551 w 2746"/>
                <a:gd name="T15" fmla="*/ 195 h 1381"/>
                <a:gd name="T16" fmla="*/ 2531 w 2746"/>
                <a:gd name="T17" fmla="*/ 179 h 1381"/>
                <a:gd name="T18" fmla="*/ 2509 w 2746"/>
                <a:gd name="T19" fmla="*/ 166 h 1381"/>
                <a:gd name="T20" fmla="*/ 2484 w 2746"/>
                <a:gd name="T21" fmla="*/ 159 h 1381"/>
                <a:gd name="T22" fmla="*/ 2458 w 2746"/>
                <a:gd name="T23" fmla="*/ 156 h 1381"/>
                <a:gd name="T24" fmla="*/ 287 w 2746"/>
                <a:gd name="T25" fmla="*/ 156 h 1381"/>
                <a:gd name="T26" fmla="*/ 261 w 2746"/>
                <a:gd name="T27" fmla="*/ 159 h 1381"/>
                <a:gd name="T28" fmla="*/ 236 w 2746"/>
                <a:gd name="T29" fmla="*/ 166 h 1381"/>
                <a:gd name="T30" fmla="*/ 214 w 2746"/>
                <a:gd name="T31" fmla="*/ 179 h 1381"/>
                <a:gd name="T32" fmla="*/ 194 w 2746"/>
                <a:gd name="T33" fmla="*/ 195 h 1381"/>
                <a:gd name="T34" fmla="*/ 178 w 2746"/>
                <a:gd name="T35" fmla="*/ 214 h 1381"/>
                <a:gd name="T36" fmla="*/ 166 w 2746"/>
                <a:gd name="T37" fmla="*/ 236 h 1381"/>
                <a:gd name="T38" fmla="*/ 159 w 2746"/>
                <a:gd name="T39" fmla="*/ 260 h 1381"/>
                <a:gd name="T40" fmla="*/ 156 w 2746"/>
                <a:gd name="T41" fmla="*/ 287 h 1381"/>
                <a:gd name="T42" fmla="*/ 156 w 2746"/>
                <a:gd name="T43" fmla="*/ 832 h 1381"/>
                <a:gd name="T44" fmla="*/ 0 w 2746"/>
                <a:gd name="T45" fmla="*/ 832 h 1381"/>
                <a:gd name="T46" fmla="*/ 0 w 2746"/>
                <a:gd name="T47" fmla="*/ 287 h 1381"/>
                <a:gd name="T48" fmla="*/ 3 w 2746"/>
                <a:gd name="T49" fmla="*/ 244 h 1381"/>
                <a:gd name="T50" fmla="*/ 12 w 2746"/>
                <a:gd name="T51" fmla="*/ 205 h 1381"/>
                <a:gd name="T52" fmla="*/ 27 w 2746"/>
                <a:gd name="T53" fmla="*/ 166 h 1381"/>
                <a:gd name="T54" fmla="*/ 46 w 2746"/>
                <a:gd name="T55" fmla="*/ 131 h 1381"/>
                <a:gd name="T56" fmla="*/ 70 w 2746"/>
                <a:gd name="T57" fmla="*/ 99 h 1381"/>
                <a:gd name="T58" fmla="*/ 99 w 2746"/>
                <a:gd name="T59" fmla="*/ 71 h 1381"/>
                <a:gd name="T60" fmla="*/ 131 w 2746"/>
                <a:gd name="T61" fmla="*/ 46 h 1381"/>
                <a:gd name="T62" fmla="*/ 165 w 2746"/>
                <a:gd name="T63" fmla="*/ 27 h 1381"/>
                <a:gd name="T64" fmla="*/ 204 w 2746"/>
                <a:gd name="T65" fmla="*/ 13 h 1381"/>
                <a:gd name="T66" fmla="*/ 245 w 2746"/>
                <a:gd name="T67" fmla="*/ 3 h 1381"/>
                <a:gd name="T68" fmla="*/ 287 w 2746"/>
                <a:gd name="T69" fmla="*/ 0 h 1381"/>
                <a:gd name="T70" fmla="*/ 2458 w 2746"/>
                <a:gd name="T71" fmla="*/ 0 h 1381"/>
                <a:gd name="T72" fmla="*/ 2500 w 2746"/>
                <a:gd name="T73" fmla="*/ 3 h 1381"/>
                <a:gd name="T74" fmla="*/ 2541 w 2746"/>
                <a:gd name="T75" fmla="*/ 13 h 1381"/>
                <a:gd name="T76" fmla="*/ 2579 w 2746"/>
                <a:gd name="T77" fmla="*/ 27 h 1381"/>
                <a:gd name="T78" fmla="*/ 2614 w 2746"/>
                <a:gd name="T79" fmla="*/ 46 h 1381"/>
                <a:gd name="T80" fmla="*/ 2646 w 2746"/>
                <a:gd name="T81" fmla="*/ 71 h 1381"/>
                <a:gd name="T82" fmla="*/ 2674 w 2746"/>
                <a:gd name="T83" fmla="*/ 99 h 1381"/>
                <a:gd name="T84" fmla="*/ 2699 w 2746"/>
                <a:gd name="T85" fmla="*/ 131 h 1381"/>
                <a:gd name="T86" fmla="*/ 2718 w 2746"/>
                <a:gd name="T87" fmla="*/ 166 h 1381"/>
                <a:gd name="T88" fmla="*/ 2733 w 2746"/>
                <a:gd name="T89" fmla="*/ 205 h 1381"/>
                <a:gd name="T90" fmla="*/ 2742 w 2746"/>
                <a:gd name="T91" fmla="*/ 244 h 1381"/>
                <a:gd name="T92" fmla="*/ 2745 w 2746"/>
                <a:gd name="T93" fmla="*/ 287 h 1381"/>
                <a:gd name="T94" fmla="*/ 2745 w 2746"/>
                <a:gd name="T95" fmla="*/ 942 h 1381"/>
                <a:gd name="T96" fmla="*/ 2746 w 2746"/>
                <a:gd name="T97" fmla="*/ 942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46" h="1381">
                  <a:moveTo>
                    <a:pt x="2746" y="942"/>
                  </a:moveTo>
                  <a:lnTo>
                    <a:pt x="2746" y="1225"/>
                  </a:lnTo>
                  <a:lnTo>
                    <a:pt x="2589" y="1381"/>
                  </a:lnTo>
                  <a:lnTo>
                    <a:pt x="2589" y="287"/>
                  </a:lnTo>
                  <a:lnTo>
                    <a:pt x="2586" y="260"/>
                  </a:lnTo>
                  <a:lnTo>
                    <a:pt x="2579" y="236"/>
                  </a:lnTo>
                  <a:lnTo>
                    <a:pt x="2567" y="214"/>
                  </a:lnTo>
                  <a:lnTo>
                    <a:pt x="2551" y="195"/>
                  </a:lnTo>
                  <a:lnTo>
                    <a:pt x="2531" y="179"/>
                  </a:lnTo>
                  <a:lnTo>
                    <a:pt x="2509" y="166"/>
                  </a:lnTo>
                  <a:lnTo>
                    <a:pt x="2484" y="159"/>
                  </a:lnTo>
                  <a:lnTo>
                    <a:pt x="2458" y="156"/>
                  </a:lnTo>
                  <a:lnTo>
                    <a:pt x="287" y="156"/>
                  </a:lnTo>
                  <a:lnTo>
                    <a:pt x="261" y="159"/>
                  </a:lnTo>
                  <a:lnTo>
                    <a:pt x="236" y="166"/>
                  </a:lnTo>
                  <a:lnTo>
                    <a:pt x="214" y="179"/>
                  </a:lnTo>
                  <a:lnTo>
                    <a:pt x="194" y="195"/>
                  </a:lnTo>
                  <a:lnTo>
                    <a:pt x="178" y="214"/>
                  </a:lnTo>
                  <a:lnTo>
                    <a:pt x="166" y="236"/>
                  </a:lnTo>
                  <a:lnTo>
                    <a:pt x="159" y="260"/>
                  </a:lnTo>
                  <a:lnTo>
                    <a:pt x="156" y="287"/>
                  </a:lnTo>
                  <a:lnTo>
                    <a:pt x="156" y="832"/>
                  </a:lnTo>
                  <a:lnTo>
                    <a:pt x="0" y="832"/>
                  </a:lnTo>
                  <a:lnTo>
                    <a:pt x="0" y="287"/>
                  </a:lnTo>
                  <a:lnTo>
                    <a:pt x="3" y="244"/>
                  </a:lnTo>
                  <a:lnTo>
                    <a:pt x="12" y="205"/>
                  </a:lnTo>
                  <a:lnTo>
                    <a:pt x="27" y="166"/>
                  </a:lnTo>
                  <a:lnTo>
                    <a:pt x="46" y="131"/>
                  </a:lnTo>
                  <a:lnTo>
                    <a:pt x="70" y="99"/>
                  </a:lnTo>
                  <a:lnTo>
                    <a:pt x="99" y="71"/>
                  </a:lnTo>
                  <a:lnTo>
                    <a:pt x="131" y="46"/>
                  </a:lnTo>
                  <a:lnTo>
                    <a:pt x="165" y="27"/>
                  </a:lnTo>
                  <a:lnTo>
                    <a:pt x="204" y="13"/>
                  </a:lnTo>
                  <a:lnTo>
                    <a:pt x="245" y="3"/>
                  </a:lnTo>
                  <a:lnTo>
                    <a:pt x="287" y="0"/>
                  </a:lnTo>
                  <a:lnTo>
                    <a:pt x="2458" y="0"/>
                  </a:lnTo>
                  <a:lnTo>
                    <a:pt x="2500" y="3"/>
                  </a:lnTo>
                  <a:lnTo>
                    <a:pt x="2541" y="13"/>
                  </a:lnTo>
                  <a:lnTo>
                    <a:pt x="2579" y="27"/>
                  </a:lnTo>
                  <a:lnTo>
                    <a:pt x="2614" y="46"/>
                  </a:lnTo>
                  <a:lnTo>
                    <a:pt x="2646" y="71"/>
                  </a:lnTo>
                  <a:lnTo>
                    <a:pt x="2674" y="99"/>
                  </a:lnTo>
                  <a:lnTo>
                    <a:pt x="2699" y="131"/>
                  </a:lnTo>
                  <a:lnTo>
                    <a:pt x="2718" y="166"/>
                  </a:lnTo>
                  <a:lnTo>
                    <a:pt x="2733" y="205"/>
                  </a:lnTo>
                  <a:lnTo>
                    <a:pt x="2742" y="244"/>
                  </a:lnTo>
                  <a:lnTo>
                    <a:pt x="2745" y="287"/>
                  </a:lnTo>
                  <a:lnTo>
                    <a:pt x="2745" y="942"/>
                  </a:lnTo>
                  <a:lnTo>
                    <a:pt x="2746" y="9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6" name="Freeform 9"/>
            <p:cNvSpPr>
              <a:spLocks/>
            </p:cNvSpPr>
            <p:nvPr/>
          </p:nvSpPr>
          <p:spPr bwMode="auto">
            <a:xfrm>
              <a:off x="-389" y="2235"/>
              <a:ext cx="305" cy="106"/>
            </a:xfrm>
            <a:custGeom>
              <a:avLst/>
              <a:gdLst>
                <a:gd name="T0" fmla="*/ 2662 w 2746"/>
                <a:gd name="T1" fmla="*/ 53 h 954"/>
                <a:gd name="T2" fmla="*/ 2689 w 2746"/>
                <a:gd name="T3" fmla="*/ 66 h 954"/>
                <a:gd name="T4" fmla="*/ 2717 w 2746"/>
                <a:gd name="T5" fmla="*/ 74 h 954"/>
                <a:gd name="T6" fmla="*/ 2746 w 2746"/>
                <a:gd name="T7" fmla="*/ 78 h 954"/>
                <a:gd name="T8" fmla="*/ 2746 w 2746"/>
                <a:gd name="T9" fmla="*/ 667 h 954"/>
                <a:gd name="T10" fmla="*/ 2743 w 2746"/>
                <a:gd name="T11" fmla="*/ 710 h 954"/>
                <a:gd name="T12" fmla="*/ 2733 w 2746"/>
                <a:gd name="T13" fmla="*/ 749 h 954"/>
                <a:gd name="T14" fmla="*/ 2719 w 2746"/>
                <a:gd name="T15" fmla="*/ 788 h 954"/>
                <a:gd name="T16" fmla="*/ 2699 w 2746"/>
                <a:gd name="T17" fmla="*/ 823 h 954"/>
                <a:gd name="T18" fmla="*/ 2675 w 2746"/>
                <a:gd name="T19" fmla="*/ 854 h 954"/>
                <a:gd name="T20" fmla="*/ 2646 w 2746"/>
                <a:gd name="T21" fmla="*/ 883 h 954"/>
                <a:gd name="T22" fmla="*/ 2614 w 2746"/>
                <a:gd name="T23" fmla="*/ 907 h 954"/>
                <a:gd name="T24" fmla="*/ 2579 w 2746"/>
                <a:gd name="T25" fmla="*/ 927 h 954"/>
                <a:gd name="T26" fmla="*/ 2541 w 2746"/>
                <a:gd name="T27" fmla="*/ 941 h 954"/>
                <a:gd name="T28" fmla="*/ 2500 w 2746"/>
                <a:gd name="T29" fmla="*/ 951 h 954"/>
                <a:gd name="T30" fmla="*/ 2458 w 2746"/>
                <a:gd name="T31" fmla="*/ 954 h 954"/>
                <a:gd name="T32" fmla="*/ 287 w 2746"/>
                <a:gd name="T33" fmla="*/ 954 h 954"/>
                <a:gd name="T34" fmla="*/ 245 w 2746"/>
                <a:gd name="T35" fmla="*/ 951 h 954"/>
                <a:gd name="T36" fmla="*/ 204 w 2746"/>
                <a:gd name="T37" fmla="*/ 941 h 954"/>
                <a:gd name="T38" fmla="*/ 165 w 2746"/>
                <a:gd name="T39" fmla="*/ 927 h 954"/>
                <a:gd name="T40" fmla="*/ 131 w 2746"/>
                <a:gd name="T41" fmla="*/ 907 h 954"/>
                <a:gd name="T42" fmla="*/ 99 w 2746"/>
                <a:gd name="T43" fmla="*/ 883 h 954"/>
                <a:gd name="T44" fmla="*/ 70 w 2746"/>
                <a:gd name="T45" fmla="*/ 854 h 954"/>
                <a:gd name="T46" fmla="*/ 46 w 2746"/>
                <a:gd name="T47" fmla="*/ 823 h 954"/>
                <a:gd name="T48" fmla="*/ 27 w 2746"/>
                <a:gd name="T49" fmla="*/ 788 h 954"/>
                <a:gd name="T50" fmla="*/ 12 w 2746"/>
                <a:gd name="T51" fmla="*/ 749 h 954"/>
                <a:gd name="T52" fmla="*/ 3 w 2746"/>
                <a:gd name="T53" fmla="*/ 710 h 954"/>
                <a:gd name="T54" fmla="*/ 0 w 2746"/>
                <a:gd name="T55" fmla="*/ 667 h 954"/>
                <a:gd name="T56" fmla="*/ 0 w 2746"/>
                <a:gd name="T57" fmla="*/ 123 h 954"/>
                <a:gd name="T58" fmla="*/ 156 w 2746"/>
                <a:gd name="T59" fmla="*/ 123 h 954"/>
                <a:gd name="T60" fmla="*/ 156 w 2746"/>
                <a:gd name="T61" fmla="*/ 667 h 954"/>
                <a:gd name="T62" fmla="*/ 159 w 2746"/>
                <a:gd name="T63" fmla="*/ 694 h 954"/>
                <a:gd name="T64" fmla="*/ 166 w 2746"/>
                <a:gd name="T65" fmla="*/ 718 h 954"/>
                <a:gd name="T66" fmla="*/ 178 w 2746"/>
                <a:gd name="T67" fmla="*/ 740 h 954"/>
                <a:gd name="T68" fmla="*/ 194 w 2746"/>
                <a:gd name="T69" fmla="*/ 759 h 954"/>
                <a:gd name="T70" fmla="*/ 214 w 2746"/>
                <a:gd name="T71" fmla="*/ 775 h 954"/>
                <a:gd name="T72" fmla="*/ 236 w 2746"/>
                <a:gd name="T73" fmla="*/ 788 h 954"/>
                <a:gd name="T74" fmla="*/ 261 w 2746"/>
                <a:gd name="T75" fmla="*/ 795 h 954"/>
                <a:gd name="T76" fmla="*/ 287 w 2746"/>
                <a:gd name="T77" fmla="*/ 798 h 954"/>
                <a:gd name="T78" fmla="*/ 2458 w 2746"/>
                <a:gd name="T79" fmla="*/ 798 h 954"/>
                <a:gd name="T80" fmla="*/ 2484 w 2746"/>
                <a:gd name="T81" fmla="*/ 795 h 954"/>
                <a:gd name="T82" fmla="*/ 2509 w 2746"/>
                <a:gd name="T83" fmla="*/ 788 h 954"/>
                <a:gd name="T84" fmla="*/ 2531 w 2746"/>
                <a:gd name="T85" fmla="*/ 775 h 954"/>
                <a:gd name="T86" fmla="*/ 2551 w 2746"/>
                <a:gd name="T87" fmla="*/ 759 h 954"/>
                <a:gd name="T88" fmla="*/ 2567 w 2746"/>
                <a:gd name="T89" fmla="*/ 740 h 954"/>
                <a:gd name="T90" fmla="*/ 2579 w 2746"/>
                <a:gd name="T91" fmla="*/ 718 h 954"/>
                <a:gd name="T92" fmla="*/ 2587 w 2746"/>
                <a:gd name="T93" fmla="*/ 694 h 954"/>
                <a:gd name="T94" fmla="*/ 2589 w 2746"/>
                <a:gd name="T95" fmla="*/ 667 h 954"/>
                <a:gd name="T96" fmla="*/ 2589 w 2746"/>
                <a:gd name="T97" fmla="*/ 181 h 954"/>
                <a:gd name="T98" fmla="*/ 2589 w 2746"/>
                <a:gd name="T99" fmla="*/ 181 h 954"/>
                <a:gd name="T100" fmla="*/ 2589 w 2746"/>
                <a:gd name="T101" fmla="*/ 9 h 954"/>
                <a:gd name="T102" fmla="*/ 2599 w 2746"/>
                <a:gd name="T103" fmla="*/ 0 h 954"/>
                <a:gd name="T104" fmla="*/ 2617 w 2746"/>
                <a:gd name="T105" fmla="*/ 20 h 954"/>
                <a:gd name="T106" fmla="*/ 2639 w 2746"/>
                <a:gd name="T107" fmla="*/ 38 h 954"/>
                <a:gd name="T108" fmla="*/ 2662 w 2746"/>
                <a:gd name="T109" fmla="*/ 53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46" h="954">
                  <a:moveTo>
                    <a:pt x="2662" y="53"/>
                  </a:moveTo>
                  <a:lnTo>
                    <a:pt x="2689" y="66"/>
                  </a:lnTo>
                  <a:lnTo>
                    <a:pt x="2717" y="74"/>
                  </a:lnTo>
                  <a:lnTo>
                    <a:pt x="2746" y="78"/>
                  </a:lnTo>
                  <a:lnTo>
                    <a:pt x="2746" y="667"/>
                  </a:lnTo>
                  <a:lnTo>
                    <a:pt x="2743" y="710"/>
                  </a:lnTo>
                  <a:lnTo>
                    <a:pt x="2733" y="749"/>
                  </a:lnTo>
                  <a:lnTo>
                    <a:pt x="2719" y="788"/>
                  </a:lnTo>
                  <a:lnTo>
                    <a:pt x="2699" y="823"/>
                  </a:lnTo>
                  <a:lnTo>
                    <a:pt x="2675" y="854"/>
                  </a:lnTo>
                  <a:lnTo>
                    <a:pt x="2646" y="883"/>
                  </a:lnTo>
                  <a:lnTo>
                    <a:pt x="2614" y="907"/>
                  </a:lnTo>
                  <a:lnTo>
                    <a:pt x="2579" y="927"/>
                  </a:lnTo>
                  <a:lnTo>
                    <a:pt x="2541" y="941"/>
                  </a:lnTo>
                  <a:lnTo>
                    <a:pt x="2500" y="951"/>
                  </a:lnTo>
                  <a:lnTo>
                    <a:pt x="2458" y="954"/>
                  </a:lnTo>
                  <a:lnTo>
                    <a:pt x="287" y="954"/>
                  </a:lnTo>
                  <a:lnTo>
                    <a:pt x="245" y="951"/>
                  </a:lnTo>
                  <a:lnTo>
                    <a:pt x="204" y="941"/>
                  </a:lnTo>
                  <a:lnTo>
                    <a:pt x="165" y="927"/>
                  </a:lnTo>
                  <a:lnTo>
                    <a:pt x="131" y="907"/>
                  </a:lnTo>
                  <a:lnTo>
                    <a:pt x="99" y="883"/>
                  </a:lnTo>
                  <a:lnTo>
                    <a:pt x="70" y="854"/>
                  </a:lnTo>
                  <a:lnTo>
                    <a:pt x="46" y="823"/>
                  </a:lnTo>
                  <a:lnTo>
                    <a:pt x="27" y="788"/>
                  </a:lnTo>
                  <a:lnTo>
                    <a:pt x="12" y="749"/>
                  </a:lnTo>
                  <a:lnTo>
                    <a:pt x="3" y="710"/>
                  </a:lnTo>
                  <a:lnTo>
                    <a:pt x="0" y="667"/>
                  </a:lnTo>
                  <a:lnTo>
                    <a:pt x="0" y="123"/>
                  </a:lnTo>
                  <a:lnTo>
                    <a:pt x="156" y="123"/>
                  </a:lnTo>
                  <a:lnTo>
                    <a:pt x="156" y="667"/>
                  </a:lnTo>
                  <a:lnTo>
                    <a:pt x="159" y="694"/>
                  </a:lnTo>
                  <a:lnTo>
                    <a:pt x="166" y="718"/>
                  </a:lnTo>
                  <a:lnTo>
                    <a:pt x="178" y="740"/>
                  </a:lnTo>
                  <a:lnTo>
                    <a:pt x="194" y="759"/>
                  </a:lnTo>
                  <a:lnTo>
                    <a:pt x="214" y="775"/>
                  </a:lnTo>
                  <a:lnTo>
                    <a:pt x="236" y="788"/>
                  </a:lnTo>
                  <a:lnTo>
                    <a:pt x="261" y="795"/>
                  </a:lnTo>
                  <a:lnTo>
                    <a:pt x="287" y="798"/>
                  </a:lnTo>
                  <a:lnTo>
                    <a:pt x="2458" y="798"/>
                  </a:lnTo>
                  <a:lnTo>
                    <a:pt x="2484" y="795"/>
                  </a:lnTo>
                  <a:lnTo>
                    <a:pt x="2509" y="788"/>
                  </a:lnTo>
                  <a:lnTo>
                    <a:pt x="2531" y="775"/>
                  </a:lnTo>
                  <a:lnTo>
                    <a:pt x="2551" y="759"/>
                  </a:lnTo>
                  <a:lnTo>
                    <a:pt x="2567" y="740"/>
                  </a:lnTo>
                  <a:lnTo>
                    <a:pt x="2579" y="718"/>
                  </a:lnTo>
                  <a:lnTo>
                    <a:pt x="2587" y="694"/>
                  </a:lnTo>
                  <a:lnTo>
                    <a:pt x="2589" y="667"/>
                  </a:lnTo>
                  <a:lnTo>
                    <a:pt x="2589" y="181"/>
                  </a:lnTo>
                  <a:lnTo>
                    <a:pt x="2589" y="181"/>
                  </a:lnTo>
                  <a:lnTo>
                    <a:pt x="2589" y="9"/>
                  </a:lnTo>
                  <a:lnTo>
                    <a:pt x="2599" y="0"/>
                  </a:lnTo>
                  <a:lnTo>
                    <a:pt x="2617" y="20"/>
                  </a:lnTo>
                  <a:lnTo>
                    <a:pt x="2639" y="38"/>
                  </a:lnTo>
                  <a:lnTo>
                    <a:pt x="2662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7" name="Freeform 10"/>
            <p:cNvSpPr>
              <a:spLocks/>
            </p:cNvSpPr>
            <p:nvPr/>
          </p:nvSpPr>
          <p:spPr bwMode="auto">
            <a:xfrm>
              <a:off x="-413" y="2218"/>
              <a:ext cx="72" cy="29"/>
            </a:xfrm>
            <a:custGeom>
              <a:avLst/>
              <a:gdLst>
                <a:gd name="T0" fmla="*/ 400 w 647"/>
                <a:gd name="T1" fmla="*/ 64 h 264"/>
                <a:gd name="T2" fmla="*/ 68 w 647"/>
                <a:gd name="T3" fmla="*/ 64 h 264"/>
                <a:gd name="T4" fmla="*/ 51 w 647"/>
                <a:gd name="T5" fmla="*/ 67 h 264"/>
                <a:gd name="T6" fmla="*/ 35 w 647"/>
                <a:gd name="T7" fmla="*/ 73 h 264"/>
                <a:gd name="T8" fmla="*/ 21 w 647"/>
                <a:gd name="T9" fmla="*/ 84 h 264"/>
                <a:gd name="T10" fmla="*/ 10 w 647"/>
                <a:gd name="T11" fmla="*/ 97 h 264"/>
                <a:gd name="T12" fmla="*/ 4 w 647"/>
                <a:gd name="T13" fmla="*/ 114 h 264"/>
                <a:gd name="T14" fmla="*/ 0 w 647"/>
                <a:gd name="T15" fmla="*/ 131 h 264"/>
                <a:gd name="T16" fmla="*/ 4 w 647"/>
                <a:gd name="T17" fmla="*/ 149 h 264"/>
                <a:gd name="T18" fmla="*/ 10 w 647"/>
                <a:gd name="T19" fmla="*/ 166 h 264"/>
                <a:gd name="T20" fmla="*/ 21 w 647"/>
                <a:gd name="T21" fmla="*/ 179 h 264"/>
                <a:gd name="T22" fmla="*/ 35 w 647"/>
                <a:gd name="T23" fmla="*/ 190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0 h 264"/>
                <a:gd name="T32" fmla="*/ 437 w 647"/>
                <a:gd name="T33" fmla="*/ 238 h 264"/>
                <a:gd name="T34" fmla="*/ 459 w 647"/>
                <a:gd name="T35" fmla="*/ 252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1 h 264"/>
                <a:gd name="T42" fmla="*/ 566 w 647"/>
                <a:gd name="T43" fmla="*/ 253 h 264"/>
                <a:gd name="T44" fmla="*/ 588 w 647"/>
                <a:gd name="T45" fmla="*/ 242 h 264"/>
                <a:gd name="T46" fmla="*/ 607 w 647"/>
                <a:gd name="T47" fmla="*/ 224 h 264"/>
                <a:gd name="T48" fmla="*/ 624 w 647"/>
                <a:gd name="T49" fmla="*/ 205 h 264"/>
                <a:gd name="T50" fmla="*/ 636 w 647"/>
                <a:gd name="T51" fmla="*/ 183 h 264"/>
                <a:gd name="T52" fmla="*/ 644 w 647"/>
                <a:gd name="T53" fmla="*/ 158 h 264"/>
                <a:gd name="T54" fmla="*/ 647 w 647"/>
                <a:gd name="T55" fmla="*/ 131 h 264"/>
                <a:gd name="T56" fmla="*/ 644 w 647"/>
                <a:gd name="T57" fmla="*/ 104 h 264"/>
                <a:gd name="T58" fmla="*/ 636 w 647"/>
                <a:gd name="T59" fmla="*/ 80 h 264"/>
                <a:gd name="T60" fmla="*/ 624 w 647"/>
                <a:gd name="T61" fmla="*/ 57 h 264"/>
                <a:gd name="T62" fmla="*/ 607 w 647"/>
                <a:gd name="T63" fmla="*/ 38 h 264"/>
                <a:gd name="T64" fmla="*/ 588 w 647"/>
                <a:gd name="T65" fmla="*/ 22 h 264"/>
                <a:gd name="T66" fmla="*/ 566 w 647"/>
                <a:gd name="T67" fmla="*/ 9 h 264"/>
                <a:gd name="T68" fmla="*/ 541 w 647"/>
                <a:gd name="T69" fmla="*/ 2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1 h 264"/>
                <a:gd name="T76" fmla="*/ 437 w 647"/>
                <a:gd name="T77" fmla="*/ 24 h 264"/>
                <a:gd name="T78" fmla="*/ 416 w 647"/>
                <a:gd name="T79" fmla="*/ 42 h 264"/>
                <a:gd name="T80" fmla="*/ 400 w 647"/>
                <a:gd name="T81" fmla="*/ 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4"/>
                  </a:moveTo>
                  <a:lnTo>
                    <a:pt x="68" y="64"/>
                  </a:lnTo>
                  <a:lnTo>
                    <a:pt x="51" y="67"/>
                  </a:lnTo>
                  <a:lnTo>
                    <a:pt x="35" y="73"/>
                  </a:lnTo>
                  <a:lnTo>
                    <a:pt x="21" y="84"/>
                  </a:lnTo>
                  <a:lnTo>
                    <a:pt x="10" y="97"/>
                  </a:lnTo>
                  <a:lnTo>
                    <a:pt x="4" y="114"/>
                  </a:lnTo>
                  <a:lnTo>
                    <a:pt x="0" y="131"/>
                  </a:lnTo>
                  <a:lnTo>
                    <a:pt x="4" y="149"/>
                  </a:lnTo>
                  <a:lnTo>
                    <a:pt x="10" y="166"/>
                  </a:lnTo>
                  <a:lnTo>
                    <a:pt x="21" y="179"/>
                  </a:lnTo>
                  <a:lnTo>
                    <a:pt x="35" y="190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0"/>
                  </a:lnTo>
                  <a:lnTo>
                    <a:pt x="437" y="238"/>
                  </a:lnTo>
                  <a:lnTo>
                    <a:pt x="459" y="252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1"/>
                  </a:lnTo>
                  <a:lnTo>
                    <a:pt x="566" y="253"/>
                  </a:lnTo>
                  <a:lnTo>
                    <a:pt x="588" y="242"/>
                  </a:lnTo>
                  <a:lnTo>
                    <a:pt x="607" y="224"/>
                  </a:lnTo>
                  <a:lnTo>
                    <a:pt x="624" y="205"/>
                  </a:lnTo>
                  <a:lnTo>
                    <a:pt x="636" y="183"/>
                  </a:lnTo>
                  <a:lnTo>
                    <a:pt x="644" y="158"/>
                  </a:lnTo>
                  <a:lnTo>
                    <a:pt x="647" y="131"/>
                  </a:lnTo>
                  <a:lnTo>
                    <a:pt x="644" y="104"/>
                  </a:lnTo>
                  <a:lnTo>
                    <a:pt x="636" y="80"/>
                  </a:lnTo>
                  <a:lnTo>
                    <a:pt x="624" y="57"/>
                  </a:lnTo>
                  <a:lnTo>
                    <a:pt x="607" y="38"/>
                  </a:lnTo>
                  <a:lnTo>
                    <a:pt x="588" y="22"/>
                  </a:lnTo>
                  <a:lnTo>
                    <a:pt x="566" y="9"/>
                  </a:lnTo>
                  <a:lnTo>
                    <a:pt x="541" y="2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1"/>
                  </a:lnTo>
                  <a:lnTo>
                    <a:pt x="437" y="24"/>
                  </a:lnTo>
                  <a:lnTo>
                    <a:pt x="416" y="42"/>
                  </a:lnTo>
                  <a:lnTo>
                    <a:pt x="400" y="6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8" name="Freeform 11"/>
            <p:cNvSpPr>
              <a:spLocks/>
            </p:cNvSpPr>
            <p:nvPr/>
          </p:nvSpPr>
          <p:spPr bwMode="auto">
            <a:xfrm>
              <a:off x="-413" y="2145"/>
              <a:ext cx="72" cy="30"/>
            </a:xfrm>
            <a:custGeom>
              <a:avLst/>
              <a:gdLst>
                <a:gd name="T0" fmla="*/ 400 w 647"/>
                <a:gd name="T1" fmla="*/ 66 h 265"/>
                <a:gd name="T2" fmla="*/ 68 w 647"/>
                <a:gd name="T3" fmla="*/ 66 h 265"/>
                <a:gd name="T4" fmla="*/ 51 w 647"/>
                <a:gd name="T5" fmla="*/ 68 h 265"/>
                <a:gd name="T6" fmla="*/ 35 w 647"/>
                <a:gd name="T7" fmla="*/ 74 h 265"/>
                <a:gd name="T8" fmla="*/ 21 w 647"/>
                <a:gd name="T9" fmla="*/ 85 h 265"/>
                <a:gd name="T10" fmla="*/ 10 w 647"/>
                <a:gd name="T11" fmla="*/ 99 h 265"/>
                <a:gd name="T12" fmla="*/ 4 w 647"/>
                <a:gd name="T13" fmla="*/ 115 h 265"/>
                <a:gd name="T14" fmla="*/ 0 w 647"/>
                <a:gd name="T15" fmla="*/ 132 h 265"/>
                <a:gd name="T16" fmla="*/ 4 w 647"/>
                <a:gd name="T17" fmla="*/ 151 h 265"/>
                <a:gd name="T18" fmla="*/ 10 w 647"/>
                <a:gd name="T19" fmla="*/ 167 h 265"/>
                <a:gd name="T20" fmla="*/ 21 w 647"/>
                <a:gd name="T21" fmla="*/ 181 h 265"/>
                <a:gd name="T22" fmla="*/ 35 w 647"/>
                <a:gd name="T23" fmla="*/ 191 h 265"/>
                <a:gd name="T24" fmla="*/ 51 w 647"/>
                <a:gd name="T25" fmla="*/ 198 h 265"/>
                <a:gd name="T26" fmla="*/ 68 w 647"/>
                <a:gd name="T27" fmla="*/ 200 h 265"/>
                <a:gd name="T28" fmla="*/ 400 w 647"/>
                <a:gd name="T29" fmla="*/ 200 h 265"/>
                <a:gd name="T30" fmla="*/ 416 w 647"/>
                <a:gd name="T31" fmla="*/ 222 h 265"/>
                <a:gd name="T32" fmla="*/ 437 w 647"/>
                <a:gd name="T33" fmla="*/ 240 h 265"/>
                <a:gd name="T34" fmla="*/ 460 w 647"/>
                <a:gd name="T35" fmla="*/ 253 h 265"/>
                <a:gd name="T36" fmla="*/ 486 w 647"/>
                <a:gd name="T37" fmla="*/ 262 h 265"/>
                <a:gd name="T38" fmla="*/ 514 w 647"/>
                <a:gd name="T39" fmla="*/ 265 h 265"/>
                <a:gd name="T40" fmla="*/ 541 w 647"/>
                <a:gd name="T41" fmla="*/ 263 h 265"/>
                <a:gd name="T42" fmla="*/ 566 w 647"/>
                <a:gd name="T43" fmla="*/ 255 h 265"/>
                <a:gd name="T44" fmla="*/ 588 w 647"/>
                <a:gd name="T45" fmla="*/ 242 h 265"/>
                <a:gd name="T46" fmla="*/ 607 w 647"/>
                <a:gd name="T47" fmla="*/ 226 h 265"/>
                <a:gd name="T48" fmla="*/ 624 w 647"/>
                <a:gd name="T49" fmla="*/ 207 h 265"/>
                <a:gd name="T50" fmla="*/ 636 w 647"/>
                <a:gd name="T51" fmla="*/ 184 h 265"/>
                <a:gd name="T52" fmla="*/ 644 w 647"/>
                <a:gd name="T53" fmla="*/ 160 h 265"/>
                <a:gd name="T54" fmla="*/ 647 w 647"/>
                <a:gd name="T55" fmla="*/ 132 h 265"/>
                <a:gd name="T56" fmla="*/ 644 w 647"/>
                <a:gd name="T57" fmla="*/ 106 h 265"/>
                <a:gd name="T58" fmla="*/ 636 w 647"/>
                <a:gd name="T59" fmla="*/ 82 h 265"/>
                <a:gd name="T60" fmla="*/ 624 w 647"/>
                <a:gd name="T61" fmla="*/ 59 h 265"/>
                <a:gd name="T62" fmla="*/ 607 w 647"/>
                <a:gd name="T63" fmla="*/ 40 h 265"/>
                <a:gd name="T64" fmla="*/ 588 w 647"/>
                <a:gd name="T65" fmla="*/ 24 h 265"/>
                <a:gd name="T66" fmla="*/ 566 w 647"/>
                <a:gd name="T67" fmla="*/ 11 h 265"/>
                <a:gd name="T68" fmla="*/ 541 w 647"/>
                <a:gd name="T69" fmla="*/ 3 h 265"/>
                <a:gd name="T70" fmla="*/ 514 w 647"/>
                <a:gd name="T71" fmla="*/ 0 h 265"/>
                <a:gd name="T72" fmla="*/ 486 w 647"/>
                <a:gd name="T73" fmla="*/ 3 h 265"/>
                <a:gd name="T74" fmla="*/ 460 w 647"/>
                <a:gd name="T75" fmla="*/ 12 h 265"/>
                <a:gd name="T76" fmla="*/ 437 w 647"/>
                <a:gd name="T77" fmla="*/ 26 h 265"/>
                <a:gd name="T78" fmla="*/ 416 w 647"/>
                <a:gd name="T79" fmla="*/ 44 h 265"/>
                <a:gd name="T80" fmla="*/ 400 w 647"/>
                <a:gd name="T81" fmla="*/ 66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5">
                  <a:moveTo>
                    <a:pt x="400" y="66"/>
                  </a:moveTo>
                  <a:lnTo>
                    <a:pt x="68" y="66"/>
                  </a:lnTo>
                  <a:lnTo>
                    <a:pt x="51" y="68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9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1"/>
                  </a:lnTo>
                  <a:lnTo>
                    <a:pt x="10" y="167"/>
                  </a:lnTo>
                  <a:lnTo>
                    <a:pt x="21" y="181"/>
                  </a:lnTo>
                  <a:lnTo>
                    <a:pt x="35" y="191"/>
                  </a:lnTo>
                  <a:lnTo>
                    <a:pt x="51" y="198"/>
                  </a:lnTo>
                  <a:lnTo>
                    <a:pt x="68" y="200"/>
                  </a:lnTo>
                  <a:lnTo>
                    <a:pt x="400" y="200"/>
                  </a:lnTo>
                  <a:lnTo>
                    <a:pt x="416" y="222"/>
                  </a:lnTo>
                  <a:lnTo>
                    <a:pt x="437" y="240"/>
                  </a:lnTo>
                  <a:lnTo>
                    <a:pt x="460" y="253"/>
                  </a:lnTo>
                  <a:lnTo>
                    <a:pt x="486" y="262"/>
                  </a:lnTo>
                  <a:lnTo>
                    <a:pt x="514" y="265"/>
                  </a:lnTo>
                  <a:lnTo>
                    <a:pt x="541" y="263"/>
                  </a:lnTo>
                  <a:lnTo>
                    <a:pt x="566" y="255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2"/>
                  </a:lnTo>
                  <a:lnTo>
                    <a:pt x="644" y="106"/>
                  </a:lnTo>
                  <a:lnTo>
                    <a:pt x="636" y="82"/>
                  </a:lnTo>
                  <a:lnTo>
                    <a:pt x="624" y="59"/>
                  </a:lnTo>
                  <a:lnTo>
                    <a:pt x="607" y="40"/>
                  </a:lnTo>
                  <a:lnTo>
                    <a:pt x="588" y="24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60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9" name="Freeform 12"/>
            <p:cNvSpPr>
              <a:spLocks/>
            </p:cNvSpPr>
            <p:nvPr/>
          </p:nvSpPr>
          <p:spPr bwMode="auto">
            <a:xfrm>
              <a:off x="-413" y="2073"/>
              <a:ext cx="72" cy="29"/>
            </a:xfrm>
            <a:custGeom>
              <a:avLst/>
              <a:gdLst>
                <a:gd name="T0" fmla="*/ 400 w 647"/>
                <a:gd name="T1" fmla="*/ 65 h 264"/>
                <a:gd name="T2" fmla="*/ 68 w 647"/>
                <a:gd name="T3" fmla="*/ 65 h 264"/>
                <a:gd name="T4" fmla="*/ 51 w 647"/>
                <a:gd name="T5" fmla="*/ 67 h 264"/>
                <a:gd name="T6" fmla="*/ 35 w 647"/>
                <a:gd name="T7" fmla="*/ 74 h 264"/>
                <a:gd name="T8" fmla="*/ 21 w 647"/>
                <a:gd name="T9" fmla="*/ 85 h 264"/>
                <a:gd name="T10" fmla="*/ 10 w 647"/>
                <a:gd name="T11" fmla="*/ 98 h 264"/>
                <a:gd name="T12" fmla="*/ 4 w 647"/>
                <a:gd name="T13" fmla="*/ 115 h 264"/>
                <a:gd name="T14" fmla="*/ 0 w 647"/>
                <a:gd name="T15" fmla="*/ 132 h 264"/>
                <a:gd name="T16" fmla="*/ 4 w 647"/>
                <a:gd name="T17" fmla="*/ 150 h 264"/>
                <a:gd name="T18" fmla="*/ 10 w 647"/>
                <a:gd name="T19" fmla="*/ 166 h 264"/>
                <a:gd name="T20" fmla="*/ 21 w 647"/>
                <a:gd name="T21" fmla="*/ 180 h 264"/>
                <a:gd name="T22" fmla="*/ 35 w 647"/>
                <a:gd name="T23" fmla="*/ 191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2 h 264"/>
                <a:gd name="T32" fmla="*/ 437 w 647"/>
                <a:gd name="T33" fmla="*/ 239 h 264"/>
                <a:gd name="T34" fmla="*/ 459 w 647"/>
                <a:gd name="T35" fmla="*/ 253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2 h 264"/>
                <a:gd name="T42" fmla="*/ 566 w 647"/>
                <a:gd name="T43" fmla="*/ 254 h 264"/>
                <a:gd name="T44" fmla="*/ 588 w 647"/>
                <a:gd name="T45" fmla="*/ 242 h 264"/>
                <a:gd name="T46" fmla="*/ 607 w 647"/>
                <a:gd name="T47" fmla="*/ 226 h 264"/>
                <a:gd name="T48" fmla="*/ 624 w 647"/>
                <a:gd name="T49" fmla="*/ 207 h 264"/>
                <a:gd name="T50" fmla="*/ 636 w 647"/>
                <a:gd name="T51" fmla="*/ 184 h 264"/>
                <a:gd name="T52" fmla="*/ 644 w 647"/>
                <a:gd name="T53" fmla="*/ 160 h 264"/>
                <a:gd name="T54" fmla="*/ 647 w 647"/>
                <a:gd name="T55" fmla="*/ 133 h 264"/>
                <a:gd name="T56" fmla="*/ 644 w 647"/>
                <a:gd name="T57" fmla="*/ 106 h 264"/>
                <a:gd name="T58" fmla="*/ 636 w 647"/>
                <a:gd name="T59" fmla="*/ 81 h 264"/>
                <a:gd name="T60" fmla="*/ 624 w 647"/>
                <a:gd name="T61" fmla="*/ 59 h 264"/>
                <a:gd name="T62" fmla="*/ 607 w 647"/>
                <a:gd name="T63" fmla="*/ 39 h 264"/>
                <a:gd name="T64" fmla="*/ 588 w 647"/>
                <a:gd name="T65" fmla="*/ 22 h 264"/>
                <a:gd name="T66" fmla="*/ 566 w 647"/>
                <a:gd name="T67" fmla="*/ 11 h 264"/>
                <a:gd name="T68" fmla="*/ 541 w 647"/>
                <a:gd name="T69" fmla="*/ 3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2 h 264"/>
                <a:gd name="T76" fmla="*/ 437 w 647"/>
                <a:gd name="T77" fmla="*/ 26 h 264"/>
                <a:gd name="T78" fmla="*/ 416 w 647"/>
                <a:gd name="T79" fmla="*/ 44 h 264"/>
                <a:gd name="T80" fmla="*/ 400 w 647"/>
                <a:gd name="T81" fmla="*/ 65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5"/>
                  </a:moveTo>
                  <a:lnTo>
                    <a:pt x="68" y="65"/>
                  </a:lnTo>
                  <a:lnTo>
                    <a:pt x="51" y="67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8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0"/>
                  </a:lnTo>
                  <a:lnTo>
                    <a:pt x="10" y="166"/>
                  </a:lnTo>
                  <a:lnTo>
                    <a:pt x="21" y="180"/>
                  </a:lnTo>
                  <a:lnTo>
                    <a:pt x="35" y="191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2"/>
                  </a:lnTo>
                  <a:lnTo>
                    <a:pt x="437" y="239"/>
                  </a:lnTo>
                  <a:lnTo>
                    <a:pt x="459" y="253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2"/>
                  </a:lnTo>
                  <a:lnTo>
                    <a:pt x="566" y="254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3"/>
                  </a:lnTo>
                  <a:lnTo>
                    <a:pt x="644" y="106"/>
                  </a:lnTo>
                  <a:lnTo>
                    <a:pt x="636" y="81"/>
                  </a:lnTo>
                  <a:lnTo>
                    <a:pt x="624" y="59"/>
                  </a:lnTo>
                  <a:lnTo>
                    <a:pt x="607" y="39"/>
                  </a:lnTo>
                  <a:lnTo>
                    <a:pt x="588" y="22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0" name="Freeform 13"/>
            <p:cNvSpPr>
              <a:spLocks/>
            </p:cNvSpPr>
            <p:nvPr/>
          </p:nvSpPr>
          <p:spPr bwMode="auto">
            <a:xfrm>
              <a:off x="-118" y="2110"/>
              <a:ext cx="91" cy="90"/>
            </a:xfrm>
            <a:custGeom>
              <a:avLst/>
              <a:gdLst>
                <a:gd name="T0" fmla="*/ 537 w 816"/>
                <a:gd name="T1" fmla="*/ 547 h 805"/>
                <a:gd name="T2" fmla="*/ 497 w 816"/>
                <a:gd name="T3" fmla="*/ 587 h 805"/>
                <a:gd name="T4" fmla="*/ 468 w 816"/>
                <a:gd name="T5" fmla="*/ 616 h 805"/>
                <a:gd name="T6" fmla="*/ 447 w 816"/>
                <a:gd name="T7" fmla="*/ 636 h 805"/>
                <a:gd name="T8" fmla="*/ 433 w 816"/>
                <a:gd name="T9" fmla="*/ 650 h 805"/>
                <a:gd name="T10" fmla="*/ 421 w 816"/>
                <a:gd name="T11" fmla="*/ 662 h 805"/>
                <a:gd name="T12" fmla="*/ 410 w 816"/>
                <a:gd name="T13" fmla="*/ 673 h 805"/>
                <a:gd name="T14" fmla="*/ 395 w 816"/>
                <a:gd name="T15" fmla="*/ 688 h 805"/>
                <a:gd name="T16" fmla="*/ 374 w 816"/>
                <a:gd name="T17" fmla="*/ 708 h 805"/>
                <a:gd name="T18" fmla="*/ 345 w 816"/>
                <a:gd name="T19" fmla="*/ 737 h 805"/>
                <a:gd name="T20" fmla="*/ 303 w 816"/>
                <a:gd name="T21" fmla="*/ 779 h 805"/>
                <a:gd name="T22" fmla="*/ 208 w 816"/>
                <a:gd name="T23" fmla="*/ 736 h 805"/>
                <a:gd name="T24" fmla="*/ 68 w 816"/>
                <a:gd name="T25" fmla="*/ 607 h 805"/>
                <a:gd name="T26" fmla="*/ 0 w 816"/>
                <a:gd name="T27" fmla="*/ 538 h 805"/>
                <a:gd name="T28" fmla="*/ 2 w 816"/>
                <a:gd name="T29" fmla="*/ 535 h 805"/>
                <a:gd name="T30" fmla="*/ 37 w 816"/>
                <a:gd name="T31" fmla="*/ 499 h 805"/>
                <a:gd name="T32" fmla="*/ 92 w 816"/>
                <a:gd name="T33" fmla="*/ 446 h 805"/>
                <a:gd name="T34" fmla="*/ 135 w 816"/>
                <a:gd name="T35" fmla="*/ 403 h 805"/>
                <a:gd name="T36" fmla="*/ 169 w 816"/>
                <a:gd name="T37" fmla="*/ 369 h 805"/>
                <a:gd name="T38" fmla="*/ 197 w 816"/>
                <a:gd name="T39" fmla="*/ 341 h 805"/>
                <a:gd name="T40" fmla="*/ 223 w 816"/>
                <a:gd name="T41" fmla="*/ 315 h 805"/>
                <a:gd name="T42" fmla="*/ 248 w 816"/>
                <a:gd name="T43" fmla="*/ 291 h 805"/>
                <a:gd name="T44" fmla="*/ 277 w 816"/>
                <a:gd name="T45" fmla="*/ 263 h 805"/>
                <a:gd name="T46" fmla="*/ 312 w 816"/>
                <a:gd name="T47" fmla="*/ 228 h 805"/>
                <a:gd name="T48" fmla="*/ 356 w 816"/>
                <a:gd name="T49" fmla="*/ 187 h 805"/>
                <a:gd name="T50" fmla="*/ 411 w 816"/>
                <a:gd name="T51" fmla="*/ 133 h 805"/>
                <a:gd name="T52" fmla="*/ 473 w 816"/>
                <a:gd name="T53" fmla="*/ 75 h 805"/>
                <a:gd name="T54" fmla="*/ 540 w 816"/>
                <a:gd name="T55" fmla="*/ 31 h 805"/>
                <a:gd name="T56" fmla="*/ 602 w 816"/>
                <a:gd name="T57" fmla="*/ 4 h 805"/>
                <a:gd name="T58" fmla="*/ 657 w 816"/>
                <a:gd name="T59" fmla="*/ 1 h 805"/>
                <a:gd name="T60" fmla="*/ 709 w 816"/>
                <a:gd name="T61" fmla="*/ 22 h 805"/>
                <a:gd name="T62" fmla="*/ 759 w 816"/>
                <a:gd name="T63" fmla="*/ 60 h 805"/>
                <a:gd name="T64" fmla="*/ 796 w 816"/>
                <a:gd name="T65" fmla="*/ 108 h 805"/>
                <a:gd name="T66" fmla="*/ 815 w 816"/>
                <a:gd name="T67" fmla="*/ 161 h 805"/>
                <a:gd name="T68" fmla="*/ 810 w 816"/>
                <a:gd name="T69" fmla="*/ 217 h 805"/>
                <a:gd name="T70" fmla="*/ 773 w 816"/>
                <a:gd name="T71" fmla="*/ 283 h 805"/>
                <a:gd name="T72" fmla="*/ 717 w 816"/>
                <a:gd name="T73" fmla="*/ 354 h 805"/>
                <a:gd name="T74" fmla="*/ 681 w 816"/>
                <a:gd name="T75" fmla="*/ 398 h 805"/>
                <a:gd name="T76" fmla="*/ 656 w 816"/>
                <a:gd name="T77" fmla="*/ 424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6" h="805">
                  <a:moveTo>
                    <a:pt x="563" y="521"/>
                  </a:moveTo>
                  <a:lnTo>
                    <a:pt x="537" y="547"/>
                  </a:lnTo>
                  <a:lnTo>
                    <a:pt x="516" y="569"/>
                  </a:lnTo>
                  <a:lnTo>
                    <a:pt x="497" y="587"/>
                  </a:lnTo>
                  <a:lnTo>
                    <a:pt x="482" y="603"/>
                  </a:lnTo>
                  <a:lnTo>
                    <a:pt x="468" y="616"/>
                  </a:lnTo>
                  <a:lnTo>
                    <a:pt x="457" y="627"/>
                  </a:lnTo>
                  <a:lnTo>
                    <a:pt x="447" y="636"/>
                  </a:lnTo>
                  <a:lnTo>
                    <a:pt x="440" y="644"/>
                  </a:lnTo>
                  <a:lnTo>
                    <a:pt x="433" y="650"/>
                  </a:lnTo>
                  <a:lnTo>
                    <a:pt x="427" y="657"/>
                  </a:lnTo>
                  <a:lnTo>
                    <a:pt x="421" y="662"/>
                  </a:lnTo>
                  <a:lnTo>
                    <a:pt x="416" y="668"/>
                  </a:lnTo>
                  <a:lnTo>
                    <a:pt x="410" y="673"/>
                  </a:lnTo>
                  <a:lnTo>
                    <a:pt x="403" y="679"/>
                  </a:lnTo>
                  <a:lnTo>
                    <a:pt x="395" y="688"/>
                  </a:lnTo>
                  <a:lnTo>
                    <a:pt x="386" y="696"/>
                  </a:lnTo>
                  <a:lnTo>
                    <a:pt x="374" y="708"/>
                  </a:lnTo>
                  <a:lnTo>
                    <a:pt x="361" y="721"/>
                  </a:lnTo>
                  <a:lnTo>
                    <a:pt x="345" y="737"/>
                  </a:lnTo>
                  <a:lnTo>
                    <a:pt x="326" y="756"/>
                  </a:lnTo>
                  <a:lnTo>
                    <a:pt x="303" y="779"/>
                  </a:lnTo>
                  <a:lnTo>
                    <a:pt x="277" y="805"/>
                  </a:lnTo>
                  <a:lnTo>
                    <a:pt x="208" y="736"/>
                  </a:lnTo>
                  <a:lnTo>
                    <a:pt x="138" y="671"/>
                  </a:lnTo>
                  <a:lnTo>
                    <a:pt x="68" y="607"/>
                  </a:lnTo>
                  <a:lnTo>
                    <a:pt x="0" y="539"/>
                  </a:lnTo>
                  <a:lnTo>
                    <a:pt x="0" y="538"/>
                  </a:lnTo>
                  <a:lnTo>
                    <a:pt x="1" y="537"/>
                  </a:lnTo>
                  <a:lnTo>
                    <a:pt x="2" y="535"/>
                  </a:lnTo>
                  <a:lnTo>
                    <a:pt x="3" y="533"/>
                  </a:lnTo>
                  <a:lnTo>
                    <a:pt x="37" y="499"/>
                  </a:lnTo>
                  <a:lnTo>
                    <a:pt x="66" y="472"/>
                  </a:lnTo>
                  <a:lnTo>
                    <a:pt x="92" y="446"/>
                  </a:lnTo>
                  <a:lnTo>
                    <a:pt x="114" y="423"/>
                  </a:lnTo>
                  <a:lnTo>
                    <a:pt x="135" y="403"/>
                  </a:lnTo>
                  <a:lnTo>
                    <a:pt x="152" y="385"/>
                  </a:lnTo>
                  <a:lnTo>
                    <a:pt x="169" y="369"/>
                  </a:lnTo>
                  <a:lnTo>
                    <a:pt x="183" y="355"/>
                  </a:lnTo>
                  <a:lnTo>
                    <a:pt x="197" y="341"/>
                  </a:lnTo>
                  <a:lnTo>
                    <a:pt x="210" y="328"/>
                  </a:lnTo>
                  <a:lnTo>
                    <a:pt x="223" y="315"/>
                  </a:lnTo>
                  <a:lnTo>
                    <a:pt x="236" y="303"/>
                  </a:lnTo>
                  <a:lnTo>
                    <a:pt x="248" y="291"/>
                  </a:lnTo>
                  <a:lnTo>
                    <a:pt x="262" y="277"/>
                  </a:lnTo>
                  <a:lnTo>
                    <a:pt x="277" y="263"/>
                  </a:lnTo>
                  <a:lnTo>
                    <a:pt x="294" y="247"/>
                  </a:lnTo>
                  <a:lnTo>
                    <a:pt x="312" y="228"/>
                  </a:lnTo>
                  <a:lnTo>
                    <a:pt x="332" y="209"/>
                  </a:lnTo>
                  <a:lnTo>
                    <a:pt x="356" y="187"/>
                  </a:lnTo>
                  <a:lnTo>
                    <a:pt x="382" y="161"/>
                  </a:lnTo>
                  <a:lnTo>
                    <a:pt x="411" y="133"/>
                  </a:lnTo>
                  <a:lnTo>
                    <a:pt x="443" y="101"/>
                  </a:lnTo>
                  <a:lnTo>
                    <a:pt x="473" y="75"/>
                  </a:lnTo>
                  <a:lnTo>
                    <a:pt x="505" y="52"/>
                  </a:lnTo>
                  <a:lnTo>
                    <a:pt x="540" y="31"/>
                  </a:lnTo>
                  <a:lnTo>
                    <a:pt x="574" y="14"/>
                  </a:lnTo>
                  <a:lnTo>
                    <a:pt x="602" y="4"/>
                  </a:lnTo>
                  <a:lnTo>
                    <a:pt x="630" y="0"/>
                  </a:lnTo>
                  <a:lnTo>
                    <a:pt x="657" y="1"/>
                  </a:lnTo>
                  <a:lnTo>
                    <a:pt x="684" y="9"/>
                  </a:lnTo>
                  <a:lnTo>
                    <a:pt x="709" y="22"/>
                  </a:lnTo>
                  <a:lnTo>
                    <a:pt x="734" y="39"/>
                  </a:lnTo>
                  <a:lnTo>
                    <a:pt x="759" y="60"/>
                  </a:lnTo>
                  <a:lnTo>
                    <a:pt x="780" y="84"/>
                  </a:lnTo>
                  <a:lnTo>
                    <a:pt x="796" y="108"/>
                  </a:lnTo>
                  <a:lnTo>
                    <a:pt x="808" y="134"/>
                  </a:lnTo>
                  <a:lnTo>
                    <a:pt x="815" y="161"/>
                  </a:lnTo>
                  <a:lnTo>
                    <a:pt x="816" y="188"/>
                  </a:lnTo>
                  <a:lnTo>
                    <a:pt x="810" y="217"/>
                  </a:lnTo>
                  <a:lnTo>
                    <a:pt x="798" y="246"/>
                  </a:lnTo>
                  <a:lnTo>
                    <a:pt x="773" y="283"/>
                  </a:lnTo>
                  <a:lnTo>
                    <a:pt x="746" y="319"/>
                  </a:lnTo>
                  <a:lnTo>
                    <a:pt x="717" y="354"/>
                  </a:lnTo>
                  <a:lnTo>
                    <a:pt x="689" y="389"/>
                  </a:lnTo>
                  <a:lnTo>
                    <a:pt x="681" y="398"/>
                  </a:lnTo>
                  <a:lnTo>
                    <a:pt x="674" y="407"/>
                  </a:lnTo>
                  <a:lnTo>
                    <a:pt x="656" y="424"/>
                  </a:lnTo>
                  <a:lnTo>
                    <a:pt x="563" y="5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1" name="Freeform 14"/>
            <p:cNvSpPr>
              <a:spLocks/>
            </p:cNvSpPr>
            <p:nvPr/>
          </p:nvSpPr>
          <p:spPr bwMode="auto">
            <a:xfrm>
              <a:off x="-89" y="2158"/>
              <a:ext cx="69" cy="70"/>
            </a:xfrm>
            <a:custGeom>
              <a:avLst/>
              <a:gdLst>
                <a:gd name="T0" fmla="*/ 606 w 629"/>
                <a:gd name="T1" fmla="*/ 105 h 630"/>
                <a:gd name="T2" fmla="*/ 517 w 629"/>
                <a:gd name="T3" fmla="*/ 196 h 630"/>
                <a:gd name="T4" fmla="*/ 427 w 629"/>
                <a:gd name="T5" fmla="*/ 286 h 630"/>
                <a:gd name="T6" fmla="*/ 106 w 629"/>
                <a:gd name="T7" fmla="*/ 605 h 630"/>
                <a:gd name="T8" fmla="*/ 94 w 629"/>
                <a:gd name="T9" fmla="*/ 618 h 630"/>
                <a:gd name="T10" fmla="*/ 78 w 629"/>
                <a:gd name="T11" fmla="*/ 625 h 630"/>
                <a:gd name="T12" fmla="*/ 63 w 629"/>
                <a:gd name="T13" fmla="*/ 630 h 630"/>
                <a:gd name="T14" fmla="*/ 47 w 629"/>
                <a:gd name="T15" fmla="*/ 630 h 630"/>
                <a:gd name="T16" fmla="*/ 30 w 629"/>
                <a:gd name="T17" fmla="*/ 622 h 630"/>
                <a:gd name="T18" fmla="*/ 16 w 629"/>
                <a:gd name="T19" fmla="*/ 613 h 630"/>
                <a:gd name="T20" fmla="*/ 6 w 629"/>
                <a:gd name="T21" fmla="*/ 601 h 630"/>
                <a:gd name="T22" fmla="*/ 1 w 629"/>
                <a:gd name="T23" fmla="*/ 588 h 630"/>
                <a:gd name="T24" fmla="*/ 0 w 629"/>
                <a:gd name="T25" fmla="*/ 573 h 630"/>
                <a:gd name="T26" fmla="*/ 3 w 629"/>
                <a:gd name="T27" fmla="*/ 557 h 630"/>
                <a:gd name="T28" fmla="*/ 10 w 629"/>
                <a:gd name="T29" fmla="*/ 543 h 630"/>
                <a:gd name="T30" fmla="*/ 20 w 629"/>
                <a:gd name="T31" fmla="*/ 530 h 630"/>
                <a:gd name="T32" fmla="*/ 32 w 629"/>
                <a:gd name="T33" fmla="*/ 517 h 630"/>
                <a:gd name="T34" fmla="*/ 48 w 629"/>
                <a:gd name="T35" fmla="*/ 501 h 630"/>
                <a:gd name="T36" fmla="*/ 68 w 629"/>
                <a:gd name="T37" fmla="*/ 482 h 630"/>
                <a:gd name="T38" fmla="*/ 88 w 629"/>
                <a:gd name="T39" fmla="*/ 461 h 630"/>
                <a:gd name="T40" fmla="*/ 112 w 629"/>
                <a:gd name="T41" fmla="*/ 438 h 630"/>
                <a:gd name="T42" fmla="*/ 136 w 629"/>
                <a:gd name="T43" fmla="*/ 413 h 630"/>
                <a:gd name="T44" fmla="*/ 162 w 629"/>
                <a:gd name="T45" fmla="*/ 387 h 630"/>
                <a:gd name="T46" fmla="*/ 189 w 629"/>
                <a:gd name="T47" fmla="*/ 360 h 630"/>
                <a:gd name="T48" fmla="*/ 217 w 629"/>
                <a:gd name="T49" fmla="*/ 332 h 630"/>
                <a:gd name="T50" fmla="*/ 246 w 629"/>
                <a:gd name="T51" fmla="*/ 303 h 630"/>
                <a:gd name="T52" fmla="*/ 275 w 629"/>
                <a:gd name="T53" fmla="*/ 274 h 630"/>
                <a:gd name="T54" fmla="*/ 303 w 629"/>
                <a:gd name="T55" fmla="*/ 246 h 630"/>
                <a:gd name="T56" fmla="*/ 331 w 629"/>
                <a:gd name="T57" fmla="*/ 217 h 630"/>
                <a:gd name="T58" fmla="*/ 359 w 629"/>
                <a:gd name="T59" fmla="*/ 191 h 630"/>
                <a:gd name="T60" fmla="*/ 385 w 629"/>
                <a:gd name="T61" fmla="*/ 164 h 630"/>
                <a:gd name="T62" fmla="*/ 409 w 629"/>
                <a:gd name="T63" fmla="*/ 139 h 630"/>
                <a:gd name="T64" fmla="*/ 433 w 629"/>
                <a:gd name="T65" fmla="*/ 116 h 630"/>
                <a:gd name="T66" fmla="*/ 455 w 629"/>
                <a:gd name="T67" fmla="*/ 94 h 630"/>
                <a:gd name="T68" fmla="*/ 474 w 629"/>
                <a:gd name="T69" fmla="*/ 75 h 630"/>
                <a:gd name="T70" fmla="*/ 491 w 629"/>
                <a:gd name="T71" fmla="*/ 59 h 630"/>
                <a:gd name="T72" fmla="*/ 505 w 629"/>
                <a:gd name="T73" fmla="*/ 45 h 630"/>
                <a:gd name="T74" fmla="*/ 516 w 629"/>
                <a:gd name="T75" fmla="*/ 34 h 630"/>
                <a:gd name="T76" fmla="*/ 523 w 629"/>
                <a:gd name="T77" fmla="*/ 27 h 630"/>
                <a:gd name="T78" fmla="*/ 527 w 629"/>
                <a:gd name="T79" fmla="*/ 22 h 630"/>
                <a:gd name="T80" fmla="*/ 546 w 629"/>
                <a:gd name="T81" fmla="*/ 9 h 630"/>
                <a:gd name="T82" fmla="*/ 564 w 629"/>
                <a:gd name="T83" fmla="*/ 1 h 630"/>
                <a:gd name="T84" fmla="*/ 581 w 629"/>
                <a:gd name="T85" fmla="*/ 0 h 630"/>
                <a:gd name="T86" fmla="*/ 599 w 629"/>
                <a:gd name="T87" fmla="*/ 6 h 630"/>
                <a:gd name="T88" fmla="*/ 615 w 629"/>
                <a:gd name="T89" fmla="*/ 19 h 630"/>
                <a:gd name="T90" fmla="*/ 623 w 629"/>
                <a:gd name="T91" fmla="*/ 31 h 630"/>
                <a:gd name="T92" fmla="*/ 629 w 629"/>
                <a:gd name="T93" fmla="*/ 45 h 630"/>
                <a:gd name="T94" fmla="*/ 629 w 629"/>
                <a:gd name="T95" fmla="*/ 60 h 630"/>
                <a:gd name="T96" fmla="*/ 625 w 629"/>
                <a:gd name="T97" fmla="*/ 75 h 630"/>
                <a:gd name="T98" fmla="*/ 618 w 629"/>
                <a:gd name="T99" fmla="*/ 90 h 630"/>
                <a:gd name="T100" fmla="*/ 606 w 629"/>
                <a:gd name="T101" fmla="*/ 105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9" h="630">
                  <a:moveTo>
                    <a:pt x="606" y="105"/>
                  </a:moveTo>
                  <a:lnTo>
                    <a:pt x="517" y="196"/>
                  </a:lnTo>
                  <a:lnTo>
                    <a:pt x="427" y="286"/>
                  </a:lnTo>
                  <a:lnTo>
                    <a:pt x="106" y="605"/>
                  </a:lnTo>
                  <a:lnTo>
                    <a:pt x="94" y="618"/>
                  </a:lnTo>
                  <a:lnTo>
                    <a:pt x="78" y="625"/>
                  </a:lnTo>
                  <a:lnTo>
                    <a:pt x="63" y="630"/>
                  </a:lnTo>
                  <a:lnTo>
                    <a:pt x="47" y="630"/>
                  </a:lnTo>
                  <a:lnTo>
                    <a:pt x="30" y="622"/>
                  </a:lnTo>
                  <a:lnTo>
                    <a:pt x="16" y="613"/>
                  </a:lnTo>
                  <a:lnTo>
                    <a:pt x="6" y="601"/>
                  </a:lnTo>
                  <a:lnTo>
                    <a:pt x="1" y="588"/>
                  </a:lnTo>
                  <a:lnTo>
                    <a:pt x="0" y="573"/>
                  </a:lnTo>
                  <a:lnTo>
                    <a:pt x="3" y="557"/>
                  </a:lnTo>
                  <a:lnTo>
                    <a:pt x="10" y="543"/>
                  </a:lnTo>
                  <a:lnTo>
                    <a:pt x="20" y="530"/>
                  </a:lnTo>
                  <a:lnTo>
                    <a:pt x="32" y="517"/>
                  </a:lnTo>
                  <a:lnTo>
                    <a:pt x="48" y="501"/>
                  </a:lnTo>
                  <a:lnTo>
                    <a:pt x="68" y="482"/>
                  </a:lnTo>
                  <a:lnTo>
                    <a:pt x="88" y="461"/>
                  </a:lnTo>
                  <a:lnTo>
                    <a:pt x="112" y="438"/>
                  </a:lnTo>
                  <a:lnTo>
                    <a:pt x="136" y="413"/>
                  </a:lnTo>
                  <a:lnTo>
                    <a:pt x="162" y="387"/>
                  </a:lnTo>
                  <a:lnTo>
                    <a:pt x="189" y="360"/>
                  </a:lnTo>
                  <a:lnTo>
                    <a:pt x="217" y="332"/>
                  </a:lnTo>
                  <a:lnTo>
                    <a:pt x="246" y="303"/>
                  </a:lnTo>
                  <a:lnTo>
                    <a:pt x="275" y="274"/>
                  </a:lnTo>
                  <a:lnTo>
                    <a:pt x="303" y="246"/>
                  </a:lnTo>
                  <a:lnTo>
                    <a:pt x="331" y="217"/>
                  </a:lnTo>
                  <a:lnTo>
                    <a:pt x="359" y="191"/>
                  </a:lnTo>
                  <a:lnTo>
                    <a:pt x="385" y="164"/>
                  </a:lnTo>
                  <a:lnTo>
                    <a:pt x="409" y="139"/>
                  </a:lnTo>
                  <a:lnTo>
                    <a:pt x="433" y="116"/>
                  </a:lnTo>
                  <a:lnTo>
                    <a:pt x="455" y="94"/>
                  </a:lnTo>
                  <a:lnTo>
                    <a:pt x="474" y="75"/>
                  </a:lnTo>
                  <a:lnTo>
                    <a:pt x="491" y="59"/>
                  </a:lnTo>
                  <a:lnTo>
                    <a:pt x="505" y="45"/>
                  </a:lnTo>
                  <a:lnTo>
                    <a:pt x="516" y="34"/>
                  </a:lnTo>
                  <a:lnTo>
                    <a:pt x="523" y="27"/>
                  </a:lnTo>
                  <a:lnTo>
                    <a:pt x="527" y="22"/>
                  </a:lnTo>
                  <a:lnTo>
                    <a:pt x="546" y="9"/>
                  </a:lnTo>
                  <a:lnTo>
                    <a:pt x="564" y="1"/>
                  </a:lnTo>
                  <a:lnTo>
                    <a:pt x="581" y="0"/>
                  </a:lnTo>
                  <a:lnTo>
                    <a:pt x="599" y="6"/>
                  </a:lnTo>
                  <a:lnTo>
                    <a:pt x="615" y="19"/>
                  </a:lnTo>
                  <a:lnTo>
                    <a:pt x="623" y="31"/>
                  </a:lnTo>
                  <a:lnTo>
                    <a:pt x="629" y="45"/>
                  </a:lnTo>
                  <a:lnTo>
                    <a:pt x="629" y="60"/>
                  </a:lnTo>
                  <a:lnTo>
                    <a:pt x="625" y="75"/>
                  </a:lnTo>
                  <a:lnTo>
                    <a:pt x="618" y="90"/>
                  </a:lnTo>
                  <a:lnTo>
                    <a:pt x="606" y="1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2" name="Freeform 15"/>
            <p:cNvSpPr>
              <a:spLocks/>
            </p:cNvSpPr>
            <p:nvPr/>
          </p:nvSpPr>
          <p:spPr bwMode="auto">
            <a:xfrm>
              <a:off x="-312" y="2031"/>
              <a:ext cx="180" cy="13"/>
            </a:xfrm>
            <a:custGeom>
              <a:avLst/>
              <a:gdLst>
                <a:gd name="T0" fmla="*/ 1615 w 1615"/>
                <a:gd name="T1" fmla="*/ 61 h 123"/>
                <a:gd name="T2" fmla="*/ 1612 w 1615"/>
                <a:gd name="T3" fmla="*/ 81 h 123"/>
                <a:gd name="T4" fmla="*/ 1603 w 1615"/>
                <a:gd name="T5" fmla="*/ 98 h 123"/>
                <a:gd name="T6" fmla="*/ 1590 w 1615"/>
                <a:gd name="T7" fmla="*/ 111 h 123"/>
                <a:gd name="T8" fmla="*/ 1573 w 1615"/>
                <a:gd name="T9" fmla="*/ 120 h 123"/>
                <a:gd name="T10" fmla="*/ 1554 w 1615"/>
                <a:gd name="T11" fmla="*/ 123 h 123"/>
                <a:gd name="T12" fmla="*/ 61 w 1615"/>
                <a:gd name="T13" fmla="*/ 123 h 123"/>
                <a:gd name="T14" fmla="*/ 42 w 1615"/>
                <a:gd name="T15" fmla="*/ 120 h 123"/>
                <a:gd name="T16" fmla="*/ 25 w 1615"/>
                <a:gd name="T17" fmla="*/ 111 h 123"/>
                <a:gd name="T18" fmla="*/ 12 w 1615"/>
                <a:gd name="T19" fmla="*/ 98 h 123"/>
                <a:gd name="T20" fmla="*/ 3 w 1615"/>
                <a:gd name="T21" fmla="*/ 81 h 123"/>
                <a:gd name="T22" fmla="*/ 0 w 1615"/>
                <a:gd name="T23" fmla="*/ 61 h 123"/>
                <a:gd name="T24" fmla="*/ 3 w 1615"/>
                <a:gd name="T25" fmla="*/ 42 h 123"/>
                <a:gd name="T26" fmla="*/ 12 w 1615"/>
                <a:gd name="T27" fmla="*/ 25 h 123"/>
                <a:gd name="T28" fmla="*/ 25 w 1615"/>
                <a:gd name="T29" fmla="*/ 12 h 123"/>
                <a:gd name="T30" fmla="*/ 42 w 1615"/>
                <a:gd name="T31" fmla="*/ 3 h 123"/>
                <a:gd name="T32" fmla="*/ 61 w 1615"/>
                <a:gd name="T33" fmla="*/ 0 h 123"/>
                <a:gd name="T34" fmla="*/ 1554 w 1615"/>
                <a:gd name="T35" fmla="*/ 0 h 123"/>
                <a:gd name="T36" fmla="*/ 1573 w 1615"/>
                <a:gd name="T37" fmla="*/ 3 h 123"/>
                <a:gd name="T38" fmla="*/ 1590 w 1615"/>
                <a:gd name="T39" fmla="*/ 12 h 123"/>
                <a:gd name="T40" fmla="*/ 1603 w 1615"/>
                <a:gd name="T41" fmla="*/ 25 h 123"/>
                <a:gd name="T42" fmla="*/ 1612 w 1615"/>
                <a:gd name="T43" fmla="*/ 42 h 123"/>
                <a:gd name="T44" fmla="*/ 1615 w 1615"/>
                <a:gd name="T45" fmla="*/ 6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3">
                  <a:moveTo>
                    <a:pt x="1615" y="61"/>
                  </a:moveTo>
                  <a:lnTo>
                    <a:pt x="1612" y="81"/>
                  </a:lnTo>
                  <a:lnTo>
                    <a:pt x="1603" y="98"/>
                  </a:lnTo>
                  <a:lnTo>
                    <a:pt x="1590" y="111"/>
                  </a:lnTo>
                  <a:lnTo>
                    <a:pt x="1573" y="120"/>
                  </a:lnTo>
                  <a:lnTo>
                    <a:pt x="1554" y="123"/>
                  </a:lnTo>
                  <a:lnTo>
                    <a:pt x="61" y="123"/>
                  </a:lnTo>
                  <a:lnTo>
                    <a:pt x="42" y="120"/>
                  </a:lnTo>
                  <a:lnTo>
                    <a:pt x="25" y="111"/>
                  </a:lnTo>
                  <a:lnTo>
                    <a:pt x="12" y="98"/>
                  </a:lnTo>
                  <a:lnTo>
                    <a:pt x="3" y="81"/>
                  </a:lnTo>
                  <a:lnTo>
                    <a:pt x="0" y="61"/>
                  </a:lnTo>
                  <a:lnTo>
                    <a:pt x="3" y="42"/>
                  </a:lnTo>
                  <a:lnTo>
                    <a:pt x="12" y="25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3"/>
                  </a:lnTo>
                  <a:lnTo>
                    <a:pt x="1590" y="12"/>
                  </a:lnTo>
                  <a:lnTo>
                    <a:pt x="1603" y="25"/>
                  </a:lnTo>
                  <a:lnTo>
                    <a:pt x="1612" y="42"/>
                  </a:lnTo>
                  <a:lnTo>
                    <a:pt x="161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3" name="Freeform 16"/>
            <p:cNvSpPr>
              <a:spLocks/>
            </p:cNvSpPr>
            <p:nvPr/>
          </p:nvSpPr>
          <p:spPr bwMode="auto">
            <a:xfrm>
              <a:off x="-312" y="2092"/>
              <a:ext cx="180" cy="14"/>
            </a:xfrm>
            <a:custGeom>
              <a:avLst/>
              <a:gdLst>
                <a:gd name="T0" fmla="*/ 1615 w 1615"/>
                <a:gd name="T1" fmla="*/ 63 h 124"/>
                <a:gd name="T2" fmla="*/ 1612 w 1615"/>
                <a:gd name="T3" fmla="*/ 82 h 124"/>
                <a:gd name="T4" fmla="*/ 1603 w 1615"/>
                <a:gd name="T5" fmla="*/ 99 h 124"/>
                <a:gd name="T6" fmla="*/ 1590 w 1615"/>
                <a:gd name="T7" fmla="*/ 112 h 124"/>
                <a:gd name="T8" fmla="*/ 1573 w 1615"/>
                <a:gd name="T9" fmla="*/ 120 h 124"/>
                <a:gd name="T10" fmla="*/ 1554 w 1615"/>
                <a:gd name="T11" fmla="*/ 124 h 124"/>
                <a:gd name="T12" fmla="*/ 61 w 1615"/>
                <a:gd name="T13" fmla="*/ 124 h 124"/>
                <a:gd name="T14" fmla="*/ 42 w 1615"/>
                <a:gd name="T15" fmla="*/ 120 h 124"/>
                <a:gd name="T16" fmla="*/ 25 w 1615"/>
                <a:gd name="T17" fmla="*/ 112 h 124"/>
                <a:gd name="T18" fmla="*/ 12 w 1615"/>
                <a:gd name="T19" fmla="*/ 99 h 124"/>
                <a:gd name="T20" fmla="*/ 3 w 1615"/>
                <a:gd name="T21" fmla="*/ 82 h 124"/>
                <a:gd name="T22" fmla="*/ 0 w 1615"/>
                <a:gd name="T23" fmla="*/ 63 h 124"/>
                <a:gd name="T24" fmla="*/ 3 w 1615"/>
                <a:gd name="T25" fmla="*/ 43 h 124"/>
                <a:gd name="T26" fmla="*/ 12 w 1615"/>
                <a:gd name="T27" fmla="*/ 26 h 124"/>
                <a:gd name="T28" fmla="*/ 25 w 1615"/>
                <a:gd name="T29" fmla="*/ 12 h 124"/>
                <a:gd name="T30" fmla="*/ 42 w 1615"/>
                <a:gd name="T31" fmla="*/ 4 h 124"/>
                <a:gd name="T32" fmla="*/ 61 w 1615"/>
                <a:gd name="T33" fmla="*/ 0 h 124"/>
                <a:gd name="T34" fmla="*/ 1554 w 1615"/>
                <a:gd name="T35" fmla="*/ 0 h 124"/>
                <a:gd name="T36" fmla="*/ 1573 w 1615"/>
                <a:gd name="T37" fmla="*/ 4 h 124"/>
                <a:gd name="T38" fmla="*/ 1590 w 1615"/>
                <a:gd name="T39" fmla="*/ 12 h 124"/>
                <a:gd name="T40" fmla="*/ 1603 w 1615"/>
                <a:gd name="T41" fmla="*/ 26 h 124"/>
                <a:gd name="T42" fmla="*/ 1612 w 1615"/>
                <a:gd name="T43" fmla="*/ 43 h 124"/>
                <a:gd name="T44" fmla="*/ 1615 w 1615"/>
                <a:gd name="T45" fmla="*/ 6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4">
                  <a:moveTo>
                    <a:pt x="1615" y="63"/>
                  </a:moveTo>
                  <a:lnTo>
                    <a:pt x="1612" y="82"/>
                  </a:lnTo>
                  <a:lnTo>
                    <a:pt x="1603" y="99"/>
                  </a:lnTo>
                  <a:lnTo>
                    <a:pt x="1590" y="112"/>
                  </a:lnTo>
                  <a:lnTo>
                    <a:pt x="1573" y="120"/>
                  </a:lnTo>
                  <a:lnTo>
                    <a:pt x="1554" y="124"/>
                  </a:lnTo>
                  <a:lnTo>
                    <a:pt x="61" y="124"/>
                  </a:lnTo>
                  <a:lnTo>
                    <a:pt x="42" y="120"/>
                  </a:lnTo>
                  <a:lnTo>
                    <a:pt x="25" y="112"/>
                  </a:lnTo>
                  <a:lnTo>
                    <a:pt x="12" y="99"/>
                  </a:lnTo>
                  <a:lnTo>
                    <a:pt x="3" y="82"/>
                  </a:lnTo>
                  <a:lnTo>
                    <a:pt x="0" y="63"/>
                  </a:lnTo>
                  <a:lnTo>
                    <a:pt x="3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4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4"/>
                  </a:lnTo>
                  <a:lnTo>
                    <a:pt x="1590" y="12"/>
                  </a:lnTo>
                  <a:lnTo>
                    <a:pt x="1603" y="26"/>
                  </a:lnTo>
                  <a:lnTo>
                    <a:pt x="1612" y="43"/>
                  </a:lnTo>
                  <a:lnTo>
                    <a:pt x="1615" y="6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7"/>
            <p:cNvSpPr>
              <a:spLocks/>
            </p:cNvSpPr>
            <p:nvPr/>
          </p:nvSpPr>
          <p:spPr bwMode="auto">
            <a:xfrm>
              <a:off x="-312" y="2153"/>
              <a:ext cx="179" cy="14"/>
            </a:xfrm>
            <a:custGeom>
              <a:avLst/>
              <a:gdLst>
                <a:gd name="T0" fmla="*/ 1614 w 1614"/>
                <a:gd name="T1" fmla="*/ 49 h 124"/>
                <a:gd name="T2" fmla="*/ 1540 w 1614"/>
                <a:gd name="T3" fmla="*/ 124 h 124"/>
                <a:gd name="T4" fmla="*/ 61 w 1614"/>
                <a:gd name="T5" fmla="*/ 124 h 124"/>
                <a:gd name="T6" fmla="*/ 42 w 1614"/>
                <a:gd name="T7" fmla="*/ 121 h 124"/>
                <a:gd name="T8" fmla="*/ 25 w 1614"/>
                <a:gd name="T9" fmla="*/ 112 h 124"/>
                <a:gd name="T10" fmla="*/ 12 w 1614"/>
                <a:gd name="T11" fmla="*/ 98 h 124"/>
                <a:gd name="T12" fmla="*/ 2 w 1614"/>
                <a:gd name="T13" fmla="*/ 81 h 124"/>
                <a:gd name="T14" fmla="*/ 0 w 1614"/>
                <a:gd name="T15" fmla="*/ 62 h 124"/>
                <a:gd name="T16" fmla="*/ 2 w 1614"/>
                <a:gd name="T17" fmla="*/ 43 h 124"/>
                <a:gd name="T18" fmla="*/ 12 w 1614"/>
                <a:gd name="T19" fmla="*/ 26 h 124"/>
                <a:gd name="T20" fmla="*/ 25 w 1614"/>
                <a:gd name="T21" fmla="*/ 12 h 124"/>
                <a:gd name="T22" fmla="*/ 42 w 1614"/>
                <a:gd name="T23" fmla="*/ 3 h 124"/>
                <a:gd name="T24" fmla="*/ 61 w 1614"/>
                <a:gd name="T25" fmla="*/ 0 h 124"/>
                <a:gd name="T26" fmla="*/ 1554 w 1614"/>
                <a:gd name="T27" fmla="*/ 0 h 124"/>
                <a:gd name="T28" fmla="*/ 1571 w 1614"/>
                <a:gd name="T29" fmla="*/ 3 h 124"/>
                <a:gd name="T30" fmla="*/ 1586 w 1614"/>
                <a:gd name="T31" fmla="*/ 10 h 124"/>
                <a:gd name="T32" fmla="*/ 1599 w 1614"/>
                <a:gd name="T33" fmla="*/ 20 h 124"/>
                <a:gd name="T34" fmla="*/ 1609 w 1614"/>
                <a:gd name="T35" fmla="*/ 33 h 124"/>
                <a:gd name="T36" fmla="*/ 1614 w 1614"/>
                <a:gd name="T37" fmla="*/ 49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14" h="124">
                  <a:moveTo>
                    <a:pt x="1614" y="49"/>
                  </a:moveTo>
                  <a:lnTo>
                    <a:pt x="1540" y="124"/>
                  </a:lnTo>
                  <a:lnTo>
                    <a:pt x="61" y="124"/>
                  </a:lnTo>
                  <a:lnTo>
                    <a:pt x="42" y="121"/>
                  </a:lnTo>
                  <a:lnTo>
                    <a:pt x="25" y="112"/>
                  </a:lnTo>
                  <a:lnTo>
                    <a:pt x="12" y="98"/>
                  </a:lnTo>
                  <a:lnTo>
                    <a:pt x="2" y="81"/>
                  </a:lnTo>
                  <a:lnTo>
                    <a:pt x="0" y="62"/>
                  </a:lnTo>
                  <a:lnTo>
                    <a:pt x="2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1" y="3"/>
                  </a:lnTo>
                  <a:lnTo>
                    <a:pt x="1586" y="10"/>
                  </a:lnTo>
                  <a:lnTo>
                    <a:pt x="1599" y="20"/>
                  </a:lnTo>
                  <a:lnTo>
                    <a:pt x="1609" y="33"/>
                  </a:lnTo>
                  <a:lnTo>
                    <a:pt x="1614" y="4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5" name="Freeform 18"/>
            <p:cNvSpPr>
              <a:spLocks/>
            </p:cNvSpPr>
            <p:nvPr/>
          </p:nvSpPr>
          <p:spPr bwMode="auto">
            <a:xfrm>
              <a:off x="-224" y="2177"/>
              <a:ext cx="129" cy="132"/>
            </a:xfrm>
            <a:custGeom>
              <a:avLst/>
              <a:gdLst>
                <a:gd name="T0" fmla="*/ 1155 w 1157"/>
                <a:gd name="T1" fmla="*/ 280 h 1183"/>
                <a:gd name="T2" fmla="*/ 1140 w 1157"/>
                <a:gd name="T3" fmla="*/ 296 h 1183"/>
                <a:gd name="T4" fmla="*/ 1111 w 1157"/>
                <a:gd name="T5" fmla="*/ 325 h 1183"/>
                <a:gd name="T6" fmla="*/ 1070 w 1157"/>
                <a:gd name="T7" fmla="*/ 367 h 1183"/>
                <a:gd name="T8" fmla="*/ 1020 w 1157"/>
                <a:gd name="T9" fmla="*/ 417 h 1183"/>
                <a:gd name="T10" fmla="*/ 963 w 1157"/>
                <a:gd name="T11" fmla="*/ 475 h 1183"/>
                <a:gd name="T12" fmla="*/ 899 w 1157"/>
                <a:gd name="T13" fmla="*/ 537 h 1183"/>
                <a:gd name="T14" fmla="*/ 833 w 1157"/>
                <a:gd name="T15" fmla="*/ 603 h 1183"/>
                <a:gd name="T16" fmla="*/ 765 w 1157"/>
                <a:gd name="T17" fmla="*/ 670 h 1183"/>
                <a:gd name="T18" fmla="*/ 697 w 1157"/>
                <a:gd name="T19" fmla="*/ 736 h 1183"/>
                <a:gd name="T20" fmla="*/ 633 w 1157"/>
                <a:gd name="T21" fmla="*/ 798 h 1183"/>
                <a:gd name="T22" fmla="*/ 573 w 1157"/>
                <a:gd name="T23" fmla="*/ 855 h 1183"/>
                <a:gd name="T24" fmla="*/ 520 w 1157"/>
                <a:gd name="T25" fmla="*/ 904 h 1183"/>
                <a:gd name="T26" fmla="*/ 475 w 1157"/>
                <a:gd name="T27" fmla="*/ 945 h 1183"/>
                <a:gd name="T28" fmla="*/ 442 w 1157"/>
                <a:gd name="T29" fmla="*/ 973 h 1183"/>
                <a:gd name="T30" fmla="*/ 427 w 1157"/>
                <a:gd name="T31" fmla="*/ 983 h 1183"/>
                <a:gd name="T32" fmla="*/ 409 w 1157"/>
                <a:gd name="T33" fmla="*/ 995 h 1183"/>
                <a:gd name="T34" fmla="*/ 378 w 1157"/>
                <a:gd name="T35" fmla="*/ 1017 h 1183"/>
                <a:gd name="T36" fmla="*/ 336 w 1157"/>
                <a:gd name="T37" fmla="*/ 1042 h 1183"/>
                <a:gd name="T38" fmla="*/ 287 w 1157"/>
                <a:gd name="T39" fmla="*/ 1071 h 1183"/>
                <a:gd name="T40" fmla="*/ 234 w 1157"/>
                <a:gd name="T41" fmla="*/ 1099 h 1183"/>
                <a:gd name="T42" fmla="*/ 181 w 1157"/>
                <a:gd name="T43" fmla="*/ 1123 h 1183"/>
                <a:gd name="T44" fmla="*/ 129 w 1157"/>
                <a:gd name="T45" fmla="*/ 1139 h 1183"/>
                <a:gd name="T46" fmla="*/ 84 w 1157"/>
                <a:gd name="T47" fmla="*/ 1143 h 1183"/>
                <a:gd name="T48" fmla="*/ 78 w 1157"/>
                <a:gd name="T49" fmla="*/ 1144 h 1183"/>
                <a:gd name="T50" fmla="*/ 47 w 1157"/>
                <a:gd name="T51" fmla="*/ 1174 h 1183"/>
                <a:gd name="T52" fmla="*/ 27 w 1157"/>
                <a:gd name="T53" fmla="*/ 1183 h 1183"/>
                <a:gd name="T54" fmla="*/ 9 w 1157"/>
                <a:gd name="T55" fmla="*/ 1176 h 1183"/>
                <a:gd name="T56" fmla="*/ 0 w 1157"/>
                <a:gd name="T57" fmla="*/ 1157 h 1183"/>
                <a:gd name="T58" fmla="*/ 6 w 1157"/>
                <a:gd name="T59" fmla="*/ 1137 h 1183"/>
                <a:gd name="T60" fmla="*/ 29 w 1157"/>
                <a:gd name="T61" fmla="*/ 1091 h 1183"/>
                <a:gd name="T62" fmla="*/ 32 w 1157"/>
                <a:gd name="T63" fmla="*/ 1046 h 1183"/>
                <a:gd name="T64" fmla="*/ 46 w 1157"/>
                <a:gd name="T65" fmla="*/ 994 h 1183"/>
                <a:gd name="T66" fmla="*/ 68 w 1157"/>
                <a:gd name="T67" fmla="*/ 941 h 1183"/>
                <a:gd name="T68" fmla="*/ 93 w 1157"/>
                <a:gd name="T69" fmla="*/ 886 h 1183"/>
                <a:gd name="T70" fmla="*/ 120 w 1157"/>
                <a:gd name="T71" fmla="*/ 837 h 1183"/>
                <a:gd name="T72" fmla="*/ 146 w 1157"/>
                <a:gd name="T73" fmla="*/ 794 h 1183"/>
                <a:gd name="T74" fmla="*/ 167 w 1157"/>
                <a:gd name="T75" fmla="*/ 762 h 1183"/>
                <a:gd name="T76" fmla="*/ 177 w 1157"/>
                <a:gd name="T77" fmla="*/ 745 h 1183"/>
                <a:gd name="T78" fmla="*/ 188 w 1157"/>
                <a:gd name="T79" fmla="*/ 730 h 1183"/>
                <a:gd name="T80" fmla="*/ 215 w 1157"/>
                <a:gd name="T81" fmla="*/ 695 h 1183"/>
                <a:gd name="T82" fmla="*/ 254 w 1157"/>
                <a:gd name="T83" fmla="*/ 650 h 1183"/>
                <a:gd name="T84" fmla="*/ 302 w 1157"/>
                <a:gd name="T85" fmla="*/ 596 h 1183"/>
                <a:gd name="T86" fmla="*/ 358 w 1157"/>
                <a:gd name="T87" fmla="*/ 535 h 1183"/>
                <a:gd name="T88" fmla="*/ 419 w 1157"/>
                <a:gd name="T89" fmla="*/ 469 h 1183"/>
                <a:gd name="T90" fmla="*/ 484 w 1157"/>
                <a:gd name="T91" fmla="*/ 400 h 1183"/>
                <a:gd name="T92" fmla="*/ 549 w 1157"/>
                <a:gd name="T93" fmla="*/ 331 h 1183"/>
                <a:gd name="T94" fmla="*/ 614 w 1157"/>
                <a:gd name="T95" fmla="*/ 264 h 1183"/>
                <a:gd name="T96" fmla="*/ 675 w 1157"/>
                <a:gd name="T97" fmla="*/ 199 h 1183"/>
                <a:gd name="T98" fmla="*/ 732 w 1157"/>
                <a:gd name="T99" fmla="*/ 141 h 1183"/>
                <a:gd name="T100" fmla="*/ 781 w 1157"/>
                <a:gd name="T101" fmla="*/ 89 h 1183"/>
                <a:gd name="T102" fmla="*/ 821 w 1157"/>
                <a:gd name="T103" fmla="*/ 47 h 1183"/>
                <a:gd name="T104" fmla="*/ 850 w 1157"/>
                <a:gd name="T105" fmla="*/ 18 h 1183"/>
                <a:gd name="T106" fmla="*/ 865 w 1157"/>
                <a:gd name="T107" fmla="*/ 2 h 1183"/>
                <a:gd name="T108" fmla="*/ 1012 w 1157"/>
                <a:gd name="T109" fmla="*/ 137 h 1183"/>
                <a:gd name="T110" fmla="*/ 1020 w 1157"/>
                <a:gd name="T111" fmla="*/ 145 h 1183"/>
                <a:gd name="T112" fmla="*/ 1039 w 1157"/>
                <a:gd name="T113" fmla="*/ 162 h 1183"/>
                <a:gd name="T114" fmla="*/ 1064 w 1157"/>
                <a:gd name="T115" fmla="*/ 187 h 1183"/>
                <a:gd name="T116" fmla="*/ 1093 w 1157"/>
                <a:gd name="T117" fmla="*/ 214 h 1183"/>
                <a:gd name="T118" fmla="*/ 1121 w 1157"/>
                <a:gd name="T119" fmla="*/ 241 h 1183"/>
                <a:gd name="T120" fmla="*/ 1142 w 1157"/>
                <a:gd name="T121" fmla="*/ 264 h 1183"/>
                <a:gd name="T122" fmla="*/ 1155 w 1157"/>
                <a:gd name="T123" fmla="*/ 277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57" h="1183">
                  <a:moveTo>
                    <a:pt x="1157" y="278"/>
                  </a:moveTo>
                  <a:lnTo>
                    <a:pt x="1155" y="280"/>
                  </a:lnTo>
                  <a:lnTo>
                    <a:pt x="1150" y="286"/>
                  </a:lnTo>
                  <a:lnTo>
                    <a:pt x="1140" y="296"/>
                  </a:lnTo>
                  <a:lnTo>
                    <a:pt x="1127" y="309"/>
                  </a:lnTo>
                  <a:lnTo>
                    <a:pt x="1111" y="325"/>
                  </a:lnTo>
                  <a:lnTo>
                    <a:pt x="1092" y="344"/>
                  </a:lnTo>
                  <a:lnTo>
                    <a:pt x="1070" y="367"/>
                  </a:lnTo>
                  <a:lnTo>
                    <a:pt x="1047" y="390"/>
                  </a:lnTo>
                  <a:lnTo>
                    <a:pt x="1020" y="417"/>
                  </a:lnTo>
                  <a:lnTo>
                    <a:pt x="992" y="445"/>
                  </a:lnTo>
                  <a:lnTo>
                    <a:pt x="963" y="475"/>
                  </a:lnTo>
                  <a:lnTo>
                    <a:pt x="932" y="505"/>
                  </a:lnTo>
                  <a:lnTo>
                    <a:pt x="899" y="537"/>
                  </a:lnTo>
                  <a:lnTo>
                    <a:pt x="866" y="570"/>
                  </a:lnTo>
                  <a:lnTo>
                    <a:pt x="833" y="603"/>
                  </a:lnTo>
                  <a:lnTo>
                    <a:pt x="799" y="636"/>
                  </a:lnTo>
                  <a:lnTo>
                    <a:pt x="765" y="670"/>
                  </a:lnTo>
                  <a:lnTo>
                    <a:pt x="731" y="703"/>
                  </a:lnTo>
                  <a:lnTo>
                    <a:pt x="697" y="736"/>
                  </a:lnTo>
                  <a:lnTo>
                    <a:pt x="665" y="767"/>
                  </a:lnTo>
                  <a:lnTo>
                    <a:pt x="633" y="798"/>
                  </a:lnTo>
                  <a:lnTo>
                    <a:pt x="603" y="827"/>
                  </a:lnTo>
                  <a:lnTo>
                    <a:pt x="573" y="855"/>
                  </a:lnTo>
                  <a:lnTo>
                    <a:pt x="546" y="881"/>
                  </a:lnTo>
                  <a:lnTo>
                    <a:pt x="520" y="904"/>
                  </a:lnTo>
                  <a:lnTo>
                    <a:pt x="496" y="926"/>
                  </a:lnTo>
                  <a:lnTo>
                    <a:pt x="475" y="945"/>
                  </a:lnTo>
                  <a:lnTo>
                    <a:pt x="457" y="960"/>
                  </a:lnTo>
                  <a:lnTo>
                    <a:pt x="442" y="973"/>
                  </a:lnTo>
                  <a:lnTo>
                    <a:pt x="429" y="981"/>
                  </a:lnTo>
                  <a:lnTo>
                    <a:pt x="427" y="983"/>
                  </a:lnTo>
                  <a:lnTo>
                    <a:pt x="420" y="988"/>
                  </a:lnTo>
                  <a:lnTo>
                    <a:pt x="409" y="995"/>
                  </a:lnTo>
                  <a:lnTo>
                    <a:pt x="395" y="1005"/>
                  </a:lnTo>
                  <a:lnTo>
                    <a:pt x="378" y="1017"/>
                  </a:lnTo>
                  <a:lnTo>
                    <a:pt x="359" y="1029"/>
                  </a:lnTo>
                  <a:lnTo>
                    <a:pt x="336" y="1042"/>
                  </a:lnTo>
                  <a:lnTo>
                    <a:pt x="313" y="1057"/>
                  </a:lnTo>
                  <a:lnTo>
                    <a:pt x="287" y="1071"/>
                  </a:lnTo>
                  <a:lnTo>
                    <a:pt x="261" y="1086"/>
                  </a:lnTo>
                  <a:lnTo>
                    <a:pt x="234" y="1099"/>
                  </a:lnTo>
                  <a:lnTo>
                    <a:pt x="207" y="1112"/>
                  </a:lnTo>
                  <a:lnTo>
                    <a:pt x="181" y="1123"/>
                  </a:lnTo>
                  <a:lnTo>
                    <a:pt x="155" y="1131"/>
                  </a:lnTo>
                  <a:lnTo>
                    <a:pt x="129" y="1139"/>
                  </a:lnTo>
                  <a:lnTo>
                    <a:pt x="105" y="1142"/>
                  </a:lnTo>
                  <a:lnTo>
                    <a:pt x="84" y="1143"/>
                  </a:lnTo>
                  <a:lnTo>
                    <a:pt x="82" y="1144"/>
                  </a:lnTo>
                  <a:lnTo>
                    <a:pt x="78" y="1144"/>
                  </a:lnTo>
                  <a:lnTo>
                    <a:pt x="76" y="1144"/>
                  </a:lnTo>
                  <a:lnTo>
                    <a:pt x="47" y="1174"/>
                  </a:lnTo>
                  <a:lnTo>
                    <a:pt x="38" y="1180"/>
                  </a:lnTo>
                  <a:lnTo>
                    <a:pt x="27" y="1183"/>
                  </a:lnTo>
                  <a:lnTo>
                    <a:pt x="17" y="1182"/>
                  </a:lnTo>
                  <a:lnTo>
                    <a:pt x="9" y="1176"/>
                  </a:lnTo>
                  <a:lnTo>
                    <a:pt x="2" y="1167"/>
                  </a:lnTo>
                  <a:lnTo>
                    <a:pt x="0" y="1157"/>
                  </a:lnTo>
                  <a:lnTo>
                    <a:pt x="1" y="1146"/>
                  </a:lnTo>
                  <a:lnTo>
                    <a:pt x="6" y="1137"/>
                  </a:lnTo>
                  <a:lnTo>
                    <a:pt x="33" y="1109"/>
                  </a:lnTo>
                  <a:lnTo>
                    <a:pt x="29" y="1091"/>
                  </a:lnTo>
                  <a:lnTo>
                    <a:pt x="29" y="1069"/>
                  </a:lnTo>
                  <a:lnTo>
                    <a:pt x="32" y="1046"/>
                  </a:lnTo>
                  <a:lnTo>
                    <a:pt x="38" y="1021"/>
                  </a:lnTo>
                  <a:lnTo>
                    <a:pt x="46" y="994"/>
                  </a:lnTo>
                  <a:lnTo>
                    <a:pt x="56" y="967"/>
                  </a:lnTo>
                  <a:lnTo>
                    <a:pt x="68" y="941"/>
                  </a:lnTo>
                  <a:lnTo>
                    <a:pt x="81" y="913"/>
                  </a:lnTo>
                  <a:lnTo>
                    <a:pt x="93" y="886"/>
                  </a:lnTo>
                  <a:lnTo>
                    <a:pt x="107" y="860"/>
                  </a:lnTo>
                  <a:lnTo>
                    <a:pt x="120" y="837"/>
                  </a:lnTo>
                  <a:lnTo>
                    <a:pt x="134" y="814"/>
                  </a:lnTo>
                  <a:lnTo>
                    <a:pt x="146" y="794"/>
                  </a:lnTo>
                  <a:lnTo>
                    <a:pt x="157" y="777"/>
                  </a:lnTo>
                  <a:lnTo>
                    <a:pt x="167" y="762"/>
                  </a:lnTo>
                  <a:lnTo>
                    <a:pt x="173" y="751"/>
                  </a:lnTo>
                  <a:lnTo>
                    <a:pt x="177" y="745"/>
                  </a:lnTo>
                  <a:lnTo>
                    <a:pt x="179" y="742"/>
                  </a:lnTo>
                  <a:lnTo>
                    <a:pt x="188" y="730"/>
                  </a:lnTo>
                  <a:lnTo>
                    <a:pt x="200" y="715"/>
                  </a:lnTo>
                  <a:lnTo>
                    <a:pt x="215" y="695"/>
                  </a:lnTo>
                  <a:lnTo>
                    <a:pt x="233" y="674"/>
                  </a:lnTo>
                  <a:lnTo>
                    <a:pt x="254" y="650"/>
                  </a:lnTo>
                  <a:lnTo>
                    <a:pt x="277" y="624"/>
                  </a:lnTo>
                  <a:lnTo>
                    <a:pt x="302" y="596"/>
                  </a:lnTo>
                  <a:lnTo>
                    <a:pt x="329" y="566"/>
                  </a:lnTo>
                  <a:lnTo>
                    <a:pt x="358" y="535"/>
                  </a:lnTo>
                  <a:lnTo>
                    <a:pt x="388" y="503"/>
                  </a:lnTo>
                  <a:lnTo>
                    <a:pt x="419" y="469"/>
                  </a:lnTo>
                  <a:lnTo>
                    <a:pt x="451" y="435"/>
                  </a:lnTo>
                  <a:lnTo>
                    <a:pt x="484" y="400"/>
                  </a:lnTo>
                  <a:lnTo>
                    <a:pt x="516" y="365"/>
                  </a:lnTo>
                  <a:lnTo>
                    <a:pt x="549" y="331"/>
                  </a:lnTo>
                  <a:lnTo>
                    <a:pt x="581" y="297"/>
                  </a:lnTo>
                  <a:lnTo>
                    <a:pt x="614" y="264"/>
                  </a:lnTo>
                  <a:lnTo>
                    <a:pt x="645" y="230"/>
                  </a:lnTo>
                  <a:lnTo>
                    <a:pt x="675" y="199"/>
                  </a:lnTo>
                  <a:lnTo>
                    <a:pt x="704" y="168"/>
                  </a:lnTo>
                  <a:lnTo>
                    <a:pt x="732" y="141"/>
                  </a:lnTo>
                  <a:lnTo>
                    <a:pt x="758" y="114"/>
                  </a:lnTo>
                  <a:lnTo>
                    <a:pt x="781" y="89"/>
                  </a:lnTo>
                  <a:lnTo>
                    <a:pt x="803" y="68"/>
                  </a:lnTo>
                  <a:lnTo>
                    <a:pt x="821" y="47"/>
                  </a:lnTo>
                  <a:lnTo>
                    <a:pt x="837" y="31"/>
                  </a:lnTo>
                  <a:lnTo>
                    <a:pt x="850" y="18"/>
                  </a:lnTo>
                  <a:lnTo>
                    <a:pt x="860" y="9"/>
                  </a:lnTo>
                  <a:lnTo>
                    <a:pt x="865" y="2"/>
                  </a:lnTo>
                  <a:lnTo>
                    <a:pt x="867" y="0"/>
                  </a:lnTo>
                  <a:lnTo>
                    <a:pt x="1012" y="137"/>
                  </a:lnTo>
                  <a:lnTo>
                    <a:pt x="1014" y="139"/>
                  </a:lnTo>
                  <a:lnTo>
                    <a:pt x="1020" y="145"/>
                  </a:lnTo>
                  <a:lnTo>
                    <a:pt x="1028" y="152"/>
                  </a:lnTo>
                  <a:lnTo>
                    <a:pt x="1039" y="162"/>
                  </a:lnTo>
                  <a:lnTo>
                    <a:pt x="1051" y="174"/>
                  </a:lnTo>
                  <a:lnTo>
                    <a:pt x="1064" y="187"/>
                  </a:lnTo>
                  <a:lnTo>
                    <a:pt x="1079" y="201"/>
                  </a:lnTo>
                  <a:lnTo>
                    <a:pt x="1093" y="214"/>
                  </a:lnTo>
                  <a:lnTo>
                    <a:pt x="1107" y="228"/>
                  </a:lnTo>
                  <a:lnTo>
                    <a:pt x="1121" y="241"/>
                  </a:lnTo>
                  <a:lnTo>
                    <a:pt x="1133" y="253"/>
                  </a:lnTo>
                  <a:lnTo>
                    <a:pt x="1142" y="264"/>
                  </a:lnTo>
                  <a:lnTo>
                    <a:pt x="1151" y="271"/>
                  </a:lnTo>
                  <a:lnTo>
                    <a:pt x="1155" y="277"/>
                  </a:lnTo>
                  <a:lnTo>
                    <a:pt x="1157" y="2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7" name="Group 136"/>
          <p:cNvGrpSpPr/>
          <p:nvPr/>
        </p:nvGrpSpPr>
        <p:grpSpPr>
          <a:xfrm>
            <a:off x="757353" y="3919484"/>
            <a:ext cx="436014" cy="552825"/>
            <a:chOff x="4144754" y="4230048"/>
            <a:chExt cx="873396" cy="1107388"/>
          </a:xfrm>
          <a:solidFill>
            <a:schemeClr val="bg1"/>
          </a:solidFill>
        </p:grpSpPr>
        <p:grpSp>
          <p:nvGrpSpPr>
            <p:cNvPr id="138" name="Group 137"/>
            <p:cNvGrpSpPr/>
            <p:nvPr/>
          </p:nvGrpSpPr>
          <p:grpSpPr>
            <a:xfrm>
              <a:off x="4144754" y="4230048"/>
              <a:ext cx="682248" cy="1107388"/>
              <a:chOff x="2112134" y="12479"/>
              <a:chExt cx="4134119" cy="6710293"/>
            </a:xfrm>
            <a:grpFill/>
          </p:grpSpPr>
          <p:sp>
            <p:nvSpPr>
              <p:cNvPr id="146" name="Freeform 145"/>
              <p:cNvSpPr/>
              <p:nvPr/>
            </p:nvSpPr>
            <p:spPr>
              <a:xfrm>
                <a:off x="2112134" y="592428"/>
                <a:ext cx="4134119" cy="6130344"/>
              </a:xfrm>
              <a:custGeom>
                <a:avLst/>
                <a:gdLst>
                  <a:gd name="connsiteX0" fmla="*/ 399245 w 4134119"/>
                  <a:gd name="connsiteY0" fmla="*/ 1146220 h 6130344"/>
                  <a:gd name="connsiteX1" fmla="*/ 399245 w 4134119"/>
                  <a:gd name="connsiteY1" fmla="*/ 5550795 h 6130344"/>
                  <a:gd name="connsiteX2" fmla="*/ 3734873 w 4134119"/>
                  <a:gd name="connsiteY2" fmla="*/ 5550795 h 6130344"/>
                  <a:gd name="connsiteX3" fmla="*/ 3734873 w 4134119"/>
                  <a:gd name="connsiteY3" fmla="*/ 1146220 h 6130344"/>
                  <a:gd name="connsiteX4" fmla="*/ 398446 w 4134119"/>
                  <a:gd name="connsiteY4" fmla="*/ 0 h 6130344"/>
                  <a:gd name="connsiteX5" fmla="*/ 862886 w 4134119"/>
                  <a:gd name="connsiteY5" fmla="*/ 0 h 6130344"/>
                  <a:gd name="connsiteX6" fmla="*/ 862886 w 4134119"/>
                  <a:gd name="connsiteY6" fmla="*/ 257429 h 6130344"/>
                  <a:gd name="connsiteX7" fmla="*/ 1197885 w 4134119"/>
                  <a:gd name="connsiteY7" fmla="*/ 592428 h 6130344"/>
                  <a:gd name="connsiteX8" fmla="*/ 2923357 w 4134119"/>
                  <a:gd name="connsiteY8" fmla="*/ 592428 h 6130344"/>
                  <a:gd name="connsiteX9" fmla="*/ 3258356 w 4134119"/>
                  <a:gd name="connsiteY9" fmla="*/ 257429 h 6130344"/>
                  <a:gd name="connsiteX10" fmla="*/ 3258356 w 4134119"/>
                  <a:gd name="connsiteY10" fmla="*/ 0 h 6130344"/>
                  <a:gd name="connsiteX11" fmla="*/ 3735673 w 4134119"/>
                  <a:gd name="connsiteY11" fmla="*/ 0 h 6130344"/>
                  <a:gd name="connsiteX12" fmla="*/ 4134119 w 4134119"/>
                  <a:gd name="connsiteY12" fmla="*/ 398446 h 6130344"/>
                  <a:gd name="connsiteX13" fmla="*/ 4134119 w 4134119"/>
                  <a:gd name="connsiteY13" fmla="*/ 5731898 h 6130344"/>
                  <a:gd name="connsiteX14" fmla="*/ 3735673 w 4134119"/>
                  <a:gd name="connsiteY14" fmla="*/ 6130344 h 6130344"/>
                  <a:gd name="connsiteX15" fmla="*/ 398446 w 4134119"/>
                  <a:gd name="connsiteY15" fmla="*/ 6130344 h 6130344"/>
                  <a:gd name="connsiteX16" fmla="*/ 0 w 4134119"/>
                  <a:gd name="connsiteY16" fmla="*/ 5731898 h 6130344"/>
                  <a:gd name="connsiteX17" fmla="*/ 0 w 4134119"/>
                  <a:gd name="connsiteY17" fmla="*/ 398446 h 6130344"/>
                  <a:gd name="connsiteX18" fmla="*/ 398446 w 4134119"/>
                  <a:gd name="connsiteY18" fmla="*/ 0 h 6130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134119" h="6130344">
                    <a:moveTo>
                      <a:pt x="399245" y="1146220"/>
                    </a:moveTo>
                    <a:lnTo>
                      <a:pt x="399245" y="5550795"/>
                    </a:lnTo>
                    <a:lnTo>
                      <a:pt x="3734873" y="5550795"/>
                    </a:lnTo>
                    <a:lnTo>
                      <a:pt x="3734873" y="1146220"/>
                    </a:lnTo>
                    <a:close/>
                    <a:moveTo>
                      <a:pt x="398446" y="0"/>
                    </a:moveTo>
                    <a:lnTo>
                      <a:pt x="862886" y="0"/>
                    </a:lnTo>
                    <a:lnTo>
                      <a:pt x="862886" y="257429"/>
                    </a:lnTo>
                    <a:cubicBezTo>
                      <a:pt x="862886" y="442444"/>
                      <a:pt x="1012870" y="592428"/>
                      <a:pt x="1197885" y="592428"/>
                    </a:cubicBezTo>
                    <a:lnTo>
                      <a:pt x="2923357" y="592428"/>
                    </a:lnTo>
                    <a:cubicBezTo>
                      <a:pt x="3108372" y="592428"/>
                      <a:pt x="3258356" y="442444"/>
                      <a:pt x="3258356" y="257429"/>
                    </a:cubicBezTo>
                    <a:lnTo>
                      <a:pt x="3258356" y="0"/>
                    </a:lnTo>
                    <a:lnTo>
                      <a:pt x="3735673" y="0"/>
                    </a:lnTo>
                    <a:cubicBezTo>
                      <a:pt x="3955729" y="0"/>
                      <a:pt x="4134119" y="178390"/>
                      <a:pt x="4134119" y="398446"/>
                    </a:cubicBezTo>
                    <a:lnTo>
                      <a:pt x="4134119" y="5731898"/>
                    </a:lnTo>
                    <a:cubicBezTo>
                      <a:pt x="4134119" y="5951954"/>
                      <a:pt x="3955729" y="6130344"/>
                      <a:pt x="3735673" y="6130344"/>
                    </a:cubicBezTo>
                    <a:lnTo>
                      <a:pt x="398446" y="6130344"/>
                    </a:lnTo>
                    <a:cubicBezTo>
                      <a:pt x="178390" y="6130344"/>
                      <a:pt x="0" y="5951954"/>
                      <a:pt x="0" y="5731898"/>
                    </a:cubicBezTo>
                    <a:lnTo>
                      <a:pt x="0" y="398446"/>
                    </a:lnTo>
                    <a:cubicBezTo>
                      <a:pt x="0" y="178390"/>
                      <a:pt x="178390" y="0"/>
                      <a:pt x="3984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47" name="Freeform 146"/>
              <p:cNvSpPr/>
              <p:nvPr/>
            </p:nvSpPr>
            <p:spPr>
              <a:xfrm>
                <a:off x="3181082" y="12479"/>
                <a:ext cx="1996225" cy="1007769"/>
              </a:xfrm>
              <a:custGeom>
                <a:avLst/>
                <a:gdLst>
                  <a:gd name="connsiteX0" fmla="*/ 998111 w 1996225"/>
                  <a:gd name="connsiteY0" fmla="*/ 180304 h 1007769"/>
                  <a:gd name="connsiteX1" fmla="*/ 759853 w 1996225"/>
                  <a:gd name="connsiteY1" fmla="*/ 418562 h 1007769"/>
                  <a:gd name="connsiteX2" fmla="*/ 998111 w 1996225"/>
                  <a:gd name="connsiteY2" fmla="*/ 656820 h 1007769"/>
                  <a:gd name="connsiteX3" fmla="*/ 1236369 w 1996225"/>
                  <a:gd name="connsiteY3" fmla="*/ 418562 h 1007769"/>
                  <a:gd name="connsiteX4" fmla="*/ 998111 w 1996225"/>
                  <a:gd name="connsiteY4" fmla="*/ 180304 h 1007769"/>
                  <a:gd name="connsiteX5" fmla="*/ 998111 w 1996225"/>
                  <a:gd name="connsiteY5" fmla="*/ 0 h 1007769"/>
                  <a:gd name="connsiteX6" fmla="*/ 1408170 w 1996225"/>
                  <a:gd name="connsiteY6" fmla="*/ 334207 h 1007769"/>
                  <a:gd name="connsiteX7" fmla="*/ 1408559 w 1996225"/>
                  <a:gd name="connsiteY7" fmla="*/ 338068 h 1007769"/>
                  <a:gd name="connsiteX8" fmla="*/ 1897484 w 1996225"/>
                  <a:gd name="connsiteY8" fmla="*/ 338068 h 1007769"/>
                  <a:gd name="connsiteX9" fmla="*/ 1996225 w 1996225"/>
                  <a:gd name="connsiteY9" fmla="*/ 436809 h 1007769"/>
                  <a:gd name="connsiteX10" fmla="*/ 1996225 w 1996225"/>
                  <a:gd name="connsiteY10" fmla="*/ 909028 h 1007769"/>
                  <a:gd name="connsiteX11" fmla="*/ 1897484 w 1996225"/>
                  <a:gd name="connsiteY11" fmla="*/ 1007769 h 1007769"/>
                  <a:gd name="connsiteX12" fmla="*/ 98741 w 1996225"/>
                  <a:gd name="connsiteY12" fmla="*/ 1007769 h 1007769"/>
                  <a:gd name="connsiteX13" fmla="*/ 0 w 1996225"/>
                  <a:gd name="connsiteY13" fmla="*/ 909028 h 1007769"/>
                  <a:gd name="connsiteX14" fmla="*/ 0 w 1996225"/>
                  <a:gd name="connsiteY14" fmla="*/ 436809 h 1007769"/>
                  <a:gd name="connsiteX15" fmla="*/ 98741 w 1996225"/>
                  <a:gd name="connsiteY15" fmla="*/ 338068 h 1007769"/>
                  <a:gd name="connsiteX16" fmla="*/ 587664 w 1996225"/>
                  <a:gd name="connsiteY16" fmla="*/ 338068 h 1007769"/>
                  <a:gd name="connsiteX17" fmla="*/ 588053 w 1996225"/>
                  <a:gd name="connsiteY17" fmla="*/ 334207 h 1007769"/>
                  <a:gd name="connsiteX18" fmla="*/ 998111 w 1996225"/>
                  <a:gd name="connsiteY18" fmla="*/ 0 h 1007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96225" h="1007769">
                    <a:moveTo>
                      <a:pt x="998111" y="180304"/>
                    </a:moveTo>
                    <a:cubicBezTo>
                      <a:pt x="866525" y="180304"/>
                      <a:pt x="759853" y="286976"/>
                      <a:pt x="759853" y="418562"/>
                    </a:cubicBezTo>
                    <a:cubicBezTo>
                      <a:pt x="759853" y="550148"/>
                      <a:pt x="866525" y="656820"/>
                      <a:pt x="998111" y="656820"/>
                    </a:cubicBezTo>
                    <a:cubicBezTo>
                      <a:pt x="1129697" y="656820"/>
                      <a:pt x="1236369" y="550148"/>
                      <a:pt x="1236369" y="418562"/>
                    </a:cubicBezTo>
                    <a:cubicBezTo>
                      <a:pt x="1236369" y="286976"/>
                      <a:pt x="1129697" y="180304"/>
                      <a:pt x="998111" y="180304"/>
                    </a:cubicBezTo>
                    <a:close/>
                    <a:moveTo>
                      <a:pt x="998111" y="0"/>
                    </a:moveTo>
                    <a:cubicBezTo>
                      <a:pt x="1200381" y="0"/>
                      <a:pt x="1369140" y="143476"/>
                      <a:pt x="1408170" y="334207"/>
                    </a:cubicBezTo>
                    <a:lnTo>
                      <a:pt x="1408559" y="338068"/>
                    </a:lnTo>
                    <a:lnTo>
                      <a:pt x="1897484" y="338068"/>
                    </a:lnTo>
                    <a:cubicBezTo>
                      <a:pt x="1952017" y="338068"/>
                      <a:pt x="1996225" y="382276"/>
                      <a:pt x="1996225" y="436809"/>
                    </a:cubicBezTo>
                    <a:lnTo>
                      <a:pt x="1996225" y="909028"/>
                    </a:lnTo>
                    <a:cubicBezTo>
                      <a:pt x="1996225" y="963561"/>
                      <a:pt x="1952017" y="1007769"/>
                      <a:pt x="1897484" y="1007769"/>
                    </a:cubicBezTo>
                    <a:lnTo>
                      <a:pt x="98741" y="1007769"/>
                    </a:lnTo>
                    <a:cubicBezTo>
                      <a:pt x="44208" y="1007769"/>
                      <a:pt x="0" y="963561"/>
                      <a:pt x="0" y="909028"/>
                    </a:cubicBezTo>
                    <a:lnTo>
                      <a:pt x="0" y="436809"/>
                    </a:lnTo>
                    <a:cubicBezTo>
                      <a:pt x="0" y="382276"/>
                      <a:pt x="44208" y="338068"/>
                      <a:pt x="98741" y="338068"/>
                    </a:cubicBezTo>
                    <a:lnTo>
                      <a:pt x="587664" y="338068"/>
                    </a:lnTo>
                    <a:lnTo>
                      <a:pt x="588053" y="334207"/>
                    </a:lnTo>
                    <a:cubicBezTo>
                      <a:pt x="627082" y="143476"/>
                      <a:pt x="795842" y="0"/>
                      <a:pt x="9981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48" name="Group 147"/>
              <p:cNvGrpSpPr/>
              <p:nvPr/>
            </p:nvGrpSpPr>
            <p:grpSpPr>
              <a:xfrm>
                <a:off x="2979287" y="1957742"/>
                <a:ext cx="1174521" cy="1120738"/>
                <a:chOff x="2971799" y="1957742"/>
                <a:chExt cx="1174521" cy="1120738"/>
              </a:xfrm>
              <a:grpFill/>
            </p:grpSpPr>
            <p:sp>
              <p:nvSpPr>
                <p:cNvPr id="164" name="Freeform 163"/>
                <p:cNvSpPr/>
                <p:nvPr/>
              </p:nvSpPr>
              <p:spPr>
                <a:xfrm>
                  <a:off x="2971799" y="2354580"/>
                  <a:ext cx="543605" cy="723900"/>
                </a:xfrm>
                <a:custGeom>
                  <a:avLst/>
                  <a:gdLst>
                    <a:gd name="connsiteX0" fmla="*/ 432877 w 546522"/>
                    <a:gd name="connsiteY0" fmla="*/ 0 h 723900"/>
                    <a:gd name="connsiteX1" fmla="*/ 457198 w 546522"/>
                    <a:gd name="connsiteY1" fmla="*/ 0 h 723900"/>
                    <a:gd name="connsiteX2" fmla="*/ 541454 w 546522"/>
                    <a:gd name="connsiteY2" fmla="*/ 55849 h 723900"/>
                    <a:gd name="connsiteX3" fmla="*/ 546522 w 546522"/>
                    <a:gd name="connsiteY3" fmla="*/ 80948 h 723900"/>
                    <a:gd name="connsiteX4" fmla="*/ 91442 w 546522"/>
                    <a:gd name="connsiteY4" fmla="*/ 0 h 723900"/>
                    <a:gd name="connsiteX5" fmla="*/ 294237 w 546522"/>
                    <a:gd name="connsiteY5" fmla="*/ 0 h 723900"/>
                    <a:gd name="connsiteX6" fmla="*/ 259248 w 546522"/>
                    <a:gd name="connsiteY6" fmla="*/ 99060 h 723900"/>
                    <a:gd name="connsiteX7" fmla="*/ 147939 w 546522"/>
                    <a:gd name="connsiteY7" fmla="*/ 99060 h 723900"/>
                    <a:gd name="connsiteX8" fmla="*/ 84747 w 546522"/>
                    <a:gd name="connsiteY8" fmla="*/ 162252 h 723900"/>
                    <a:gd name="connsiteX9" fmla="*/ 84747 w 546522"/>
                    <a:gd name="connsiteY9" fmla="*/ 561648 h 723900"/>
                    <a:gd name="connsiteX10" fmla="*/ 147939 w 546522"/>
                    <a:gd name="connsiteY10" fmla="*/ 624840 h 723900"/>
                    <a:gd name="connsiteX11" fmla="*/ 400702 w 546522"/>
                    <a:gd name="connsiteY11" fmla="*/ 624840 h 723900"/>
                    <a:gd name="connsiteX12" fmla="*/ 458928 w 546522"/>
                    <a:gd name="connsiteY12" fmla="*/ 586245 h 723900"/>
                    <a:gd name="connsiteX13" fmla="*/ 460480 w 546522"/>
                    <a:gd name="connsiteY13" fmla="*/ 578560 h 723900"/>
                    <a:gd name="connsiteX14" fmla="*/ 543605 w 546522"/>
                    <a:gd name="connsiteY14" fmla="*/ 657400 h 723900"/>
                    <a:gd name="connsiteX15" fmla="*/ 541454 w 546522"/>
                    <a:gd name="connsiteY15" fmla="*/ 668051 h 723900"/>
                    <a:gd name="connsiteX16" fmla="*/ 457198 w 546522"/>
                    <a:gd name="connsiteY16" fmla="*/ 723900 h 723900"/>
                    <a:gd name="connsiteX17" fmla="*/ 91442 w 546522"/>
                    <a:gd name="connsiteY17" fmla="*/ 723900 h 723900"/>
                    <a:gd name="connsiteX18" fmla="*/ 0 w 546522"/>
                    <a:gd name="connsiteY18" fmla="*/ 632458 h 723900"/>
                    <a:gd name="connsiteX19" fmla="*/ 0 w 546522"/>
                    <a:gd name="connsiteY19" fmla="*/ 91442 h 723900"/>
                    <a:gd name="connsiteX20" fmla="*/ 91442 w 546522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541454 w 543605"/>
                    <a:gd name="connsiteY2" fmla="*/ 55849 h 723900"/>
                    <a:gd name="connsiteX3" fmla="*/ 432877 w 543605"/>
                    <a:gd name="connsiteY3" fmla="*/ 0 h 723900"/>
                    <a:gd name="connsiteX4" fmla="*/ 91442 w 543605"/>
                    <a:gd name="connsiteY4" fmla="*/ 0 h 723900"/>
                    <a:gd name="connsiteX5" fmla="*/ 294237 w 543605"/>
                    <a:gd name="connsiteY5" fmla="*/ 0 h 723900"/>
                    <a:gd name="connsiteX6" fmla="*/ 259248 w 543605"/>
                    <a:gd name="connsiteY6" fmla="*/ 99060 h 723900"/>
                    <a:gd name="connsiteX7" fmla="*/ 147939 w 543605"/>
                    <a:gd name="connsiteY7" fmla="*/ 99060 h 723900"/>
                    <a:gd name="connsiteX8" fmla="*/ 84747 w 543605"/>
                    <a:gd name="connsiteY8" fmla="*/ 162252 h 723900"/>
                    <a:gd name="connsiteX9" fmla="*/ 84747 w 543605"/>
                    <a:gd name="connsiteY9" fmla="*/ 561648 h 723900"/>
                    <a:gd name="connsiteX10" fmla="*/ 147939 w 543605"/>
                    <a:gd name="connsiteY10" fmla="*/ 624840 h 723900"/>
                    <a:gd name="connsiteX11" fmla="*/ 400702 w 543605"/>
                    <a:gd name="connsiteY11" fmla="*/ 624840 h 723900"/>
                    <a:gd name="connsiteX12" fmla="*/ 458928 w 543605"/>
                    <a:gd name="connsiteY12" fmla="*/ 586245 h 723900"/>
                    <a:gd name="connsiteX13" fmla="*/ 460480 w 543605"/>
                    <a:gd name="connsiteY13" fmla="*/ 578560 h 723900"/>
                    <a:gd name="connsiteX14" fmla="*/ 543605 w 543605"/>
                    <a:gd name="connsiteY14" fmla="*/ 657400 h 723900"/>
                    <a:gd name="connsiteX15" fmla="*/ 541454 w 543605"/>
                    <a:gd name="connsiteY15" fmla="*/ 668051 h 723900"/>
                    <a:gd name="connsiteX16" fmla="*/ 457198 w 543605"/>
                    <a:gd name="connsiteY16" fmla="*/ 723900 h 723900"/>
                    <a:gd name="connsiteX17" fmla="*/ 91442 w 543605"/>
                    <a:gd name="connsiteY17" fmla="*/ 723900 h 723900"/>
                    <a:gd name="connsiteX18" fmla="*/ 0 w 543605"/>
                    <a:gd name="connsiteY18" fmla="*/ 632458 h 723900"/>
                    <a:gd name="connsiteX19" fmla="*/ 0 w 543605"/>
                    <a:gd name="connsiteY19" fmla="*/ 91442 h 723900"/>
                    <a:gd name="connsiteX20" fmla="*/ 91442 w 543605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432877 w 543605"/>
                    <a:gd name="connsiteY2" fmla="*/ 0 h 723900"/>
                    <a:gd name="connsiteX3" fmla="*/ 91442 w 543605"/>
                    <a:gd name="connsiteY3" fmla="*/ 0 h 723900"/>
                    <a:gd name="connsiteX4" fmla="*/ 294237 w 543605"/>
                    <a:gd name="connsiteY4" fmla="*/ 0 h 723900"/>
                    <a:gd name="connsiteX5" fmla="*/ 259248 w 543605"/>
                    <a:gd name="connsiteY5" fmla="*/ 99060 h 723900"/>
                    <a:gd name="connsiteX6" fmla="*/ 147939 w 543605"/>
                    <a:gd name="connsiteY6" fmla="*/ 99060 h 723900"/>
                    <a:gd name="connsiteX7" fmla="*/ 84747 w 543605"/>
                    <a:gd name="connsiteY7" fmla="*/ 162252 h 723900"/>
                    <a:gd name="connsiteX8" fmla="*/ 84747 w 543605"/>
                    <a:gd name="connsiteY8" fmla="*/ 561648 h 723900"/>
                    <a:gd name="connsiteX9" fmla="*/ 147939 w 543605"/>
                    <a:gd name="connsiteY9" fmla="*/ 624840 h 723900"/>
                    <a:gd name="connsiteX10" fmla="*/ 400702 w 543605"/>
                    <a:gd name="connsiteY10" fmla="*/ 624840 h 723900"/>
                    <a:gd name="connsiteX11" fmla="*/ 458928 w 543605"/>
                    <a:gd name="connsiteY11" fmla="*/ 586245 h 723900"/>
                    <a:gd name="connsiteX12" fmla="*/ 460480 w 543605"/>
                    <a:gd name="connsiteY12" fmla="*/ 578560 h 723900"/>
                    <a:gd name="connsiteX13" fmla="*/ 543605 w 543605"/>
                    <a:gd name="connsiteY13" fmla="*/ 657400 h 723900"/>
                    <a:gd name="connsiteX14" fmla="*/ 541454 w 543605"/>
                    <a:gd name="connsiteY14" fmla="*/ 668051 h 723900"/>
                    <a:gd name="connsiteX15" fmla="*/ 457198 w 543605"/>
                    <a:gd name="connsiteY15" fmla="*/ 723900 h 723900"/>
                    <a:gd name="connsiteX16" fmla="*/ 91442 w 543605"/>
                    <a:gd name="connsiteY16" fmla="*/ 723900 h 723900"/>
                    <a:gd name="connsiteX17" fmla="*/ 0 w 543605"/>
                    <a:gd name="connsiteY17" fmla="*/ 632458 h 723900"/>
                    <a:gd name="connsiteX18" fmla="*/ 0 w 543605"/>
                    <a:gd name="connsiteY18" fmla="*/ 91442 h 723900"/>
                    <a:gd name="connsiteX19" fmla="*/ 91442 w 543605"/>
                    <a:gd name="connsiteY19" fmla="*/ 0 h 723900"/>
                    <a:gd name="connsiteX0" fmla="*/ 91442 w 543605"/>
                    <a:gd name="connsiteY0" fmla="*/ 0 h 723900"/>
                    <a:gd name="connsiteX1" fmla="*/ 294237 w 543605"/>
                    <a:gd name="connsiteY1" fmla="*/ 0 h 723900"/>
                    <a:gd name="connsiteX2" fmla="*/ 259248 w 543605"/>
                    <a:gd name="connsiteY2" fmla="*/ 99060 h 723900"/>
                    <a:gd name="connsiteX3" fmla="*/ 147939 w 543605"/>
                    <a:gd name="connsiteY3" fmla="*/ 99060 h 723900"/>
                    <a:gd name="connsiteX4" fmla="*/ 84747 w 543605"/>
                    <a:gd name="connsiteY4" fmla="*/ 162252 h 723900"/>
                    <a:gd name="connsiteX5" fmla="*/ 84747 w 543605"/>
                    <a:gd name="connsiteY5" fmla="*/ 561648 h 723900"/>
                    <a:gd name="connsiteX6" fmla="*/ 147939 w 543605"/>
                    <a:gd name="connsiteY6" fmla="*/ 624840 h 723900"/>
                    <a:gd name="connsiteX7" fmla="*/ 400702 w 543605"/>
                    <a:gd name="connsiteY7" fmla="*/ 624840 h 723900"/>
                    <a:gd name="connsiteX8" fmla="*/ 458928 w 543605"/>
                    <a:gd name="connsiteY8" fmla="*/ 586245 h 723900"/>
                    <a:gd name="connsiteX9" fmla="*/ 460480 w 543605"/>
                    <a:gd name="connsiteY9" fmla="*/ 578560 h 723900"/>
                    <a:gd name="connsiteX10" fmla="*/ 543605 w 543605"/>
                    <a:gd name="connsiteY10" fmla="*/ 657400 h 723900"/>
                    <a:gd name="connsiteX11" fmla="*/ 541454 w 543605"/>
                    <a:gd name="connsiteY11" fmla="*/ 668051 h 723900"/>
                    <a:gd name="connsiteX12" fmla="*/ 457198 w 543605"/>
                    <a:gd name="connsiteY12" fmla="*/ 723900 h 723900"/>
                    <a:gd name="connsiteX13" fmla="*/ 91442 w 543605"/>
                    <a:gd name="connsiteY13" fmla="*/ 723900 h 723900"/>
                    <a:gd name="connsiteX14" fmla="*/ 0 w 543605"/>
                    <a:gd name="connsiteY14" fmla="*/ 632458 h 723900"/>
                    <a:gd name="connsiteX15" fmla="*/ 0 w 543605"/>
                    <a:gd name="connsiteY15" fmla="*/ 91442 h 723900"/>
                    <a:gd name="connsiteX16" fmla="*/ 91442 w 543605"/>
                    <a:gd name="connsiteY1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43605" h="723900">
                      <a:moveTo>
                        <a:pt x="91442" y="0"/>
                      </a:moveTo>
                      <a:lnTo>
                        <a:pt x="294237" y="0"/>
                      </a:lnTo>
                      <a:lnTo>
                        <a:pt x="259248" y="99060"/>
                      </a:lnTo>
                      <a:lnTo>
                        <a:pt x="147939" y="99060"/>
                      </a:lnTo>
                      <a:cubicBezTo>
                        <a:pt x="113039" y="99060"/>
                        <a:pt x="84747" y="127352"/>
                        <a:pt x="84747" y="162252"/>
                      </a:cubicBezTo>
                      <a:lnTo>
                        <a:pt x="84747" y="561648"/>
                      </a:lnTo>
                      <a:cubicBezTo>
                        <a:pt x="84747" y="596548"/>
                        <a:pt x="113039" y="624840"/>
                        <a:pt x="147939" y="624840"/>
                      </a:cubicBezTo>
                      <a:lnTo>
                        <a:pt x="400702" y="624840"/>
                      </a:lnTo>
                      <a:cubicBezTo>
                        <a:pt x="426877" y="624840"/>
                        <a:pt x="449335" y="608926"/>
                        <a:pt x="458928" y="586245"/>
                      </a:cubicBezTo>
                      <a:lnTo>
                        <a:pt x="460480" y="578560"/>
                      </a:lnTo>
                      <a:lnTo>
                        <a:pt x="543605" y="657400"/>
                      </a:lnTo>
                      <a:lnTo>
                        <a:pt x="541454" y="668051"/>
                      </a:lnTo>
                      <a:cubicBezTo>
                        <a:pt x="527573" y="700871"/>
                        <a:pt x="495075" y="723900"/>
                        <a:pt x="457198" y="723900"/>
                      </a:cubicBezTo>
                      <a:lnTo>
                        <a:pt x="91442" y="723900"/>
                      </a:lnTo>
                      <a:cubicBezTo>
                        <a:pt x="40940" y="723900"/>
                        <a:pt x="0" y="682960"/>
                        <a:pt x="0" y="632458"/>
                      </a:cubicBezTo>
                      <a:lnTo>
                        <a:pt x="0" y="91442"/>
                      </a:lnTo>
                      <a:cubicBezTo>
                        <a:pt x="0" y="40940"/>
                        <a:pt x="40940" y="0"/>
                        <a:pt x="9144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65" name="Rectangle 20"/>
                <p:cNvSpPr/>
                <p:nvPr/>
              </p:nvSpPr>
              <p:spPr>
                <a:xfrm>
                  <a:off x="3267940" y="1957742"/>
                  <a:ext cx="878380" cy="946077"/>
                </a:xfrm>
                <a:custGeom>
                  <a:avLst/>
                  <a:gdLst>
                    <a:gd name="connsiteX0" fmla="*/ 0 w 910858"/>
                    <a:gd name="connsiteY0" fmla="*/ 0 h 1112520"/>
                    <a:gd name="connsiteX1" fmla="*/ 9108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10858"/>
                    <a:gd name="connsiteY0" fmla="*/ 0 h 1112520"/>
                    <a:gd name="connsiteX1" fmla="*/ 8727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94678"/>
                    <a:gd name="connsiteY0" fmla="*/ 0 h 1112520"/>
                    <a:gd name="connsiteX1" fmla="*/ 872758 w 994678"/>
                    <a:gd name="connsiteY1" fmla="*/ 0 h 1112520"/>
                    <a:gd name="connsiteX2" fmla="*/ 994678 w 994678"/>
                    <a:gd name="connsiteY2" fmla="*/ 68580 h 1112520"/>
                    <a:gd name="connsiteX3" fmla="*/ 0 w 994678"/>
                    <a:gd name="connsiteY3" fmla="*/ 1112520 h 1112520"/>
                    <a:gd name="connsiteX4" fmla="*/ 0 w 994678"/>
                    <a:gd name="connsiteY4" fmla="*/ 0 h 1112520"/>
                    <a:gd name="connsiteX0" fmla="*/ 0 w 994678"/>
                    <a:gd name="connsiteY0" fmla="*/ 0 h 883920"/>
                    <a:gd name="connsiteX1" fmla="*/ 872758 w 994678"/>
                    <a:gd name="connsiteY1" fmla="*/ 0 h 883920"/>
                    <a:gd name="connsiteX2" fmla="*/ 994678 w 994678"/>
                    <a:gd name="connsiteY2" fmla="*/ 68580 h 883920"/>
                    <a:gd name="connsiteX3" fmla="*/ 434340 w 994678"/>
                    <a:gd name="connsiteY3" fmla="*/ 883920 h 883920"/>
                    <a:gd name="connsiteX4" fmla="*/ 0 w 994678"/>
                    <a:gd name="connsiteY4" fmla="*/ 0 h 883920"/>
                    <a:gd name="connsiteX0" fmla="*/ 7620 w 560338"/>
                    <a:gd name="connsiteY0" fmla="*/ 548640 h 883920"/>
                    <a:gd name="connsiteX1" fmla="*/ 438418 w 560338"/>
                    <a:gd name="connsiteY1" fmla="*/ 0 h 883920"/>
                    <a:gd name="connsiteX2" fmla="*/ 560338 w 560338"/>
                    <a:gd name="connsiteY2" fmla="*/ 68580 h 883920"/>
                    <a:gd name="connsiteX3" fmla="*/ 0 w 560338"/>
                    <a:gd name="connsiteY3" fmla="*/ 883920 h 883920"/>
                    <a:gd name="connsiteX4" fmla="*/ 7620 w 560338"/>
                    <a:gd name="connsiteY4" fmla="*/ 548640 h 883920"/>
                    <a:gd name="connsiteX0" fmla="*/ 18782 w 571500"/>
                    <a:gd name="connsiteY0" fmla="*/ 548640 h 883920"/>
                    <a:gd name="connsiteX1" fmla="*/ 449580 w 571500"/>
                    <a:gd name="connsiteY1" fmla="*/ 0 h 883920"/>
                    <a:gd name="connsiteX2" fmla="*/ 571500 w 571500"/>
                    <a:gd name="connsiteY2" fmla="*/ 68580 h 883920"/>
                    <a:gd name="connsiteX3" fmla="*/ 11162 w 571500"/>
                    <a:gd name="connsiteY3" fmla="*/ 883920 h 883920"/>
                    <a:gd name="connsiteX4" fmla="*/ 0 w 571500"/>
                    <a:gd name="connsiteY4" fmla="*/ 739140 h 883920"/>
                    <a:gd name="connsiteX5" fmla="*/ 18782 w 5715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0 w 800100"/>
                    <a:gd name="connsiteY4" fmla="*/ 472440 h 883920"/>
                    <a:gd name="connsiteX5" fmla="*/ 247382 w 8001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129540 w 800100"/>
                    <a:gd name="connsiteY4" fmla="*/ 678180 h 883920"/>
                    <a:gd name="connsiteX5" fmla="*/ 0 w 800100"/>
                    <a:gd name="connsiteY5" fmla="*/ 472440 h 883920"/>
                    <a:gd name="connsiteX6" fmla="*/ 247382 w 8001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31596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27024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23582 w 876300"/>
                    <a:gd name="connsiteY6" fmla="*/ 548640 h 914400"/>
                    <a:gd name="connsiteX0" fmla="*/ 308342 w 876300"/>
                    <a:gd name="connsiteY0" fmla="*/ 60198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08342 w 876300"/>
                    <a:gd name="connsiteY6" fmla="*/ 601980 h 914400"/>
                    <a:gd name="connsiteX0" fmla="*/ 308342 w 876300"/>
                    <a:gd name="connsiteY0" fmla="*/ 601980 h 876300"/>
                    <a:gd name="connsiteX1" fmla="*/ 754380 w 876300"/>
                    <a:gd name="connsiteY1" fmla="*/ 0 h 876300"/>
                    <a:gd name="connsiteX2" fmla="*/ 876300 w 876300"/>
                    <a:gd name="connsiteY2" fmla="*/ 68580 h 876300"/>
                    <a:gd name="connsiteX3" fmla="*/ 285482 w 876300"/>
                    <a:gd name="connsiteY3" fmla="*/ 876300 h 876300"/>
                    <a:gd name="connsiteX4" fmla="*/ 0 w 876300"/>
                    <a:gd name="connsiteY4" fmla="*/ 609600 h 876300"/>
                    <a:gd name="connsiteX5" fmla="*/ 76200 w 876300"/>
                    <a:gd name="connsiteY5" fmla="*/ 472440 h 876300"/>
                    <a:gd name="connsiteX6" fmla="*/ 308342 w 876300"/>
                    <a:gd name="connsiteY6" fmla="*/ 601980 h 876300"/>
                    <a:gd name="connsiteX0" fmla="*/ 331202 w 899160"/>
                    <a:gd name="connsiteY0" fmla="*/ 60198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31202 w 899160"/>
                    <a:gd name="connsiteY6" fmla="*/ 601980 h 876300"/>
                    <a:gd name="connsiteX0" fmla="*/ 323582 w 899160"/>
                    <a:gd name="connsiteY0" fmla="*/ 65532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23582 w 899160"/>
                    <a:gd name="connsiteY6" fmla="*/ 655320 h 876300"/>
                    <a:gd name="connsiteX0" fmla="*/ 323582 w 899160"/>
                    <a:gd name="connsiteY0" fmla="*/ 67056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70560 h 891540"/>
                    <a:gd name="connsiteX0" fmla="*/ 323582 w 899160"/>
                    <a:gd name="connsiteY0" fmla="*/ 64008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40080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283538 w 899160"/>
                    <a:gd name="connsiteY6" fmla="*/ 700339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67025 w 899160"/>
                    <a:gd name="connsiteY5" fmla="*/ 514462 h 891540"/>
                    <a:gd name="connsiteX6" fmla="*/ 283538 w 899160"/>
                    <a:gd name="connsiteY6" fmla="*/ 700339 h 891540"/>
                    <a:gd name="connsiteX0" fmla="*/ 283538 w 891151"/>
                    <a:gd name="connsiteY0" fmla="*/ 700339 h 891540"/>
                    <a:gd name="connsiteX1" fmla="*/ 746760 w 891151"/>
                    <a:gd name="connsiteY1" fmla="*/ 0 h 891540"/>
                    <a:gd name="connsiteX2" fmla="*/ 891151 w 891151"/>
                    <a:gd name="connsiteY2" fmla="*/ 150774 h 891540"/>
                    <a:gd name="connsiteX3" fmla="*/ 308342 w 891151"/>
                    <a:gd name="connsiteY3" fmla="*/ 891540 h 891540"/>
                    <a:gd name="connsiteX4" fmla="*/ 0 w 891151"/>
                    <a:gd name="connsiteY4" fmla="*/ 647700 h 891540"/>
                    <a:gd name="connsiteX5" fmla="*/ 67025 w 891151"/>
                    <a:gd name="connsiteY5" fmla="*/ 514462 h 891540"/>
                    <a:gd name="connsiteX6" fmla="*/ 283538 w 891151"/>
                    <a:gd name="connsiteY6" fmla="*/ 700339 h 891540"/>
                    <a:gd name="connsiteX0" fmla="*/ 283538 w 891151"/>
                    <a:gd name="connsiteY0" fmla="*/ 640080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83538 w 891151"/>
                    <a:gd name="connsiteY6" fmla="*/ 640080 h 831281"/>
                    <a:gd name="connsiteX0" fmla="*/ 275530 w 891151"/>
                    <a:gd name="connsiteY0" fmla="*/ 599908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75530 w 891151"/>
                    <a:gd name="connsiteY6" fmla="*/ 599908 h 831281"/>
                    <a:gd name="connsiteX0" fmla="*/ 307565 w 923186"/>
                    <a:gd name="connsiteY0" fmla="*/ 599908 h 831281"/>
                    <a:gd name="connsiteX1" fmla="*/ 762778 w 923186"/>
                    <a:gd name="connsiteY1" fmla="*/ 0 h 831281"/>
                    <a:gd name="connsiteX2" fmla="*/ 923186 w 923186"/>
                    <a:gd name="connsiteY2" fmla="*/ 90515 h 831281"/>
                    <a:gd name="connsiteX3" fmla="*/ 340377 w 923186"/>
                    <a:gd name="connsiteY3" fmla="*/ 831281 h 831281"/>
                    <a:gd name="connsiteX4" fmla="*/ 0 w 923186"/>
                    <a:gd name="connsiteY4" fmla="*/ 620918 h 831281"/>
                    <a:gd name="connsiteX5" fmla="*/ 99060 w 923186"/>
                    <a:gd name="connsiteY5" fmla="*/ 454203 h 831281"/>
                    <a:gd name="connsiteX6" fmla="*/ 307565 w 923186"/>
                    <a:gd name="connsiteY6" fmla="*/ 599908 h 831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3186" h="831281">
                      <a:moveTo>
                        <a:pt x="307565" y="599908"/>
                      </a:moveTo>
                      <a:lnTo>
                        <a:pt x="762778" y="0"/>
                      </a:lnTo>
                      <a:lnTo>
                        <a:pt x="923186" y="90515"/>
                      </a:lnTo>
                      <a:lnTo>
                        <a:pt x="340377" y="831281"/>
                      </a:lnTo>
                      <a:lnTo>
                        <a:pt x="0" y="620918"/>
                      </a:lnTo>
                      <a:lnTo>
                        <a:pt x="99060" y="454203"/>
                      </a:lnTo>
                      <a:lnTo>
                        <a:pt x="307565" y="5999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49" name="Group 148"/>
              <p:cNvGrpSpPr/>
              <p:nvPr/>
            </p:nvGrpSpPr>
            <p:grpSpPr>
              <a:xfrm>
                <a:off x="2979287" y="3257864"/>
                <a:ext cx="1174521" cy="1120738"/>
                <a:chOff x="2971799" y="1957742"/>
                <a:chExt cx="1174521" cy="1120738"/>
              </a:xfrm>
              <a:grpFill/>
            </p:grpSpPr>
            <p:sp>
              <p:nvSpPr>
                <p:cNvPr id="162" name="Freeform 161"/>
                <p:cNvSpPr/>
                <p:nvPr/>
              </p:nvSpPr>
              <p:spPr>
                <a:xfrm>
                  <a:off x="2971799" y="2354580"/>
                  <a:ext cx="543605" cy="723900"/>
                </a:xfrm>
                <a:custGeom>
                  <a:avLst/>
                  <a:gdLst>
                    <a:gd name="connsiteX0" fmla="*/ 432877 w 546522"/>
                    <a:gd name="connsiteY0" fmla="*/ 0 h 723900"/>
                    <a:gd name="connsiteX1" fmla="*/ 457198 w 546522"/>
                    <a:gd name="connsiteY1" fmla="*/ 0 h 723900"/>
                    <a:gd name="connsiteX2" fmla="*/ 541454 w 546522"/>
                    <a:gd name="connsiteY2" fmla="*/ 55849 h 723900"/>
                    <a:gd name="connsiteX3" fmla="*/ 546522 w 546522"/>
                    <a:gd name="connsiteY3" fmla="*/ 80948 h 723900"/>
                    <a:gd name="connsiteX4" fmla="*/ 91442 w 546522"/>
                    <a:gd name="connsiteY4" fmla="*/ 0 h 723900"/>
                    <a:gd name="connsiteX5" fmla="*/ 294237 w 546522"/>
                    <a:gd name="connsiteY5" fmla="*/ 0 h 723900"/>
                    <a:gd name="connsiteX6" fmla="*/ 259248 w 546522"/>
                    <a:gd name="connsiteY6" fmla="*/ 99060 h 723900"/>
                    <a:gd name="connsiteX7" fmla="*/ 147939 w 546522"/>
                    <a:gd name="connsiteY7" fmla="*/ 99060 h 723900"/>
                    <a:gd name="connsiteX8" fmla="*/ 84747 w 546522"/>
                    <a:gd name="connsiteY8" fmla="*/ 162252 h 723900"/>
                    <a:gd name="connsiteX9" fmla="*/ 84747 w 546522"/>
                    <a:gd name="connsiteY9" fmla="*/ 561648 h 723900"/>
                    <a:gd name="connsiteX10" fmla="*/ 147939 w 546522"/>
                    <a:gd name="connsiteY10" fmla="*/ 624840 h 723900"/>
                    <a:gd name="connsiteX11" fmla="*/ 400702 w 546522"/>
                    <a:gd name="connsiteY11" fmla="*/ 624840 h 723900"/>
                    <a:gd name="connsiteX12" fmla="*/ 458928 w 546522"/>
                    <a:gd name="connsiteY12" fmla="*/ 586245 h 723900"/>
                    <a:gd name="connsiteX13" fmla="*/ 460480 w 546522"/>
                    <a:gd name="connsiteY13" fmla="*/ 578560 h 723900"/>
                    <a:gd name="connsiteX14" fmla="*/ 543605 w 546522"/>
                    <a:gd name="connsiteY14" fmla="*/ 657400 h 723900"/>
                    <a:gd name="connsiteX15" fmla="*/ 541454 w 546522"/>
                    <a:gd name="connsiteY15" fmla="*/ 668051 h 723900"/>
                    <a:gd name="connsiteX16" fmla="*/ 457198 w 546522"/>
                    <a:gd name="connsiteY16" fmla="*/ 723900 h 723900"/>
                    <a:gd name="connsiteX17" fmla="*/ 91442 w 546522"/>
                    <a:gd name="connsiteY17" fmla="*/ 723900 h 723900"/>
                    <a:gd name="connsiteX18" fmla="*/ 0 w 546522"/>
                    <a:gd name="connsiteY18" fmla="*/ 632458 h 723900"/>
                    <a:gd name="connsiteX19" fmla="*/ 0 w 546522"/>
                    <a:gd name="connsiteY19" fmla="*/ 91442 h 723900"/>
                    <a:gd name="connsiteX20" fmla="*/ 91442 w 546522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541454 w 543605"/>
                    <a:gd name="connsiteY2" fmla="*/ 55849 h 723900"/>
                    <a:gd name="connsiteX3" fmla="*/ 432877 w 543605"/>
                    <a:gd name="connsiteY3" fmla="*/ 0 h 723900"/>
                    <a:gd name="connsiteX4" fmla="*/ 91442 w 543605"/>
                    <a:gd name="connsiteY4" fmla="*/ 0 h 723900"/>
                    <a:gd name="connsiteX5" fmla="*/ 294237 w 543605"/>
                    <a:gd name="connsiteY5" fmla="*/ 0 h 723900"/>
                    <a:gd name="connsiteX6" fmla="*/ 259248 w 543605"/>
                    <a:gd name="connsiteY6" fmla="*/ 99060 h 723900"/>
                    <a:gd name="connsiteX7" fmla="*/ 147939 w 543605"/>
                    <a:gd name="connsiteY7" fmla="*/ 99060 h 723900"/>
                    <a:gd name="connsiteX8" fmla="*/ 84747 w 543605"/>
                    <a:gd name="connsiteY8" fmla="*/ 162252 h 723900"/>
                    <a:gd name="connsiteX9" fmla="*/ 84747 w 543605"/>
                    <a:gd name="connsiteY9" fmla="*/ 561648 h 723900"/>
                    <a:gd name="connsiteX10" fmla="*/ 147939 w 543605"/>
                    <a:gd name="connsiteY10" fmla="*/ 624840 h 723900"/>
                    <a:gd name="connsiteX11" fmla="*/ 400702 w 543605"/>
                    <a:gd name="connsiteY11" fmla="*/ 624840 h 723900"/>
                    <a:gd name="connsiteX12" fmla="*/ 458928 w 543605"/>
                    <a:gd name="connsiteY12" fmla="*/ 586245 h 723900"/>
                    <a:gd name="connsiteX13" fmla="*/ 460480 w 543605"/>
                    <a:gd name="connsiteY13" fmla="*/ 578560 h 723900"/>
                    <a:gd name="connsiteX14" fmla="*/ 543605 w 543605"/>
                    <a:gd name="connsiteY14" fmla="*/ 657400 h 723900"/>
                    <a:gd name="connsiteX15" fmla="*/ 541454 w 543605"/>
                    <a:gd name="connsiteY15" fmla="*/ 668051 h 723900"/>
                    <a:gd name="connsiteX16" fmla="*/ 457198 w 543605"/>
                    <a:gd name="connsiteY16" fmla="*/ 723900 h 723900"/>
                    <a:gd name="connsiteX17" fmla="*/ 91442 w 543605"/>
                    <a:gd name="connsiteY17" fmla="*/ 723900 h 723900"/>
                    <a:gd name="connsiteX18" fmla="*/ 0 w 543605"/>
                    <a:gd name="connsiteY18" fmla="*/ 632458 h 723900"/>
                    <a:gd name="connsiteX19" fmla="*/ 0 w 543605"/>
                    <a:gd name="connsiteY19" fmla="*/ 91442 h 723900"/>
                    <a:gd name="connsiteX20" fmla="*/ 91442 w 543605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432877 w 543605"/>
                    <a:gd name="connsiteY2" fmla="*/ 0 h 723900"/>
                    <a:gd name="connsiteX3" fmla="*/ 91442 w 543605"/>
                    <a:gd name="connsiteY3" fmla="*/ 0 h 723900"/>
                    <a:gd name="connsiteX4" fmla="*/ 294237 w 543605"/>
                    <a:gd name="connsiteY4" fmla="*/ 0 h 723900"/>
                    <a:gd name="connsiteX5" fmla="*/ 259248 w 543605"/>
                    <a:gd name="connsiteY5" fmla="*/ 99060 h 723900"/>
                    <a:gd name="connsiteX6" fmla="*/ 147939 w 543605"/>
                    <a:gd name="connsiteY6" fmla="*/ 99060 h 723900"/>
                    <a:gd name="connsiteX7" fmla="*/ 84747 w 543605"/>
                    <a:gd name="connsiteY7" fmla="*/ 162252 h 723900"/>
                    <a:gd name="connsiteX8" fmla="*/ 84747 w 543605"/>
                    <a:gd name="connsiteY8" fmla="*/ 561648 h 723900"/>
                    <a:gd name="connsiteX9" fmla="*/ 147939 w 543605"/>
                    <a:gd name="connsiteY9" fmla="*/ 624840 h 723900"/>
                    <a:gd name="connsiteX10" fmla="*/ 400702 w 543605"/>
                    <a:gd name="connsiteY10" fmla="*/ 624840 h 723900"/>
                    <a:gd name="connsiteX11" fmla="*/ 458928 w 543605"/>
                    <a:gd name="connsiteY11" fmla="*/ 586245 h 723900"/>
                    <a:gd name="connsiteX12" fmla="*/ 460480 w 543605"/>
                    <a:gd name="connsiteY12" fmla="*/ 578560 h 723900"/>
                    <a:gd name="connsiteX13" fmla="*/ 543605 w 543605"/>
                    <a:gd name="connsiteY13" fmla="*/ 657400 h 723900"/>
                    <a:gd name="connsiteX14" fmla="*/ 541454 w 543605"/>
                    <a:gd name="connsiteY14" fmla="*/ 668051 h 723900"/>
                    <a:gd name="connsiteX15" fmla="*/ 457198 w 543605"/>
                    <a:gd name="connsiteY15" fmla="*/ 723900 h 723900"/>
                    <a:gd name="connsiteX16" fmla="*/ 91442 w 543605"/>
                    <a:gd name="connsiteY16" fmla="*/ 723900 h 723900"/>
                    <a:gd name="connsiteX17" fmla="*/ 0 w 543605"/>
                    <a:gd name="connsiteY17" fmla="*/ 632458 h 723900"/>
                    <a:gd name="connsiteX18" fmla="*/ 0 w 543605"/>
                    <a:gd name="connsiteY18" fmla="*/ 91442 h 723900"/>
                    <a:gd name="connsiteX19" fmla="*/ 91442 w 543605"/>
                    <a:gd name="connsiteY19" fmla="*/ 0 h 723900"/>
                    <a:gd name="connsiteX0" fmla="*/ 91442 w 543605"/>
                    <a:gd name="connsiteY0" fmla="*/ 0 h 723900"/>
                    <a:gd name="connsiteX1" fmla="*/ 294237 w 543605"/>
                    <a:gd name="connsiteY1" fmla="*/ 0 h 723900"/>
                    <a:gd name="connsiteX2" fmla="*/ 259248 w 543605"/>
                    <a:gd name="connsiteY2" fmla="*/ 99060 h 723900"/>
                    <a:gd name="connsiteX3" fmla="*/ 147939 w 543605"/>
                    <a:gd name="connsiteY3" fmla="*/ 99060 h 723900"/>
                    <a:gd name="connsiteX4" fmla="*/ 84747 w 543605"/>
                    <a:gd name="connsiteY4" fmla="*/ 162252 h 723900"/>
                    <a:gd name="connsiteX5" fmla="*/ 84747 w 543605"/>
                    <a:gd name="connsiteY5" fmla="*/ 561648 h 723900"/>
                    <a:gd name="connsiteX6" fmla="*/ 147939 w 543605"/>
                    <a:gd name="connsiteY6" fmla="*/ 624840 h 723900"/>
                    <a:gd name="connsiteX7" fmla="*/ 400702 w 543605"/>
                    <a:gd name="connsiteY7" fmla="*/ 624840 h 723900"/>
                    <a:gd name="connsiteX8" fmla="*/ 458928 w 543605"/>
                    <a:gd name="connsiteY8" fmla="*/ 586245 h 723900"/>
                    <a:gd name="connsiteX9" fmla="*/ 460480 w 543605"/>
                    <a:gd name="connsiteY9" fmla="*/ 578560 h 723900"/>
                    <a:gd name="connsiteX10" fmla="*/ 543605 w 543605"/>
                    <a:gd name="connsiteY10" fmla="*/ 657400 h 723900"/>
                    <a:gd name="connsiteX11" fmla="*/ 541454 w 543605"/>
                    <a:gd name="connsiteY11" fmla="*/ 668051 h 723900"/>
                    <a:gd name="connsiteX12" fmla="*/ 457198 w 543605"/>
                    <a:gd name="connsiteY12" fmla="*/ 723900 h 723900"/>
                    <a:gd name="connsiteX13" fmla="*/ 91442 w 543605"/>
                    <a:gd name="connsiteY13" fmla="*/ 723900 h 723900"/>
                    <a:gd name="connsiteX14" fmla="*/ 0 w 543605"/>
                    <a:gd name="connsiteY14" fmla="*/ 632458 h 723900"/>
                    <a:gd name="connsiteX15" fmla="*/ 0 w 543605"/>
                    <a:gd name="connsiteY15" fmla="*/ 91442 h 723900"/>
                    <a:gd name="connsiteX16" fmla="*/ 91442 w 543605"/>
                    <a:gd name="connsiteY1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43605" h="723900">
                      <a:moveTo>
                        <a:pt x="91442" y="0"/>
                      </a:moveTo>
                      <a:lnTo>
                        <a:pt x="294237" y="0"/>
                      </a:lnTo>
                      <a:lnTo>
                        <a:pt x="259248" y="99060"/>
                      </a:lnTo>
                      <a:lnTo>
                        <a:pt x="147939" y="99060"/>
                      </a:lnTo>
                      <a:cubicBezTo>
                        <a:pt x="113039" y="99060"/>
                        <a:pt x="84747" y="127352"/>
                        <a:pt x="84747" y="162252"/>
                      </a:cubicBezTo>
                      <a:lnTo>
                        <a:pt x="84747" y="561648"/>
                      </a:lnTo>
                      <a:cubicBezTo>
                        <a:pt x="84747" y="596548"/>
                        <a:pt x="113039" y="624840"/>
                        <a:pt x="147939" y="624840"/>
                      </a:cubicBezTo>
                      <a:lnTo>
                        <a:pt x="400702" y="624840"/>
                      </a:lnTo>
                      <a:cubicBezTo>
                        <a:pt x="426877" y="624840"/>
                        <a:pt x="449335" y="608926"/>
                        <a:pt x="458928" y="586245"/>
                      </a:cubicBezTo>
                      <a:lnTo>
                        <a:pt x="460480" y="578560"/>
                      </a:lnTo>
                      <a:lnTo>
                        <a:pt x="543605" y="657400"/>
                      </a:lnTo>
                      <a:lnTo>
                        <a:pt x="541454" y="668051"/>
                      </a:lnTo>
                      <a:cubicBezTo>
                        <a:pt x="527573" y="700871"/>
                        <a:pt x="495075" y="723900"/>
                        <a:pt x="457198" y="723900"/>
                      </a:cubicBezTo>
                      <a:lnTo>
                        <a:pt x="91442" y="723900"/>
                      </a:lnTo>
                      <a:cubicBezTo>
                        <a:pt x="40940" y="723900"/>
                        <a:pt x="0" y="682960"/>
                        <a:pt x="0" y="632458"/>
                      </a:cubicBezTo>
                      <a:lnTo>
                        <a:pt x="0" y="91442"/>
                      </a:lnTo>
                      <a:cubicBezTo>
                        <a:pt x="0" y="40940"/>
                        <a:pt x="40940" y="0"/>
                        <a:pt x="9144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63" name="Rectangle 20"/>
                <p:cNvSpPr/>
                <p:nvPr/>
              </p:nvSpPr>
              <p:spPr>
                <a:xfrm>
                  <a:off x="3267940" y="1957742"/>
                  <a:ext cx="878380" cy="946077"/>
                </a:xfrm>
                <a:custGeom>
                  <a:avLst/>
                  <a:gdLst>
                    <a:gd name="connsiteX0" fmla="*/ 0 w 910858"/>
                    <a:gd name="connsiteY0" fmla="*/ 0 h 1112520"/>
                    <a:gd name="connsiteX1" fmla="*/ 9108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10858"/>
                    <a:gd name="connsiteY0" fmla="*/ 0 h 1112520"/>
                    <a:gd name="connsiteX1" fmla="*/ 8727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94678"/>
                    <a:gd name="connsiteY0" fmla="*/ 0 h 1112520"/>
                    <a:gd name="connsiteX1" fmla="*/ 872758 w 994678"/>
                    <a:gd name="connsiteY1" fmla="*/ 0 h 1112520"/>
                    <a:gd name="connsiteX2" fmla="*/ 994678 w 994678"/>
                    <a:gd name="connsiteY2" fmla="*/ 68580 h 1112520"/>
                    <a:gd name="connsiteX3" fmla="*/ 0 w 994678"/>
                    <a:gd name="connsiteY3" fmla="*/ 1112520 h 1112520"/>
                    <a:gd name="connsiteX4" fmla="*/ 0 w 994678"/>
                    <a:gd name="connsiteY4" fmla="*/ 0 h 1112520"/>
                    <a:gd name="connsiteX0" fmla="*/ 0 w 994678"/>
                    <a:gd name="connsiteY0" fmla="*/ 0 h 883920"/>
                    <a:gd name="connsiteX1" fmla="*/ 872758 w 994678"/>
                    <a:gd name="connsiteY1" fmla="*/ 0 h 883920"/>
                    <a:gd name="connsiteX2" fmla="*/ 994678 w 994678"/>
                    <a:gd name="connsiteY2" fmla="*/ 68580 h 883920"/>
                    <a:gd name="connsiteX3" fmla="*/ 434340 w 994678"/>
                    <a:gd name="connsiteY3" fmla="*/ 883920 h 883920"/>
                    <a:gd name="connsiteX4" fmla="*/ 0 w 994678"/>
                    <a:gd name="connsiteY4" fmla="*/ 0 h 883920"/>
                    <a:gd name="connsiteX0" fmla="*/ 7620 w 560338"/>
                    <a:gd name="connsiteY0" fmla="*/ 548640 h 883920"/>
                    <a:gd name="connsiteX1" fmla="*/ 438418 w 560338"/>
                    <a:gd name="connsiteY1" fmla="*/ 0 h 883920"/>
                    <a:gd name="connsiteX2" fmla="*/ 560338 w 560338"/>
                    <a:gd name="connsiteY2" fmla="*/ 68580 h 883920"/>
                    <a:gd name="connsiteX3" fmla="*/ 0 w 560338"/>
                    <a:gd name="connsiteY3" fmla="*/ 883920 h 883920"/>
                    <a:gd name="connsiteX4" fmla="*/ 7620 w 560338"/>
                    <a:gd name="connsiteY4" fmla="*/ 548640 h 883920"/>
                    <a:gd name="connsiteX0" fmla="*/ 18782 w 571500"/>
                    <a:gd name="connsiteY0" fmla="*/ 548640 h 883920"/>
                    <a:gd name="connsiteX1" fmla="*/ 449580 w 571500"/>
                    <a:gd name="connsiteY1" fmla="*/ 0 h 883920"/>
                    <a:gd name="connsiteX2" fmla="*/ 571500 w 571500"/>
                    <a:gd name="connsiteY2" fmla="*/ 68580 h 883920"/>
                    <a:gd name="connsiteX3" fmla="*/ 11162 w 571500"/>
                    <a:gd name="connsiteY3" fmla="*/ 883920 h 883920"/>
                    <a:gd name="connsiteX4" fmla="*/ 0 w 571500"/>
                    <a:gd name="connsiteY4" fmla="*/ 739140 h 883920"/>
                    <a:gd name="connsiteX5" fmla="*/ 18782 w 5715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0 w 800100"/>
                    <a:gd name="connsiteY4" fmla="*/ 472440 h 883920"/>
                    <a:gd name="connsiteX5" fmla="*/ 247382 w 8001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129540 w 800100"/>
                    <a:gd name="connsiteY4" fmla="*/ 678180 h 883920"/>
                    <a:gd name="connsiteX5" fmla="*/ 0 w 800100"/>
                    <a:gd name="connsiteY5" fmla="*/ 472440 h 883920"/>
                    <a:gd name="connsiteX6" fmla="*/ 247382 w 8001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31596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27024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23582 w 876300"/>
                    <a:gd name="connsiteY6" fmla="*/ 548640 h 914400"/>
                    <a:gd name="connsiteX0" fmla="*/ 308342 w 876300"/>
                    <a:gd name="connsiteY0" fmla="*/ 60198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08342 w 876300"/>
                    <a:gd name="connsiteY6" fmla="*/ 601980 h 914400"/>
                    <a:gd name="connsiteX0" fmla="*/ 308342 w 876300"/>
                    <a:gd name="connsiteY0" fmla="*/ 601980 h 876300"/>
                    <a:gd name="connsiteX1" fmla="*/ 754380 w 876300"/>
                    <a:gd name="connsiteY1" fmla="*/ 0 h 876300"/>
                    <a:gd name="connsiteX2" fmla="*/ 876300 w 876300"/>
                    <a:gd name="connsiteY2" fmla="*/ 68580 h 876300"/>
                    <a:gd name="connsiteX3" fmla="*/ 285482 w 876300"/>
                    <a:gd name="connsiteY3" fmla="*/ 876300 h 876300"/>
                    <a:gd name="connsiteX4" fmla="*/ 0 w 876300"/>
                    <a:gd name="connsiteY4" fmla="*/ 609600 h 876300"/>
                    <a:gd name="connsiteX5" fmla="*/ 76200 w 876300"/>
                    <a:gd name="connsiteY5" fmla="*/ 472440 h 876300"/>
                    <a:gd name="connsiteX6" fmla="*/ 308342 w 876300"/>
                    <a:gd name="connsiteY6" fmla="*/ 601980 h 876300"/>
                    <a:gd name="connsiteX0" fmla="*/ 331202 w 899160"/>
                    <a:gd name="connsiteY0" fmla="*/ 60198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31202 w 899160"/>
                    <a:gd name="connsiteY6" fmla="*/ 601980 h 876300"/>
                    <a:gd name="connsiteX0" fmla="*/ 323582 w 899160"/>
                    <a:gd name="connsiteY0" fmla="*/ 65532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23582 w 899160"/>
                    <a:gd name="connsiteY6" fmla="*/ 655320 h 876300"/>
                    <a:gd name="connsiteX0" fmla="*/ 323582 w 899160"/>
                    <a:gd name="connsiteY0" fmla="*/ 67056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70560 h 891540"/>
                    <a:gd name="connsiteX0" fmla="*/ 323582 w 899160"/>
                    <a:gd name="connsiteY0" fmla="*/ 64008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40080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283538 w 899160"/>
                    <a:gd name="connsiteY6" fmla="*/ 700339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67025 w 899160"/>
                    <a:gd name="connsiteY5" fmla="*/ 514462 h 891540"/>
                    <a:gd name="connsiteX6" fmla="*/ 283538 w 899160"/>
                    <a:gd name="connsiteY6" fmla="*/ 700339 h 891540"/>
                    <a:gd name="connsiteX0" fmla="*/ 283538 w 891151"/>
                    <a:gd name="connsiteY0" fmla="*/ 700339 h 891540"/>
                    <a:gd name="connsiteX1" fmla="*/ 746760 w 891151"/>
                    <a:gd name="connsiteY1" fmla="*/ 0 h 891540"/>
                    <a:gd name="connsiteX2" fmla="*/ 891151 w 891151"/>
                    <a:gd name="connsiteY2" fmla="*/ 150774 h 891540"/>
                    <a:gd name="connsiteX3" fmla="*/ 308342 w 891151"/>
                    <a:gd name="connsiteY3" fmla="*/ 891540 h 891540"/>
                    <a:gd name="connsiteX4" fmla="*/ 0 w 891151"/>
                    <a:gd name="connsiteY4" fmla="*/ 647700 h 891540"/>
                    <a:gd name="connsiteX5" fmla="*/ 67025 w 891151"/>
                    <a:gd name="connsiteY5" fmla="*/ 514462 h 891540"/>
                    <a:gd name="connsiteX6" fmla="*/ 283538 w 891151"/>
                    <a:gd name="connsiteY6" fmla="*/ 700339 h 891540"/>
                    <a:gd name="connsiteX0" fmla="*/ 283538 w 891151"/>
                    <a:gd name="connsiteY0" fmla="*/ 640080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83538 w 891151"/>
                    <a:gd name="connsiteY6" fmla="*/ 640080 h 831281"/>
                    <a:gd name="connsiteX0" fmla="*/ 275530 w 891151"/>
                    <a:gd name="connsiteY0" fmla="*/ 599908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75530 w 891151"/>
                    <a:gd name="connsiteY6" fmla="*/ 599908 h 831281"/>
                    <a:gd name="connsiteX0" fmla="*/ 307565 w 923186"/>
                    <a:gd name="connsiteY0" fmla="*/ 599908 h 831281"/>
                    <a:gd name="connsiteX1" fmla="*/ 762778 w 923186"/>
                    <a:gd name="connsiteY1" fmla="*/ 0 h 831281"/>
                    <a:gd name="connsiteX2" fmla="*/ 923186 w 923186"/>
                    <a:gd name="connsiteY2" fmla="*/ 90515 h 831281"/>
                    <a:gd name="connsiteX3" fmla="*/ 340377 w 923186"/>
                    <a:gd name="connsiteY3" fmla="*/ 831281 h 831281"/>
                    <a:gd name="connsiteX4" fmla="*/ 0 w 923186"/>
                    <a:gd name="connsiteY4" fmla="*/ 620918 h 831281"/>
                    <a:gd name="connsiteX5" fmla="*/ 99060 w 923186"/>
                    <a:gd name="connsiteY5" fmla="*/ 454203 h 831281"/>
                    <a:gd name="connsiteX6" fmla="*/ 307565 w 923186"/>
                    <a:gd name="connsiteY6" fmla="*/ 599908 h 831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3186" h="831281">
                      <a:moveTo>
                        <a:pt x="307565" y="599908"/>
                      </a:moveTo>
                      <a:lnTo>
                        <a:pt x="762778" y="0"/>
                      </a:lnTo>
                      <a:lnTo>
                        <a:pt x="923186" y="90515"/>
                      </a:lnTo>
                      <a:lnTo>
                        <a:pt x="340377" y="831281"/>
                      </a:lnTo>
                      <a:lnTo>
                        <a:pt x="0" y="620918"/>
                      </a:lnTo>
                      <a:lnTo>
                        <a:pt x="99060" y="454203"/>
                      </a:lnTo>
                      <a:lnTo>
                        <a:pt x="307565" y="5999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50" name="Group 149"/>
              <p:cNvGrpSpPr/>
              <p:nvPr/>
            </p:nvGrpSpPr>
            <p:grpSpPr>
              <a:xfrm>
                <a:off x="2979287" y="4557986"/>
                <a:ext cx="1174521" cy="1120738"/>
                <a:chOff x="2971799" y="1957742"/>
                <a:chExt cx="1174521" cy="1120738"/>
              </a:xfrm>
              <a:grpFill/>
            </p:grpSpPr>
            <p:sp>
              <p:nvSpPr>
                <p:cNvPr id="160" name="Freeform 159"/>
                <p:cNvSpPr/>
                <p:nvPr/>
              </p:nvSpPr>
              <p:spPr>
                <a:xfrm>
                  <a:off x="2971799" y="2354580"/>
                  <a:ext cx="543605" cy="723900"/>
                </a:xfrm>
                <a:custGeom>
                  <a:avLst/>
                  <a:gdLst>
                    <a:gd name="connsiteX0" fmla="*/ 432877 w 546522"/>
                    <a:gd name="connsiteY0" fmla="*/ 0 h 723900"/>
                    <a:gd name="connsiteX1" fmla="*/ 457198 w 546522"/>
                    <a:gd name="connsiteY1" fmla="*/ 0 h 723900"/>
                    <a:gd name="connsiteX2" fmla="*/ 541454 w 546522"/>
                    <a:gd name="connsiteY2" fmla="*/ 55849 h 723900"/>
                    <a:gd name="connsiteX3" fmla="*/ 546522 w 546522"/>
                    <a:gd name="connsiteY3" fmla="*/ 80948 h 723900"/>
                    <a:gd name="connsiteX4" fmla="*/ 91442 w 546522"/>
                    <a:gd name="connsiteY4" fmla="*/ 0 h 723900"/>
                    <a:gd name="connsiteX5" fmla="*/ 294237 w 546522"/>
                    <a:gd name="connsiteY5" fmla="*/ 0 h 723900"/>
                    <a:gd name="connsiteX6" fmla="*/ 259248 w 546522"/>
                    <a:gd name="connsiteY6" fmla="*/ 99060 h 723900"/>
                    <a:gd name="connsiteX7" fmla="*/ 147939 w 546522"/>
                    <a:gd name="connsiteY7" fmla="*/ 99060 h 723900"/>
                    <a:gd name="connsiteX8" fmla="*/ 84747 w 546522"/>
                    <a:gd name="connsiteY8" fmla="*/ 162252 h 723900"/>
                    <a:gd name="connsiteX9" fmla="*/ 84747 w 546522"/>
                    <a:gd name="connsiteY9" fmla="*/ 561648 h 723900"/>
                    <a:gd name="connsiteX10" fmla="*/ 147939 w 546522"/>
                    <a:gd name="connsiteY10" fmla="*/ 624840 h 723900"/>
                    <a:gd name="connsiteX11" fmla="*/ 400702 w 546522"/>
                    <a:gd name="connsiteY11" fmla="*/ 624840 h 723900"/>
                    <a:gd name="connsiteX12" fmla="*/ 458928 w 546522"/>
                    <a:gd name="connsiteY12" fmla="*/ 586245 h 723900"/>
                    <a:gd name="connsiteX13" fmla="*/ 460480 w 546522"/>
                    <a:gd name="connsiteY13" fmla="*/ 578560 h 723900"/>
                    <a:gd name="connsiteX14" fmla="*/ 543605 w 546522"/>
                    <a:gd name="connsiteY14" fmla="*/ 657400 h 723900"/>
                    <a:gd name="connsiteX15" fmla="*/ 541454 w 546522"/>
                    <a:gd name="connsiteY15" fmla="*/ 668051 h 723900"/>
                    <a:gd name="connsiteX16" fmla="*/ 457198 w 546522"/>
                    <a:gd name="connsiteY16" fmla="*/ 723900 h 723900"/>
                    <a:gd name="connsiteX17" fmla="*/ 91442 w 546522"/>
                    <a:gd name="connsiteY17" fmla="*/ 723900 h 723900"/>
                    <a:gd name="connsiteX18" fmla="*/ 0 w 546522"/>
                    <a:gd name="connsiteY18" fmla="*/ 632458 h 723900"/>
                    <a:gd name="connsiteX19" fmla="*/ 0 w 546522"/>
                    <a:gd name="connsiteY19" fmla="*/ 91442 h 723900"/>
                    <a:gd name="connsiteX20" fmla="*/ 91442 w 546522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541454 w 543605"/>
                    <a:gd name="connsiteY2" fmla="*/ 55849 h 723900"/>
                    <a:gd name="connsiteX3" fmla="*/ 432877 w 543605"/>
                    <a:gd name="connsiteY3" fmla="*/ 0 h 723900"/>
                    <a:gd name="connsiteX4" fmla="*/ 91442 w 543605"/>
                    <a:gd name="connsiteY4" fmla="*/ 0 h 723900"/>
                    <a:gd name="connsiteX5" fmla="*/ 294237 w 543605"/>
                    <a:gd name="connsiteY5" fmla="*/ 0 h 723900"/>
                    <a:gd name="connsiteX6" fmla="*/ 259248 w 543605"/>
                    <a:gd name="connsiteY6" fmla="*/ 99060 h 723900"/>
                    <a:gd name="connsiteX7" fmla="*/ 147939 w 543605"/>
                    <a:gd name="connsiteY7" fmla="*/ 99060 h 723900"/>
                    <a:gd name="connsiteX8" fmla="*/ 84747 w 543605"/>
                    <a:gd name="connsiteY8" fmla="*/ 162252 h 723900"/>
                    <a:gd name="connsiteX9" fmla="*/ 84747 w 543605"/>
                    <a:gd name="connsiteY9" fmla="*/ 561648 h 723900"/>
                    <a:gd name="connsiteX10" fmla="*/ 147939 w 543605"/>
                    <a:gd name="connsiteY10" fmla="*/ 624840 h 723900"/>
                    <a:gd name="connsiteX11" fmla="*/ 400702 w 543605"/>
                    <a:gd name="connsiteY11" fmla="*/ 624840 h 723900"/>
                    <a:gd name="connsiteX12" fmla="*/ 458928 w 543605"/>
                    <a:gd name="connsiteY12" fmla="*/ 586245 h 723900"/>
                    <a:gd name="connsiteX13" fmla="*/ 460480 w 543605"/>
                    <a:gd name="connsiteY13" fmla="*/ 578560 h 723900"/>
                    <a:gd name="connsiteX14" fmla="*/ 543605 w 543605"/>
                    <a:gd name="connsiteY14" fmla="*/ 657400 h 723900"/>
                    <a:gd name="connsiteX15" fmla="*/ 541454 w 543605"/>
                    <a:gd name="connsiteY15" fmla="*/ 668051 h 723900"/>
                    <a:gd name="connsiteX16" fmla="*/ 457198 w 543605"/>
                    <a:gd name="connsiteY16" fmla="*/ 723900 h 723900"/>
                    <a:gd name="connsiteX17" fmla="*/ 91442 w 543605"/>
                    <a:gd name="connsiteY17" fmla="*/ 723900 h 723900"/>
                    <a:gd name="connsiteX18" fmla="*/ 0 w 543605"/>
                    <a:gd name="connsiteY18" fmla="*/ 632458 h 723900"/>
                    <a:gd name="connsiteX19" fmla="*/ 0 w 543605"/>
                    <a:gd name="connsiteY19" fmla="*/ 91442 h 723900"/>
                    <a:gd name="connsiteX20" fmla="*/ 91442 w 543605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432877 w 543605"/>
                    <a:gd name="connsiteY2" fmla="*/ 0 h 723900"/>
                    <a:gd name="connsiteX3" fmla="*/ 91442 w 543605"/>
                    <a:gd name="connsiteY3" fmla="*/ 0 h 723900"/>
                    <a:gd name="connsiteX4" fmla="*/ 294237 w 543605"/>
                    <a:gd name="connsiteY4" fmla="*/ 0 h 723900"/>
                    <a:gd name="connsiteX5" fmla="*/ 259248 w 543605"/>
                    <a:gd name="connsiteY5" fmla="*/ 99060 h 723900"/>
                    <a:gd name="connsiteX6" fmla="*/ 147939 w 543605"/>
                    <a:gd name="connsiteY6" fmla="*/ 99060 h 723900"/>
                    <a:gd name="connsiteX7" fmla="*/ 84747 w 543605"/>
                    <a:gd name="connsiteY7" fmla="*/ 162252 h 723900"/>
                    <a:gd name="connsiteX8" fmla="*/ 84747 w 543605"/>
                    <a:gd name="connsiteY8" fmla="*/ 561648 h 723900"/>
                    <a:gd name="connsiteX9" fmla="*/ 147939 w 543605"/>
                    <a:gd name="connsiteY9" fmla="*/ 624840 h 723900"/>
                    <a:gd name="connsiteX10" fmla="*/ 400702 w 543605"/>
                    <a:gd name="connsiteY10" fmla="*/ 624840 h 723900"/>
                    <a:gd name="connsiteX11" fmla="*/ 458928 w 543605"/>
                    <a:gd name="connsiteY11" fmla="*/ 586245 h 723900"/>
                    <a:gd name="connsiteX12" fmla="*/ 460480 w 543605"/>
                    <a:gd name="connsiteY12" fmla="*/ 578560 h 723900"/>
                    <a:gd name="connsiteX13" fmla="*/ 543605 w 543605"/>
                    <a:gd name="connsiteY13" fmla="*/ 657400 h 723900"/>
                    <a:gd name="connsiteX14" fmla="*/ 541454 w 543605"/>
                    <a:gd name="connsiteY14" fmla="*/ 668051 h 723900"/>
                    <a:gd name="connsiteX15" fmla="*/ 457198 w 543605"/>
                    <a:gd name="connsiteY15" fmla="*/ 723900 h 723900"/>
                    <a:gd name="connsiteX16" fmla="*/ 91442 w 543605"/>
                    <a:gd name="connsiteY16" fmla="*/ 723900 h 723900"/>
                    <a:gd name="connsiteX17" fmla="*/ 0 w 543605"/>
                    <a:gd name="connsiteY17" fmla="*/ 632458 h 723900"/>
                    <a:gd name="connsiteX18" fmla="*/ 0 w 543605"/>
                    <a:gd name="connsiteY18" fmla="*/ 91442 h 723900"/>
                    <a:gd name="connsiteX19" fmla="*/ 91442 w 543605"/>
                    <a:gd name="connsiteY19" fmla="*/ 0 h 723900"/>
                    <a:gd name="connsiteX0" fmla="*/ 91442 w 543605"/>
                    <a:gd name="connsiteY0" fmla="*/ 0 h 723900"/>
                    <a:gd name="connsiteX1" fmla="*/ 294237 w 543605"/>
                    <a:gd name="connsiteY1" fmla="*/ 0 h 723900"/>
                    <a:gd name="connsiteX2" fmla="*/ 259248 w 543605"/>
                    <a:gd name="connsiteY2" fmla="*/ 99060 h 723900"/>
                    <a:gd name="connsiteX3" fmla="*/ 147939 w 543605"/>
                    <a:gd name="connsiteY3" fmla="*/ 99060 h 723900"/>
                    <a:gd name="connsiteX4" fmla="*/ 84747 w 543605"/>
                    <a:gd name="connsiteY4" fmla="*/ 162252 h 723900"/>
                    <a:gd name="connsiteX5" fmla="*/ 84747 w 543605"/>
                    <a:gd name="connsiteY5" fmla="*/ 561648 h 723900"/>
                    <a:gd name="connsiteX6" fmla="*/ 147939 w 543605"/>
                    <a:gd name="connsiteY6" fmla="*/ 624840 h 723900"/>
                    <a:gd name="connsiteX7" fmla="*/ 400702 w 543605"/>
                    <a:gd name="connsiteY7" fmla="*/ 624840 h 723900"/>
                    <a:gd name="connsiteX8" fmla="*/ 458928 w 543605"/>
                    <a:gd name="connsiteY8" fmla="*/ 586245 h 723900"/>
                    <a:gd name="connsiteX9" fmla="*/ 460480 w 543605"/>
                    <a:gd name="connsiteY9" fmla="*/ 578560 h 723900"/>
                    <a:gd name="connsiteX10" fmla="*/ 543605 w 543605"/>
                    <a:gd name="connsiteY10" fmla="*/ 657400 h 723900"/>
                    <a:gd name="connsiteX11" fmla="*/ 541454 w 543605"/>
                    <a:gd name="connsiteY11" fmla="*/ 668051 h 723900"/>
                    <a:gd name="connsiteX12" fmla="*/ 457198 w 543605"/>
                    <a:gd name="connsiteY12" fmla="*/ 723900 h 723900"/>
                    <a:gd name="connsiteX13" fmla="*/ 91442 w 543605"/>
                    <a:gd name="connsiteY13" fmla="*/ 723900 h 723900"/>
                    <a:gd name="connsiteX14" fmla="*/ 0 w 543605"/>
                    <a:gd name="connsiteY14" fmla="*/ 632458 h 723900"/>
                    <a:gd name="connsiteX15" fmla="*/ 0 w 543605"/>
                    <a:gd name="connsiteY15" fmla="*/ 91442 h 723900"/>
                    <a:gd name="connsiteX16" fmla="*/ 91442 w 543605"/>
                    <a:gd name="connsiteY1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43605" h="723900">
                      <a:moveTo>
                        <a:pt x="91442" y="0"/>
                      </a:moveTo>
                      <a:lnTo>
                        <a:pt x="294237" y="0"/>
                      </a:lnTo>
                      <a:lnTo>
                        <a:pt x="259248" y="99060"/>
                      </a:lnTo>
                      <a:lnTo>
                        <a:pt x="147939" y="99060"/>
                      </a:lnTo>
                      <a:cubicBezTo>
                        <a:pt x="113039" y="99060"/>
                        <a:pt x="84747" y="127352"/>
                        <a:pt x="84747" y="162252"/>
                      </a:cubicBezTo>
                      <a:lnTo>
                        <a:pt x="84747" y="561648"/>
                      </a:lnTo>
                      <a:cubicBezTo>
                        <a:pt x="84747" y="596548"/>
                        <a:pt x="113039" y="624840"/>
                        <a:pt x="147939" y="624840"/>
                      </a:cubicBezTo>
                      <a:lnTo>
                        <a:pt x="400702" y="624840"/>
                      </a:lnTo>
                      <a:cubicBezTo>
                        <a:pt x="426877" y="624840"/>
                        <a:pt x="449335" y="608926"/>
                        <a:pt x="458928" y="586245"/>
                      </a:cubicBezTo>
                      <a:lnTo>
                        <a:pt x="460480" y="578560"/>
                      </a:lnTo>
                      <a:lnTo>
                        <a:pt x="543605" y="657400"/>
                      </a:lnTo>
                      <a:lnTo>
                        <a:pt x="541454" y="668051"/>
                      </a:lnTo>
                      <a:cubicBezTo>
                        <a:pt x="527573" y="700871"/>
                        <a:pt x="495075" y="723900"/>
                        <a:pt x="457198" y="723900"/>
                      </a:cubicBezTo>
                      <a:lnTo>
                        <a:pt x="91442" y="723900"/>
                      </a:lnTo>
                      <a:cubicBezTo>
                        <a:pt x="40940" y="723900"/>
                        <a:pt x="0" y="682960"/>
                        <a:pt x="0" y="632458"/>
                      </a:cubicBezTo>
                      <a:lnTo>
                        <a:pt x="0" y="91442"/>
                      </a:lnTo>
                      <a:cubicBezTo>
                        <a:pt x="0" y="40940"/>
                        <a:pt x="40940" y="0"/>
                        <a:pt x="9144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61" name="Rectangle 20"/>
                <p:cNvSpPr/>
                <p:nvPr/>
              </p:nvSpPr>
              <p:spPr>
                <a:xfrm>
                  <a:off x="3267940" y="1957742"/>
                  <a:ext cx="878380" cy="946077"/>
                </a:xfrm>
                <a:custGeom>
                  <a:avLst/>
                  <a:gdLst>
                    <a:gd name="connsiteX0" fmla="*/ 0 w 910858"/>
                    <a:gd name="connsiteY0" fmla="*/ 0 h 1112520"/>
                    <a:gd name="connsiteX1" fmla="*/ 9108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10858"/>
                    <a:gd name="connsiteY0" fmla="*/ 0 h 1112520"/>
                    <a:gd name="connsiteX1" fmla="*/ 8727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94678"/>
                    <a:gd name="connsiteY0" fmla="*/ 0 h 1112520"/>
                    <a:gd name="connsiteX1" fmla="*/ 872758 w 994678"/>
                    <a:gd name="connsiteY1" fmla="*/ 0 h 1112520"/>
                    <a:gd name="connsiteX2" fmla="*/ 994678 w 994678"/>
                    <a:gd name="connsiteY2" fmla="*/ 68580 h 1112520"/>
                    <a:gd name="connsiteX3" fmla="*/ 0 w 994678"/>
                    <a:gd name="connsiteY3" fmla="*/ 1112520 h 1112520"/>
                    <a:gd name="connsiteX4" fmla="*/ 0 w 994678"/>
                    <a:gd name="connsiteY4" fmla="*/ 0 h 1112520"/>
                    <a:gd name="connsiteX0" fmla="*/ 0 w 994678"/>
                    <a:gd name="connsiteY0" fmla="*/ 0 h 883920"/>
                    <a:gd name="connsiteX1" fmla="*/ 872758 w 994678"/>
                    <a:gd name="connsiteY1" fmla="*/ 0 h 883920"/>
                    <a:gd name="connsiteX2" fmla="*/ 994678 w 994678"/>
                    <a:gd name="connsiteY2" fmla="*/ 68580 h 883920"/>
                    <a:gd name="connsiteX3" fmla="*/ 434340 w 994678"/>
                    <a:gd name="connsiteY3" fmla="*/ 883920 h 883920"/>
                    <a:gd name="connsiteX4" fmla="*/ 0 w 994678"/>
                    <a:gd name="connsiteY4" fmla="*/ 0 h 883920"/>
                    <a:gd name="connsiteX0" fmla="*/ 7620 w 560338"/>
                    <a:gd name="connsiteY0" fmla="*/ 548640 h 883920"/>
                    <a:gd name="connsiteX1" fmla="*/ 438418 w 560338"/>
                    <a:gd name="connsiteY1" fmla="*/ 0 h 883920"/>
                    <a:gd name="connsiteX2" fmla="*/ 560338 w 560338"/>
                    <a:gd name="connsiteY2" fmla="*/ 68580 h 883920"/>
                    <a:gd name="connsiteX3" fmla="*/ 0 w 560338"/>
                    <a:gd name="connsiteY3" fmla="*/ 883920 h 883920"/>
                    <a:gd name="connsiteX4" fmla="*/ 7620 w 560338"/>
                    <a:gd name="connsiteY4" fmla="*/ 548640 h 883920"/>
                    <a:gd name="connsiteX0" fmla="*/ 18782 w 571500"/>
                    <a:gd name="connsiteY0" fmla="*/ 548640 h 883920"/>
                    <a:gd name="connsiteX1" fmla="*/ 449580 w 571500"/>
                    <a:gd name="connsiteY1" fmla="*/ 0 h 883920"/>
                    <a:gd name="connsiteX2" fmla="*/ 571500 w 571500"/>
                    <a:gd name="connsiteY2" fmla="*/ 68580 h 883920"/>
                    <a:gd name="connsiteX3" fmla="*/ 11162 w 571500"/>
                    <a:gd name="connsiteY3" fmla="*/ 883920 h 883920"/>
                    <a:gd name="connsiteX4" fmla="*/ 0 w 571500"/>
                    <a:gd name="connsiteY4" fmla="*/ 739140 h 883920"/>
                    <a:gd name="connsiteX5" fmla="*/ 18782 w 5715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0 w 800100"/>
                    <a:gd name="connsiteY4" fmla="*/ 472440 h 883920"/>
                    <a:gd name="connsiteX5" fmla="*/ 247382 w 8001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129540 w 800100"/>
                    <a:gd name="connsiteY4" fmla="*/ 678180 h 883920"/>
                    <a:gd name="connsiteX5" fmla="*/ 0 w 800100"/>
                    <a:gd name="connsiteY5" fmla="*/ 472440 h 883920"/>
                    <a:gd name="connsiteX6" fmla="*/ 247382 w 8001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31596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27024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23582 w 876300"/>
                    <a:gd name="connsiteY6" fmla="*/ 548640 h 914400"/>
                    <a:gd name="connsiteX0" fmla="*/ 308342 w 876300"/>
                    <a:gd name="connsiteY0" fmla="*/ 60198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08342 w 876300"/>
                    <a:gd name="connsiteY6" fmla="*/ 601980 h 914400"/>
                    <a:gd name="connsiteX0" fmla="*/ 308342 w 876300"/>
                    <a:gd name="connsiteY0" fmla="*/ 601980 h 876300"/>
                    <a:gd name="connsiteX1" fmla="*/ 754380 w 876300"/>
                    <a:gd name="connsiteY1" fmla="*/ 0 h 876300"/>
                    <a:gd name="connsiteX2" fmla="*/ 876300 w 876300"/>
                    <a:gd name="connsiteY2" fmla="*/ 68580 h 876300"/>
                    <a:gd name="connsiteX3" fmla="*/ 285482 w 876300"/>
                    <a:gd name="connsiteY3" fmla="*/ 876300 h 876300"/>
                    <a:gd name="connsiteX4" fmla="*/ 0 w 876300"/>
                    <a:gd name="connsiteY4" fmla="*/ 609600 h 876300"/>
                    <a:gd name="connsiteX5" fmla="*/ 76200 w 876300"/>
                    <a:gd name="connsiteY5" fmla="*/ 472440 h 876300"/>
                    <a:gd name="connsiteX6" fmla="*/ 308342 w 876300"/>
                    <a:gd name="connsiteY6" fmla="*/ 601980 h 876300"/>
                    <a:gd name="connsiteX0" fmla="*/ 331202 w 899160"/>
                    <a:gd name="connsiteY0" fmla="*/ 60198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31202 w 899160"/>
                    <a:gd name="connsiteY6" fmla="*/ 601980 h 876300"/>
                    <a:gd name="connsiteX0" fmla="*/ 323582 w 899160"/>
                    <a:gd name="connsiteY0" fmla="*/ 65532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23582 w 899160"/>
                    <a:gd name="connsiteY6" fmla="*/ 655320 h 876300"/>
                    <a:gd name="connsiteX0" fmla="*/ 323582 w 899160"/>
                    <a:gd name="connsiteY0" fmla="*/ 67056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70560 h 891540"/>
                    <a:gd name="connsiteX0" fmla="*/ 323582 w 899160"/>
                    <a:gd name="connsiteY0" fmla="*/ 64008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40080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283538 w 899160"/>
                    <a:gd name="connsiteY6" fmla="*/ 700339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67025 w 899160"/>
                    <a:gd name="connsiteY5" fmla="*/ 514462 h 891540"/>
                    <a:gd name="connsiteX6" fmla="*/ 283538 w 899160"/>
                    <a:gd name="connsiteY6" fmla="*/ 700339 h 891540"/>
                    <a:gd name="connsiteX0" fmla="*/ 283538 w 891151"/>
                    <a:gd name="connsiteY0" fmla="*/ 700339 h 891540"/>
                    <a:gd name="connsiteX1" fmla="*/ 746760 w 891151"/>
                    <a:gd name="connsiteY1" fmla="*/ 0 h 891540"/>
                    <a:gd name="connsiteX2" fmla="*/ 891151 w 891151"/>
                    <a:gd name="connsiteY2" fmla="*/ 150774 h 891540"/>
                    <a:gd name="connsiteX3" fmla="*/ 308342 w 891151"/>
                    <a:gd name="connsiteY3" fmla="*/ 891540 h 891540"/>
                    <a:gd name="connsiteX4" fmla="*/ 0 w 891151"/>
                    <a:gd name="connsiteY4" fmla="*/ 647700 h 891540"/>
                    <a:gd name="connsiteX5" fmla="*/ 67025 w 891151"/>
                    <a:gd name="connsiteY5" fmla="*/ 514462 h 891540"/>
                    <a:gd name="connsiteX6" fmla="*/ 283538 w 891151"/>
                    <a:gd name="connsiteY6" fmla="*/ 700339 h 891540"/>
                    <a:gd name="connsiteX0" fmla="*/ 283538 w 891151"/>
                    <a:gd name="connsiteY0" fmla="*/ 640080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83538 w 891151"/>
                    <a:gd name="connsiteY6" fmla="*/ 640080 h 831281"/>
                    <a:gd name="connsiteX0" fmla="*/ 275530 w 891151"/>
                    <a:gd name="connsiteY0" fmla="*/ 599908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75530 w 891151"/>
                    <a:gd name="connsiteY6" fmla="*/ 599908 h 831281"/>
                    <a:gd name="connsiteX0" fmla="*/ 307565 w 923186"/>
                    <a:gd name="connsiteY0" fmla="*/ 599908 h 831281"/>
                    <a:gd name="connsiteX1" fmla="*/ 762778 w 923186"/>
                    <a:gd name="connsiteY1" fmla="*/ 0 h 831281"/>
                    <a:gd name="connsiteX2" fmla="*/ 923186 w 923186"/>
                    <a:gd name="connsiteY2" fmla="*/ 90515 h 831281"/>
                    <a:gd name="connsiteX3" fmla="*/ 340377 w 923186"/>
                    <a:gd name="connsiteY3" fmla="*/ 831281 h 831281"/>
                    <a:gd name="connsiteX4" fmla="*/ 0 w 923186"/>
                    <a:gd name="connsiteY4" fmla="*/ 620918 h 831281"/>
                    <a:gd name="connsiteX5" fmla="*/ 99060 w 923186"/>
                    <a:gd name="connsiteY5" fmla="*/ 454203 h 831281"/>
                    <a:gd name="connsiteX6" fmla="*/ 307565 w 923186"/>
                    <a:gd name="connsiteY6" fmla="*/ 599908 h 831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3186" h="831281">
                      <a:moveTo>
                        <a:pt x="307565" y="599908"/>
                      </a:moveTo>
                      <a:lnTo>
                        <a:pt x="762778" y="0"/>
                      </a:lnTo>
                      <a:lnTo>
                        <a:pt x="923186" y="90515"/>
                      </a:lnTo>
                      <a:lnTo>
                        <a:pt x="340377" y="831281"/>
                      </a:lnTo>
                      <a:lnTo>
                        <a:pt x="0" y="620918"/>
                      </a:lnTo>
                      <a:lnTo>
                        <a:pt x="99060" y="454203"/>
                      </a:lnTo>
                      <a:lnTo>
                        <a:pt x="307565" y="5999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51" name="Group 150"/>
              <p:cNvGrpSpPr/>
              <p:nvPr/>
            </p:nvGrpSpPr>
            <p:grpSpPr>
              <a:xfrm>
                <a:off x="4060893" y="2430780"/>
                <a:ext cx="1403798" cy="430745"/>
                <a:chOff x="4043965" y="2430780"/>
                <a:chExt cx="1403798" cy="430745"/>
              </a:xfrm>
              <a:grpFill/>
            </p:grpSpPr>
            <p:sp>
              <p:nvSpPr>
                <p:cNvPr id="158" name="Rectangle 157"/>
                <p:cNvSpPr/>
                <p:nvPr/>
              </p:nvSpPr>
              <p:spPr>
                <a:xfrm>
                  <a:off x="4043966" y="243078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9" name="Rectangle 158"/>
                <p:cNvSpPr/>
                <p:nvPr/>
              </p:nvSpPr>
              <p:spPr>
                <a:xfrm>
                  <a:off x="4043965" y="271653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52" name="Group 151"/>
              <p:cNvGrpSpPr/>
              <p:nvPr/>
            </p:nvGrpSpPr>
            <p:grpSpPr>
              <a:xfrm>
                <a:off x="4060893" y="3771968"/>
                <a:ext cx="1403798" cy="430745"/>
                <a:chOff x="4043965" y="2430780"/>
                <a:chExt cx="1403798" cy="430745"/>
              </a:xfrm>
              <a:grpFill/>
            </p:grpSpPr>
            <p:sp>
              <p:nvSpPr>
                <p:cNvPr id="156" name="Rectangle 155"/>
                <p:cNvSpPr/>
                <p:nvPr/>
              </p:nvSpPr>
              <p:spPr>
                <a:xfrm>
                  <a:off x="4043966" y="243078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7" name="Rectangle 156"/>
                <p:cNvSpPr/>
                <p:nvPr/>
              </p:nvSpPr>
              <p:spPr>
                <a:xfrm>
                  <a:off x="4043965" y="271653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53" name="Group 152"/>
              <p:cNvGrpSpPr/>
              <p:nvPr/>
            </p:nvGrpSpPr>
            <p:grpSpPr>
              <a:xfrm>
                <a:off x="4060893" y="5113157"/>
                <a:ext cx="1403798" cy="430745"/>
                <a:chOff x="4043965" y="2430780"/>
                <a:chExt cx="1403798" cy="430745"/>
              </a:xfrm>
              <a:grpFill/>
            </p:grpSpPr>
            <p:sp>
              <p:nvSpPr>
                <p:cNvPr id="154" name="Rectangle 153"/>
                <p:cNvSpPr/>
                <p:nvPr/>
              </p:nvSpPr>
              <p:spPr>
                <a:xfrm>
                  <a:off x="4043966" y="243078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155" name="Rectangle 154"/>
                <p:cNvSpPr/>
                <p:nvPr/>
              </p:nvSpPr>
              <p:spPr>
                <a:xfrm>
                  <a:off x="4043965" y="271653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</p:grpSp>
        <p:grpSp>
          <p:nvGrpSpPr>
            <p:cNvPr id="139" name="Group 138"/>
            <p:cNvGrpSpPr/>
            <p:nvPr/>
          </p:nvGrpSpPr>
          <p:grpSpPr>
            <a:xfrm rot="21219949">
              <a:off x="4596429" y="4634545"/>
              <a:ext cx="421721" cy="387807"/>
              <a:chOff x="7862023" y="5744193"/>
              <a:chExt cx="561310" cy="516172"/>
            </a:xfrm>
            <a:grpFill/>
          </p:grpSpPr>
          <p:sp>
            <p:nvSpPr>
              <p:cNvPr id="140" name="Round Same Side Corner Rectangle 139"/>
              <p:cNvSpPr/>
              <p:nvPr/>
            </p:nvSpPr>
            <p:spPr>
              <a:xfrm rot="2819098">
                <a:off x="8360133" y="5766821"/>
                <a:ext cx="85827" cy="4057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1" name="Rectangle 87"/>
              <p:cNvSpPr/>
              <p:nvPr/>
            </p:nvSpPr>
            <p:spPr>
              <a:xfrm rot="18993470">
                <a:off x="8258931" y="5801083"/>
                <a:ext cx="138649" cy="102307"/>
              </a:xfrm>
              <a:custGeom>
                <a:avLst/>
                <a:gdLst>
                  <a:gd name="connsiteX0" fmla="*/ 0 w 1067195"/>
                  <a:gd name="connsiteY0" fmla="*/ 0 h 767452"/>
                  <a:gd name="connsiteX1" fmla="*/ 1067195 w 1067195"/>
                  <a:gd name="connsiteY1" fmla="*/ 0 h 767452"/>
                  <a:gd name="connsiteX2" fmla="*/ 1067195 w 1067195"/>
                  <a:gd name="connsiteY2" fmla="*/ 767452 h 767452"/>
                  <a:gd name="connsiteX3" fmla="*/ 0 w 1067195"/>
                  <a:gd name="connsiteY3" fmla="*/ 767452 h 767452"/>
                  <a:gd name="connsiteX4" fmla="*/ 0 w 1067195"/>
                  <a:gd name="connsiteY4" fmla="*/ 0 h 767452"/>
                  <a:gd name="connsiteX0" fmla="*/ 0 w 1077007"/>
                  <a:gd name="connsiteY0" fmla="*/ 0 h 767452"/>
                  <a:gd name="connsiteX1" fmla="*/ 1077007 w 1077007"/>
                  <a:gd name="connsiteY1" fmla="*/ 4141 h 767452"/>
                  <a:gd name="connsiteX2" fmla="*/ 1067195 w 1077007"/>
                  <a:gd name="connsiteY2" fmla="*/ 767452 h 767452"/>
                  <a:gd name="connsiteX3" fmla="*/ 0 w 1077007"/>
                  <a:gd name="connsiteY3" fmla="*/ 767452 h 767452"/>
                  <a:gd name="connsiteX4" fmla="*/ 0 w 1077007"/>
                  <a:gd name="connsiteY4" fmla="*/ 0 h 767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77007" h="767452">
                    <a:moveTo>
                      <a:pt x="0" y="0"/>
                    </a:moveTo>
                    <a:lnTo>
                      <a:pt x="1077007" y="4141"/>
                    </a:lnTo>
                    <a:lnTo>
                      <a:pt x="1067195" y="767452"/>
                    </a:lnTo>
                    <a:lnTo>
                      <a:pt x="0" y="76745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2" name="Rectangle 88"/>
              <p:cNvSpPr/>
              <p:nvPr/>
            </p:nvSpPr>
            <p:spPr>
              <a:xfrm rot="18964861">
                <a:off x="8385144" y="5858800"/>
                <a:ext cx="34828" cy="40222"/>
              </a:xfrm>
              <a:custGeom>
                <a:avLst/>
                <a:gdLst>
                  <a:gd name="connsiteX0" fmla="*/ 0 w 270532"/>
                  <a:gd name="connsiteY0" fmla="*/ 0 h 333375"/>
                  <a:gd name="connsiteX1" fmla="*/ 270532 w 270532"/>
                  <a:gd name="connsiteY1" fmla="*/ 0 h 333375"/>
                  <a:gd name="connsiteX2" fmla="*/ 270532 w 270532"/>
                  <a:gd name="connsiteY2" fmla="*/ 333375 h 333375"/>
                  <a:gd name="connsiteX3" fmla="*/ 0 w 270532"/>
                  <a:gd name="connsiteY3" fmla="*/ 333375 h 333375"/>
                  <a:gd name="connsiteX4" fmla="*/ 0 w 270532"/>
                  <a:gd name="connsiteY4" fmla="*/ 0 h 333375"/>
                  <a:gd name="connsiteX0" fmla="*/ 0 w 270532"/>
                  <a:gd name="connsiteY0" fmla="*/ 0 h 333375"/>
                  <a:gd name="connsiteX1" fmla="*/ 270532 w 270532"/>
                  <a:gd name="connsiteY1" fmla="*/ 0 h 333375"/>
                  <a:gd name="connsiteX2" fmla="*/ 256354 w 270532"/>
                  <a:gd name="connsiteY2" fmla="*/ 301734 h 333375"/>
                  <a:gd name="connsiteX3" fmla="*/ 0 w 270532"/>
                  <a:gd name="connsiteY3" fmla="*/ 333375 h 333375"/>
                  <a:gd name="connsiteX4" fmla="*/ 0 w 270532"/>
                  <a:gd name="connsiteY4" fmla="*/ 0 h 333375"/>
                  <a:gd name="connsiteX0" fmla="*/ 0 w 270532"/>
                  <a:gd name="connsiteY0" fmla="*/ 0 h 301734"/>
                  <a:gd name="connsiteX1" fmla="*/ 270532 w 270532"/>
                  <a:gd name="connsiteY1" fmla="*/ 0 h 301734"/>
                  <a:gd name="connsiteX2" fmla="*/ 256354 w 270532"/>
                  <a:gd name="connsiteY2" fmla="*/ 301734 h 301734"/>
                  <a:gd name="connsiteX3" fmla="*/ 21107 w 270532"/>
                  <a:gd name="connsiteY3" fmla="*/ 284491 h 301734"/>
                  <a:gd name="connsiteX4" fmla="*/ 0 w 270532"/>
                  <a:gd name="connsiteY4" fmla="*/ 0 h 301734"/>
                  <a:gd name="connsiteX0" fmla="*/ 0 w 270532"/>
                  <a:gd name="connsiteY0" fmla="*/ 0 h 301734"/>
                  <a:gd name="connsiteX1" fmla="*/ 270532 w 270532"/>
                  <a:gd name="connsiteY1" fmla="*/ 0 h 301734"/>
                  <a:gd name="connsiteX2" fmla="*/ 256354 w 270532"/>
                  <a:gd name="connsiteY2" fmla="*/ 301734 h 301734"/>
                  <a:gd name="connsiteX3" fmla="*/ 18040 w 270532"/>
                  <a:gd name="connsiteY3" fmla="*/ 280847 h 301734"/>
                  <a:gd name="connsiteX4" fmla="*/ 0 w 270532"/>
                  <a:gd name="connsiteY4" fmla="*/ 0 h 301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532" h="301734">
                    <a:moveTo>
                      <a:pt x="0" y="0"/>
                    </a:moveTo>
                    <a:lnTo>
                      <a:pt x="270532" y="0"/>
                    </a:lnTo>
                    <a:lnTo>
                      <a:pt x="256354" y="301734"/>
                    </a:lnTo>
                    <a:lnTo>
                      <a:pt x="18040" y="28084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3" name="Rectangle 89"/>
              <p:cNvSpPr/>
              <p:nvPr/>
            </p:nvSpPr>
            <p:spPr>
              <a:xfrm rot="3060000">
                <a:off x="8298191" y="5848534"/>
                <a:ext cx="23943" cy="220137"/>
              </a:xfrm>
              <a:custGeom>
                <a:avLst/>
                <a:gdLst>
                  <a:gd name="connsiteX0" fmla="*/ 0 w 111898"/>
                  <a:gd name="connsiteY0" fmla="*/ 0 h 1644627"/>
                  <a:gd name="connsiteX1" fmla="*/ 111898 w 111898"/>
                  <a:gd name="connsiteY1" fmla="*/ 0 h 1644627"/>
                  <a:gd name="connsiteX2" fmla="*/ 111898 w 111898"/>
                  <a:gd name="connsiteY2" fmla="*/ 1644627 h 1644627"/>
                  <a:gd name="connsiteX3" fmla="*/ 0 w 111898"/>
                  <a:gd name="connsiteY3" fmla="*/ 1644627 h 1644627"/>
                  <a:gd name="connsiteX4" fmla="*/ 0 w 111898"/>
                  <a:gd name="connsiteY4" fmla="*/ 0 h 1644627"/>
                  <a:gd name="connsiteX0" fmla="*/ 0 w 148942"/>
                  <a:gd name="connsiteY0" fmla="*/ 23574 h 1668201"/>
                  <a:gd name="connsiteX1" fmla="*/ 148942 w 148942"/>
                  <a:gd name="connsiteY1" fmla="*/ 0 h 1668201"/>
                  <a:gd name="connsiteX2" fmla="*/ 111898 w 148942"/>
                  <a:gd name="connsiteY2" fmla="*/ 1668201 h 1668201"/>
                  <a:gd name="connsiteX3" fmla="*/ 0 w 148942"/>
                  <a:gd name="connsiteY3" fmla="*/ 1668201 h 1668201"/>
                  <a:gd name="connsiteX4" fmla="*/ 0 w 148942"/>
                  <a:gd name="connsiteY4" fmla="*/ 23574 h 1668201"/>
                  <a:gd name="connsiteX0" fmla="*/ 0 w 185985"/>
                  <a:gd name="connsiteY0" fmla="*/ 26941 h 1668201"/>
                  <a:gd name="connsiteX1" fmla="*/ 185985 w 185985"/>
                  <a:gd name="connsiteY1" fmla="*/ 0 h 1668201"/>
                  <a:gd name="connsiteX2" fmla="*/ 148941 w 185985"/>
                  <a:gd name="connsiteY2" fmla="*/ 1668201 h 1668201"/>
                  <a:gd name="connsiteX3" fmla="*/ 37043 w 185985"/>
                  <a:gd name="connsiteY3" fmla="*/ 1668201 h 1668201"/>
                  <a:gd name="connsiteX4" fmla="*/ 0 w 185985"/>
                  <a:gd name="connsiteY4" fmla="*/ 26941 h 1668201"/>
                  <a:gd name="connsiteX0" fmla="*/ 0 w 185985"/>
                  <a:gd name="connsiteY0" fmla="*/ 26941 h 1668201"/>
                  <a:gd name="connsiteX1" fmla="*/ 185985 w 185985"/>
                  <a:gd name="connsiteY1" fmla="*/ 0 h 1668201"/>
                  <a:gd name="connsiteX2" fmla="*/ 145574 w 185985"/>
                  <a:gd name="connsiteY2" fmla="*/ 1631158 h 1668201"/>
                  <a:gd name="connsiteX3" fmla="*/ 37043 w 185985"/>
                  <a:gd name="connsiteY3" fmla="*/ 1668201 h 1668201"/>
                  <a:gd name="connsiteX4" fmla="*/ 0 w 185985"/>
                  <a:gd name="connsiteY4" fmla="*/ 26941 h 1668201"/>
                  <a:gd name="connsiteX0" fmla="*/ 0 w 185985"/>
                  <a:gd name="connsiteY0" fmla="*/ 26941 h 1651362"/>
                  <a:gd name="connsiteX1" fmla="*/ 185985 w 185985"/>
                  <a:gd name="connsiteY1" fmla="*/ 0 h 1651362"/>
                  <a:gd name="connsiteX2" fmla="*/ 145574 w 185985"/>
                  <a:gd name="connsiteY2" fmla="*/ 1631158 h 1651362"/>
                  <a:gd name="connsiteX3" fmla="*/ 67352 w 185985"/>
                  <a:gd name="connsiteY3" fmla="*/ 1651362 h 1651362"/>
                  <a:gd name="connsiteX4" fmla="*/ 0 w 185985"/>
                  <a:gd name="connsiteY4" fmla="*/ 26941 h 1651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985" h="1651362">
                    <a:moveTo>
                      <a:pt x="0" y="26941"/>
                    </a:moveTo>
                    <a:lnTo>
                      <a:pt x="185985" y="0"/>
                    </a:lnTo>
                    <a:lnTo>
                      <a:pt x="145574" y="1631158"/>
                    </a:lnTo>
                    <a:lnTo>
                      <a:pt x="67352" y="1651362"/>
                    </a:lnTo>
                    <a:lnTo>
                      <a:pt x="0" y="26941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4" name="Rectangle 109"/>
              <p:cNvSpPr/>
              <p:nvPr/>
            </p:nvSpPr>
            <p:spPr>
              <a:xfrm rot="19015320">
                <a:off x="7883921" y="6003368"/>
                <a:ext cx="441960" cy="100976"/>
              </a:xfrm>
              <a:custGeom>
                <a:avLst/>
                <a:gdLst>
                  <a:gd name="connsiteX0" fmla="*/ 0 w 3429000"/>
                  <a:gd name="connsiteY0" fmla="*/ 0 h 772673"/>
                  <a:gd name="connsiteX1" fmla="*/ 3429000 w 3429000"/>
                  <a:gd name="connsiteY1" fmla="*/ 0 h 772673"/>
                  <a:gd name="connsiteX2" fmla="*/ 3429000 w 3429000"/>
                  <a:gd name="connsiteY2" fmla="*/ 772673 h 772673"/>
                  <a:gd name="connsiteX3" fmla="*/ 0 w 3429000"/>
                  <a:gd name="connsiteY3" fmla="*/ 772673 h 772673"/>
                  <a:gd name="connsiteX4" fmla="*/ 0 w 3429000"/>
                  <a:gd name="connsiteY4" fmla="*/ 0 h 772673"/>
                  <a:gd name="connsiteX0" fmla="*/ 18453 w 3447453"/>
                  <a:gd name="connsiteY0" fmla="*/ 0 h 772673"/>
                  <a:gd name="connsiteX1" fmla="*/ 3447453 w 3447453"/>
                  <a:gd name="connsiteY1" fmla="*/ 0 h 772673"/>
                  <a:gd name="connsiteX2" fmla="*/ 3447453 w 3447453"/>
                  <a:gd name="connsiteY2" fmla="*/ 772673 h 772673"/>
                  <a:gd name="connsiteX3" fmla="*/ 0 w 3447453"/>
                  <a:gd name="connsiteY3" fmla="*/ 576890 h 772673"/>
                  <a:gd name="connsiteX4" fmla="*/ 18453 w 3447453"/>
                  <a:gd name="connsiteY4" fmla="*/ 0 h 772673"/>
                  <a:gd name="connsiteX0" fmla="*/ 28456 w 3447453"/>
                  <a:gd name="connsiteY0" fmla="*/ 162768 h 772673"/>
                  <a:gd name="connsiteX1" fmla="*/ 3447453 w 3447453"/>
                  <a:gd name="connsiteY1" fmla="*/ 0 h 772673"/>
                  <a:gd name="connsiteX2" fmla="*/ 3447453 w 3447453"/>
                  <a:gd name="connsiteY2" fmla="*/ 772673 h 772673"/>
                  <a:gd name="connsiteX3" fmla="*/ 0 w 3447453"/>
                  <a:gd name="connsiteY3" fmla="*/ 576890 h 772673"/>
                  <a:gd name="connsiteX4" fmla="*/ 28456 w 3447453"/>
                  <a:gd name="connsiteY4" fmla="*/ 162768 h 772673"/>
                  <a:gd name="connsiteX0" fmla="*/ 28456 w 3447453"/>
                  <a:gd name="connsiteY0" fmla="*/ 161327 h 771232"/>
                  <a:gd name="connsiteX1" fmla="*/ 3436096 w 3447453"/>
                  <a:gd name="connsiteY1" fmla="*/ 0 h 771232"/>
                  <a:gd name="connsiteX2" fmla="*/ 3447453 w 3447453"/>
                  <a:gd name="connsiteY2" fmla="*/ 771232 h 771232"/>
                  <a:gd name="connsiteX3" fmla="*/ 0 w 3447453"/>
                  <a:gd name="connsiteY3" fmla="*/ 575449 h 771232"/>
                  <a:gd name="connsiteX4" fmla="*/ 28456 w 3447453"/>
                  <a:gd name="connsiteY4" fmla="*/ 161327 h 771232"/>
                  <a:gd name="connsiteX0" fmla="*/ 28456 w 3443932"/>
                  <a:gd name="connsiteY0" fmla="*/ 161327 h 757477"/>
                  <a:gd name="connsiteX1" fmla="*/ 3436096 w 3443932"/>
                  <a:gd name="connsiteY1" fmla="*/ 0 h 757477"/>
                  <a:gd name="connsiteX2" fmla="*/ 3443932 w 3443932"/>
                  <a:gd name="connsiteY2" fmla="*/ 757477 h 757477"/>
                  <a:gd name="connsiteX3" fmla="*/ 0 w 3443932"/>
                  <a:gd name="connsiteY3" fmla="*/ 575449 h 757477"/>
                  <a:gd name="connsiteX4" fmla="*/ 28456 w 3443932"/>
                  <a:gd name="connsiteY4" fmla="*/ 161327 h 757477"/>
                  <a:gd name="connsiteX0" fmla="*/ 22217 w 3443932"/>
                  <a:gd name="connsiteY0" fmla="*/ 154130 h 757477"/>
                  <a:gd name="connsiteX1" fmla="*/ 3436096 w 3443932"/>
                  <a:gd name="connsiteY1" fmla="*/ 0 h 757477"/>
                  <a:gd name="connsiteX2" fmla="*/ 3443932 w 3443932"/>
                  <a:gd name="connsiteY2" fmla="*/ 757477 h 757477"/>
                  <a:gd name="connsiteX3" fmla="*/ 0 w 3443932"/>
                  <a:gd name="connsiteY3" fmla="*/ 575449 h 757477"/>
                  <a:gd name="connsiteX4" fmla="*/ 22217 w 3443932"/>
                  <a:gd name="connsiteY4" fmla="*/ 154130 h 757477"/>
                  <a:gd name="connsiteX0" fmla="*/ 10222 w 3431937"/>
                  <a:gd name="connsiteY0" fmla="*/ 154130 h 757477"/>
                  <a:gd name="connsiteX1" fmla="*/ 3424101 w 3431937"/>
                  <a:gd name="connsiteY1" fmla="*/ 0 h 757477"/>
                  <a:gd name="connsiteX2" fmla="*/ 3431937 w 3431937"/>
                  <a:gd name="connsiteY2" fmla="*/ 757477 h 757477"/>
                  <a:gd name="connsiteX3" fmla="*/ 0 w 3431937"/>
                  <a:gd name="connsiteY3" fmla="*/ 565050 h 757477"/>
                  <a:gd name="connsiteX4" fmla="*/ 10222 w 3431937"/>
                  <a:gd name="connsiteY4" fmla="*/ 154130 h 757477"/>
                  <a:gd name="connsiteX0" fmla="*/ 0 w 3433071"/>
                  <a:gd name="connsiteY0" fmla="*/ 155571 h 757477"/>
                  <a:gd name="connsiteX1" fmla="*/ 3425235 w 3433071"/>
                  <a:gd name="connsiteY1" fmla="*/ 0 h 757477"/>
                  <a:gd name="connsiteX2" fmla="*/ 3433071 w 3433071"/>
                  <a:gd name="connsiteY2" fmla="*/ 757477 h 757477"/>
                  <a:gd name="connsiteX3" fmla="*/ 1134 w 3433071"/>
                  <a:gd name="connsiteY3" fmla="*/ 565050 h 757477"/>
                  <a:gd name="connsiteX4" fmla="*/ 0 w 3433071"/>
                  <a:gd name="connsiteY4" fmla="*/ 155571 h 757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33071" h="757477">
                    <a:moveTo>
                      <a:pt x="0" y="155571"/>
                    </a:moveTo>
                    <a:lnTo>
                      <a:pt x="3425235" y="0"/>
                    </a:lnTo>
                    <a:lnTo>
                      <a:pt x="3433071" y="757477"/>
                    </a:lnTo>
                    <a:lnTo>
                      <a:pt x="1134" y="565050"/>
                    </a:lnTo>
                    <a:lnTo>
                      <a:pt x="0" y="155571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5" name="Isosceles Triangle 110"/>
              <p:cNvSpPr/>
              <p:nvPr/>
            </p:nvSpPr>
            <p:spPr>
              <a:xfrm rot="13692272">
                <a:off x="7875737" y="6192469"/>
                <a:ext cx="54182" cy="81609"/>
              </a:xfrm>
              <a:custGeom>
                <a:avLst/>
                <a:gdLst>
                  <a:gd name="connsiteX0" fmla="*/ 0 w 405957"/>
                  <a:gd name="connsiteY0" fmla="*/ 609600 h 609600"/>
                  <a:gd name="connsiteX1" fmla="*/ 202979 w 405957"/>
                  <a:gd name="connsiteY1" fmla="*/ 0 h 609600"/>
                  <a:gd name="connsiteX2" fmla="*/ 405957 w 405957"/>
                  <a:gd name="connsiteY2" fmla="*/ 609600 h 609600"/>
                  <a:gd name="connsiteX3" fmla="*/ 0 w 405957"/>
                  <a:gd name="connsiteY3" fmla="*/ 609600 h 609600"/>
                  <a:gd name="connsiteX0" fmla="*/ 0 w 389754"/>
                  <a:gd name="connsiteY0" fmla="*/ 609600 h 630725"/>
                  <a:gd name="connsiteX1" fmla="*/ 202979 w 389754"/>
                  <a:gd name="connsiteY1" fmla="*/ 0 h 630725"/>
                  <a:gd name="connsiteX2" fmla="*/ 389754 w 389754"/>
                  <a:gd name="connsiteY2" fmla="*/ 630725 h 630725"/>
                  <a:gd name="connsiteX3" fmla="*/ 0 w 389754"/>
                  <a:gd name="connsiteY3" fmla="*/ 609600 h 630725"/>
                  <a:gd name="connsiteX0" fmla="*/ 0 w 406450"/>
                  <a:gd name="connsiteY0" fmla="*/ 640815 h 640815"/>
                  <a:gd name="connsiteX1" fmla="*/ 219675 w 406450"/>
                  <a:gd name="connsiteY1" fmla="*/ 0 h 640815"/>
                  <a:gd name="connsiteX2" fmla="*/ 406450 w 406450"/>
                  <a:gd name="connsiteY2" fmla="*/ 630725 h 640815"/>
                  <a:gd name="connsiteX3" fmla="*/ 0 w 406450"/>
                  <a:gd name="connsiteY3" fmla="*/ 640815 h 640815"/>
                  <a:gd name="connsiteX0" fmla="*/ 0 w 406450"/>
                  <a:gd name="connsiteY0" fmla="*/ 633759 h 633759"/>
                  <a:gd name="connsiteX1" fmla="*/ 226073 w 406450"/>
                  <a:gd name="connsiteY1" fmla="*/ 0 h 633759"/>
                  <a:gd name="connsiteX2" fmla="*/ 406450 w 406450"/>
                  <a:gd name="connsiteY2" fmla="*/ 623669 h 633759"/>
                  <a:gd name="connsiteX3" fmla="*/ 0 w 406450"/>
                  <a:gd name="connsiteY3" fmla="*/ 633759 h 633759"/>
                  <a:gd name="connsiteX0" fmla="*/ 0 w 406450"/>
                  <a:gd name="connsiteY0" fmla="*/ 633923 h 633923"/>
                  <a:gd name="connsiteX1" fmla="*/ 222709 w 406450"/>
                  <a:gd name="connsiteY1" fmla="*/ 0 h 633923"/>
                  <a:gd name="connsiteX2" fmla="*/ 406450 w 406450"/>
                  <a:gd name="connsiteY2" fmla="*/ 623833 h 633923"/>
                  <a:gd name="connsiteX3" fmla="*/ 0 w 406450"/>
                  <a:gd name="connsiteY3" fmla="*/ 633923 h 633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6450" h="633923">
                    <a:moveTo>
                      <a:pt x="0" y="633923"/>
                    </a:moveTo>
                    <a:lnTo>
                      <a:pt x="222709" y="0"/>
                    </a:lnTo>
                    <a:lnTo>
                      <a:pt x="406450" y="623833"/>
                    </a:lnTo>
                    <a:lnTo>
                      <a:pt x="0" y="63392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166" name="Group 4"/>
          <p:cNvGrpSpPr>
            <a:grpSpLocks noChangeAspect="1"/>
          </p:cNvGrpSpPr>
          <p:nvPr/>
        </p:nvGrpSpPr>
        <p:grpSpPr bwMode="auto">
          <a:xfrm>
            <a:off x="744557" y="5656355"/>
            <a:ext cx="474038" cy="267935"/>
            <a:chOff x="6720" y="1599"/>
            <a:chExt cx="529" cy="299"/>
          </a:xfrm>
          <a:solidFill>
            <a:schemeClr val="bg1"/>
          </a:solidFill>
        </p:grpSpPr>
        <p:sp>
          <p:nvSpPr>
            <p:cNvPr id="167" name="Freeform 6"/>
            <p:cNvSpPr>
              <a:spLocks/>
            </p:cNvSpPr>
            <p:nvPr/>
          </p:nvSpPr>
          <p:spPr bwMode="auto">
            <a:xfrm>
              <a:off x="6754" y="1635"/>
              <a:ext cx="78" cy="77"/>
            </a:xfrm>
            <a:custGeom>
              <a:avLst/>
              <a:gdLst>
                <a:gd name="T0" fmla="*/ 271 w 541"/>
                <a:gd name="T1" fmla="*/ 0 h 542"/>
                <a:gd name="T2" fmla="*/ 314 w 541"/>
                <a:gd name="T3" fmla="*/ 3 h 542"/>
                <a:gd name="T4" fmla="*/ 356 w 541"/>
                <a:gd name="T5" fmla="*/ 13 h 542"/>
                <a:gd name="T6" fmla="*/ 395 w 541"/>
                <a:gd name="T7" fmla="*/ 30 h 542"/>
                <a:gd name="T8" fmla="*/ 431 w 541"/>
                <a:gd name="T9" fmla="*/ 51 h 542"/>
                <a:gd name="T10" fmla="*/ 463 w 541"/>
                <a:gd name="T11" fmla="*/ 78 h 542"/>
                <a:gd name="T12" fmla="*/ 490 w 541"/>
                <a:gd name="T13" fmla="*/ 110 h 542"/>
                <a:gd name="T14" fmla="*/ 511 w 541"/>
                <a:gd name="T15" fmla="*/ 146 h 542"/>
                <a:gd name="T16" fmla="*/ 528 w 541"/>
                <a:gd name="T17" fmla="*/ 185 h 542"/>
                <a:gd name="T18" fmla="*/ 538 w 541"/>
                <a:gd name="T19" fmla="*/ 227 h 542"/>
                <a:gd name="T20" fmla="*/ 541 w 541"/>
                <a:gd name="T21" fmla="*/ 271 h 542"/>
                <a:gd name="T22" fmla="*/ 538 w 541"/>
                <a:gd name="T23" fmla="*/ 314 h 542"/>
                <a:gd name="T24" fmla="*/ 528 w 541"/>
                <a:gd name="T25" fmla="*/ 356 h 542"/>
                <a:gd name="T26" fmla="*/ 511 w 541"/>
                <a:gd name="T27" fmla="*/ 395 h 542"/>
                <a:gd name="T28" fmla="*/ 490 w 541"/>
                <a:gd name="T29" fmla="*/ 430 h 542"/>
                <a:gd name="T30" fmla="*/ 463 w 541"/>
                <a:gd name="T31" fmla="*/ 462 h 542"/>
                <a:gd name="T32" fmla="*/ 431 w 541"/>
                <a:gd name="T33" fmla="*/ 489 h 542"/>
                <a:gd name="T34" fmla="*/ 395 w 541"/>
                <a:gd name="T35" fmla="*/ 511 h 542"/>
                <a:gd name="T36" fmla="*/ 356 w 541"/>
                <a:gd name="T37" fmla="*/ 528 h 542"/>
                <a:gd name="T38" fmla="*/ 314 w 541"/>
                <a:gd name="T39" fmla="*/ 538 h 542"/>
                <a:gd name="T40" fmla="*/ 271 w 541"/>
                <a:gd name="T41" fmla="*/ 542 h 542"/>
                <a:gd name="T42" fmla="*/ 227 w 541"/>
                <a:gd name="T43" fmla="*/ 538 h 542"/>
                <a:gd name="T44" fmla="*/ 185 w 541"/>
                <a:gd name="T45" fmla="*/ 528 h 542"/>
                <a:gd name="T46" fmla="*/ 146 w 541"/>
                <a:gd name="T47" fmla="*/ 511 h 542"/>
                <a:gd name="T48" fmla="*/ 111 w 541"/>
                <a:gd name="T49" fmla="*/ 489 h 542"/>
                <a:gd name="T50" fmla="*/ 79 w 541"/>
                <a:gd name="T51" fmla="*/ 462 h 542"/>
                <a:gd name="T52" fmla="*/ 52 w 541"/>
                <a:gd name="T53" fmla="*/ 430 h 542"/>
                <a:gd name="T54" fmla="*/ 30 w 541"/>
                <a:gd name="T55" fmla="*/ 395 h 542"/>
                <a:gd name="T56" fmla="*/ 13 w 541"/>
                <a:gd name="T57" fmla="*/ 356 h 542"/>
                <a:gd name="T58" fmla="*/ 3 w 541"/>
                <a:gd name="T59" fmla="*/ 314 h 542"/>
                <a:gd name="T60" fmla="*/ 0 w 541"/>
                <a:gd name="T61" fmla="*/ 271 h 542"/>
                <a:gd name="T62" fmla="*/ 3 w 541"/>
                <a:gd name="T63" fmla="*/ 227 h 542"/>
                <a:gd name="T64" fmla="*/ 13 w 541"/>
                <a:gd name="T65" fmla="*/ 185 h 542"/>
                <a:gd name="T66" fmla="*/ 30 w 541"/>
                <a:gd name="T67" fmla="*/ 146 h 542"/>
                <a:gd name="T68" fmla="*/ 52 w 541"/>
                <a:gd name="T69" fmla="*/ 110 h 542"/>
                <a:gd name="T70" fmla="*/ 79 w 541"/>
                <a:gd name="T71" fmla="*/ 78 h 542"/>
                <a:gd name="T72" fmla="*/ 111 w 541"/>
                <a:gd name="T73" fmla="*/ 51 h 542"/>
                <a:gd name="T74" fmla="*/ 146 w 541"/>
                <a:gd name="T75" fmla="*/ 30 h 542"/>
                <a:gd name="T76" fmla="*/ 185 w 541"/>
                <a:gd name="T77" fmla="*/ 13 h 542"/>
                <a:gd name="T78" fmla="*/ 227 w 541"/>
                <a:gd name="T79" fmla="*/ 3 h 542"/>
                <a:gd name="T80" fmla="*/ 271 w 541"/>
                <a:gd name="T81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1" h="542">
                  <a:moveTo>
                    <a:pt x="271" y="0"/>
                  </a:moveTo>
                  <a:lnTo>
                    <a:pt x="314" y="3"/>
                  </a:lnTo>
                  <a:lnTo>
                    <a:pt x="356" y="13"/>
                  </a:lnTo>
                  <a:lnTo>
                    <a:pt x="395" y="30"/>
                  </a:lnTo>
                  <a:lnTo>
                    <a:pt x="431" y="51"/>
                  </a:lnTo>
                  <a:lnTo>
                    <a:pt x="463" y="78"/>
                  </a:lnTo>
                  <a:lnTo>
                    <a:pt x="490" y="110"/>
                  </a:lnTo>
                  <a:lnTo>
                    <a:pt x="511" y="146"/>
                  </a:lnTo>
                  <a:lnTo>
                    <a:pt x="528" y="185"/>
                  </a:lnTo>
                  <a:lnTo>
                    <a:pt x="538" y="227"/>
                  </a:lnTo>
                  <a:lnTo>
                    <a:pt x="541" y="271"/>
                  </a:lnTo>
                  <a:lnTo>
                    <a:pt x="538" y="314"/>
                  </a:lnTo>
                  <a:lnTo>
                    <a:pt x="528" y="356"/>
                  </a:lnTo>
                  <a:lnTo>
                    <a:pt x="511" y="395"/>
                  </a:lnTo>
                  <a:lnTo>
                    <a:pt x="490" y="430"/>
                  </a:lnTo>
                  <a:lnTo>
                    <a:pt x="463" y="462"/>
                  </a:lnTo>
                  <a:lnTo>
                    <a:pt x="431" y="489"/>
                  </a:lnTo>
                  <a:lnTo>
                    <a:pt x="395" y="511"/>
                  </a:lnTo>
                  <a:lnTo>
                    <a:pt x="356" y="528"/>
                  </a:lnTo>
                  <a:lnTo>
                    <a:pt x="314" y="538"/>
                  </a:lnTo>
                  <a:lnTo>
                    <a:pt x="271" y="542"/>
                  </a:lnTo>
                  <a:lnTo>
                    <a:pt x="227" y="538"/>
                  </a:lnTo>
                  <a:lnTo>
                    <a:pt x="185" y="528"/>
                  </a:lnTo>
                  <a:lnTo>
                    <a:pt x="146" y="511"/>
                  </a:lnTo>
                  <a:lnTo>
                    <a:pt x="111" y="489"/>
                  </a:lnTo>
                  <a:lnTo>
                    <a:pt x="79" y="462"/>
                  </a:lnTo>
                  <a:lnTo>
                    <a:pt x="52" y="430"/>
                  </a:lnTo>
                  <a:lnTo>
                    <a:pt x="30" y="395"/>
                  </a:lnTo>
                  <a:lnTo>
                    <a:pt x="13" y="356"/>
                  </a:lnTo>
                  <a:lnTo>
                    <a:pt x="3" y="314"/>
                  </a:lnTo>
                  <a:lnTo>
                    <a:pt x="0" y="271"/>
                  </a:lnTo>
                  <a:lnTo>
                    <a:pt x="3" y="227"/>
                  </a:lnTo>
                  <a:lnTo>
                    <a:pt x="13" y="185"/>
                  </a:lnTo>
                  <a:lnTo>
                    <a:pt x="30" y="146"/>
                  </a:lnTo>
                  <a:lnTo>
                    <a:pt x="52" y="110"/>
                  </a:lnTo>
                  <a:lnTo>
                    <a:pt x="79" y="78"/>
                  </a:lnTo>
                  <a:lnTo>
                    <a:pt x="111" y="51"/>
                  </a:lnTo>
                  <a:lnTo>
                    <a:pt x="146" y="30"/>
                  </a:lnTo>
                  <a:lnTo>
                    <a:pt x="185" y="13"/>
                  </a:lnTo>
                  <a:lnTo>
                    <a:pt x="227" y="3"/>
                  </a:lnTo>
                  <a:lnTo>
                    <a:pt x="2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7"/>
            <p:cNvSpPr>
              <a:spLocks/>
            </p:cNvSpPr>
            <p:nvPr/>
          </p:nvSpPr>
          <p:spPr bwMode="auto">
            <a:xfrm>
              <a:off x="6935" y="1617"/>
              <a:ext cx="296" cy="139"/>
            </a:xfrm>
            <a:custGeom>
              <a:avLst/>
              <a:gdLst>
                <a:gd name="T0" fmla="*/ 392 w 2072"/>
                <a:gd name="T1" fmla="*/ 1 h 969"/>
                <a:gd name="T2" fmla="*/ 533 w 2072"/>
                <a:gd name="T3" fmla="*/ 12 h 969"/>
                <a:gd name="T4" fmla="*/ 690 w 2072"/>
                <a:gd name="T5" fmla="*/ 30 h 969"/>
                <a:gd name="T6" fmla="*/ 862 w 2072"/>
                <a:gd name="T7" fmla="*/ 56 h 969"/>
                <a:gd name="T8" fmla="*/ 1043 w 2072"/>
                <a:gd name="T9" fmla="*/ 89 h 969"/>
                <a:gd name="T10" fmla="*/ 1228 w 2072"/>
                <a:gd name="T11" fmla="*/ 126 h 969"/>
                <a:gd name="T12" fmla="*/ 1415 w 2072"/>
                <a:gd name="T13" fmla="*/ 169 h 969"/>
                <a:gd name="T14" fmla="*/ 1598 w 2072"/>
                <a:gd name="T15" fmla="*/ 216 h 969"/>
                <a:gd name="T16" fmla="*/ 1739 w 2072"/>
                <a:gd name="T17" fmla="*/ 259 h 969"/>
                <a:gd name="T18" fmla="*/ 1833 w 2072"/>
                <a:gd name="T19" fmla="*/ 306 h 969"/>
                <a:gd name="T20" fmla="*/ 1916 w 2072"/>
                <a:gd name="T21" fmla="*/ 367 h 969"/>
                <a:gd name="T22" fmla="*/ 1984 w 2072"/>
                <a:gd name="T23" fmla="*/ 441 h 969"/>
                <a:gd name="T24" fmla="*/ 2034 w 2072"/>
                <a:gd name="T25" fmla="*/ 526 h 969"/>
                <a:gd name="T26" fmla="*/ 2064 w 2072"/>
                <a:gd name="T27" fmla="*/ 622 h 969"/>
                <a:gd name="T28" fmla="*/ 2072 w 2072"/>
                <a:gd name="T29" fmla="*/ 724 h 969"/>
                <a:gd name="T30" fmla="*/ 2028 w 2072"/>
                <a:gd name="T31" fmla="*/ 920 h 969"/>
                <a:gd name="T32" fmla="*/ 2011 w 2072"/>
                <a:gd name="T33" fmla="*/ 949 h 969"/>
                <a:gd name="T34" fmla="*/ 1982 w 2072"/>
                <a:gd name="T35" fmla="*/ 967 h 969"/>
                <a:gd name="T36" fmla="*/ 67 w 2072"/>
                <a:gd name="T37" fmla="*/ 969 h 969"/>
                <a:gd name="T38" fmla="*/ 29 w 2072"/>
                <a:gd name="T39" fmla="*/ 957 h 969"/>
                <a:gd name="T40" fmla="*/ 5 w 2072"/>
                <a:gd name="T41" fmla="*/ 925 h 969"/>
                <a:gd name="T42" fmla="*/ 0 w 2072"/>
                <a:gd name="T43" fmla="*/ 859 h 969"/>
                <a:gd name="T44" fmla="*/ 50 w 2072"/>
                <a:gd name="T45" fmla="*/ 852 h 969"/>
                <a:gd name="T46" fmla="*/ 93 w 2072"/>
                <a:gd name="T47" fmla="*/ 875 h 969"/>
                <a:gd name="T48" fmla="*/ 150 w 2072"/>
                <a:gd name="T49" fmla="*/ 888 h 969"/>
                <a:gd name="T50" fmla="*/ 215 w 2072"/>
                <a:gd name="T51" fmla="*/ 888 h 969"/>
                <a:gd name="T52" fmla="*/ 283 w 2072"/>
                <a:gd name="T53" fmla="*/ 869 h 969"/>
                <a:gd name="T54" fmla="*/ 761 w 2072"/>
                <a:gd name="T55" fmla="*/ 577 h 969"/>
                <a:gd name="T56" fmla="*/ 818 w 2072"/>
                <a:gd name="T57" fmla="*/ 528 h 969"/>
                <a:gd name="T58" fmla="*/ 859 w 2072"/>
                <a:gd name="T59" fmla="*/ 468 h 969"/>
                <a:gd name="T60" fmla="*/ 879 w 2072"/>
                <a:gd name="T61" fmla="*/ 399 h 969"/>
                <a:gd name="T62" fmla="*/ 881 w 2072"/>
                <a:gd name="T63" fmla="*/ 328 h 969"/>
                <a:gd name="T64" fmla="*/ 862 w 2072"/>
                <a:gd name="T65" fmla="*/ 258 h 969"/>
                <a:gd name="T66" fmla="*/ 821 w 2072"/>
                <a:gd name="T67" fmla="*/ 192 h 969"/>
                <a:gd name="T68" fmla="*/ 766 w 2072"/>
                <a:gd name="T69" fmla="*/ 144 h 969"/>
                <a:gd name="T70" fmla="*/ 701 w 2072"/>
                <a:gd name="T71" fmla="*/ 114 h 969"/>
                <a:gd name="T72" fmla="*/ 630 w 2072"/>
                <a:gd name="T73" fmla="*/ 102 h 969"/>
                <a:gd name="T74" fmla="*/ 559 w 2072"/>
                <a:gd name="T75" fmla="*/ 111 h 969"/>
                <a:gd name="T76" fmla="*/ 491 w 2072"/>
                <a:gd name="T77" fmla="*/ 141 h 969"/>
                <a:gd name="T78" fmla="*/ 69 w 2072"/>
                <a:gd name="T79" fmla="*/ 340 h 969"/>
                <a:gd name="T80" fmla="*/ 109 w 2072"/>
                <a:gd name="T81" fmla="*/ 237 h 969"/>
                <a:gd name="T82" fmla="*/ 151 w 2072"/>
                <a:gd name="T83" fmla="*/ 154 h 969"/>
                <a:gd name="T84" fmla="*/ 192 w 2072"/>
                <a:gd name="T85" fmla="*/ 91 h 969"/>
                <a:gd name="T86" fmla="*/ 228 w 2072"/>
                <a:gd name="T87" fmla="*/ 45 h 969"/>
                <a:gd name="T88" fmla="*/ 255 w 2072"/>
                <a:gd name="T89" fmla="*/ 16 h 969"/>
                <a:gd name="T90" fmla="*/ 271 w 2072"/>
                <a:gd name="T91" fmla="*/ 2 h 969"/>
                <a:gd name="T92" fmla="*/ 329 w 2072"/>
                <a:gd name="T9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72" h="969">
                  <a:moveTo>
                    <a:pt x="329" y="0"/>
                  </a:moveTo>
                  <a:lnTo>
                    <a:pt x="392" y="1"/>
                  </a:lnTo>
                  <a:lnTo>
                    <a:pt x="459" y="6"/>
                  </a:lnTo>
                  <a:lnTo>
                    <a:pt x="533" y="12"/>
                  </a:lnTo>
                  <a:lnTo>
                    <a:pt x="609" y="20"/>
                  </a:lnTo>
                  <a:lnTo>
                    <a:pt x="690" y="30"/>
                  </a:lnTo>
                  <a:lnTo>
                    <a:pt x="774" y="43"/>
                  </a:lnTo>
                  <a:lnTo>
                    <a:pt x="862" y="56"/>
                  </a:lnTo>
                  <a:lnTo>
                    <a:pt x="952" y="72"/>
                  </a:lnTo>
                  <a:lnTo>
                    <a:pt x="1043" y="89"/>
                  </a:lnTo>
                  <a:lnTo>
                    <a:pt x="1135" y="107"/>
                  </a:lnTo>
                  <a:lnTo>
                    <a:pt x="1228" y="126"/>
                  </a:lnTo>
                  <a:lnTo>
                    <a:pt x="1322" y="147"/>
                  </a:lnTo>
                  <a:lnTo>
                    <a:pt x="1415" y="169"/>
                  </a:lnTo>
                  <a:lnTo>
                    <a:pt x="1507" y="192"/>
                  </a:lnTo>
                  <a:lnTo>
                    <a:pt x="1598" y="216"/>
                  </a:lnTo>
                  <a:lnTo>
                    <a:pt x="1687" y="242"/>
                  </a:lnTo>
                  <a:lnTo>
                    <a:pt x="1739" y="259"/>
                  </a:lnTo>
                  <a:lnTo>
                    <a:pt x="1787" y="280"/>
                  </a:lnTo>
                  <a:lnTo>
                    <a:pt x="1833" y="306"/>
                  </a:lnTo>
                  <a:lnTo>
                    <a:pt x="1877" y="334"/>
                  </a:lnTo>
                  <a:lnTo>
                    <a:pt x="1916" y="367"/>
                  </a:lnTo>
                  <a:lnTo>
                    <a:pt x="1952" y="403"/>
                  </a:lnTo>
                  <a:lnTo>
                    <a:pt x="1984" y="441"/>
                  </a:lnTo>
                  <a:lnTo>
                    <a:pt x="2011" y="482"/>
                  </a:lnTo>
                  <a:lnTo>
                    <a:pt x="2034" y="526"/>
                  </a:lnTo>
                  <a:lnTo>
                    <a:pt x="2051" y="573"/>
                  </a:lnTo>
                  <a:lnTo>
                    <a:pt x="2064" y="622"/>
                  </a:lnTo>
                  <a:lnTo>
                    <a:pt x="2070" y="672"/>
                  </a:lnTo>
                  <a:lnTo>
                    <a:pt x="2072" y="724"/>
                  </a:lnTo>
                  <a:lnTo>
                    <a:pt x="2066" y="777"/>
                  </a:lnTo>
                  <a:lnTo>
                    <a:pt x="2028" y="920"/>
                  </a:lnTo>
                  <a:lnTo>
                    <a:pt x="2021" y="935"/>
                  </a:lnTo>
                  <a:lnTo>
                    <a:pt x="2011" y="949"/>
                  </a:lnTo>
                  <a:lnTo>
                    <a:pt x="1997" y="960"/>
                  </a:lnTo>
                  <a:lnTo>
                    <a:pt x="1982" y="967"/>
                  </a:lnTo>
                  <a:lnTo>
                    <a:pt x="1965" y="969"/>
                  </a:lnTo>
                  <a:lnTo>
                    <a:pt x="67" y="969"/>
                  </a:lnTo>
                  <a:lnTo>
                    <a:pt x="47" y="966"/>
                  </a:lnTo>
                  <a:lnTo>
                    <a:pt x="29" y="957"/>
                  </a:lnTo>
                  <a:lnTo>
                    <a:pt x="15" y="943"/>
                  </a:lnTo>
                  <a:lnTo>
                    <a:pt x="5" y="925"/>
                  </a:lnTo>
                  <a:lnTo>
                    <a:pt x="2" y="905"/>
                  </a:lnTo>
                  <a:lnTo>
                    <a:pt x="0" y="859"/>
                  </a:lnTo>
                  <a:lnTo>
                    <a:pt x="0" y="813"/>
                  </a:lnTo>
                  <a:lnTo>
                    <a:pt x="50" y="852"/>
                  </a:lnTo>
                  <a:lnTo>
                    <a:pt x="69" y="865"/>
                  </a:lnTo>
                  <a:lnTo>
                    <a:pt x="93" y="875"/>
                  </a:lnTo>
                  <a:lnTo>
                    <a:pt x="120" y="884"/>
                  </a:lnTo>
                  <a:lnTo>
                    <a:pt x="150" y="888"/>
                  </a:lnTo>
                  <a:lnTo>
                    <a:pt x="182" y="891"/>
                  </a:lnTo>
                  <a:lnTo>
                    <a:pt x="215" y="888"/>
                  </a:lnTo>
                  <a:lnTo>
                    <a:pt x="249" y="882"/>
                  </a:lnTo>
                  <a:lnTo>
                    <a:pt x="283" y="869"/>
                  </a:lnTo>
                  <a:lnTo>
                    <a:pt x="317" y="852"/>
                  </a:lnTo>
                  <a:lnTo>
                    <a:pt x="761" y="577"/>
                  </a:lnTo>
                  <a:lnTo>
                    <a:pt x="792" y="554"/>
                  </a:lnTo>
                  <a:lnTo>
                    <a:pt x="818" y="528"/>
                  </a:lnTo>
                  <a:lnTo>
                    <a:pt x="841" y="499"/>
                  </a:lnTo>
                  <a:lnTo>
                    <a:pt x="859" y="468"/>
                  </a:lnTo>
                  <a:lnTo>
                    <a:pt x="871" y="434"/>
                  </a:lnTo>
                  <a:lnTo>
                    <a:pt x="879" y="399"/>
                  </a:lnTo>
                  <a:lnTo>
                    <a:pt x="882" y="364"/>
                  </a:lnTo>
                  <a:lnTo>
                    <a:pt x="881" y="328"/>
                  </a:lnTo>
                  <a:lnTo>
                    <a:pt x="874" y="292"/>
                  </a:lnTo>
                  <a:lnTo>
                    <a:pt x="862" y="258"/>
                  </a:lnTo>
                  <a:lnTo>
                    <a:pt x="844" y="224"/>
                  </a:lnTo>
                  <a:lnTo>
                    <a:pt x="821" y="192"/>
                  </a:lnTo>
                  <a:lnTo>
                    <a:pt x="796" y="166"/>
                  </a:lnTo>
                  <a:lnTo>
                    <a:pt x="766" y="144"/>
                  </a:lnTo>
                  <a:lnTo>
                    <a:pt x="735" y="126"/>
                  </a:lnTo>
                  <a:lnTo>
                    <a:pt x="701" y="114"/>
                  </a:lnTo>
                  <a:lnTo>
                    <a:pt x="666" y="106"/>
                  </a:lnTo>
                  <a:lnTo>
                    <a:pt x="630" y="102"/>
                  </a:lnTo>
                  <a:lnTo>
                    <a:pt x="594" y="105"/>
                  </a:lnTo>
                  <a:lnTo>
                    <a:pt x="559" y="111"/>
                  </a:lnTo>
                  <a:lnTo>
                    <a:pt x="525" y="124"/>
                  </a:lnTo>
                  <a:lnTo>
                    <a:pt x="491" y="141"/>
                  </a:lnTo>
                  <a:lnTo>
                    <a:pt x="147" y="354"/>
                  </a:lnTo>
                  <a:lnTo>
                    <a:pt x="69" y="340"/>
                  </a:lnTo>
                  <a:lnTo>
                    <a:pt x="88" y="286"/>
                  </a:lnTo>
                  <a:lnTo>
                    <a:pt x="109" y="237"/>
                  </a:lnTo>
                  <a:lnTo>
                    <a:pt x="130" y="193"/>
                  </a:lnTo>
                  <a:lnTo>
                    <a:pt x="151" y="154"/>
                  </a:lnTo>
                  <a:lnTo>
                    <a:pt x="172" y="120"/>
                  </a:lnTo>
                  <a:lnTo>
                    <a:pt x="192" y="91"/>
                  </a:lnTo>
                  <a:lnTo>
                    <a:pt x="211" y="65"/>
                  </a:lnTo>
                  <a:lnTo>
                    <a:pt x="228" y="45"/>
                  </a:lnTo>
                  <a:lnTo>
                    <a:pt x="242" y="28"/>
                  </a:lnTo>
                  <a:lnTo>
                    <a:pt x="255" y="16"/>
                  </a:lnTo>
                  <a:lnTo>
                    <a:pt x="265" y="7"/>
                  </a:lnTo>
                  <a:lnTo>
                    <a:pt x="271" y="2"/>
                  </a:lnTo>
                  <a:lnTo>
                    <a:pt x="273" y="0"/>
                  </a:lnTo>
                  <a:lnTo>
                    <a:pt x="32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8"/>
            <p:cNvSpPr>
              <a:spLocks/>
            </p:cNvSpPr>
            <p:nvPr/>
          </p:nvSpPr>
          <p:spPr bwMode="auto">
            <a:xfrm>
              <a:off x="6720" y="1599"/>
              <a:ext cx="529" cy="299"/>
            </a:xfrm>
            <a:custGeom>
              <a:avLst/>
              <a:gdLst>
                <a:gd name="T0" fmla="*/ 123 w 3706"/>
                <a:gd name="T1" fmla="*/ 11 h 2091"/>
                <a:gd name="T2" fmla="*/ 160 w 3706"/>
                <a:gd name="T3" fmla="*/ 59 h 2091"/>
                <a:gd name="T4" fmla="*/ 1006 w 3706"/>
                <a:gd name="T5" fmla="*/ 877 h 2091"/>
                <a:gd name="T6" fmla="*/ 922 w 3706"/>
                <a:gd name="T7" fmla="*/ 835 h 2091"/>
                <a:gd name="T8" fmla="*/ 871 w 3706"/>
                <a:gd name="T9" fmla="*/ 757 h 2091"/>
                <a:gd name="T10" fmla="*/ 867 w 3706"/>
                <a:gd name="T11" fmla="*/ 368 h 2091"/>
                <a:gd name="T12" fmla="*/ 879 w 3706"/>
                <a:gd name="T13" fmla="*/ 305 h 2091"/>
                <a:gd name="T14" fmla="*/ 934 w 3706"/>
                <a:gd name="T15" fmla="*/ 230 h 2091"/>
                <a:gd name="T16" fmla="*/ 1020 w 3706"/>
                <a:gd name="T17" fmla="*/ 191 h 2091"/>
                <a:gd name="T18" fmla="*/ 1490 w 3706"/>
                <a:gd name="T19" fmla="*/ 256 h 2091"/>
                <a:gd name="T20" fmla="*/ 1415 w 3706"/>
                <a:gd name="T21" fmla="*/ 441 h 2091"/>
                <a:gd name="T22" fmla="*/ 2065 w 3706"/>
                <a:gd name="T23" fmla="*/ 377 h 2091"/>
                <a:gd name="T24" fmla="*/ 2139 w 3706"/>
                <a:gd name="T25" fmla="*/ 358 h 2091"/>
                <a:gd name="T26" fmla="*/ 2209 w 3706"/>
                <a:gd name="T27" fmla="*/ 382 h 2091"/>
                <a:gd name="T28" fmla="*/ 2259 w 3706"/>
                <a:gd name="T29" fmla="*/ 450 h 2091"/>
                <a:gd name="T30" fmla="*/ 2256 w 3706"/>
                <a:gd name="T31" fmla="*/ 537 h 2091"/>
                <a:gd name="T32" fmla="*/ 2204 w 3706"/>
                <a:gd name="T33" fmla="*/ 600 h 2091"/>
                <a:gd name="T34" fmla="*/ 1711 w 3706"/>
                <a:gd name="T35" fmla="*/ 893 h 2091"/>
                <a:gd name="T36" fmla="*/ 1636 w 3706"/>
                <a:gd name="T37" fmla="*/ 883 h 2091"/>
                <a:gd name="T38" fmla="*/ 1347 w 3706"/>
                <a:gd name="T39" fmla="*/ 871 h 2091"/>
                <a:gd name="T40" fmla="*/ 1347 w 3706"/>
                <a:gd name="T41" fmla="*/ 1042 h 2091"/>
                <a:gd name="T42" fmla="*/ 1375 w 3706"/>
                <a:gd name="T43" fmla="*/ 1143 h 2091"/>
                <a:gd name="T44" fmla="*/ 1442 w 3706"/>
                <a:gd name="T45" fmla="*/ 1220 h 2091"/>
                <a:gd name="T46" fmla="*/ 1539 w 3706"/>
                <a:gd name="T47" fmla="*/ 1258 h 2091"/>
                <a:gd name="T48" fmla="*/ 3439 w 3706"/>
                <a:gd name="T49" fmla="*/ 1672 h 2091"/>
                <a:gd name="T50" fmla="*/ 3531 w 3706"/>
                <a:gd name="T51" fmla="*/ 1668 h 2091"/>
                <a:gd name="T52" fmla="*/ 3630 w 3706"/>
                <a:gd name="T53" fmla="*/ 1715 h 2091"/>
                <a:gd name="T54" fmla="*/ 3692 w 3706"/>
                <a:gd name="T55" fmla="*/ 1804 h 2091"/>
                <a:gd name="T56" fmla="*/ 3702 w 3706"/>
                <a:gd name="T57" fmla="*/ 1917 h 2091"/>
                <a:gd name="T58" fmla="*/ 3655 w 3706"/>
                <a:gd name="T59" fmla="*/ 2016 h 2091"/>
                <a:gd name="T60" fmla="*/ 3567 w 3706"/>
                <a:gd name="T61" fmla="*/ 2077 h 2091"/>
                <a:gd name="T62" fmla="*/ 3457 w 3706"/>
                <a:gd name="T63" fmla="*/ 2088 h 2091"/>
                <a:gd name="T64" fmla="*/ 3364 w 3706"/>
                <a:gd name="T65" fmla="*/ 2047 h 2091"/>
                <a:gd name="T66" fmla="*/ 3301 w 3706"/>
                <a:gd name="T67" fmla="*/ 1971 h 2091"/>
                <a:gd name="T68" fmla="*/ 3277 w 3706"/>
                <a:gd name="T69" fmla="*/ 1869 h 2091"/>
                <a:gd name="T70" fmla="*/ 162 w 3706"/>
                <a:gd name="T71" fmla="*/ 1672 h 2091"/>
                <a:gd name="T72" fmla="*/ 252 w 3706"/>
                <a:gd name="T73" fmla="*/ 1668 h 2091"/>
                <a:gd name="T74" fmla="*/ 351 w 3706"/>
                <a:gd name="T75" fmla="*/ 1715 h 2091"/>
                <a:gd name="T76" fmla="*/ 414 w 3706"/>
                <a:gd name="T77" fmla="*/ 1804 h 2091"/>
                <a:gd name="T78" fmla="*/ 424 w 3706"/>
                <a:gd name="T79" fmla="*/ 1917 h 2091"/>
                <a:gd name="T80" fmla="*/ 377 w 3706"/>
                <a:gd name="T81" fmla="*/ 2016 h 2091"/>
                <a:gd name="T82" fmla="*/ 288 w 3706"/>
                <a:gd name="T83" fmla="*/ 2077 h 2091"/>
                <a:gd name="T84" fmla="*/ 175 w 3706"/>
                <a:gd name="T85" fmla="*/ 2088 h 2091"/>
                <a:gd name="T86" fmla="*/ 78 w 3706"/>
                <a:gd name="T87" fmla="*/ 2041 h 2091"/>
                <a:gd name="T88" fmla="*/ 15 w 3706"/>
                <a:gd name="T89" fmla="*/ 1954 h 2091"/>
                <a:gd name="T90" fmla="*/ 1 w 3706"/>
                <a:gd name="T91" fmla="*/ 1880 h 2091"/>
                <a:gd name="T92" fmla="*/ 0 w 3706"/>
                <a:gd name="T93" fmla="*/ 1878 h 2091"/>
                <a:gd name="T94" fmla="*/ 0 w 3706"/>
                <a:gd name="T95" fmla="*/ 1873 h 2091"/>
                <a:gd name="T96" fmla="*/ 0 w 3706"/>
                <a:gd name="T97" fmla="*/ 1856 h 2091"/>
                <a:gd name="T98" fmla="*/ 0 w 3706"/>
                <a:gd name="T99" fmla="*/ 1821 h 2091"/>
                <a:gd name="T100" fmla="*/ 0 w 3706"/>
                <a:gd name="T101" fmla="*/ 1761 h 2091"/>
                <a:gd name="T102" fmla="*/ 0 w 3706"/>
                <a:gd name="T103" fmla="*/ 1670 h 2091"/>
                <a:gd name="T104" fmla="*/ 0 w 3706"/>
                <a:gd name="T105" fmla="*/ 1541 h 2091"/>
                <a:gd name="T106" fmla="*/ 0 w 3706"/>
                <a:gd name="T107" fmla="*/ 1366 h 2091"/>
                <a:gd name="T108" fmla="*/ 0 w 3706"/>
                <a:gd name="T109" fmla="*/ 1140 h 2091"/>
                <a:gd name="T110" fmla="*/ 0 w 3706"/>
                <a:gd name="T111" fmla="*/ 854 h 2091"/>
                <a:gd name="T112" fmla="*/ 0 w 3706"/>
                <a:gd name="T113" fmla="*/ 504 h 2091"/>
                <a:gd name="T114" fmla="*/ 0 w 3706"/>
                <a:gd name="T115" fmla="*/ 82 h 2091"/>
                <a:gd name="T116" fmla="*/ 24 w 3706"/>
                <a:gd name="T117" fmla="*/ 24 h 2091"/>
                <a:gd name="T118" fmla="*/ 81 w 3706"/>
                <a:gd name="T119" fmla="*/ 0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6" h="2091">
                  <a:moveTo>
                    <a:pt x="81" y="0"/>
                  </a:moveTo>
                  <a:lnTo>
                    <a:pt x="102" y="3"/>
                  </a:lnTo>
                  <a:lnTo>
                    <a:pt x="123" y="11"/>
                  </a:lnTo>
                  <a:lnTo>
                    <a:pt x="138" y="24"/>
                  </a:lnTo>
                  <a:lnTo>
                    <a:pt x="152" y="40"/>
                  </a:lnTo>
                  <a:lnTo>
                    <a:pt x="160" y="59"/>
                  </a:lnTo>
                  <a:lnTo>
                    <a:pt x="162" y="82"/>
                  </a:lnTo>
                  <a:lnTo>
                    <a:pt x="162" y="877"/>
                  </a:lnTo>
                  <a:lnTo>
                    <a:pt x="1006" y="877"/>
                  </a:lnTo>
                  <a:lnTo>
                    <a:pt x="976" y="868"/>
                  </a:lnTo>
                  <a:lnTo>
                    <a:pt x="947" y="853"/>
                  </a:lnTo>
                  <a:lnTo>
                    <a:pt x="922" y="835"/>
                  </a:lnTo>
                  <a:lnTo>
                    <a:pt x="901" y="811"/>
                  </a:lnTo>
                  <a:lnTo>
                    <a:pt x="884" y="786"/>
                  </a:lnTo>
                  <a:lnTo>
                    <a:pt x="871" y="757"/>
                  </a:lnTo>
                  <a:lnTo>
                    <a:pt x="863" y="727"/>
                  </a:lnTo>
                  <a:lnTo>
                    <a:pt x="861" y="694"/>
                  </a:lnTo>
                  <a:lnTo>
                    <a:pt x="867" y="368"/>
                  </a:lnTo>
                  <a:lnTo>
                    <a:pt x="867" y="368"/>
                  </a:lnTo>
                  <a:lnTo>
                    <a:pt x="870" y="336"/>
                  </a:lnTo>
                  <a:lnTo>
                    <a:pt x="879" y="305"/>
                  </a:lnTo>
                  <a:lnTo>
                    <a:pt x="894" y="277"/>
                  </a:lnTo>
                  <a:lnTo>
                    <a:pt x="912" y="251"/>
                  </a:lnTo>
                  <a:lnTo>
                    <a:pt x="934" y="230"/>
                  </a:lnTo>
                  <a:lnTo>
                    <a:pt x="960" y="212"/>
                  </a:lnTo>
                  <a:lnTo>
                    <a:pt x="988" y="199"/>
                  </a:lnTo>
                  <a:lnTo>
                    <a:pt x="1020" y="191"/>
                  </a:lnTo>
                  <a:lnTo>
                    <a:pt x="1053" y="189"/>
                  </a:lnTo>
                  <a:lnTo>
                    <a:pt x="1522" y="196"/>
                  </a:lnTo>
                  <a:lnTo>
                    <a:pt x="1490" y="256"/>
                  </a:lnTo>
                  <a:lnTo>
                    <a:pt x="1462" y="317"/>
                  </a:lnTo>
                  <a:lnTo>
                    <a:pt x="1437" y="379"/>
                  </a:lnTo>
                  <a:lnTo>
                    <a:pt x="1415" y="441"/>
                  </a:lnTo>
                  <a:lnTo>
                    <a:pt x="1229" y="409"/>
                  </a:lnTo>
                  <a:lnTo>
                    <a:pt x="1681" y="616"/>
                  </a:lnTo>
                  <a:lnTo>
                    <a:pt x="2065" y="377"/>
                  </a:lnTo>
                  <a:lnTo>
                    <a:pt x="2089" y="366"/>
                  </a:lnTo>
                  <a:lnTo>
                    <a:pt x="2114" y="359"/>
                  </a:lnTo>
                  <a:lnTo>
                    <a:pt x="2139" y="358"/>
                  </a:lnTo>
                  <a:lnTo>
                    <a:pt x="2164" y="362"/>
                  </a:lnTo>
                  <a:lnTo>
                    <a:pt x="2188" y="370"/>
                  </a:lnTo>
                  <a:lnTo>
                    <a:pt x="2209" y="382"/>
                  </a:lnTo>
                  <a:lnTo>
                    <a:pt x="2229" y="399"/>
                  </a:lnTo>
                  <a:lnTo>
                    <a:pt x="2245" y="420"/>
                  </a:lnTo>
                  <a:lnTo>
                    <a:pt x="2259" y="450"/>
                  </a:lnTo>
                  <a:lnTo>
                    <a:pt x="2264" y="481"/>
                  </a:lnTo>
                  <a:lnTo>
                    <a:pt x="2263" y="509"/>
                  </a:lnTo>
                  <a:lnTo>
                    <a:pt x="2256" y="537"/>
                  </a:lnTo>
                  <a:lnTo>
                    <a:pt x="2243" y="562"/>
                  </a:lnTo>
                  <a:lnTo>
                    <a:pt x="2225" y="583"/>
                  </a:lnTo>
                  <a:lnTo>
                    <a:pt x="2204" y="600"/>
                  </a:lnTo>
                  <a:lnTo>
                    <a:pt x="1758" y="875"/>
                  </a:lnTo>
                  <a:lnTo>
                    <a:pt x="1736" y="887"/>
                  </a:lnTo>
                  <a:lnTo>
                    <a:pt x="1711" y="893"/>
                  </a:lnTo>
                  <a:lnTo>
                    <a:pt x="1685" y="895"/>
                  </a:lnTo>
                  <a:lnTo>
                    <a:pt x="1659" y="891"/>
                  </a:lnTo>
                  <a:lnTo>
                    <a:pt x="1636" y="883"/>
                  </a:lnTo>
                  <a:lnTo>
                    <a:pt x="1135" y="654"/>
                  </a:lnTo>
                  <a:lnTo>
                    <a:pt x="1349" y="819"/>
                  </a:lnTo>
                  <a:lnTo>
                    <a:pt x="1347" y="871"/>
                  </a:lnTo>
                  <a:lnTo>
                    <a:pt x="1346" y="926"/>
                  </a:lnTo>
                  <a:lnTo>
                    <a:pt x="1346" y="983"/>
                  </a:lnTo>
                  <a:lnTo>
                    <a:pt x="1347" y="1042"/>
                  </a:lnTo>
                  <a:lnTo>
                    <a:pt x="1351" y="1078"/>
                  </a:lnTo>
                  <a:lnTo>
                    <a:pt x="1361" y="1112"/>
                  </a:lnTo>
                  <a:lnTo>
                    <a:pt x="1375" y="1143"/>
                  </a:lnTo>
                  <a:lnTo>
                    <a:pt x="1394" y="1171"/>
                  </a:lnTo>
                  <a:lnTo>
                    <a:pt x="1417" y="1197"/>
                  </a:lnTo>
                  <a:lnTo>
                    <a:pt x="1442" y="1220"/>
                  </a:lnTo>
                  <a:lnTo>
                    <a:pt x="1472" y="1236"/>
                  </a:lnTo>
                  <a:lnTo>
                    <a:pt x="1504" y="1250"/>
                  </a:lnTo>
                  <a:lnTo>
                    <a:pt x="1539" y="1258"/>
                  </a:lnTo>
                  <a:lnTo>
                    <a:pt x="1575" y="1261"/>
                  </a:lnTo>
                  <a:lnTo>
                    <a:pt x="3439" y="1261"/>
                  </a:lnTo>
                  <a:lnTo>
                    <a:pt x="3439" y="1672"/>
                  </a:lnTo>
                  <a:lnTo>
                    <a:pt x="3465" y="1667"/>
                  </a:lnTo>
                  <a:lnTo>
                    <a:pt x="3493" y="1665"/>
                  </a:lnTo>
                  <a:lnTo>
                    <a:pt x="3531" y="1668"/>
                  </a:lnTo>
                  <a:lnTo>
                    <a:pt x="3567" y="1678"/>
                  </a:lnTo>
                  <a:lnTo>
                    <a:pt x="3600" y="1694"/>
                  </a:lnTo>
                  <a:lnTo>
                    <a:pt x="3630" y="1715"/>
                  </a:lnTo>
                  <a:lnTo>
                    <a:pt x="3655" y="1741"/>
                  </a:lnTo>
                  <a:lnTo>
                    <a:pt x="3676" y="1770"/>
                  </a:lnTo>
                  <a:lnTo>
                    <a:pt x="3692" y="1804"/>
                  </a:lnTo>
                  <a:lnTo>
                    <a:pt x="3702" y="1840"/>
                  </a:lnTo>
                  <a:lnTo>
                    <a:pt x="3706" y="1878"/>
                  </a:lnTo>
                  <a:lnTo>
                    <a:pt x="3702" y="1917"/>
                  </a:lnTo>
                  <a:lnTo>
                    <a:pt x="3692" y="1953"/>
                  </a:lnTo>
                  <a:lnTo>
                    <a:pt x="3676" y="1985"/>
                  </a:lnTo>
                  <a:lnTo>
                    <a:pt x="3655" y="2016"/>
                  </a:lnTo>
                  <a:lnTo>
                    <a:pt x="3630" y="2041"/>
                  </a:lnTo>
                  <a:lnTo>
                    <a:pt x="3600" y="2062"/>
                  </a:lnTo>
                  <a:lnTo>
                    <a:pt x="3567" y="2077"/>
                  </a:lnTo>
                  <a:lnTo>
                    <a:pt x="3531" y="2088"/>
                  </a:lnTo>
                  <a:lnTo>
                    <a:pt x="3493" y="2091"/>
                  </a:lnTo>
                  <a:lnTo>
                    <a:pt x="3457" y="2088"/>
                  </a:lnTo>
                  <a:lnTo>
                    <a:pt x="3423" y="2080"/>
                  </a:lnTo>
                  <a:lnTo>
                    <a:pt x="3392" y="2066"/>
                  </a:lnTo>
                  <a:lnTo>
                    <a:pt x="3364" y="2047"/>
                  </a:lnTo>
                  <a:lnTo>
                    <a:pt x="3339" y="2025"/>
                  </a:lnTo>
                  <a:lnTo>
                    <a:pt x="3318" y="1999"/>
                  </a:lnTo>
                  <a:lnTo>
                    <a:pt x="3301" y="1971"/>
                  </a:lnTo>
                  <a:lnTo>
                    <a:pt x="3287" y="1939"/>
                  </a:lnTo>
                  <a:lnTo>
                    <a:pt x="3279" y="1905"/>
                  </a:lnTo>
                  <a:lnTo>
                    <a:pt x="3277" y="1869"/>
                  </a:lnTo>
                  <a:lnTo>
                    <a:pt x="3277" y="1429"/>
                  </a:lnTo>
                  <a:lnTo>
                    <a:pt x="162" y="1429"/>
                  </a:lnTo>
                  <a:lnTo>
                    <a:pt x="162" y="1672"/>
                  </a:lnTo>
                  <a:lnTo>
                    <a:pt x="188" y="1667"/>
                  </a:lnTo>
                  <a:lnTo>
                    <a:pt x="214" y="1665"/>
                  </a:lnTo>
                  <a:lnTo>
                    <a:pt x="252" y="1668"/>
                  </a:lnTo>
                  <a:lnTo>
                    <a:pt x="288" y="1678"/>
                  </a:lnTo>
                  <a:lnTo>
                    <a:pt x="322" y="1694"/>
                  </a:lnTo>
                  <a:lnTo>
                    <a:pt x="351" y="1715"/>
                  </a:lnTo>
                  <a:lnTo>
                    <a:pt x="377" y="1741"/>
                  </a:lnTo>
                  <a:lnTo>
                    <a:pt x="398" y="1770"/>
                  </a:lnTo>
                  <a:lnTo>
                    <a:pt x="414" y="1804"/>
                  </a:lnTo>
                  <a:lnTo>
                    <a:pt x="424" y="1840"/>
                  </a:lnTo>
                  <a:lnTo>
                    <a:pt x="427" y="1878"/>
                  </a:lnTo>
                  <a:lnTo>
                    <a:pt x="424" y="1917"/>
                  </a:lnTo>
                  <a:lnTo>
                    <a:pt x="414" y="1953"/>
                  </a:lnTo>
                  <a:lnTo>
                    <a:pt x="398" y="1985"/>
                  </a:lnTo>
                  <a:lnTo>
                    <a:pt x="377" y="2016"/>
                  </a:lnTo>
                  <a:lnTo>
                    <a:pt x="351" y="2041"/>
                  </a:lnTo>
                  <a:lnTo>
                    <a:pt x="322" y="2062"/>
                  </a:lnTo>
                  <a:lnTo>
                    <a:pt x="288" y="2077"/>
                  </a:lnTo>
                  <a:lnTo>
                    <a:pt x="252" y="2088"/>
                  </a:lnTo>
                  <a:lnTo>
                    <a:pt x="214" y="2091"/>
                  </a:lnTo>
                  <a:lnTo>
                    <a:pt x="175" y="2088"/>
                  </a:lnTo>
                  <a:lnTo>
                    <a:pt x="139" y="2077"/>
                  </a:lnTo>
                  <a:lnTo>
                    <a:pt x="107" y="2062"/>
                  </a:lnTo>
                  <a:lnTo>
                    <a:pt x="78" y="2041"/>
                  </a:lnTo>
                  <a:lnTo>
                    <a:pt x="52" y="2016"/>
                  </a:lnTo>
                  <a:lnTo>
                    <a:pt x="30" y="1986"/>
                  </a:lnTo>
                  <a:lnTo>
                    <a:pt x="15" y="1954"/>
                  </a:lnTo>
                  <a:lnTo>
                    <a:pt x="4" y="1918"/>
                  </a:lnTo>
                  <a:lnTo>
                    <a:pt x="1" y="1880"/>
                  </a:lnTo>
                  <a:lnTo>
                    <a:pt x="1" y="1880"/>
                  </a:lnTo>
                  <a:lnTo>
                    <a:pt x="0" y="1880"/>
                  </a:lnTo>
                  <a:lnTo>
                    <a:pt x="0" y="1878"/>
                  </a:lnTo>
                  <a:lnTo>
                    <a:pt x="0" y="1878"/>
                  </a:lnTo>
                  <a:lnTo>
                    <a:pt x="0" y="1877"/>
                  </a:lnTo>
                  <a:lnTo>
                    <a:pt x="0" y="1876"/>
                  </a:lnTo>
                  <a:lnTo>
                    <a:pt x="0" y="1873"/>
                  </a:lnTo>
                  <a:lnTo>
                    <a:pt x="0" y="1869"/>
                  </a:lnTo>
                  <a:lnTo>
                    <a:pt x="0" y="1864"/>
                  </a:lnTo>
                  <a:lnTo>
                    <a:pt x="0" y="1856"/>
                  </a:lnTo>
                  <a:lnTo>
                    <a:pt x="0" y="1847"/>
                  </a:lnTo>
                  <a:lnTo>
                    <a:pt x="0" y="1836"/>
                  </a:lnTo>
                  <a:lnTo>
                    <a:pt x="0" y="1821"/>
                  </a:lnTo>
                  <a:lnTo>
                    <a:pt x="0" y="1804"/>
                  </a:lnTo>
                  <a:lnTo>
                    <a:pt x="0" y="1785"/>
                  </a:lnTo>
                  <a:lnTo>
                    <a:pt x="0" y="1761"/>
                  </a:lnTo>
                  <a:lnTo>
                    <a:pt x="0" y="1736"/>
                  </a:lnTo>
                  <a:lnTo>
                    <a:pt x="0" y="1705"/>
                  </a:lnTo>
                  <a:lnTo>
                    <a:pt x="0" y="1670"/>
                  </a:lnTo>
                  <a:lnTo>
                    <a:pt x="0" y="1632"/>
                  </a:lnTo>
                  <a:lnTo>
                    <a:pt x="0" y="1588"/>
                  </a:lnTo>
                  <a:lnTo>
                    <a:pt x="0" y="1541"/>
                  </a:lnTo>
                  <a:lnTo>
                    <a:pt x="0" y="1488"/>
                  </a:lnTo>
                  <a:lnTo>
                    <a:pt x="0" y="1430"/>
                  </a:lnTo>
                  <a:lnTo>
                    <a:pt x="0" y="1366"/>
                  </a:lnTo>
                  <a:lnTo>
                    <a:pt x="0" y="1297"/>
                  </a:lnTo>
                  <a:lnTo>
                    <a:pt x="0" y="1222"/>
                  </a:lnTo>
                  <a:lnTo>
                    <a:pt x="0" y="1140"/>
                  </a:lnTo>
                  <a:lnTo>
                    <a:pt x="0" y="1052"/>
                  </a:lnTo>
                  <a:lnTo>
                    <a:pt x="0" y="956"/>
                  </a:lnTo>
                  <a:lnTo>
                    <a:pt x="0" y="854"/>
                  </a:lnTo>
                  <a:lnTo>
                    <a:pt x="0" y="745"/>
                  </a:lnTo>
                  <a:lnTo>
                    <a:pt x="0" y="628"/>
                  </a:lnTo>
                  <a:lnTo>
                    <a:pt x="0" y="504"/>
                  </a:lnTo>
                  <a:lnTo>
                    <a:pt x="0" y="372"/>
                  </a:lnTo>
                  <a:lnTo>
                    <a:pt x="0" y="230"/>
                  </a:lnTo>
                  <a:lnTo>
                    <a:pt x="0" y="82"/>
                  </a:lnTo>
                  <a:lnTo>
                    <a:pt x="3" y="59"/>
                  </a:lnTo>
                  <a:lnTo>
                    <a:pt x="11" y="40"/>
                  </a:lnTo>
                  <a:lnTo>
                    <a:pt x="24" y="24"/>
                  </a:lnTo>
                  <a:lnTo>
                    <a:pt x="40" y="11"/>
                  </a:lnTo>
                  <a:lnTo>
                    <a:pt x="60" y="3"/>
                  </a:lnTo>
                  <a:lnTo>
                    <a:pt x="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731038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CCEPTANCE OF MARITAL AGREE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11</a:t>
            </a:fld>
            <a:endParaRPr lang="en-US"/>
          </a:p>
        </p:txBody>
      </p:sp>
      <p:sp>
        <p:nvSpPr>
          <p:cNvPr id="7" name="Freeform 6"/>
          <p:cNvSpPr/>
          <p:nvPr/>
        </p:nvSpPr>
        <p:spPr>
          <a:xfrm>
            <a:off x="1" y="1458544"/>
            <a:ext cx="2964637" cy="4710074"/>
          </a:xfrm>
          <a:custGeom>
            <a:avLst/>
            <a:gdLst>
              <a:gd name="connsiteX0" fmla="*/ 609600 w 2964637"/>
              <a:gd name="connsiteY0" fmla="*/ 0 h 4710074"/>
              <a:gd name="connsiteX1" fmla="*/ 2964637 w 2964637"/>
              <a:gd name="connsiteY1" fmla="*/ 2355037 h 4710074"/>
              <a:gd name="connsiteX2" fmla="*/ 609600 w 2964637"/>
              <a:gd name="connsiteY2" fmla="*/ 4710074 h 4710074"/>
              <a:gd name="connsiteX3" fmla="*/ 134978 w 2964637"/>
              <a:gd name="connsiteY3" fmla="*/ 4662228 h 4710074"/>
              <a:gd name="connsiteX4" fmla="*/ 0 w 2964637"/>
              <a:gd name="connsiteY4" fmla="*/ 4627522 h 4710074"/>
              <a:gd name="connsiteX5" fmla="*/ 0 w 2964637"/>
              <a:gd name="connsiteY5" fmla="*/ 4555325 h 4710074"/>
              <a:gd name="connsiteX6" fmla="*/ 149084 w 2964637"/>
              <a:gd name="connsiteY6" fmla="*/ 4593658 h 4710074"/>
              <a:gd name="connsiteX7" fmla="*/ 609600 w 2964637"/>
              <a:gd name="connsiteY7" fmla="*/ 4640082 h 4710074"/>
              <a:gd name="connsiteX8" fmla="*/ 2894645 w 2964637"/>
              <a:gd name="connsiteY8" fmla="*/ 2355037 h 4710074"/>
              <a:gd name="connsiteX9" fmla="*/ 609600 w 2964637"/>
              <a:gd name="connsiteY9" fmla="*/ 69992 h 4710074"/>
              <a:gd name="connsiteX10" fmla="*/ 149084 w 2964637"/>
              <a:gd name="connsiteY10" fmla="*/ 116416 h 4710074"/>
              <a:gd name="connsiteX11" fmla="*/ 0 w 2964637"/>
              <a:gd name="connsiteY11" fmla="*/ 154749 h 4710074"/>
              <a:gd name="connsiteX12" fmla="*/ 0 w 2964637"/>
              <a:gd name="connsiteY12" fmla="*/ 82553 h 4710074"/>
              <a:gd name="connsiteX13" fmla="*/ 134978 w 2964637"/>
              <a:gd name="connsiteY13" fmla="*/ 47846 h 4710074"/>
              <a:gd name="connsiteX14" fmla="*/ 609600 w 2964637"/>
              <a:gd name="connsiteY14" fmla="*/ 0 h 47100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64637" h="4710074">
                <a:moveTo>
                  <a:pt x="609600" y="0"/>
                </a:moveTo>
                <a:cubicBezTo>
                  <a:pt x="1910251" y="0"/>
                  <a:pt x="2964637" y="1054386"/>
                  <a:pt x="2964637" y="2355037"/>
                </a:cubicBezTo>
                <a:cubicBezTo>
                  <a:pt x="2964637" y="3655688"/>
                  <a:pt x="1910251" y="4710074"/>
                  <a:pt x="609600" y="4710074"/>
                </a:cubicBezTo>
                <a:cubicBezTo>
                  <a:pt x="447019" y="4710074"/>
                  <a:pt x="288285" y="4693599"/>
                  <a:pt x="134978" y="4662228"/>
                </a:cubicBezTo>
                <a:lnTo>
                  <a:pt x="0" y="4627522"/>
                </a:lnTo>
                <a:lnTo>
                  <a:pt x="0" y="4555325"/>
                </a:lnTo>
                <a:lnTo>
                  <a:pt x="149084" y="4593658"/>
                </a:lnTo>
                <a:cubicBezTo>
                  <a:pt x="297835" y="4624097"/>
                  <a:pt x="451851" y="4640082"/>
                  <a:pt x="609600" y="4640082"/>
                </a:cubicBezTo>
                <a:cubicBezTo>
                  <a:pt x="1871596" y="4640082"/>
                  <a:pt x="2894645" y="3617033"/>
                  <a:pt x="2894645" y="2355037"/>
                </a:cubicBezTo>
                <a:cubicBezTo>
                  <a:pt x="2894645" y="1093041"/>
                  <a:pt x="1871596" y="69992"/>
                  <a:pt x="609600" y="69992"/>
                </a:cubicBezTo>
                <a:cubicBezTo>
                  <a:pt x="451851" y="69992"/>
                  <a:pt x="297835" y="85977"/>
                  <a:pt x="149084" y="116416"/>
                </a:cubicBezTo>
                <a:lnTo>
                  <a:pt x="0" y="154749"/>
                </a:lnTo>
                <a:lnTo>
                  <a:pt x="0" y="82553"/>
                </a:lnTo>
                <a:lnTo>
                  <a:pt x="134978" y="47846"/>
                </a:lnTo>
                <a:cubicBezTo>
                  <a:pt x="288285" y="16475"/>
                  <a:pt x="447019" y="0"/>
                  <a:pt x="609600" y="0"/>
                </a:cubicBezTo>
                <a:close/>
              </a:path>
            </a:pathLst>
          </a:cu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Oval 8"/>
          <p:cNvSpPr/>
          <p:nvPr/>
        </p:nvSpPr>
        <p:spPr>
          <a:xfrm>
            <a:off x="2191437" y="2594339"/>
            <a:ext cx="1005840" cy="100584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569B"/>
            </a:solidFill>
          </a:ln>
          <a:effectLst>
            <a:outerShdw blurRad="38100" sx="101000" sy="101000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2191437" y="4026984"/>
            <a:ext cx="1005840" cy="100584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569B"/>
            </a:solidFill>
          </a:ln>
          <a:effectLst>
            <a:outerShdw blurRad="38100" sx="101000" sy="101000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365354" y="1454963"/>
            <a:ext cx="1005840" cy="100584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569B"/>
            </a:solidFill>
          </a:ln>
          <a:effectLst>
            <a:outerShdw blurRad="38100" sx="101000" sy="101000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1365354" y="5166360"/>
            <a:ext cx="1005840" cy="100584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569B"/>
            </a:solidFill>
          </a:ln>
          <a:effectLst>
            <a:outerShdw blurRad="38100" sx="101000" sy="101000" algn="ctr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2529840" y="5469225"/>
            <a:ext cx="6337248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2000" dirty="0"/>
              <a:t>Both spouses are continuing and/or pursuing a career.</a:t>
            </a:r>
          </a:p>
        </p:txBody>
      </p:sp>
      <p:sp>
        <p:nvSpPr>
          <p:cNvPr id="16" name="Rectangle 15"/>
          <p:cNvSpPr/>
          <p:nvPr/>
        </p:nvSpPr>
        <p:spPr>
          <a:xfrm>
            <a:off x="3275308" y="4175961"/>
            <a:ext cx="7910852" cy="70788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2000" dirty="0"/>
              <a:t>Couples realize more than before the need to positively resolve certain issues.</a:t>
            </a:r>
          </a:p>
        </p:txBody>
      </p:sp>
      <p:sp>
        <p:nvSpPr>
          <p:cNvPr id="17" name="Rectangle 16"/>
          <p:cNvSpPr/>
          <p:nvPr/>
        </p:nvSpPr>
        <p:spPr>
          <a:xfrm>
            <a:off x="3275308" y="2743316"/>
            <a:ext cx="8078492" cy="70788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2000" dirty="0"/>
              <a:t>The number of first marriages signing has quintupled during the past 20 years. </a:t>
            </a:r>
          </a:p>
        </p:txBody>
      </p:sp>
      <p:sp>
        <p:nvSpPr>
          <p:cNvPr id="18" name="Rectangle 17"/>
          <p:cNvSpPr/>
          <p:nvPr/>
        </p:nvSpPr>
        <p:spPr>
          <a:xfrm>
            <a:off x="2529840" y="1757828"/>
            <a:ext cx="7269480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2000" dirty="0"/>
              <a:t>20% of all couples re-marrying sign prenuptial agreements.</a:t>
            </a:r>
          </a:p>
        </p:txBody>
      </p:sp>
      <p:grpSp>
        <p:nvGrpSpPr>
          <p:cNvPr id="64" name="Group 21"/>
          <p:cNvGrpSpPr>
            <a:grpSpLocks noChangeAspect="1"/>
          </p:cNvGrpSpPr>
          <p:nvPr/>
        </p:nvGrpSpPr>
        <p:grpSpPr bwMode="auto">
          <a:xfrm>
            <a:off x="1622477" y="1669614"/>
            <a:ext cx="572642" cy="570745"/>
            <a:chOff x="-425" y="2418"/>
            <a:chExt cx="302" cy="301"/>
          </a:xfrm>
          <a:solidFill>
            <a:srgbClr val="00569B"/>
          </a:solidFill>
        </p:grpSpPr>
        <p:sp>
          <p:nvSpPr>
            <p:cNvPr id="65" name="Freeform 23"/>
            <p:cNvSpPr>
              <a:spLocks/>
            </p:cNvSpPr>
            <p:nvPr/>
          </p:nvSpPr>
          <p:spPr bwMode="auto">
            <a:xfrm>
              <a:off x="-373" y="2472"/>
              <a:ext cx="130" cy="27"/>
            </a:xfrm>
            <a:custGeom>
              <a:avLst/>
              <a:gdLst>
                <a:gd name="T0" fmla="*/ 151 w 1438"/>
                <a:gd name="T1" fmla="*/ 0 h 302"/>
                <a:gd name="T2" fmla="*/ 1287 w 1438"/>
                <a:gd name="T3" fmla="*/ 0 h 302"/>
                <a:gd name="T4" fmla="*/ 1318 w 1438"/>
                <a:gd name="T5" fmla="*/ 3 h 302"/>
                <a:gd name="T6" fmla="*/ 1346 w 1438"/>
                <a:gd name="T7" fmla="*/ 12 h 302"/>
                <a:gd name="T8" fmla="*/ 1372 w 1438"/>
                <a:gd name="T9" fmla="*/ 26 h 302"/>
                <a:gd name="T10" fmla="*/ 1394 w 1438"/>
                <a:gd name="T11" fmla="*/ 45 h 302"/>
                <a:gd name="T12" fmla="*/ 1413 w 1438"/>
                <a:gd name="T13" fmla="*/ 67 h 302"/>
                <a:gd name="T14" fmla="*/ 1426 w 1438"/>
                <a:gd name="T15" fmla="*/ 93 h 302"/>
                <a:gd name="T16" fmla="*/ 1435 w 1438"/>
                <a:gd name="T17" fmla="*/ 121 h 302"/>
                <a:gd name="T18" fmla="*/ 1438 w 1438"/>
                <a:gd name="T19" fmla="*/ 151 h 302"/>
                <a:gd name="T20" fmla="*/ 1435 w 1438"/>
                <a:gd name="T21" fmla="*/ 181 h 302"/>
                <a:gd name="T22" fmla="*/ 1426 w 1438"/>
                <a:gd name="T23" fmla="*/ 209 h 302"/>
                <a:gd name="T24" fmla="*/ 1413 w 1438"/>
                <a:gd name="T25" fmla="*/ 235 h 302"/>
                <a:gd name="T26" fmla="*/ 1394 w 1438"/>
                <a:gd name="T27" fmla="*/ 257 h 302"/>
                <a:gd name="T28" fmla="*/ 1372 w 1438"/>
                <a:gd name="T29" fmla="*/ 276 h 302"/>
                <a:gd name="T30" fmla="*/ 1346 w 1438"/>
                <a:gd name="T31" fmla="*/ 289 h 302"/>
                <a:gd name="T32" fmla="*/ 1318 w 1438"/>
                <a:gd name="T33" fmla="*/ 298 h 302"/>
                <a:gd name="T34" fmla="*/ 1287 w 1438"/>
                <a:gd name="T35" fmla="*/ 302 h 302"/>
                <a:gd name="T36" fmla="*/ 151 w 1438"/>
                <a:gd name="T37" fmla="*/ 302 h 302"/>
                <a:gd name="T38" fmla="*/ 121 w 1438"/>
                <a:gd name="T39" fmla="*/ 298 h 302"/>
                <a:gd name="T40" fmla="*/ 93 w 1438"/>
                <a:gd name="T41" fmla="*/ 289 h 302"/>
                <a:gd name="T42" fmla="*/ 66 w 1438"/>
                <a:gd name="T43" fmla="*/ 276 h 302"/>
                <a:gd name="T44" fmla="*/ 44 w 1438"/>
                <a:gd name="T45" fmla="*/ 257 h 302"/>
                <a:gd name="T46" fmla="*/ 26 w 1438"/>
                <a:gd name="T47" fmla="*/ 235 h 302"/>
                <a:gd name="T48" fmla="*/ 12 w 1438"/>
                <a:gd name="T49" fmla="*/ 209 h 302"/>
                <a:gd name="T50" fmla="*/ 4 w 1438"/>
                <a:gd name="T51" fmla="*/ 181 h 302"/>
                <a:gd name="T52" fmla="*/ 0 w 1438"/>
                <a:gd name="T53" fmla="*/ 151 h 302"/>
                <a:gd name="T54" fmla="*/ 4 w 1438"/>
                <a:gd name="T55" fmla="*/ 121 h 302"/>
                <a:gd name="T56" fmla="*/ 12 w 1438"/>
                <a:gd name="T57" fmla="*/ 93 h 302"/>
                <a:gd name="T58" fmla="*/ 26 w 1438"/>
                <a:gd name="T59" fmla="*/ 67 h 302"/>
                <a:gd name="T60" fmla="*/ 44 w 1438"/>
                <a:gd name="T61" fmla="*/ 45 h 302"/>
                <a:gd name="T62" fmla="*/ 66 w 1438"/>
                <a:gd name="T63" fmla="*/ 26 h 302"/>
                <a:gd name="T64" fmla="*/ 93 w 1438"/>
                <a:gd name="T65" fmla="*/ 12 h 302"/>
                <a:gd name="T66" fmla="*/ 121 w 1438"/>
                <a:gd name="T67" fmla="*/ 3 h 302"/>
                <a:gd name="T68" fmla="*/ 151 w 1438"/>
                <a:gd name="T6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8" h="302">
                  <a:moveTo>
                    <a:pt x="151" y="0"/>
                  </a:moveTo>
                  <a:lnTo>
                    <a:pt x="1287" y="0"/>
                  </a:lnTo>
                  <a:lnTo>
                    <a:pt x="1318" y="3"/>
                  </a:lnTo>
                  <a:lnTo>
                    <a:pt x="1346" y="12"/>
                  </a:lnTo>
                  <a:lnTo>
                    <a:pt x="1372" y="26"/>
                  </a:lnTo>
                  <a:lnTo>
                    <a:pt x="1394" y="45"/>
                  </a:lnTo>
                  <a:lnTo>
                    <a:pt x="1413" y="67"/>
                  </a:lnTo>
                  <a:lnTo>
                    <a:pt x="1426" y="93"/>
                  </a:lnTo>
                  <a:lnTo>
                    <a:pt x="1435" y="121"/>
                  </a:lnTo>
                  <a:lnTo>
                    <a:pt x="1438" y="151"/>
                  </a:lnTo>
                  <a:lnTo>
                    <a:pt x="1435" y="181"/>
                  </a:lnTo>
                  <a:lnTo>
                    <a:pt x="1426" y="209"/>
                  </a:lnTo>
                  <a:lnTo>
                    <a:pt x="1413" y="235"/>
                  </a:lnTo>
                  <a:lnTo>
                    <a:pt x="1394" y="257"/>
                  </a:lnTo>
                  <a:lnTo>
                    <a:pt x="1372" y="276"/>
                  </a:lnTo>
                  <a:lnTo>
                    <a:pt x="1346" y="289"/>
                  </a:lnTo>
                  <a:lnTo>
                    <a:pt x="1318" y="298"/>
                  </a:lnTo>
                  <a:lnTo>
                    <a:pt x="1287" y="302"/>
                  </a:lnTo>
                  <a:lnTo>
                    <a:pt x="151" y="302"/>
                  </a:lnTo>
                  <a:lnTo>
                    <a:pt x="121" y="298"/>
                  </a:lnTo>
                  <a:lnTo>
                    <a:pt x="93" y="289"/>
                  </a:lnTo>
                  <a:lnTo>
                    <a:pt x="66" y="276"/>
                  </a:lnTo>
                  <a:lnTo>
                    <a:pt x="44" y="257"/>
                  </a:lnTo>
                  <a:lnTo>
                    <a:pt x="26" y="235"/>
                  </a:lnTo>
                  <a:lnTo>
                    <a:pt x="12" y="209"/>
                  </a:lnTo>
                  <a:lnTo>
                    <a:pt x="4" y="181"/>
                  </a:lnTo>
                  <a:lnTo>
                    <a:pt x="0" y="151"/>
                  </a:lnTo>
                  <a:lnTo>
                    <a:pt x="4" y="121"/>
                  </a:lnTo>
                  <a:lnTo>
                    <a:pt x="12" y="93"/>
                  </a:lnTo>
                  <a:lnTo>
                    <a:pt x="26" y="67"/>
                  </a:lnTo>
                  <a:lnTo>
                    <a:pt x="44" y="45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4"/>
            <p:cNvSpPr>
              <a:spLocks/>
            </p:cNvSpPr>
            <p:nvPr/>
          </p:nvSpPr>
          <p:spPr bwMode="auto">
            <a:xfrm>
              <a:off x="-373" y="2523"/>
              <a:ext cx="130" cy="27"/>
            </a:xfrm>
            <a:custGeom>
              <a:avLst/>
              <a:gdLst>
                <a:gd name="T0" fmla="*/ 151 w 1438"/>
                <a:gd name="T1" fmla="*/ 0 h 301"/>
                <a:gd name="T2" fmla="*/ 1287 w 1438"/>
                <a:gd name="T3" fmla="*/ 0 h 301"/>
                <a:gd name="T4" fmla="*/ 1318 w 1438"/>
                <a:gd name="T5" fmla="*/ 3 h 301"/>
                <a:gd name="T6" fmla="*/ 1346 w 1438"/>
                <a:gd name="T7" fmla="*/ 12 h 301"/>
                <a:gd name="T8" fmla="*/ 1372 w 1438"/>
                <a:gd name="T9" fmla="*/ 26 h 301"/>
                <a:gd name="T10" fmla="*/ 1394 w 1438"/>
                <a:gd name="T11" fmla="*/ 44 h 301"/>
                <a:gd name="T12" fmla="*/ 1413 w 1438"/>
                <a:gd name="T13" fmla="*/ 66 h 301"/>
                <a:gd name="T14" fmla="*/ 1426 w 1438"/>
                <a:gd name="T15" fmla="*/ 92 h 301"/>
                <a:gd name="T16" fmla="*/ 1435 w 1438"/>
                <a:gd name="T17" fmla="*/ 120 h 301"/>
                <a:gd name="T18" fmla="*/ 1438 w 1438"/>
                <a:gd name="T19" fmla="*/ 150 h 301"/>
                <a:gd name="T20" fmla="*/ 1435 w 1438"/>
                <a:gd name="T21" fmla="*/ 181 h 301"/>
                <a:gd name="T22" fmla="*/ 1426 w 1438"/>
                <a:gd name="T23" fmla="*/ 210 h 301"/>
                <a:gd name="T24" fmla="*/ 1413 w 1438"/>
                <a:gd name="T25" fmla="*/ 235 h 301"/>
                <a:gd name="T26" fmla="*/ 1394 w 1438"/>
                <a:gd name="T27" fmla="*/ 258 h 301"/>
                <a:gd name="T28" fmla="*/ 1372 w 1438"/>
                <a:gd name="T29" fmla="*/ 275 h 301"/>
                <a:gd name="T30" fmla="*/ 1346 w 1438"/>
                <a:gd name="T31" fmla="*/ 290 h 301"/>
                <a:gd name="T32" fmla="*/ 1318 w 1438"/>
                <a:gd name="T33" fmla="*/ 298 h 301"/>
                <a:gd name="T34" fmla="*/ 1287 w 1438"/>
                <a:gd name="T35" fmla="*/ 301 h 301"/>
                <a:gd name="T36" fmla="*/ 151 w 1438"/>
                <a:gd name="T37" fmla="*/ 301 h 301"/>
                <a:gd name="T38" fmla="*/ 121 w 1438"/>
                <a:gd name="T39" fmla="*/ 298 h 301"/>
                <a:gd name="T40" fmla="*/ 93 w 1438"/>
                <a:gd name="T41" fmla="*/ 290 h 301"/>
                <a:gd name="T42" fmla="*/ 66 w 1438"/>
                <a:gd name="T43" fmla="*/ 275 h 301"/>
                <a:gd name="T44" fmla="*/ 44 w 1438"/>
                <a:gd name="T45" fmla="*/ 258 h 301"/>
                <a:gd name="T46" fmla="*/ 26 w 1438"/>
                <a:gd name="T47" fmla="*/ 235 h 301"/>
                <a:gd name="T48" fmla="*/ 12 w 1438"/>
                <a:gd name="T49" fmla="*/ 210 h 301"/>
                <a:gd name="T50" fmla="*/ 4 w 1438"/>
                <a:gd name="T51" fmla="*/ 181 h 301"/>
                <a:gd name="T52" fmla="*/ 0 w 1438"/>
                <a:gd name="T53" fmla="*/ 150 h 301"/>
                <a:gd name="T54" fmla="*/ 4 w 1438"/>
                <a:gd name="T55" fmla="*/ 120 h 301"/>
                <a:gd name="T56" fmla="*/ 12 w 1438"/>
                <a:gd name="T57" fmla="*/ 92 h 301"/>
                <a:gd name="T58" fmla="*/ 26 w 1438"/>
                <a:gd name="T59" fmla="*/ 66 h 301"/>
                <a:gd name="T60" fmla="*/ 44 w 1438"/>
                <a:gd name="T61" fmla="*/ 44 h 301"/>
                <a:gd name="T62" fmla="*/ 66 w 1438"/>
                <a:gd name="T63" fmla="*/ 26 h 301"/>
                <a:gd name="T64" fmla="*/ 93 w 1438"/>
                <a:gd name="T65" fmla="*/ 12 h 301"/>
                <a:gd name="T66" fmla="*/ 121 w 1438"/>
                <a:gd name="T67" fmla="*/ 3 h 301"/>
                <a:gd name="T68" fmla="*/ 151 w 1438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8" h="301">
                  <a:moveTo>
                    <a:pt x="151" y="0"/>
                  </a:moveTo>
                  <a:lnTo>
                    <a:pt x="1287" y="0"/>
                  </a:lnTo>
                  <a:lnTo>
                    <a:pt x="1318" y="3"/>
                  </a:lnTo>
                  <a:lnTo>
                    <a:pt x="1346" y="12"/>
                  </a:lnTo>
                  <a:lnTo>
                    <a:pt x="1372" y="26"/>
                  </a:lnTo>
                  <a:lnTo>
                    <a:pt x="1394" y="44"/>
                  </a:lnTo>
                  <a:lnTo>
                    <a:pt x="1413" y="66"/>
                  </a:lnTo>
                  <a:lnTo>
                    <a:pt x="1426" y="92"/>
                  </a:lnTo>
                  <a:lnTo>
                    <a:pt x="1435" y="120"/>
                  </a:lnTo>
                  <a:lnTo>
                    <a:pt x="1438" y="150"/>
                  </a:lnTo>
                  <a:lnTo>
                    <a:pt x="1435" y="181"/>
                  </a:lnTo>
                  <a:lnTo>
                    <a:pt x="1426" y="210"/>
                  </a:lnTo>
                  <a:lnTo>
                    <a:pt x="1413" y="235"/>
                  </a:lnTo>
                  <a:lnTo>
                    <a:pt x="1394" y="258"/>
                  </a:lnTo>
                  <a:lnTo>
                    <a:pt x="1372" y="275"/>
                  </a:lnTo>
                  <a:lnTo>
                    <a:pt x="1346" y="290"/>
                  </a:lnTo>
                  <a:lnTo>
                    <a:pt x="1318" y="298"/>
                  </a:lnTo>
                  <a:lnTo>
                    <a:pt x="1287" y="301"/>
                  </a:lnTo>
                  <a:lnTo>
                    <a:pt x="151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6" y="275"/>
                  </a:lnTo>
                  <a:lnTo>
                    <a:pt x="44" y="258"/>
                  </a:lnTo>
                  <a:lnTo>
                    <a:pt x="26" y="235"/>
                  </a:lnTo>
                  <a:lnTo>
                    <a:pt x="12" y="210"/>
                  </a:lnTo>
                  <a:lnTo>
                    <a:pt x="4" y="181"/>
                  </a:lnTo>
                  <a:lnTo>
                    <a:pt x="0" y="150"/>
                  </a:lnTo>
                  <a:lnTo>
                    <a:pt x="4" y="120"/>
                  </a:lnTo>
                  <a:lnTo>
                    <a:pt x="12" y="92"/>
                  </a:lnTo>
                  <a:lnTo>
                    <a:pt x="26" y="66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5"/>
            <p:cNvSpPr>
              <a:spLocks/>
            </p:cNvSpPr>
            <p:nvPr/>
          </p:nvSpPr>
          <p:spPr bwMode="auto">
            <a:xfrm>
              <a:off x="-373" y="2574"/>
              <a:ext cx="79" cy="28"/>
            </a:xfrm>
            <a:custGeom>
              <a:avLst/>
              <a:gdLst>
                <a:gd name="T0" fmla="*/ 151 w 870"/>
                <a:gd name="T1" fmla="*/ 0 h 301"/>
                <a:gd name="T2" fmla="*/ 720 w 870"/>
                <a:gd name="T3" fmla="*/ 0 h 301"/>
                <a:gd name="T4" fmla="*/ 750 w 870"/>
                <a:gd name="T5" fmla="*/ 4 h 301"/>
                <a:gd name="T6" fmla="*/ 778 w 870"/>
                <a:gd name="T7" fmla="*/ 12 h 301"/>
                <a:gd name="T8" fmla="*/ 805 w 870"/>
                <a:gd name="T9" fmla="*/ 26 h 301"/>
                <a:gd name="T10" fmla="*/ 827 w 870"/>
                <a:gd name="T11" fmla="*/ 44 h 301"/>
                <a:gd name="T12" fmla="*/ 845 w 870"/>
                <a:gd name="T13" fmla="*/ 67 h 301"/>
                <a:gd name="T14" fmla="*/ 859 w 870"/>
                <a:gd name="T15" fmla="*/ 92 h 301"/>
                <a:gd name="T16" fmla="*/ 867 w 870"/>
                <a:gd name="T17" fmla="*/ 120 h 301"/>
                <a:gd name="T18" fmla="*/ 870 w 870"/>
                <a:gd name="T19" fmla="*/ 151 h 301"/>
                <a:gd name="T20" fmla="*/ 867 w 870"/>
                <a:gd name="T21" fmla="*/ 181 h 301"/>
                <a:gd name="T22" fmla="*/ 859 w 870"/>
                <a:gd name="T23" fmla="*/ 209 h 301"/>
                <a:gd name="T24" fmla="*/ 845 w 870"/>
                <a:gd name="T25" fmla="*/ 234 h 301"/>
                <a:gd name="T26" fmla="*/ 827 w 870"/>
                <a:gd name="T27" fmla="*/ 257 h 301"/>
                <a:gd name="T28" fmla="*/ 805 w 870"/>
                <a:gd name="T29" fmla="*/ 275 h 301"/>
                <a:gd name="T30" fmla="*/ 778 w 870"/>
                <a:gd name="T31" fmla="*/ 290 h 301"/>
                <a:gd name="T32" fmla="*/ 750 w 870"/>
                <a:gd name="T33" fmla="*/ 298 h 301"/>
                <a:gd name="T34" fmla="*/ 720 w 870"/>
                <a:gd name="T35" fmla="*/ 301 h 301"/>
                <a:gd name="T36" fmla="*/ 151 w 870"/>
                <a:gd name="T37" fmla="*/ 301 h 301"/>
                <a:gd name="T38" fmla="*/ 121 w 870"/>
                <a:gd name="T39" fmla="*/ 298 h 301"/>
                <a:gd name="T40" fmla="*/ 93 w 870"/>
                <a:gd name="T41" fmla="*/ 290 h 301"/>
                <a:gd name="T42" fmla="*/ 66 w 870"/>
                <a:gd name="T43" fmla="*/ 275 h 301"/>
                <a:gd name="T44" fmla="*/ 44 w 870"/>
                <a:gd name="T45" fmla="*/ 257 h 301"/>
                <a:gd name="T46" fmla="*/ 26 w 870"/>
                <a:gd name="T47" fmla="*/ 234 h 301"/>
                <a:gd name="T48" fmla="*/ 12 w 870"/>
                <a:gd name="T49" fmla="*/ 209 h 301"/>
                <a:gd name="T50" fmla="*/ 4 w 870"/>
                <a:gd name="T51" fmla="*/ 181 h 301"/>
                <a:gd name="T52" fmla="*/ 0 w 870"/>
                <a:gd name="T53" fmla="*/ 151 h 301"/>
                <a:gd name="T54" fmla="*/ 4 w 870"/>
                <a:gd name="T55" fmla="*/ 120 h 301"/>
                <a:gd name="T56" fmla="*/ 12 w 870"/>
                <a:gd name="T57" fmla="*/ 92 h 301"/>
                <a:gd name="T58" fmla="*/ 26 w 870"/>
                <a:gd name="T59" fmla="*/ 67 h 301"/>
                <a:gd name="T60" fmla="*/ 44 w 870"/>
                <a:gd name="T61" fmla="*/ 44 h 301"/>
                <a:gd name="T62" fmla="*/ 66 w 870"/>
                <a:gd name="T63" fmla="*/ 26 h 301"/>
                <a:gd name="T64" fmla="*/ 93 w 870"/>
                <a:gd name="T65" fmla="*/ 12 h 301"/>
                <a:gd name="T66" fmla="*/ 121 w 870"/>
                <a:gd name="T67" fmla="*/ 4 h 301"/>
                <a:gd name="T68" fmla="*/ 151 w 870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0" h="301">
                  <a:moveTo>
                    <a:pt x="151" y="0"/>
                  </a:moveTo>
                  <a:lnTo>
                    <a:pt x="720" y="0"/>
                  </a:lnTo>
                  <a:lnTo>
                    <a:pt x="750" y="4"/>
                  </a:lnTo>
                  <a:lnTo>
                    <a:pt x="778" y="12"/>
                  </a:lnTo>
                  <a:lnTo>
                    <a:pt x="805" y="26"/>
                  </a:lnTo>
                  <a:lnTo>
                    <a:pt x="827" y="44"/>
                  </a:lnTo>
                  <a:lnTo>
                    <a:pt x="845" y="67"/>
                  </a:lnTo>
                  <a:lnTo>
                    <a:pt x="859" y="92"/>
                  </a:lnTo>
                  <a:lnTo>
                    <a:pt x="867" y="120"/>
                  </a:lnTo>
                  <a:lnTo>
                    <a:pt x="870" y="151"/>
                  </a:lnTo>
                  <a:lnTo>
                    <a:pt x="867" y="181"/>
                  </a:lnTo>
                  <a:lnTo>
                    <a:pt x="859" y="209"/>
                  </a:lnTo>
                  <a:lnTo>
                    <a:pt x="845" y="234"/>
                  </a:lnTo>
                  <a:lnTo>
                    <a:pt x="827" y="257"/>
                  </a:lnTo>
                  <a:lnTo>
                    <a:pt x="805" y="275"/>
                  </a:lnTo>
                  <a:lnTo>
                    <a:pt x="778" y="290"/>
                  </a:lnTo>
                  <a:lnTo>
                    <a:pt x="750" y="298"/>
                  </a:lnTo>
                  <a:lnTo>
                    <a:pt x="720" y="301"/>
                  </a:lnTo>
                  <a:lnTo>
                    <a:pt x="151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6" y="275"/>
                  </a:lnTo>
                  <a:lnTo>
                    <a:pt x="44" y="257"/>
                  </a:lnTo>
                  <a:lnTo>
                    <a:pt x="26" y="234"/>
                  </a:lnTo>
                  <a:lnTo>
                    <a:pt x="12" y="209"/>
                  </a:lnTo>
                  <a:lnTo>
                    <a:pt x="4" y="181"/>
                  </a:lnTo>
                  <a:lnTo>
                    <a:pt x="0" y="151"/>
                  </a:lnTo>
                  <a:lnTo>
                    <a:pt x="4" y="120"/>
                  </a:lnTo>
                  <a:lnTo>
                    <a:pt x="12" y="92"/>
                  </a:lnTo>
                  <a:lnTo>
                    <a:pt x="26" y="67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4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6"/>
            <p:cNvSpPr>
              <a:spLocks/>
            </p:cNvSpPr>
            <p:nvPr/>
          </p:nvSpPr>
          <p:spPr bwMode="auto">
            <a:xfrm>
              <a:off x="-425" y="2418"/>
              <a:ext cx="234" cy="301"/>
            </a:xfrm>
            <a:custGeom>
              <a:avLst/>
              <a:gdLst>
                <a:gd name="T0" fmla="*/ 152 w 2574"/>
                <a:gd name="T1" fmla="*/ 0 h 3310"/>
                <a:gd name="T2" fmla="*/ 2423 w 2574"/>
                <a:gd name="T3" fmla="*/ 0 h 3310"/>
                <a:gd name="T4" fmla="*/ 2453 w 2574"/>
                <a:gd name="T5" fmla="*/ 3 h 3310"/>
                <a:gd name="T6" fmla="*/ 2481 w 2574"/>
                <a:gd name="T7" fmla="*/ 12 h 3310"/>
                <a:gd name="T8" fmla="*/ 2507 w 2574"/>
                <a:gd name="T9" fmla="*/ 26 h 3310"/>
                <a:gd name="T10" fmla="*/ 2529 w 2574"/>
                <a:gd name="T11" fmla="*/ 44 h 3310"/>
                <a:gd name="T12" fmla="*/ 2548 w 2574"/>
                <a:gd name="T13" fmla="*/ 67 h 3310"/>
                <a:gd name="T14" fmla="*/ 2562 w 2574"/>
                <a:gd name="T15" fmla="*/ 92 h 3310"/>
                <a:gd name="T16" fmla="*/ 2571 w 2574"/>
                <a:gd name="T17" fmla="*/ 120 h 3310"/>
                <a:gd name="T18" fmla="*/ 2574 w 2574"/>
                <a:gd name="T19" fmla="*/ 150 h 3310"/>
                <a:gd name="T20" fmla="*/ 2574 w 2574"/>
                <a:gd name="T21" fmla="*/ 374 h 3310"/>
                <a:gd name="T22" fmla="*/ 2272 w 2574"/>
                <a:gd name="T23" fmla="*/ 896 h 3310"/>
                <a:gd name="T24" fmla="*/ 2272 w 2574"/>
                <a:gd name="T25" fmla="*/ 301 h 3310"/>
                <a:gd name="T26" fmla="*/ 304 w 2574"/>
                <a:gd name="T27" fmla="*/ 301 h 3310"/>
                <a:gd name="T28" fmla="*/ 304 w 2574"/>
                <a:gd name="T29" fmla="*/ 3008 h 3310"/>
                <a:gd name="T30" fmla="*/ 2272 w 2574"/>
                <a:gd name="T31" fmla="*/ 3008 h 3310"/>
                <a:gd name="T32" fmla="*/ 2272 w 2574"/>
                <a:gd name="T33" fmla="*/ 2634 h 3310"/>
                <a:gd name="T34" fmla="*/ 2430 w 2574"/>
                <a:gd name="T35" fmla="*/ 2530 h 3310"/>
                <a:gd name="T36" fmla="*/ 2458 w 2574"/>
                <a:gd name="T37" fmla="*/ 2508 h 3310"/>
                <a:gd name="T38" fmla="*/ 2482 w 2574"/>
                <a:gd name="T39" fmla="*/ 2483 h 3310"/>
                <a:gd name="T40" fmla="*/ 2502 w 2574"/>
                <a:gd name="T41" fmla="*/ 2454 h 3310"/>
                <a:gd name="T42" fmla="*/ 2574 w 2574"/>
                <a:gd name="T43" fmla="*/ 2330 h 3310"/>
                <a:gd name="T44" fmla="*/ 2574 w 2574"/>
                <a:gd name="T45" fmla="*/ 3159 h 3310"/>
                <a:gd name="T46" fmla="*/ 2571 w 2574"/>
                <a:gd name="T47" fmla="*/ 3189 h 3310"/>
                <a:gd name="T48" fmla="*/ 2562 w 2574"/>
                <a:gd name="T49" fmla="*/ 3217 h 3310"/>
                <a:gd name="T50" fmla="*/ 2548 w 2574"/>
                <a:gd name="T51" fmla="*/ 3243 h 3310"/>
                <a:gd name="T52" fmla="*/ 2529 w 2574"/>
                <a:gd name="T53" fmla="*/ 3265 h 3310"/>
                <a:gd name="T54" fmla="*/ 2507 w 2574"/>
                <a:gd name="T55" fmla="*/ 3284 h 3310"/>
                <a:gd name="T56" fmla="*/ 2481 w 2574"/>
                <a:gd name="T57" fmla="*/ 3297 h 3310"/>
                <a:gd name="T58" fmla="*/ 2453 w 2574"/>
                <a:gd name="T59" fmla="*/ 3307 h 3310"/>
                <a:gd name="T60" fmla="*/ 2423 w 2574"/>
                <a:gd name="T61" fmla="*/ 3310 h 3310"/>
                <a:gd name="T62" fmla="*/ 152 w 2574"/>
                <a:gd name="T63" fmla="*/ 3310 h 3310"/>
                <a:gd name="T64" fmla="*/ 121 w 2574"/>
                <a:gd name="T65" fmla="*/ 3307 h 3310"/>
                <a:gd name="T66" fmla="*/ 93 w 2574"/>
                <a:gd name="T67" fmla="*/ 3297 h 3310"/>
                <a:gd name="T68" fmla="*/ 67 w 2574"/>
                <a:gd name="T69" fmla="*/ 3284 h 3310"/>
                <a:gd name="T70" fmla="*/ 45 w 2574"/>
                <a:gd name="T71" fmla="*/ 3265 h 3310"/>
                <a:gd name="T72" fmla="*/ 26 w 2574"/>
                <a:gd name="T73" fmla="*/ 3243 h 3310"/>
                <a:gd name="T74" fmla="*/ 13 w 2574"/>
                <a:gd name="T75" fmla="*/ 3217 h 3310"/>
                <a:gd name="T76" fmla="*/ 3 w 2574"/>
                <a:gd name="T77" fmla="*/ 3189 h 3310"/>
                <a:gd name="T78" fmla="*/ 0 w 2574"/>
                <a:gd name="T79" fmla="*/ 3159 h 3310"/>
                <a:gd name="T80" fmla="*/ 0 w 2574"/>
                <a:gd name="T81" fmla="*/ 150 h 3310"/>
                <a:gd name="T82" fmla="*/ 3 w 2574"/>
                <a:gd name="T83" fmla="*/ 120 h 3310"/>
                <a:gd name="T84" fmla="*/ 13 w 2574"/>
                <a:gd name="T85" fmla="*/ 92 h 3310"/>
                <a:gd name="T86" fmla="*/ 26 w 2574"/>
                <a:gd name="T87" fmla="*/ 67 h 3310"/>
                <a:gd name="T88" fmla="*/ 45 w 2574"/>
                <a:gd name="T89" fmla="*/ 44 h 3310"/>
                <a:gd name="T90" fmla="*/ 67 w 2574"/>
                <a:gd name="T91" fmla="*/ 26 h 3310"/>
                <a:gd name="T92" fmla="*/ 93 w 2574"/>
                <a:gd name="T93" fmla="*/ 12 h 3310"/>
                <a:gd name="T94" fmla="*/ 121 w 2574"/>
                <a:gd name="T95" fmla="*/ 3 h 3310"/>
                <a:gd name="T96" fmla="*/ 152 w 2574"/>
                <a:gd name="T97" fmla="*/ 0 h 3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74" h="3310">
                  <a:moveTo>
                    <a:pt x="152" y="0"/>
                  </a:moveTo>
                  <a:lnTo>
                    <a:pt x="2423" y="0"/>
                  </a:lnTo>
                  <a:lnTo>
                    <a:pt x="2453" y="3"/>
                  </a:lnTo>
                  <a:lnTo>
                    <a:pt x="2481" y="12"/>
                  </a:lnTo>
                  <a:lnTo>
                    <a:pt x="2507" y="26"/>
                  </a:lnTo>
                  <a:lnTo>
                    <a:pt x="2529" y="44"/>
                  </a:lnTo>
                  <a:lnTo>
                    <a:pt x="2548" y="67"/>
                  </a:lnTo>
                  <a:lnTo>
                    <a:pt x="2562" y="92"/>
                  </a:lnTo>
                  <a:lnTo>
                    <a:pt x="2571" y="120"/>
                  </a:lnTo>
                  <a:lnTo>
                    <a:pt x="2574" y="150"/>
                  </a:lnTo>
                  <a:lnTo>
                    <a:pt x="2574" y="374"/>
                  </a:lnTo>
                  <a:lnTo>
                    <a:pt x="2272" y="896"/>
                  </a:lnTo>
                  <a:lnTo>
                    <a:pt x="2272" y="301"/>
                  </a:lnTo>
                  <a:lnTo>
                    <a:pt x="304" y="301"/>
                  </a:lnTo>
                  <a:lnTo>
                    <a:pt x="304" y="3008"/>
                  </a:lnTo>
                  <a:lnTo>
                    <a:pt x="2272" y="3008"/>
                  </a:lnTo>
                  <a:lnTo>
                    <a:pt x="2272" y="2634"/>
                  </a:lnTo>
                  <a:lnTo>
                    <a:pt x="2430" y="2530"/>
                  </a:lnTo>
                  <a:lnTo>
                    <a:pt x="2458" y="2508"/>
                  </a:lnTo>
                  <a:lnTo>
                    <a:pt x="2482" y="2483"/>
                  </a:lnTo>
                  <a:lnTo>
                    <a:pt x="2502" y="2454"/>
                  </a:lnTo>
                  <a:lnTo>
                    <a:pt x="2574" y="2330"/>
                  </a:lnTo>
                  <a:lnTo>
                    <a:pt x="2574" y="3159"/>
                  </a:lnTo>
                  <a:lnTo>
                    <a:pt x="2571" y="3189"/>
                  </a:lnTo>
                  <a:lnTo>
                    <a:pt x="2562" y="3217"/>
                  </a:lnTo>
                  <a:lnTo>
                    <a:pt x="2548" y="3243"/>
                  </a:lnTo>
                  <a:lnTo>
                    <a:pt x="2529" y="3265"/>
                  </a:lnTo>
                  <a:lnTo>
                    <a:pt x="2507" y="3284"/>
                  </a:lnTo>
                  <a:lnTo>
                    <a:pt x="2481" y="3297"/>
                  </a:lnTo>
                  <a:lnTo>
                    <a:pt x="2453" y="3307"/>
                  </a:lnTo>
                  <a:lnTo>
                    <a:pt x="2423" y="3310"/>
                  </a:lnTo>
                  <a:lnTo>
                    <a:pt x="152" y="3310"/>
                  </a:lnTo>
                  <a:lnTo>
                    <a:pt x="121" y="3307"/>
                  </a:lnTo>
                  <a:lnTo>
                    <a:pt x="93" y="3297"/>
                  </a:lnTo>
                  <a:lnTo>
                    <a:pt x="67" y="3284"/>
                  </a:lnTo>
                  <a:lnTo>
                    <a:pt x="45" y="3265"/>
                  </a:lnTo>
                  <a:lnTo>
                    <a:pt x="26" y="3243"/>
                  </a:lnTo>
                  <a:lnTo>
                    <a:pt x="13" y="3217"/>
                  </a:lnTo>
                  <a:lnTo>
                    <a:pt x="3" y="3189"/>
                  </a:lnTo>
                  <a:lnTo>
                    <a:pt x="0" y="3159"/>
                  </a:lnTo>
                  <a:lnTo>
                    <a:pt x="0" y="150"/>
                  </a:lnTo>
                  <a:lnTo>
                    <a:pt x="3" y="120"/>
                  </a:lnTo>
                  <a:lnTo>
                    <a:pt x="13" y="92"/>
                  </a:lnTo>
                  <a:lnTo>
                    <a:pt x="26" y="67"/>
                  </a:lnTo>
                  <a:lnTo>
                    <a:pt x="45" y="44"/>
                  </a:lnTo>
                  <a:lnTo>
                    <a:pt x="67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7"/>
            <p:cNvSpPr>
              <a:spLocks noEditPoints="1"/>
            </p:cNvSpPr>
            <p:nvPr/>
          </p:nvSpPr>
          <p:spPr bwMode="auto">
            <a:xfrm>
              <a:off x="-267" y="2452"/>
              <a:ext cx="144" cy="215"/>
            </a:xfrm>
            <a:custGeom>
              <a:avLst/>
              <a:gdLst>
                <a:gd name="T0" fmla="*/ 131 w 1591"/>
                <a:gd name="T1" fmla="*/ 1996 h 2370"/>
                <a:gd name="T2" fmla="*/ 223 w 1591"/>
                <a:gd name="T3" fmla="*/ 2040 h 2370"/>
                <a:gd name="T4" fmla="*/ 308 w 1591"/>
                <a:gd name="T5" fmla="*/ 2097 h 2370"/>
                <a:gd name="T6" fmla="*/ 439 w 1591"/>
                <a:gd name="T7" fmla="*/ 1980 h 2370"/>
                <a:gd name="T8" fmla="*/ 389 w 1591"/>
                <a:gd name="T9" fmla="*/ 1934 h 2370"/>
                <a:gd name="T10" fmla="*/ 314 w 1591"/>
                <a:gd name="T11" fmla="*/ 1883 h 2370"/>
                <a:gd name="T12" fmla="*/ 245 w 1591"/>
                <a:gd name="T13" fmla="*/ 1849 h 2370"/>
                <a:gd name="T14" fmla="*/ 187 w 1591"/>
                <a:gd name="T15" fmla="*/ 1829 h 2370"/>
                <a:gd name="T16" fmla="*/ 141 w 1591"/>
                <a:gd name="T17" fmla="*/ 1820 h 2370"/>
                <a:gd name="T18" fmla="*/ 1118 w 1591"/>
                <a:gd name="T19" fmla="*/ 0 h 2370"/>
                <a:gd name="T20" fmla="*/ 1173 w 1591"/>
                <a:gd name="T21" fmla="*/ 7 h 2370"/>
                <a:gd name="T22" fmla="*/ 1240 w 1591"/>
                <a:gd name="T23" fmla="*/ 25 h 2370"/>
                <a:gd name="T24" fmla="*/ 1319 w 1591"/>
                <a:gd name="T25" fmla="*/ 57 h 2370"/>
                <a:gd name="T26" fmla="*/ 1407 w 1591"/>
                <a:gd name="T27" fmla="*/ 108 h 2370"/>
                <a:gd name="T28" fmla="*/ 1478 w 1591"/>
                <a:gd name="T29" fmla="*/ 163 h 2370"/>
                <a:gd name="T30" fmla="*/ 1528 w 1591"/>
                <a:gd name="T31" fmla="*/ 215 h 2370"/>
                <a:gd name="T32" fmla="*/ 1561 w 1591"/>
                <a:gd name="T33" fmla="*/ 261 h 2370"/>
                <a:gd name="T34" fmla="*/ 1580 w 1591"/>
                <a:gd name="T35" fmla="*/ 297 h 2370"/>
                <a:gd name="T36" fmla="*/ 1588 w 1591"/>
                <a:gd name="T37" fmla="*/ 320 h 2370"/>
                <a:gd name="T38" fmla="*/ 1591 w 1591"/>
                <a:gd name="T39" fmla="*/ 344 h 2370"/>
                <a:gd name="T40" fmla="*/ 1581 w 1591"/>
                <a:gd name="T41" fmla="*/ 379 h 2370"/>
                <a:gd name="T42" fmla="*/ 625 w 1591"/>
                <a:gd name="T43" fmla="*/ 2021 h 2370"/>
                <a:gd name="T44" fmla="*/ 116 w 1591"/>
                <a:gd name="T45" fmla="*/ 2357 h 2370"/>
                <a:gd name="T46" fmla="*/ 77 w 1591"/>
                <a:gd name="T47" fmla="*/ 2370 h 2370"/>
                <a:gd name="T48" fmla="*/ 36 w 1591"/>
                <a:gd name="T49" fmla="*/ 2359 h 2370"/>
                <a:gd name="T50" fmla="*/ 12 w 1591"/>
                <a:gd name="T51" fmla="*/ 2338 h 2370"/>
                <a:gd name="T52" fmla="*/ 0 w 1591"/>
                <a:gd name="T53" fmla="*/ 2306 h 2370"/>
                <a:gd name="T54" fmla="*/ 34 w 1591"/>
                <a:gd name="T55" fmla="*/ 1702 h 2370"/>
                <a:gd name="T56" fmla="*/ 45 w 1591"/>
                <a:gd name="T57" fmla="*/ 1670 h 2370"/>
                <a:gd name="T58" fmla="*/ 1002 w 1591"/>
                <a:gd name="T59" fmla="*/ 27 h 2370"/>
                <a:gd name="T60" fmla="*/ 1034 w 1591"/>
                <a:gd name="T61" fmla="*/ 7 h 2370"/>
                <a:gd name="T62" fmla="*/ 1048 w 1591"/>
                <a:gd name="T63" fmla="*/ 4 h 2370"/>
                <a:gd name="T64" fmla="*/ 1076 w 1591"/>
                <a:gd name="T65" fmla="*/ 0 h 2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91" h="2370">
                  <a:moveTo>
                    <a:pt x="141" y="1820"/>
                  </a:moveTo>
                  <a:lnTo>
                    <a:pt x="131" y="1996"/>
                  </a:lnTo>
                  <a:lnTo>
                    <a:pt x="177" y="2016"/>
                  </a:lnTo>
                  <a:lnTo>
                    <a:pt x="223" y="2040"/>
                  </a:lnTo>
                  <a:lnTo>
                    <a:pt x="267" y="2067"/>
                  </a:lnTo>
                  <a:lnTo>
                    <a:pt x="308" y="2097"/>
                  </a:lnTo>
                  <a:lnTo>
                    <a:pt x="455" y="2000"/>
                  </a:lnTo>
                  <a:lnTo>
                    <a:pt x="439" y="1980"/>
                  </a:lnTo>
                  <a:lnTo>
                    <a:pt x="417" y="1958"/>
                  </a:lnTo>
                  <a:lnTo>
                    <a:pt x="389" y="1934"/>
                  </a:lnTo>
                  <a:lnTo>
                    <a:pt x="355" y="1909"/>
                  </a:lnTo>
                  <a:lnTo>
                    <a:pt x="314" y="1883"/>
                  </a:lnTo>
                  <a:lnTo>
                    <a:pt x="278" y="1864"/>
                  </a:lnTo>
                  <a:lnTo>
                    <a:pt x="245" y="1849"/>
                  </a:lnTo>
                  <a:lnTo>
                    <a:pt x="214" y="1837"/>
                  </a:lnTo>
                  <a:lnTo>
                    <a:pt x="187" y="1829"/>
                  </a:lnTo>
                  <a:lnTo>
                    <a:pt x="163" y="1824"/>
                  </a:lnTo>
                  <a:lnTo>
                    <a:pt x="141" y="1820"/>
                  </a:lnTo>
                  <a:close/>
                  <a:moveTo>
                    <a:pt x="1095" y="0"/>
                  </a:moveTo>
                  <a:lnTo>
                    <a:pt x="1118" y="0"/>
                  </a:lnTo>
                  <a:lnTo>
                    <a:pt x="1144" y="2"/>
                  </a:lnTo>
                  <a:lnTo>
                    <a:pt x="1173" y="7"/>
                  </a:lnTo>
                  <a:lnTo>
                    <a:pt x="1205" y="14"/>
                  </a:lnTo>
                  <a:lnTo>
                    <a:pt x="1240" y="25"/>
                  </a:lnTo>
                  <a:lnTo>
                    <a:pt x="1278" y="39"/>
                  </a:lnTo>
                  <a:lnTo>
                    <a:pt x="1319" y="57"/>
                  </a:lnTo>
                  <a:lnTo>
                    <a:pt x="1362" y="81"/>
                  </a:lnTo>
                  <a:lnTo>
                    <a:pt x="1407" y="108"/>
                  </a:lnTo>
                  <a:lnTo>
                    <a:pt x="1446" y="136"/>
                  </a:lnTo>
                  <a:lnTo>
                    <a:pt x="1478" y="163"/>
                  </a:lnTo>
                  <a:lnTo>
                    <a:pt x="1505" y="190"/>
                  </a:lnTo>
                  <a:lnTo>
                    <a:pt x="1528" y="215"/>
                  </a:lnTo>
                  <a:lnTo>
                    <a:pt x="1546" y="239"/>
                  </a:lnTo>
                  <a:lnTo>
                    <a:pt x="1561" y="261"/>
                  </a:lnTo>
                  <a:lnTo>
                    <a:pt x="1571" y="280"/>
                  </a:lnTo>
                  <a:lnTo>
                    <a:pt x="1580" y="297"/>
                  </a:lnTo>
                  <a:lnTo>
                    <a:pt x="1585" y="311"/>
                  </a:lnTo>
                  <a:lnTo>
                    <a:pt x="1588" y="320"/>
                  </a:lnTo>
                  <a:lnTo>
                    <a:pt x="1589" y="325"/>
                  </a:lnTo>
                  <a:lnTo>
                    <a:pt x="1591" y="344"/>
                  </a:lnTo>
                  <a:lnTo>
                    <a:pt x="1588" y="363"/>
                  </a:lnTo>
                  <a:lnTo>
                    <a:pt x="1581" y="379"/>
                  </a:lnTo>
                  <a:lnTo>
                    <a:pt x="634" y="2008"/>
                  </a:lnTo>
                  <a:lnTo>
                    <a:pt x="625" y="2021"/>
                  </a:lnTo>
                  <a:lnTo>
                    <a:pt x="611" y="2033"/>
                  </a:lnTo>
                  <a:lnTo>
                    <a:pt x="116" y="2357"/>
                  </a:lnTo>
                  <a:lnTo>
                    <a:pt x="97" y="2367"/>
                  </a:lnTo>
                  <a:lnTo>
                    <a:pt x="77" y="2370"/>
                  </a:lnTo>
                  <a:lnTo>
                    <a:pt x="56" y="2368"/>
                  </a:lnTo>
                  <a:lnTo>
                    <a:pt x="36" y="2359"/>
                  </a:lnTo>
                  <a:lnTo>
                    <a:pt x="23" y="2350"/>
                  </a:lnTo>
                  <a:lnTo>
                    <a:pt x="12" y="2338"/>
                  </a:lnTo>
                  <a:lnTo>
                    <a:pt x="5" y="2323"/>
                  </a:lnTo>
                  <a:lnTo>
                    <a:pt x="0" y="2306"/>
                  </a:lnTo>
                  <a:lnTo>
                    <a:pt x="0" y="2290"/>
                  </a:lnTo>
                  <a:lnTo>
                    <a:pt x="34" y="1702"/>
                  </a:lnTo>
                  <a:lnTo>
                    <a:pt x="38" y="1685"/>
                  </a:lnTo>
                  <a:lnTo>
                    <a:pt x="45" y="1670"/>
                  </a:lnTo>
                  <a:lnTo>
                    <a:pt x="991" y="41"/>
                  </a:lnTo>
                  <a:lnTo>
                    <a:pt x="1002" y="27"/>
                  </a:lnTo>
                  <a:lnTo>
                    <a:pt x="1016" y="15"/>
                  </a:lnTo>
                  <a:lnTo>
                    <a:pt x="1034" y="7"/>
                  </a:lnTo>
                  <a:lnTo>
                    <a:pt x="1038" y="6"/>
                  </a:lnTo>
                  <a:lnTo>
                    <a:pt x="1048" y="4"/>
                  </a:lnTo>
                  <a:lnTo>
                    <a:pt x="1060" y="2"/>
                  </a:lnTo>
                  <a:lnTo>
                    <a:pt x="1076" y="0"/>
                  </a:lnTo>
                  <a:lnTo>
                    <a:pt x="10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28"/>
            <p:cNvSpPr>
              <a:spLocks/>
            </p:cNvSpPr>
            <p:nvPr/>
          </p:nvSpPr>
          <p:spPr bwMode="auto">
            <a:xfrm>
              <a:off x="-381" y="2625"/>
              <a:ext cx="105" cy="53"/>
            </a:xfrm>
            <a:custGeom>
              <a:avLst/>
              <a:gdLst>
                <a:gd name="T0" fmla="*/ 557 w 1155"/>
                <a:gd name="T1" fmla="*/ 5 h 591"/>
                <a:gd name="T2" fmla="*/ 583 w 1155"/>
                <a:gd name="T3" fmla="*/ 28 h 591"/>
                <a:gd name="T4" fmla="*/ 591 w 1155"/>
                <a:gd name="T5" fmla="*/ 111 h 591"/>
                <a:gd name="T6" fmla="*/ 560 w 1155"/>
                <a:gd name="T7" fmla="*/ 199 h 591"/>
                <a:gd name="T8" fmla="*/ 569 w 1155"/>
                <a:gd name="T9" fmla="*/ 242 h 591"/>
                <a:gd name="T10" fmla="*/ 587 w 1155"/>
                <a:gd name="T11" fmla="*/ 270 h 591"/>
                <a:gd name="T12" fmla="*/ 637 w 1155"/>
                <a:gd name="T13" fmla="*/ 278 h 591"/>
                <a:gd name="T14" fmla="*/ 681 w 1155"/>
                <a:gd name="T15" fmla="*/ 323 h 591"/>
                <a:gd name="T16" fmla="*/ 693 w 1155"/>
                <a:gd name="T17" fmla="*/ 357 h 591"/>
                <a:gd name="T18" fmla="*/ 847 w 1155"/>
                <a:gd name="T19" fmla="*/ 351 h 591"/>
                <a:gd name="T20" fmla="*/ 996 w 1155"/>
                <a:gd name="T21" fmla="*/ 366 h 591"/>
                <a:gd name="T22" fmla="*/ 1118 w 1155"/>
                <a:gd name="T23" fmla="*/ 373 h 591"/>
                <a:gd name="T24" fmla="*/ 1149 w 1155"/>
                <a:gd name="T25" fmla="*/ 400 h 591"/>
                <a:gd name="T26" fmla="*/ 1154 w 1155"/>
                <a:gd name="T27" fmla="*/ 441 h 591"/>
                <a:gd name="T28" fmla="*/ 1131 w 1155"/>
                <a:gd name="T29" fmla="*/ 475 h 591"/>
                <a:gd name="T30" fmla="*/ 1066 w 1155"/>
                <a:gd name="T31" fmla="*/ 482 h 591"/>
                <a:gd name="T32" fmla="*/ 957 w 1155"/>
                <a:gd name="T33" fmla="*/ 467 h 591"/>
                <a:gd name="T34" fmla="*/ 843 w 1155"/>
                <a:gd name="T35" fmla="*/ 452 h 591"/>
                <a:gd name="T36" fmla="*/ 738 w 1155"/>
                <a:gd name="T37" fmla="*/ 461 h 591"/>
                <a:gd name="T38" fmla="*/ 679 w 1155"/>
                <a:gd name="T39" fmla="*/ 486 h 591"/>
                <a:gd name="T40" fmla="*/ 636 w 1155"/>
                <a:gd name="T41" fmla="*/ 492 h 591"/>
                <a:gd name="T42" fmla="*/ 603 w 1155"/>
                <a:gd name="T43" fmla="*/ 477 h 591"/>
                <a:gd name="T44" fmla="*/ 576 w 1155"/>
                <a:gd name="T45" fmla="*/ 454 h 591"/>
                <a:gd name="T46" fmla="*/ 571 w 1155"/>
                <a:gd name="T47" fmla="*/ 407 h 591"/>
                <a:gd name="T48" fmla="*/ 537 w 1155"/>
                <a:gd name="T49" fmla="*/ 457 h 591"/>
                <a:gd name="T50" fmla="*/ 495 w 1155"/>
                <a:gd name="T51" fmla="*/ 471 h 591"/>
                <a:gd name="T52" fmla="*/ 455 w 1155"/>
                <a:gd name="T53" fmla="*/ 456 h 591"/>
                <a:gd name="T54" fmla="*/ 439 w 1155"/>
                <a:gd name="T55" fmla="*/ 419 h 591"/>
                <a:gd name="T56" fmla="*/ 450 w 1155"/>
                <a:gd name="T57" fmla="*/ 390 h 591"/>
                <a:gd name="T58" fmla="*/ 458 w 1155"/>
                <a:gd name="T59" fmla="*/ 369 h 591"/>
                <a:gd name="T60" fmla="*/ 422 w 1155"/>
                <a:gd name="T61" fmla="*/ 404 h 591"/>
                <a:gd name="T62" fmla="*/ 379 w 1155"/>
                <a:gd name="T63" fmla="*/ 428 h 591"/>
                <a:gd name="T64" fmla="*/ 335 w 1155"/>
                <a:gd name="T65" fmla="*/ 417 h 591"/>
                <a:gd name="T66" fmla="*/ 314 w 1155"/>
                <a:gd name="T67" fmla="*/ 379 h 591"/>
                <a:gd name="T68" fmla="*/ 364 w 1155"/>
                <a:gd name="T69" fmla="*/ 288 h 591"/>
                <a:gd name="T70" fmla="*/ 252 w 1155"/>
                <a:gd name="T71" fmla="*/ 393 h 591"/>
                <a:gd name="T72" fmla="*/ 96 w 1155"/>
                <a:gd name="T73" fmla="*/ 581 h 591"/>
                <a:gd name="T74" fmla="*/ 49 w 1155"/>
                <a:gd name="T75" fmla="*/ 590 h 591"/>
                <a:gd name="T76" fmla="*/ 9 w 1155"/>
                <a:gd name="T77" fmla="*/ 569 h 591"/>
                <a:gd name="T78" fmla="*/ 2 w 1155"/>
                <a:gd name="T79" fmla="*/ 527 h 591"/>
                <a:gd name="T80" fmla="*/ 138 w 1155"/>
                <a:gd name="T81" fmla="*/ 351 h 591"/>
                <a:gd name="T82" fmla="*/ 344 w 1155"/>
                <a:gd name="T83" fmla="*/ 123 h 591"/>
                <a:gd name="T84" fmla="*/ 398 w 1155"/>
                <a:gd name="T85" fmla="*/ 70 h 591"/>
                <a:gd name="T86" fmla="*/ 462 w 1155"/>
                <a:gd name="T87" fmla="*/ 20 h 591"/>
                <a:gd name="T88" fmla="*/ 534 w 1155"/>
                <a:gd name="T89" fmla="*/ 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55" h="591">
                  <a:moveTo>
                    <a:pt x="534" y="0"/>
                  </a:moveTo>
                  <a:lnTo>
                    <a:pt x="545" y="2"/>
                  </a:lnTo>
                  <a:lnTo>
                    <a:pt x="557" y="5"/>
                  </a:lnTo>
                  <a:lnTo>
                    <a:pt x="567" y="10"/>
                  </a:lnTo>
                  <a:lnTo>
                    <a:pt x="576" y="18"/>
                  </a:lnTo>
                  <a:lnTo>
                    <a:pt x="583" y="28"/>
                  </a:lnTo>
                  <a:lnTo>
                    <a:pt x="591" y="54"/>
                  </a:lnTo>
                  <a:lnTo>
                    <a:pt x="593" y="82"/>
                  </a:lnTo>
                  <a:lnTo>
                    <a:pt x="591" y="111"/>
                  </a:lnTo>
                  <a:lnTo>
                    <a:pt x="584" y="140"/>
                  </a:lnTo>
                  <a:lnTo>
                    <a:pt x="573" y="170"/>
                  </a:lnTo>
                  <a:lnTo>
                    <a:pt x="560" y="199"/>
                  </a:lnTo>
                  <a:lnTo>
                    <a:pt x="543" y="230"/>
                  </a:lnTo>
                  <a:lnTo>
                    <a:pt x="557" y="235"/>
                  </a:lnTo>
                  <a:lnTo>
                    <a:pt x="569" y="242"/>
                  </a:lnTo>
                  <a:lnTo>
                    <a:pt x="579" y="254"/>
                  </a:lnTo>
                  <a:lnTo>
                    <a:pt x="583" y="263"/>
                  </a:lnTo>
                  <a:lnTo>
                    <a:pt x="587" y="270"/>
                  </a:lnTo>
                  <a:lnTo>
                    <a:pt x="604" y="269"/>
                  </a:lnTo>
                  <a:lnTo>
                    <a:pt x="620" y="272"/>
                  </a:lnTo>
                  <a:lnTo>
                    <a:pt x="637" y="278"/>
                  </a:lnTo>
                  <a:lnTo>
                    <a:pt x="653" y="289"/>
                  </a:lnTo>
                  <a:lnTo>
                    <a:pt x="668" y="303"/>
                  </a:lnTo>
                  <a:lnTo>
                    <a:pt x="681" y="323"/>
                  </a:lnTo>
                  <a:lnTo>
                    <a:pt x="689" y="338"/>
                  </a:lnTo>
                  <a:lnTo>
                    <a:pt x="692" y="349"/>
                  </a:lnTo>
                  <a:lnTo>
                    <a:pt x="693" y="357"/>
                  </a:lnTo>
                  <a:lnTo>
                    <a:pt x="746" y="351"/>
                  </a:lnTo>
                  <a:lnTo>
                    <a:pt x="797" y="350"/>
                  </a:lnTo>
                  <a:lnTo>
                    <a:pt x="847" y="351"/>
                  </a:lnTo>
                  <a:lnTo>
                    <a:pt x="897" y="355"/>
                  </a:lnTo>
                  <a:lnTo>
                    <a:pt x="946" y="361"/>
                  </a:lnTo>
                  <a:lnTo>
                    <a:pt x="996" y="366"/>
                  </a:lnTo>
                  <a:lnTo>
                    <a:pt x="1048" y="369"/>
                  </a:lnTo>
                  <a:lnTo>
                    <a:pt x="1101" y="371"/>
                  </a:lnTo>
                  <a:lnTo>
                    <a:pt x="1118" y="373"/>
                  </a:lnTo>
                  <a:lnTo>
                    <a:pt x="1131" y="379"/>
                  </a:lnTo>
                  <a:lnTo>
                    <a:pt x="1142" y="389"/>
                  </a:lnTo>
                  <a:lnTo>
                    <a:pt x="1149" y="400"/>
                  </a:lnTo>
                  <a:lnTo>
                    <a:pt x="1154" y="413"/>
                  </a:lnTo>
                  <a:lnTo>
                    <a:pt x="1155" y="427"/>
                  </a:lnTo>
                  <a:lnTo>
                    <a:pt x="1154" y="441"/>
                  </a:lnTo>
                  <a:lnTo>
                    <a:pt x="1149" y="454"/>
                  </a:lnTo>
                  <a:lnTo>
                    <a:pt x="1142" y="466"/>
                  </a:lnTo>
                  <a:lnTo>
                    <a:pt x="1131" y="475"/>
                  </a:lnTo>
                  <a:lnTo>
                    <a:pt x="1118" y="481"/>
                  </a:lnTo>
                  <a:lnTo>
                    <a:pt x="1101" y="483"/>
                  </a:lnTo>
                  <a:lnTo>
                    <a:pt x="1066" y="482"/>
                  </a:lnTo>
                  <a:lnTo>
                    <a:pt x="1031" y="478"/>
                  </a:lnTo>
                  <a:lnTo>
                    <a:pt x="993" y="473"/>
                  </a:lnTo>
                  <a:lnTo>
                    <a:pt x="957" y="467"/>
                  </a:lnTo>
                  <a:lnTo>
                    <a:pt x="919" y="460"/>
                  </a:lnTo>
                  <a:lnTo>
                    <a:pt x="881" y="455"/>
                  </a:lnTo>
                  <a:lnTo>
                    <a:pt x="843" y="452"/>
                  </a:lnTo>
                  <a:lnTo>
                    <a:pt x="807" y="451"/>
                  </a:lnTo>
                  <a:lnTo>
                    <a:pt x="771" y="454"/>
                  </a:lnTo>
                  <a:lnTo>
                    <a:pt x="738" y="461"/>
                  </a:lnTo>
                  <a:lnTo>
                    <a:pt x="705" y="474"/>
                  </a:lnTo>
                  <a:lnTo>
                    <a:pt x="693" y="480"/>
                  </a:lnTo>
                  <a:lnTo>
                    <a:pt x="679" y="486"/>
                  </a:lnTo>
                  <a:lnTo>
                    <a:pt x="664" y="492"/>
                  </a:lnTo>
                  <a:lnTo>
                    <a:pt x="651" y="494"/>
                  </a:lnTo>
                  <a:lnTo>
                    <a:pt x="636" y="492"/>
                  </a:lnTo>
                  <a:lnTo>
                    <a:pt x="626" y="487"/>
                  </a:lnTo>
                  <a:lnTo>
                    <a:pt x="614" y="482"/>
                  </a:lnTo>
                  <a:lnTo>
                    <a:pt x="603" y="477"/>
                  </a:lnTo>
                  <a:lnTo>
                    <a:pt x="592" y="471"/>
                  </a:lnTo>
                  <a:lnTo>
                    <a:pt x="584" y="464"/>
                  </a:lnTo>
                  <a:lnTo>
                    <a:pt x="576" y="454"/>
                  </a:lnTo>
                  <a:lnTo>
                    <a:pt x="572" y="442"/>
                  </a:lnTo>
                  <a:lnTo>
                    <a:pt x="571" y="423"/>
                  </a:lnTo>
                  <a:lnTo>
                    <a:pt x="571" y="407"/>
                  </a:lnTo>
                  <a:lnTo>
                    <a:pt x="560" y="427"/>
                  </a:lnTo>
                  <a:lnTo>
                    <a:pt x="547" y="446"/>
                  </a:lnTo>
                  <a:lnTo>
                    <a:pt x="537" y="457"/>
                  </a:lnTo>
                  <a:lnTo>
                    <a:pt x="524" y="466"/>
                  </a:lnTo>
                  <a:lnTo>
                    <a:pt x="509" y="470"/>
                  </a:lnTo>
                  <a:lnTo>
                    <a:pt x="495" y="471"/>
                  </a:lnTo>
                  <a:lnTo>
                    <a:pt x="480" y="469"/>
                  </a:lnTo>
                  <a:lnTo>
                    <a:pt x="467" y="464"/>
                  </a:lnTo>
                  <a:lnTo>
                    <a:pt x="455" y="456"/>
                  </a:lnTo>
                  <a:lnTo>
                    <a:pt x="446" y="446"/>
                  </a:lnTo>
                  <a:lnTo>
                    <a:pt x="440" y="433"/>
                  </a:lnTo>
                  <a:lnTo>
                    <a:pt x="439" y="419"/>
                  </a:lnTo>
                  <a:lnTo>
                    <a:pt x="444" y="402"/>
                  </a:lnTo>
                  <a:lnTo>
                    <a:pt x="447" y="396"/>
                  </a:lnTo>
                  <a:lnTo>
                    <a:pt x="450" y="390"/>
                  </a:lnTo>
                  <a:lnTo>
                    <a:pt x="450" y="390"/>
                  </a:lnTo>
                  <a:lnTo>
                    <a:pt x="449" y="390"/>
                  </a:lnTo>
                  <a:lnTo>
                    <a:pt x="458" y="369"/>
                  </a:lnTo>
                  <a:lnTo>
                    <a:pt x="445" y="378"/>
                  </a:lnTo>
                  <a:lnTo>
                    <a:pt x="432" y="390"/>
                  </a:lnTo>
                  <a:lnTo>
                    <a:pt x="422" y="404"/>
                  </a:lnTo>
                  <a:lnTo>
                    <a:pt x="409" y="417"/>
                  </a:lnTo>
                  <a:lnTo>
                    <a:pt x="394" y="425"/>
                  </a:lnTo>
                  <a:lnTo>
                    <a:pt x="379" y="428"/>
                  </a:lnTo>
                  <a:lnTo>
                    <a:pt x="363" y="428"/>
                  </a:lnTo>
                  <a:lnTo>
                    <a:pt x="348" y="424"/>
                  </a:lnTo>
                  <a:lnTo>
                    <a:pt x="335" y="417"/>
                  </a:lnTo>
                  <a:lnTo>
                    <a:pt x="324" y="406"/>
                  </a:lnTo>
                  <a:lnTo>
                    <a:pt x="317" y="394"/>
                  </a:lnTo>
                  <a:lnTo>
                    <a:pt x="314" y="379"/>
                  </a:lnTo>
                  <a:lnTo>
                    <a:pt x="316" y="364"/>
                  </a:lnTo>
                  <a:lnTo>
                    <a:pt x="323" y="347"/>
                  </a:lnTo>
                  <a:lnTo>
                    <a:pt x="364" y="288"/>
                  </a:lnTo>
                  <a:lnTo>
                    <a:pt x="404" y="226"/>
                  </a:lnTo>
                  <a:lnTo>
                    <a:pt x="326" y="309"/>
                  </a:lnTo>
                  <a:lnTo>
                    <a:pt x="252" y="393"/>
                  </a:lnTo>
                  <a:lnTo>
                    <a:pt x="179" y="480"/>
                  </a:lnTo>
                  <a:lnTo>
                    <a:pt x="108" y="569"/>
                  </a:lnTo>
                  <a:lnTo>
                    <a:pt x="96" y="581"/>
                  </a:lnTo>
                  <a:lnTo>
                    <a:pt x="80" y="588"/>
                  </a:lnTo>
                  <a:lnTo>
                    <a:pt x="65" y="591"/>
                  </a:lnTo>
                  <a:lnTo>
                    <a:pt x="49" y="590"/>
                  </a:lnTo>
                  <a:lnTo>
                    <a:pt x="33" y="586"/>
                  </a:lnTo>
                  <a:lnTo>
                    <a:pt x="21" y="579"/>
                  </a:lnTo>
                  <a:lnTo>
                    <a:pt x="9" y="569"/>
                  </a:lnTo>
                  <a:lnTo>
                    <a:pt x="2" y="556"/>
                  </a:lnTo>
                  <a:lnTo>
                    <a:pt x="0" y="542"/>
                  </a:lnTo>
                  <a:lnTo>
                    <a:pt x="2" y="527"/>
                  </a:lnTo>
                  <a:lnTo>
                    <a:pt x="11" y="511"/>
                  </a:lnTo>
                  <a:lnTo>
                    <a:pt x="74" y="431"/>
                  </a:lnTo>
                  <a:lnTo>
                    <a:pt x="138" y="351"/>
                  </a:lnTo>
                  <a:lnTo>
                    <a:pt x="204" y="273"/>
                  </a:lnTo>
                  <a:lnTo>
                    <a:pt x="273" y="196"/>
                  </a:lnTo>
                  <a:lnTo>
                    <a:pt x="344" y="123"/>
                  </a:lnTo>
                  <a:lnTo>
                    <a:pt x="361" y="107"/>
                  </a:lnTo>
                  <a:lnTo>
                    <a:pt x="380" y="89"/>
                  </a:lnTo>
                  <a:lnTo>
                    <a:pt x="398" y="70"/>
                  </a:lnTo>
                  <a:lnTo>
                    <a:pt x="418" y="52"/>
                  </a:lnTo>
                  <a:lnTo>
                    <a:pt x="439" y="35"/>
                  </a:lnTo>
                  <a:lnTo>
                    <a:pt x="462" y="20"/>
                  </a:lnTo>
                  <a:lnTo>
                    <a:pt x="485" y="9"/>
                  </a:lnTo>
                  <a:lnTo>
                    <a:pt x="509" y="2"/>
                  </a:lnTo>
                  <a:lnTo>
                    <a:pt x="5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5" name="Freeform 12"/>
          <p:cNvSpPr>
            <a:spLocks noEditPoints="1"/>
          </p:cNvSpPr>
          <p:nvPr/>
        </p:nvSpPr>
        <p:spPr bwMode="auto">
          <a:xfrm>
            <a:off x="2468786" y="2800364"/>
            <a:ext cx="451142" cy="593791"/>
          </a:xfrm>
          <a:custGeom>
            <a:avLst/>
            <a:gdLst>
              <a:gd name="T0" fmla="*/ 1945 w 2569"/>
              <a:gd name="T1" fmla="*/ 2571 h 3379"/>
              <a:gd name="T2" fmla="*/ 1819 w 2569"/>
              <a:gd name="T3" fmla="*/ 2753 h 3379"/>
              <a:gd name="T4" fmla="*/ 1732 w 2569"/>
              <a:gd name="T5" fmla="*/ 2806 h 3379"/>
              <a:gd name="T6" fmla="*/ 1743 w 2569"/>
              <a:gd name="T7" fmla="*/ 2909 h 3379"/>
              <a:gd name="T8" fmla="*/ 1923 w 2569"/>
              <a:gd name="T9" fmla="*/ 2945 h 3379"/>
              <a:gd name="T10" fmla="*/ 1960 w 2569"/>
              <a:gd name="T11" fmla="*/ 3129 h 3379"/>
              <a:gd name="T12" fmla="*/ 2062 w 2569"/>
              <a:gd name="T13" fmla="*/ 3140 h 3379"/>
              <a:gd name="T14" fmla="*/ 2116 w 2569"/>
              <a:gd name="T15" fmla="*/ 3053 h 3379"/>
              <a:gd name="T16" fmla="*/ 2302 w 2569"/>
              <a:gd name="T17" fmla="*/ 2924 h 3379"/>
              <a:gd name="T18" fmla="*/ 2335 w 2569"/>
              <a:gd name="T19" fmla="*/ 2827 h 3379"/>
              <a:gd name="T20" fmla="*/ 2264 w 2569"/>
              <a:gd name="T21" fmla="*/ 2756 h 3379"/>
              <a:gd name="T22" fmla="*/ 2106 w 2569"/>
              <a:gd name="T23" fmla="*/ 2589 h 3379"/>
              <a:gd name="T24" fmla="*/ 2020 w 2569"/>
              <a:gd name="T25" fmla="*/ 2535 h 3379"/>
              <a:gd name="T26" fmla="*/ 2252 w 2569"/>
              <a:gd name="T27" fmla="*/ 2353 h 3379"/>
              <a:gd name="T28" fmla="*/ 2464 w 2569"/>
              <a:gd name="T29" fmla="*/ 2525 h 3379"/>
              <a:gd name="T30" fmla="*/ 2566 w 2569"/>
              <a:gd name="T31" fmla="*/ 2784 h 3379"/>
              <a:gd name="T32" fmla="*/ 2521 w 2569"/>
              <a:gd name="T33" fmla="*/ 3064 h 3379"/>
              <a:gd name="T34" fmla="*/ 2349 w 2569"/>
              <a:gd name="T35" fmla="*/ 3276 h 3379"/>
              <a:gd name="T36" fmla="*/ 2089 w 2569"/>
              <a:gd name="T37" fmla="*/ 3376 h 3379"/>
              <a:gd name="T38" fmla="*/ 1809 w 2569"/>
              <a:gd name="T39" fmla="*/ 3332 h 3379"/>
              <a:gd name="T40" fmla="*/ 1596 w 2569"/>
              <a:gd name="T41" fmla="*/ 3160 h 3379"/>
              <a:gd name="T42" fmla="*/ 1495 w 2569"/>
              <a:gd name="T43" fmla="*/ 2901 h 3379"/>
              <a:gd name="T44" fmla="*/ 1540 w 2569"/>
              <a:gd name="T45" fmla="*/ 2620 h 3379"/>
              <a:gd name="T46" fmla="*/ 1712 w 2569"/>
              <a:gd name="T47" fmla="*/ 2409 h 3379"/>
              <a:gd name="T48" fmla="*/ 1972 w 2569"/>
              <a:gd name="T49" fmla="*/ 2308 h 3379"/>
              <a:gd name="T50" fmla="*/ 444 w 2569"/>
              <a:gd name="T51" fmla="*/ 1724 h 3379"/>
              <a:gd name="T52" fmla="*/ 411 w 2569"/>
              <a:gd name="T53" fmla="*/ 1821 h 3379"/>
              <a:gd name="T54" fmla="*/ 482 w 2569"/>
              <a:gd name="T55" fmla="*/ 1892 h 3379"/>
              <a:gd name="T56" fmla="*/ 1834 w 2569"/>
              <a:gd name="T57" fmla="*/ 1874 h 3379"/>
              <a:gd name="T58" fmla="*/ 1867 w 2569"/>
              <a:gd name="T59" fmla="*/ 1777 h 3379"/>
              <a:gd name="T60" fmla="*/ 1796 w 2569"/>
              <a:gd name="T61" fmla="*/ 1705 h 3379"/>
              <a:gd name="T62" fmla="*/ 463 w 2569"/>
              <a:gd name="T63" fmla="*/ 1290 h 3379"/>
              <a:gd name="T64" fmla="*/ 409 w 2569"/>
              <a:gd name="T65" fmla="*/ 1377 h 3379"/>
              <a:gd name="T66" fmla="*/ 463 w 2569"/>
              <a:gd name="T67" fmla="*/ 1463 h 3379"/>
              <a:gd name="T68" fmla="*/ 1816 w 2569"/>
              <a:gd name="T69" fmla="*/ 1463 h 3379"/>
              <a:gd name="T70" fmla="*/ 1871 w 2569"/>
              <a:gd name="T71" fmla="*/ 1377 h 3379"/>
              <a:gd name="T72" fmla="*/ 1816 w 2569"/>
              <a:gd name="T73" fmla="*/ 1290 h 3379"/>
              <a:gd name="T74" fmla="*/ 482 w 2569"/>
              <a:gd name="T75" fmla="*/ 886 h 3379"/>
              <a:gd name="T76" fmla="*/ 411 w 2569"/>
              <a:gd name="T77" fmla="*/ 958 h 3379"/>
              <a:gd name="T78" fmla="*/ 444 w 2569"/>
              <a:gd name="T79" fmla="*/ 1055 h 3379"/>
              <a:gd name="T80" fmla="*/ 1796 w 2569"/>
              <a:gd name="T81" fmla="*/ 1073 h 3379"/>
              <a:gd name="T82" fmla="*/ 1867 w 2569"/>
              <a:gd name="T83" fmla="*/ 1002 h 3379"/>
              <a:gd name="T84" fmla="*/ 1834 w 2569"/>
              <a:gd name="T85" fmla="*/ 905 h 3379"/>
              <a:gd name="T86" fmla="*/ 1859 w 2569"/>
              <a:gd name="T87" fmla="*/ 31 h 3379"/>
              <a:gd name="T88" fmla="*/ 1667 w 2569"/>
              <a:gd name="T89" fmla="*/ 0 h 3379"/>
              <a:gd name="T90" fmla="*/ 1706 w 2569"/>
              <a:gd name="T91" fmla="*/ 594 h 3379"/>
              <a:gd name="T92" fmla="*/ 2308 w 2569"/>
              <a:gd name="T93" fmla="*/ 2169 h 3379"/>
              <a:gd name="T94" fmla="*/ 2079 w 2569"/>
              <a:gd name="T95" fmla="*/ 2114 h 3379"/>
              <a:gd name="T96" fmla="*/ 1773 w 2569"/>
              <a:gd name="T97" fmla="*/ 2159 h 3379"/>
              <a:gd name="T98" fmla="*/ 1513 w 2569"/>
              <a:gd name="T99" fmla="*/ 2327 h 3379"/>
              <a:gd name="T100" fmla="*/ 1344 w 2569"/>
              <a:gd name="T101" fmla="*/ 2588 h 3379"/>
              <a:gd name="T102" fmla="*/ 1302 w 2569"/>
              <a:gd name="T103" fmla="*/ 2910 h 3379"/>
              <a:gd name="T104" fmla="*/ 99 w 2569"/>
              <a:gd name="T105" fmla="*/ 3153 h 3379"/>
              <a:gd name="T106" fmla="*/ 11 w 2569"/>
              <a:gd name="T107" fmla="*/ 3097 h 3379"/>
              <a:gd name="T108" fmla="*/ 11 w 2569"/>
              <a:gd name="T109" fmla="*/ 54 h 3379"/>
              <a:gd name="T110" fmla="*/ 101 w 2569"/>
              <a:gd name="T111" fmla="*/ 0 h 3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569" h="3379">
                <a:moveTo>
                  <a:pt x="2020" y="2535"/>
                </a:moveTo>
                <a:lnTo>
                  <a:pt x="1998" y="2538"/>
                </a:lnTo>
                <a:lnTo>
                  <a:pt x="1977" y="2545"/>
                </a:lnTo>
                <a:lnTo>
                  <a:pt x="1960" y="2556"/>
                </a:lnTo>
                <a:lnTo>
                  <a:pt x="1945" y="2571"/>
                </a:lnTo>
                <a:lnTo>
                  <a:pt x="1934" y="2589"/>
                </a:lnTo>
                <a:lnTo>
                  <a:pt x="1926" y="2609"/>
                </a:lnTo>
                <a:lnTo>
                  <a:pt x="1923" y="2631"/>
                </a:lnTo>
                <a:lnTo>
                  <a:pt x="1923" y="2753"/>
                </a:lnTo>
                <a:lnTo>
                  <a:pt x="1819" y="2753"/>
                </a:lnTo>
                <a:lnTo>
                  <a:pt x="1797" y="2756"/>
                </a:lnTo>
                <a:lnTo>
                  <a:pt x="1776" y="2763"/>
                </a:lnTo>
                <a:lnTo>
                  <a:pt x="1759" y="2774"/>
                </a:lnTo>
                <a:lnTo>
                  <a:pt x="1743" y="2789"/>
                </a:lnTo>
                <a:lnTo>
                  <a:pt x="1732" y="2806"/>
                </a:lnTo>
                <a:lnTo>
                  <a:pt x="1725" y="2827"/>
                </a:lnTo>
                <a:lnTo>
                  <a:pt x="1723" y="2849"/>
                </a:lnTo>
                <a:lnTo>
                  <a:pt x="1725" y="2870"/>
                </a:lnTo>
                <a:lnTo>
                  <a:pt x="1732" y="2891"/>
                </a:lnTo>
                <a:lnTo>
                  <a:pt x="1743" y="2909"/>
                </a:lnTo>
                <a:lnTo>
                  <a:pt x="1759" y="2924"/>
                </a:lnTo>
                <a:lnTo>
                  <a:pt x="1776" y="2935"/>
                </a:lnTo>
                <a:lnTo>
                  <a:pt x="1797" y="2943"/>
                </a:lnTo>
                <a:lnTo>
                  <a:pt x="1819" y="2945"/>
                </a:lnTo>
                <a:lnTo>
                  <a:pt x="1923" y="2945"/>
                </a:lnTo>
                <a:lnTo>
                  <a:pt x="1923" y="3053"/>
                </a:lnTo>
                <a:lnTo>
                  <a:pt x="1926" y="3076"/>
                </a:lnTo>
                <a:lnTo>
                  <a:pt x="1934" y="3095"/>
                </a:lnTo>
                <a:lnTo>
                  <a:pt x="1945" y="3114"/>
                </a:lnTo>
                <a:lnTo>
                  <a:pt x="1960" y="3129"/>
                </a:lnTo>
                <a:lnTo>
                  <a:pt x="1977" y="3140"/>
                </a:lnTo>
                <a:lnTo>
                  <a:pt x="1998" y="3147"/>
                </a:lnTo>
                <a:lnTo>
                  <a:pt x="2020" y="3149"/>
                </a:lnTo>
                <a:lnTo>
                  <a:pt x="2041" y="3147"/>
                </a:lnTo>
                <a:lnTo>
                  <a:pt x="2062" y="3140"/>
                </a:lnTo>
                <a:lnTo>
                  <a:pt x="2080" y="3129"/>
                </a:lnTo>
                <a:lnTo>
                  <a:pt x="2095" y="3114"/>
                </a:lnTo>
                <a:lnTo>
                  <a:pt x="2106" y="3095"/>
                </a:lnTo>
                <a:lnTo>
                  <a:pt x="2114" y="3076"/>
                </a:lnTo>
                <a:lnTo>
                  <a:pt x="2116" y="3053"/>
                </a:lnTo>
                <a:lnTo>
                  <a:pt x="2116" y="2945"/>
                </a:lnTo>
                <a:lnTo>
                  <a:pt x="2242" y="2945"/>
                </a:lnTo>
                <a:lnTo>
                  <a:pt x="2264" y="2943"/>
                </a:lnTo>
                <a:lnTo>
                  <a:pt x="2284" y="2935"/>
                </a:lnTo>
                <a:lnTo>
                  <a:pt x="2302" y="2924"/>
                </a:lnTo>
                <a:lnTo>
                  <a:pt x="2317" y="2909"/>
                </a:lnTo>
                <a:lnTo>
                  <a:pt x="2328" y="2891"/>
                </a:lnTo>
                <a:lnTo>
                  <a:pt x="2335" y="2870"/>
                </a:lnTo>
                <a:lnTo>
                  <a:pt x="2338" y="2849"/>
                </a:lnTo>
                <a:lnTo>
                  <a:pt x="2335" y="2827"/>
                </a:lnTo>
                <a:lnTo>
                  <a:pt x="2328" y="2806"/>
                </a:lnTo>
                <a:lnTo>
                  <a:pt x="2317" y="2789"/>
                </a:lnTo>
                <a:lnTo>
                  <a:pt x="2302" y="2774"/>
                </a:lnTo>
                <a:lnTo>
                  <a:pt x="2284" y="2763"/>
                </a:lnTo>
                <a:lnTo>
                  <a:pt x="2264" y="2756"/>
                </a:lnTo>
                <a:lnTo>
                  <a:pt x="2242" y="2753"/>
                </a:lnTo>
                <a:lnTo>
                  <a:pt x="2116" y="2753"/>
                </a:lnTo>
                <a:lnTo>
                  <a:pt x="2116" y="2631"/>
                </a:lnTo>
                <a:lnTo>
                  <a:pt x="2114" y="2609"/>
                </a:lnTo>
                <a:lnTo>
                  <a:pt x="2106" y="2589"/>
                </a:lnTo>
                <a:lnTo>
                  <a:pt x="2095" y="2571"/>
                </a:lnTo>
                <a:lnTo>
                  <a:pt x="2080" y="2556"/>
                </a:lnTo>
                <a:lnTo>
                  <a:pt x="2062" y="2545"/>
                </a:lnTo>
                <a:lnTo>
                  <a:pt x="2041" y="2538"/>
                </a:lnTo>
                <a:lnTo>
                  <a:pt x="2020" y="2535"/>
                </a:lnTo>
                <a:close/>
                <a:moveTo>
                  <a:pt x="2030" y="2304"/>
                </a:moveTo>
                <a:lnTo>
                  <a:pt x="2089" y="2308"/>
                </a:lnTo>
                <a:lnTo>
                  <a:pt x="2146" y="2317"/>
                </a:lnTo>
                <a:lnTo>
                  <a:pt x="2201" y="2332"/>
                </a:lnTo>
                <a:lnTo>
                  <a:pt x="2252" y="2353"/>
                </a:lnTo>
                <a:lnTo>
                  <a:pt x="2302" y="2379"/>
                </a:lnTo>
                <a:lnTo>
                  <a:pt x="2349" y="2409"/>
                </a:lnTo>
                <a:lnTo>
                  <a:pt x="2391" y="2444"/>
                </a:lnTo>
                <a:lnTo>
                  <a:pt x="2430" y="2482"/>
                </a:lnTo>
                <a:lnTo>
                  <a:pt x="2464" y="2525"/>
                </a:lnTo>
                <a:lnTo>
                  <a:pt x="2495" y="2571"/>
                </a:lnTo>
                <a:lnTo>
                  <a:pt x="2521" y="2620"/>
                </a:lnTo>
                <a:lnTo>
                  <a:pt x="2541" y="2673"/>
                </a:lnTo>
                <a:lnTo>
                  <a:pt x="2556" y="2727"/>
                </a:lnTo>
                <a:lnTo>
                  <a:pt x="2566" y="2784"/>
                </a:lnTo>
                <a:lnTo>
                  <a:pt x="2569" y="2842"/>
                </a:lnTo>
                <a:lnTo>
                  <a:pt x="2566" y="2901"/>
                </a:lnTo>
                <a:lnTo>
                  <a:pt x="2556" y="2958"/>
                </a:lnTo>
                <a:lnTo>
                  <a:pt x="2541" y="3012"/>
                </a:lnTo>
                <a:lnTo>
                  <a:pt x="2521" y="3064"/>
                </a:lnTo>
                <a:lnTo>
                  <a:pt x="2495" y="3113"/>
                </a:lnTo>
                <a:lnTo>
                  <a:pt x="2464" y="3160"/>
                </a:lnTo>
                <a:lnTo>
                  <a:pt x="2430" y="3203"/>
                </a:lnTo>
                <a:lnTo>
                  <a:pt x="2391" y="3241"/>
                </a:lnTo>
                <a:lnTo>
                  <a:pt x="2349" y="3276"/>
                </a:lnTo>
                <a:lnTo>
                  <a:pt x="2302" y="3306"/>
                </a:lnTo>
                <a:lnTo>
                  <a:pt x="2252" y="3332"/>
                </a:lnTo>
                <a:lnTo>
                  <a:pt x="2201" y="3353"/>
                </a:lnTo>
                <a:lnTo>
                  <a:pt x="2146" y="3367"/>
                </a:lnTo>
                <a:lnTo>
                  <a:pt x="2089" y="3376"/>
                </a:lnTo>
                <a:lnTo>
                  <a:pt x="2030" y="3379"/>
                </a:lnTo>
                <a:lnTo>
                  <a:pt x="1972" y="3376"/>
                </a:lnTo>
                <a:lnTo>
                  <a:pt x="1915" y="3367"/>
                </a:lnTo>
                <a:lnTo>
                  <a:pt x="1860" y="3353"/>
                </a:lnTo>
                <a:lnTo>
                  <a:pt x="1809" y="3332"/>
                </a:lnTo>
                <a:lnTo>
                  <a:pt x="1759" y="3306"/>
                </a:lnTo>
                <a:lnTo>
                  <a:pt x="1712" y="3276"/>
                </a:lnTo>
                <a:lnTo>
                  <a:pt x="1670" y="3241"/>
                </a:lnTo>
                <a:lnTo>
                  <a:pt x="1631" y="3203"/>
                </a:lnTo>
                <a:lnTo>
                  <a:pt x="1596" y="3160"/>
                </a:lnTo>
                <a:lnTo>
                  <a:pt x="1565" y="3113"/>
                </a:lnTo>
                <a:lnTo>
                  <a:pt x="1540" y="3064"/>
                </a:lnTo>
                <a:lnTo>
                  <a:pt x="1520" y="3012"/>
                </a:lnTo>
                <a:lnTo>
                  <a:pt x="1504" y="2958"/>
                </a:lnTo>
                <a:lnTo>
                  <a:pt x="1495" y="2901"/>
                </a:lnTo>
                <a:lnTo>
                  <a:pt x="1492" y="2842"/>
                </a:lnTo>
                <a:lnTo>
                  <a:pt x="1495" y="2784"/>
                </a:lnTo>
                <a:lnTo>
                  <a:pt x="1504" y="2727"/>
                </a:lnTo>
                <a:lnTo>
                  <a:pt x="1520" y="2673"/>
                </a:lnTo>
                <a:lnTo>
                  <a:pt x="1540" y="2620"/>
                </a:lnTo>
                <a:lnTo>
                  <a:pt x="1565" y="2571"/>
                </a:lnTo>
                <a:lnTo>
                  <a:pt x="1596" y="2525"/>
                </a:lnTo>
                <a:lnTo>
                  <a:pt x="1631" y="2482"/>
                </a:lnTo>
                <a:lnTo>
                  <a:pt x="1670" y="2444"/>
                </a:lnTo>
                <a:lnTo>
                  <a:pt x="1712" y="2409"/>
                </a:lnTo>
                <a:lnTo>
                  <a:pt x="1759" y="2379"/>
                </a:lnTo>
                <a:lnTo>
                  <a:pt x="1809" y="2353"/>
                </a:lnTo>
                <a:lnTo>
                  <a:pt x="1860" y="2332"/>
                </a:lnTo>
                <a:lnTo>
                  <a:pt x="1915" y="2317"/>
                </a:lnTo>
                <a:lnTo>
                  <a:pt x="1972" y="2308"/>
                </a:lnTo>
                <a:lnTo>
                  <a:pt x="2030" y="2304"/>
                </a:lnTo>
                <a:close/>
                <a:moveTo>
                  <a:pt x="505" y="1703"/>
                </a:moveTo>
                <a:lnTo>
                  <a:pt x="482" y="1705"/>
                </a:lnTo>
                <a:lnTo>
                  <a:pt x="463" y="1713"/>
                </a:lnTo>
                <a:lnTo>
                  <a:pt x="444" y="1724"/>
                </a:lnTo>
                <a:lnTo>
                  <a:pt x="430" y="1740"/>
                </a:lnTo>
                <a:lnTo>
                  <a:pt x="418" y="1757"/>
                </a:lnTo>
                <a:lnTo>
                  <a:pt x="411" y="1777"/>
                </a:lnTo>
                <a:lnTo>
                  <a:pt x="409" y="1799"/>
                </a:lnTo>
                <a:lnTo>
                  <a:pt x="411" y="1821"/>
                </a:lnTo>
                <a:lnTo>
                  <a:pt x="418" y="1842"/>
                </a:lnTo>
                <a:lnTo>
                  <a:pt x="430" y="1859"/>
                </a:lnTo>
                <a:lnTo>
                  <a:pt x="444" y="1874"/>
                </a:lnTo>
                <a:lnTo>
                  <a:pt x="463" y="1885"/>
                </a:lnTo>
                <a:lnTo>
                  <a:pt x="482" y="1892"/>
                </a:lnTo>
                <a:lnTo>
                  <a:pt x="505" y="1895"/>
                </a:lnTo>
                <a:lnTo>
                  <a:pt x="1774" y="1895"/>
                </a:lnTo>
                <a:lnTo>
                  <a:pt x="1796" y="1892"/>
                </a:lnTo>
                <a:lnTo>
                  <a:pt x="1816" y="1885"/>
                </a:lnTo>
                <a:lnTo>
                  <a:pt x="1834" y="1874"/>
                </a:lnTo>
                <a:lnTo>
                  <a:pt x="1849" y="1859"/>
                </a:lnTo>
                <a:lnTo>
                  <a:pt x="1860" y="1842"/>
                </a:lnTo>
                <a:lnTo>
                  <a:pt x="1867" y="1821"/>
                </a:lnTo>
                <a:lnTo>
                  <a:pt x="1871" y="1799"/>
                </a:lnTo>
                <a:lnTo>
                  <a:pt x="1867" y="1777"/>
                </a:lnTo>
                <a:lnTo>
                  <a:pt x="1860" y="1757"/>
                </a:lnTo>
                <a:lnTo>
                  <a:pt x="1849" y="1740"/>
                </a:lnTo>
                <a:lnTo>
                  <a:pt x="1834" y="1724"/>
                </a:lnTo>
                <a:lnTo>
                  <a:pt x="1816" y="1713"/>
                </a:lnTo>
                <a:lnTo>
                  <a:pt x="1796" y="1705"/>
                </a:lnTo>
                <a:lnTo>
                  <a:pt x="1774" y="1703"/>
                </a:lnTo>
                <a:lnTo>
                  <a:pt x="505" y="1703"/>
                </a:lnTo>
                <a:close/>
                <a:moveTo>
                  <a:pt x="505" y="1281"/>
                </a:moveTo>
                <a:lnTo>
                  <a:pt x="482" y="1283"/>
                </a:lnTo>
                <a:lnTo>
                  <a:pt x="463" y="1290"/>
                </a:lnTo>
                <a:lnTo>
                  <a:pt x="444" y="1302"/>
                </a:lnTo>
                <a:lnTo>
                  <a:pt x="430" y="1317"/>
                </a:lnTo>
                <a:lnTo>
                  <a:pt x="418" y="1335"/>
                </a:lnTo>
                <a:lnTo>
                  <a:pt x="411" y="1354"/>
                </a:lnTo>
                <a:lnTo>
                  <a:pt x="409" y="1377"/>
                </a:lnTo>
                <a:lnTo>
                  <a:pt x="411" y="1399"/>
                </a:lnTo>
                <a:lnTo>
                  <a:pt x="418" y="1419"/>
                </a:lnTo>
                <a:lnTo>
                  <a:pt x="430" y="1437"/>
                </a:lnTo>
                <a:lnTo>
                  <a:pt x="444" y="1451"/>
                </a:lnTo>
                <a:lnTo>
                  <a:pt x="463" y="1463"/>
                </a:lnTo>
                <a:lnTo>
                  <a:pt x="482" y="1470"/>
                </a:lnTo>
                <a:lnTo>
                  <a:pt x="505" y="1473"/>
                </a:lnTo>
                <a:lnTo>
                  <a:pt x="1774" y="1473"/>
                </a:lnTo>
                <a:lnTo>
                  <a:pt x="1796" y="1470"/>
                </a:lnTo>
                <a:lnTo>
                  <a:pt x="1816" y="1463"/>
                </a:lnTo>
                <a:lnTo>
                  <a:pt x="1834" y="1451"/>
                </a:lnTo>
                <a:lnTo>
                  <a:pt x="1849" y="1437"/>
                </a:lnTo>
                <a:lnTo>
                  <a:pt x="1860" y="1419"/>
                </a:lnTo>
                <a:lnTo>
                  <a:pt x="1867" y="1399"/>
                </a:lnTo>
                <a:lnTo>
                  <a:pt x="1871" y="1377"/>
                </a:lnTo>
                <a:lnTo>
                  <a:pt x="1867" y="1354"/>
                </a:lnTo>
                <a:lnTo>
                  <a:pt x="1860" y="1335"/>
                </a:lnTo>
                <a:lnTo>
                  <a:pt x="1849" y="1317"/>
                </a:lnTo>
                <a:lnTo>
                  <a:pt x="1834" y="1302"/>
                </a:lnTo>
                <a:lnTo>
                  <a:pt x="1816" y="1290"/>
                </a:lnTo>
                <a:lnTo>
                  <a:pt x="1796" y="1283"/>
                </a:lnTo>
                <a:lnTo>
                  <a:pt x="1774" y="1281"/>
                </a:lnTo>
                <a:lnTo>
                  <a:pt x="505" y="1281"/>
                </a:lnTo>
                <a:close/>
                <a:moveTo>
                  <a:pt x="505" y="884"/>
                </a:moveTo>
                <a:lnTo>
                  <a:pt x="482" y="886"/>
                </a:lnTo>
                <a:lnTo>
                  <a:pt x="463" y="894"/>
                </a:lnTo>
                <a:lnTo>
                  <a:pt x="444" y="905"/>
                </a:lnTo>
                <a:lnTo>
                  <a:pt x="430" y="920"/>
                </a:lnTo>
                <a:lnTo>
                  <a:pt x="418" y="938"/>
                </a:lnTo>
                <a:lnTo>
                  <a:pt x="411" y="958"/>
                </a:lnTo>
                <a:lnTo>
                  <a:pt x="409" y="980"/>
                </a:lnTo>
                <a:lnTo>
                  <a:pt x="411" y="1002"/>
                </a:lnTo>
                <a:lnTo>
                  <a:pt x="418" y="1022"/>
                </a:lnTo>
                <a:lnTo>
                  <a:pt x="430" y="1040"/>
                </a:lnTo>
                <a:lnTo>
                  <a:pt x="444" y="1055"/>
                </a:lnTo>
                <a:lnTo>
                  <a:pt x="463" y="1066"/>
                </a:lnTo>
                <a:lnTo>
                  <a:pt x="482" y="1073"/>
                </a:lnTo>
                <a:lnTo>
                  <a:pt x="505" y="1076"/>
                </a:lnTo>
                <a:lnTo>
                  <a:pt x="1774" y="1076"/>
                </a:lnTo>
                <a:lnTo>
                  <a:pt x="1796" y="1073"/>
                </a:lnTo>
                <a:lnTo>
                  <a:pt x="1816" y="1066"/>
                </a:lnTo>
                <a:lnTo>
                  <a:pt x="1834" y="1055"/>
                </a:lnTo>
                <a:lnTo>
                  <a:pt x="1849" y="1040"/>
                </a:lnTo>
                <a:lnTo>
                  <a:pt x="1860" y="1022"/>
                </a:lnTo>
                <a:lnTo>
                  <a:pt x="1867" y="1002"/>
                </a:lnTo>
                <a:lnTo>
                  <a:pt x="1871" y="980"/>
                </a:lnTo>
                <a:lnTo>
                  <a:pt x="1867" y="958"/>
                </a:lnTo>
                <a:lnTo>
                  <a:pt x="1860" y="938"/>
                </a:lnTo>
                <a:lnTo>
                  <a:pt x="1849" y="920"/>
                </a:lnTo>
                <a:lnTo>
                  <a:pt x="1834" y="905"/>
                </a:lnTo>
                <a:lnTo>
                  <a:pt x="1816" y="894"/>
                </a:lnTo>
                <a:lnTo>
                  <a:pt x="1796" y="886"/>
                </a:lnTo>
                <a:lnTo>
                  <a:pt x="1774" y="884"/>
                </a:lnTo>
                <a:lnTo>
                  <a:pt x="505" y="884"/>
                </a:lnTo>
                <a:close/>
                <a:moveTo>
                  <a:pt x="1859" y="31"/>
                </a:moveTo>
                <a:lnTo>
                  <a:pt x="2273" y="423"/>
                </a:lnTo>
                <a:lnTo>
                  <a:pt x="1859" y="423"/>
                </a:lnTo>
                <a:lnTo>
                  <a:pt x="1859" y="31"/>
                </a:lnTo>
                <a:close/>
                <a:moveTo>
                  <a:pt x="101" y="0"/>
                </a:moveTo>
                <a:lnTo>
                  <a:pt x="1667" y="0"/>
                </a:lnTo>
                <a:lnTo>
                  <a:pt x="1667" y="519"/>
                </a:lnTo>
                <a:lnTo>
                  <a:pt x="1670" y="542"/>
                </a:lnTo>
                <a:lnTo>
                  <a:pt x="1678" y="561"/>
                </a:lnTo>
                <a:lnTo>
                  <a:pt x="1690" y="579"/>
                </a:lnTo>
                <a:lnTo>
                  <a:pt x="1706" y="594"/>
                </a:lnTo>
                <a:lnTo>
                  <a:pt x="1725" y="606"/>
                </a:lnTo>
                <a:lnTo>
                  <a:pt x="1745" y="613"/>
                </a:lnTo>
                <a:lnTo>
                  <a:pt x="1767" y="615"/>
                </a:lnTo>
                <a:lnTo>
                  <a:pt x="2308" y="615"/>
                </a:lnTo>
                <a:lnTo>
                  <a:pt x="2308" y="2169"/>
                </a:lnTo>
                <a:lnTo>
                  <a:pt x="2268" y="2153"/>
                </a:lnTo>
                <a:lnTo>
                  <a:pt x="2223" y="2138"/>
                </a:lnTo>
                <a:lnTo>
                  <a:pt x="2177" y="2128"/>
                </a:lnTo>
                <a:lnTo>
                  <a:pt x="2128" y="2120"/>
                </a:lnTo>
                <a:lnTo>
                  <a:pt x="2079" y="2114"/>
                </a:lnTo>
                <a:lnTo>
                  <a:pt x="2028" y="2112"/>
                </a:lnTo>
                <a:lnTo>
                  <a:pt x="1962" y="2115"/>
                </a:lnTo>
                <a:lnTo>
                  <a:pt x="1897" y="2125"/>
                </a:lnTo>
                <a:lnTo>
                  <a:pt x="1834" y="2139"/>
                </a:lnTo>
                <a:lnTo>
                  <a:pt x="1773" y="2159"/>
                </a:lnTo>
                <a:lnTo>
                  <a:pt x="1715" y="2184"/>
                </a:lnTo>
                <a:lnTo>
                  <a:pt x="1660" y="2212"/>
                </a:lnTo>
                <a:lnTo>
                  <a:pt x="1608" y="2247"/>
                </a:lnTo>
                <a:lnTo>
                  <a:pt x="1558" y="2285"/>
                </a:lnTo>
                <a:lnTo>
                  <a:pt x="1513" y="2327"/>
                </a:lnTo>
                <a:lnTo>
                  <a:pt x="1470" y="2373"/>
                </a:lnTo>
                <a:lnTo>
                  <a:pt x="1432" y="2422"/>
                </a:lnTo>
                <a:lnTo>
                  <a:pt x="1398" y="2475"/>
                </a:lnTo>
                <a:lnTo>
                  <a:pt x="1369" y="2530"/>
                </a:lnTo>
                <a:lnTo>
                  <a:pt x="1344" y="2588"/>
                </a:lnTo>
                <a:lnTo>
                  <a:pt x="1324" y="2648"/>
                </a:lnTo>
                <a:lnTo>
                  <a:pt x="1310" y="2711"/>
                </a:lnTo>
                <a:lnTo>
                  <a:pt x="1302" y="2776"/>
                </a:lnTo>
                <a:lnTo>
                  <a:pt x="1299" y="2842"/>
                </a:lnTo>
                <a:lnTo>
                  <a:pt x="1302" y="2910"/>
                </a:lnTo>
                <a:lnTo>
                  <a:pt x="1311" y="2975"/>
                </a:lnTo>
                <a:lnTo>
                  <a:pt x="1326" y="3039"/>
                </a:lnTo>
                <a:lnTo>
                  <a:pt x="1346" y="3100"/>
                </a:lnTo>
                <a:lnTo>
                  <a:pt x="1372" y="3158"/>
                </a:lnTo>
                <a:lnTo>
                  <a:pt x="99" y="3153"/>
                </a:lnTo>
                <a:lnTo>
                  <a:pt x="76" y="3150"/>
                </a:lnTo>
                <a:lnTo>
                  <a:pt x="56" y="3142"/>
                </a:lnTo>
                <a:lnTo>
                  <a:pt x="37" y="3131"/>
                </a:lnTo>
                <a:lnTo>
                  <a:pt x="22" y="3115"/>
                </a:lnTo>
                <a:lnTo>
                  <a:pt x="11" y="3097"/>
                </a:lnTo>
                <a:lnTo>
                  <a:pt x="3" y="3076"/>
                </a:lnTo>
                <a:lnTo>
                  <a:pt x="0" y="3053"/>
                </a:lnTo>
                <a:lnTo>
                  <a:pt x="0" y="96"/>
                </a:lnTo>
                <a:lnTo>
                  <a:pt x="3" y="75"/>
                </a:lnTo>
                <a:lnTo>
                  <a:pt x="11" y="54"/>
                </a:lnTo>
                <a:lnTo>
                  <a:pt x="23" y="37"/>
                </a:lnTo>
                <a:lnTo>
                  <a:pt x="39" y="22"/>
                </a:lnTo>
                <a:lnTo>
                  <a:pt x="57" y="11"/>
                </a:lnTo>
                <a:lnTo>
                  <a:pt x="79" y="3"/>
                </a:lnTo>
                <a:lnTo>
                  <a:pt x="101" y="0"/>
                </a:lnTo>
                <a:close/>
              </a:path>
            </a:pathLst>
          </a:custGeom>
          <a:solidFill>
            <a:srgbClr val="00569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8" name="Group 25"/>
          <p:cNvGrpSpPr>
            <a:grpSpLocks noChangeAspect="1"/>
          </p:cNvGrpSpPr>
          <p:nvPr/>
        </p:nvGrpSpPr>
        <p:grpSpPr bwMode="auto">
          <a:xfrm>
            <a:off x="2507202" y="4239985"/>
            <a:ext cx="405507" cy="553901"/>
            <a:chOff x="6269" y="2565"/>
            <a:chExt cx="787" cy="1075"/>
          </a:xfrm>
          <a:solidFill>
            <a:srgbClr val="00569B"/>
          </a:solidFill>
        </p:grpSpPr>
        <p:sp>
          <p:nvSpPr>
            <p:cNvPr id="89" name="Freeform 27"/>
            <p:cNvSpPr>
              <a:spLocks/>
            </p:cNvSpPr>
            <p:nvPr/>
          </p:nvSpPr>
          <p:spPr bwMode="auto">
            <a:xfrm>
              <a:off x="6620" y="2795"/>
              <a:ext cx="436" cy="845"/>
            </a:xfrm>
            <a:custGeom>
              <a:avLst/>
              <a:gdLst>
                <a:gd name="T0" fmla="*/ 1438 w 1745"/>
                <a:gd name="T1" fmla="*/ 4 h 3383"/>
                <a:gd name="T2" fmla="*/ 1581 w 1745"/>
                <a:gd name="T3" fmla="*/ 57 h 3383"/>
                <a:gd name="T4" fmla="*/ 1686 w 1745"/>
                <a:gd name="T5" fmla="*/ 163 h 3383"/>
                <a:gd name="T6" fmla="*/ 1741 w 1745"/>
                <a:gd name="T7" fmla="*/ 307 h 3383"/>
                <a:gd name="T8" fmla="*/ 1745 w 1745"/>
                <a:gd name="T9" fmla="*/ 550 h 3383"/>
                <a:gd name="T10" fmla="*/ 1745 w 1745"/>
                <a:gd name="T11" fmla="*/ 860 h 3383"/>
                <a:gd name="T12" fmla="*/ 1745 w 1745"/>
                <a:gd name="T13" fmla="*/ 1191 h 3383"/>
                <a:gd name="T14" fmla="*/ 1745 w 1745"/>
                <a:gd name="T15" fmla="*/ 1530 h 3383"/>
                <a:gd name="T16" fmla="*/ 1744 w 1745"/>
                <a:gd name="T17" fmla="*/ 1868 h 3383"/>
                <a:gd name="T18" fmla="*/ 1744 w 1745"/>
                <a:gd name="T19" fmla="*/ 2189 h 3383"/>
                <a:gd name="T20" fmla="*/ 1744 w 1745"/>
                <a:gd name="T21" fmla="*/ 2484 h 3383"/>
                <a:gd name="T22" fmla="*/ 1744 w 1745"/>
                <a:gd name="T23" fmla="*/ 2741 h 3383"/>
                <a:gd name="T24" fmla="*/ 1744 w 1745"/>
                <a:gd name="T25" fmla="*/ 2948 h 3383"/>
                <a:gd name="T26" fmla="*/ 1744 w 1745"/>
                <a:gd name="T27" fmla="*/ 3092 h 3383"/>
                <a:gd name="T28" fmla="*/ 1744 w 1745"/>
                <a:gd name="T29" fmla="*/ 3161 h 3383"/>
                <a:gd name="T30" fmla="*/ 1729 w 1745"/>
                <a:gd name="T31" fmla="*/ 3242 h 3383"/>
                <a:gd name="T32" fmla="*/ 1667 w 1745"/>
                <a:gd name="T33" fmla="*/ 3331 h 3383"/>
                <a:gd name="T34" fmla="*/ 1568 w 1745"/>
                <a:gd name="T35" fmla="*/ 3379 h 3383"/>
                <a:gd name="T36" fmla="*/ 1454 w 1745"/>
                <a:gd name="T37" fmla="*/ 3368 h 3383"/>
                <a:gd name="T38" fmla="*/ 1364 w 1745"/>
                <a:gd name="T39" fmla="*/ 3305 h 3383"/>
                <a:gd name="T40" fmla="*/ 1317 w 1745"/>
                <a:gd name="T41" fmla="*/ 3206 h 3383"/>
                <a:gd name="T42" fmla="*/ 1171 w 1745"/>
                <a:gd name="T43" fmla="*/ 1884 h 3383"/>
                <a:gd name="T44" fmla="*/ 1183 w 1745"/>
                <a:gd name="T45" fmla="*/ 3257 h 3383"/>
                <a:gd name="T46" fmla="*/ 1186 w 1745"/>
                <a:gd name="T47" fmla="*/ 3356 h 3383"/>
                <a:gd name="T48" fmla="*/ 1086 w 1745"/>
                <a:gd name="T49" fmla="*/ 3383 h 3383"/>
                <a:gd name="T50" fmla="*/ 978 w 1745"/>
                <a:gd name="T51" fmla="*/ 3352 h 3383"/>
                <a:gd name="T52" fmla="*/ 901 w 1745"/>
                <a:gd name="T53" fmla="*/ 3275 h 3383"/>
                <a:gd name="T54" fmla="*/ 871 w 1745"/>
                <a:gd name="T55" fmla="*/ 3167 h 3383"/>
                <a:gd name="T56" fmla="*/ 961 w 1745"/>
                <a:gd name="T57" fmla="*/ 1024 h 3383"/>
                <a:gd name="T58" fmla="*/ 1017 w 1745"/>
                <a:gd name="T59" fmla="*/ 982 h 3383"/>
                <a:gd name="T60" fmla="*/ 1569 w 1745"/>
                <a:gd name="T61" fmla="*/ 326 h 3383"/>
                <a:gd name="T62" fmla="*/ 945 w 1745"/>
                <a:gd name="T63" fmla="*/ 902 h 3383"/>
                <a:gd name="T64" fmla="*/ 249 w 1745"/>
                <a:gd name="T65" fmla="*/ 1211 h 3383"/>
                <a:gd name="T66" fmla="*/ 150 w 1745"/>
                <a:gd name="T67" fmla="*/ 1223 h 3383"/>
                <a:gd name="T68" fmla="*/ 70 w 1745"/>
                <a:gd name="T69" fmla="*/ 1187 h 3383"/>
                <a:gd name="T70" fmla="*/ 14 w 1745"/>
                <a:gd name="T71" fmla="*/ 1115 h 3383"/>
                <a:gd name="T72" fmla="*/ 1 w 1745"/>
                <a:gd name="T73" fmla="*/ 1022 h 3383"/>
                <a:gd name="T74" fmla="*/ 35 w 1745"/>
                <a:gd name="T75" fmla="*/ 938 h 3383"/>
                <a:gd name="T76" fmla="*/ 110 w 1745"/>
                <a:gd name="T77" fmla="*/ 881 h 3383"/>
                <a:gd name="T78" fmla="*/ 1327 w 1745"/>
                <a:gd name="T79" fmla="*/ 63 h 3383"/>
                <a:gd name="T80" fmla="*/ 871 w 1745"/>
                <a:gd name="T81" fmla="*/ 361 h 3383"/>
                <a:gd name="T82" fmla="*/ 905 w 1745"/>
                <a:gd name="T83" fmla="*/ 208 h 3383"/>
                <a:gd name="T84" fmla="*/ 995 w 1745"/>
                <a:gd name="T85" fmla="*/ 88 h 3383"/>
                <a:gd name="T86" fmla="*/ 1126 w 1745"/>
                <a:gd name="T87" fmla="*/ 14 h 3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745" h="3383">
                  <a:moveTo>
                    <a:pt x="1231" y="0"/>
                  </a:moveTo>
                  <a:lnTo>
                    <a:pt x="1385" y="0"/>
                  </a:lnTo>
                  <a:lnTo>
                    <a:pt x="1438" y="4"/>
                  </a:lnTo>
                  <a:lnTo>
                    <a:pt x="1489" y="14"/>
                  </a:lnTo>
                  <a:lnTo>
                    <a:pt x="1536" y="33"/>
                  </a:lnTo>
                  <a:lnTo>
                    <a:pt x="1581" y="57"/>
                  </a:lnTo>
                  <a:lnTo>
                    <a:pt x="1621" y="88"/>
                  </a:lnTo>
                  <a:lnTo>
                    <a:pt x="1656" y="124"/>
                  </a:lnTo>
                  <a:lnTo>
                    <a:pt x="1686" y="163"/>
                  </a:lnTo>
                  <a:lnTo>
                    <a:pt x="1711" y="208"/>
                  </a:lnTo>
                  <a:lnTo>
                    <a:pt x="1729" y="256"/>
                  </a:lnTo>
                  <a:lnTo>
                    <a:pt x="1741" y="307"/>
                  </a:lnTo>
                  <a:lnTo>
                    <a:pt x="1745" y="361"/>
                  </a:lnTo>
                  <a:lnTo>
                    <a:pt x="1745" y="454"/>
                  </a:lnTo>
                  <a:lnTo>
                    <a:pt x="1745" y="550"/>
                  </a:lnTo>
                  <a:lnTo>
                    <a:pt x="1745" y="650"/>
                  </a:lnTo>
                  <a:lnTo>
                    <a:pt x="1745" y="754"/>
                  </a:lnTo>
                  <a:lnTo>
                    <a:pt x="1745" y="860"/>
                  </a:lnTo>
                  <a:lnTo>
                    <a:pt x="1745" y="969"/>
                  </a:lnTo>
                  <a:lnTo>
                    <a:pt x="1745" y="1080"/>
                  </a:lnTo>
                  <a:lnTo>
                    <a:pt x="1745" y="1191"/>
                  </a:lnTo>
                  <a:lnTo>
                    <a:pt x="1745" y="1304"/>
                  </a:lnTo>
                  <a:lnTo>
                    <a:pt x="1745" y="1418"/>
                  </a:lnTo>
                  <a:lnTo>
                    <a:pt x="1745" y="1530"/>
                  </a:lnTo>
                  <a:lnTo>
                    <a:pt x="1745" y="1644"/>
                  </a:lnTo>
                  <a:lnTo>
                    <a:pt x="1744" y="1757"/>
                  </a:lnTo>
                  <a:lnTo>
                    <a:pt x="1744" y="1868"/>
                  </a:lnTo>
                  <a:lnTo>
                    <a:pt x="1744" y="1977"/>
                  </a:lnTo>
                  <a:lnTo>
                    <a:pt x="1744" y="2084"/>
                  </a:lnTo>
                  <a:lnTo>
                    <a:pt x="1744" y="2189"/>
                  </a:lnTo>
                  <a:lnTo>
                    <a:pt x="1744" y="2291"/>
                  </a:lnTo>
                  <a:lnTo>
                    <a:pt x="1744" y="2390"/>
                  </a:lnTo>
                  <a:lnTo>
                    <a:pt x="1744" y="2484"/>
                  </a:lnTo>
                  <a:lnTo>
                    <a:pt x="1744" y="2575"/>
                  </a:lnTo>
                  <a:lnTo>
                    <a:pt x="1744" y="2660"/>
                  </a:lnTo>
                  <a:lnTo>
                    <a:pt x="1744" y="2741"/>
                  </a:lnTo>
                  <a:lnTo>
                    <a:pt x="1744" y="2816"/>
                  </a:lnTo>
                  <a:lnTo>
                    <a:pt x="1744" y="2885"/>
                  </a:lnTo>
                  <a:lnTo>
                    <a:pt x="1744" y="2948"/>
                  </a:lnTo>
                  <a:lnTo>
                    <a:pt x="1744" y="3003"/>
                  </a:lnTo>
                  <a:lnTo>
                    <a:pt x="1744" y="3051"/>
                  </a:lnTo>
                  <a:lnTo>
                    <a:pt x="1744" y="3092"/>
                  </a:lnTo>
                  <a:lnTo>
                    <a:pt x="1744" y="3123"/>
                  </a:lnTo>
                  <a:lnTo>
                    <a:pt x="1744" y="3147"/>
                  </a:lnTo>
                  <a:lnTo>
                    <a:pt x="1744" y="3161"/>
                  </a:lnTo>
                  <a:lnTo>
                    <a:pt x="1744" y="3167"/>
                  </a:lnTo>
                  <a:lnTo>
                    <a:pt x="1740" y="3206"/>
                  </a:lnTo>
                  <a:lnTo>
                    <a:pt x="1729" y="3242"/>
                  </a:lnTo>
                  <a:lnTo>
                    <a:pt x="1714" y="3275"/>
                  </a:lnTo>
                  <a:lnTo>
                    <a:pt x="1693" y="3305"/>
                  </a:lnTo>
                  <a:lnTo>
                    <a:pt x="1667" y="3331"/>
                  </a:lnTo>
                  <a:lnTo>
                    <a:pt x="1637" y="3352"/>
                  </a:lnTo>
                  <a:lnTo>
                    <a:pt x="1604" y="3368"/>
                  </a:lnTo>
                  <a:lnTo>
                    <a:pt x="1568" y="3379"/>
                  </a:lnTo>
                  <a:lnTo>
                    <a:pt x="1528" y="3383"/>
                  </a:lnTo>
                  <a:lnTo>
                    <a:pt x="1491" y="3379"/>
                  </a:lnTo>
                  <a:lnTo>
                    <a:pt x="1454" y="3368"/>
                  </a:lnTo>
                  <a:lnTo>
                    <a:pt x="1420" y="3352"/>
                  </a:lnTo>
                  <a:lnTo>
                    <a:pt x="1390" y="3331"/>
                  </a:lnTo>
                  <a:lnTo>
                    <a:pt x="1364" y="3305"/>
                  </a:lnTo>
                  <a:lnTo>
                    <a:pt x="1343" y="3275"/>
                  </a:lnTo>
                  <a:lnTo>
                    <a:pt x="1327" y="3242"/>
                  </a:lnTo>
                  <a:lnTo>
                    <a:pt x="1317" y="3206"/>
                  </a:lnTo>
                  <a:lnTo>
                    <a:pt x="1314" y="3167"/>
                  </a:lnTo>
                  <a:lnTo>
                    <a:pt x="1314" y="1884"/>
                  </a:lnTo>
                  <a:lnTo>
                    <a:pt x="1171" y="1884"/>
                  </a:lnTo>
                  <a:lnTo>
                    <a:pt x="1171" y="3167"/>
                  </a:lnTo>
                  <a:lnTo>
                    <a:pt x="1173" y="3212"/>
                  </a:lnTo>
                  <a:lnTo>
                    <a:pt x="1183" y="3257"/>
                  </a:lnTo>
                  <a:lnTo>
                    <a:pt x="1197" y="3297"/>
                  </a:lnTo>
                  <a:lnTo>
                    <a:pt x="1215" y="3337"/>
                  </a:lnTo>
                  <a:lnTo>
                    <a:pt x="1186" y="3356"/>
                  </a:lnTo>
                  <a:lnTo>
                    <a:pt x="1155" y="3371"/>
                  </a:lnTo>
                  <a:lnTo>
                    <a:pt x="1121" y="3379"/>
                  </a:lnTo>
                  <a:lnTo>
                    <a:pt x="1086" y="3383"/>
                  </a:lnTo>
                  <a:lnTo>
                    <a:pt x="1047" y="3379"/>
                  </a:lnTo>
                  <a:lnTo>
                    <a:pt x="1010" y="3368"/>
                  </a:lnTo>
                  <a:lnTo>
                    <a:pt x="978" y="3352"/>
                  </a:lnTo>
                  <a:lnTo>
                    <a:pt x="948" y="3331"/>
                  </a:lnTo>
                  <a:lnTo>
                    <a:pt x="921" y="3305"/>
                  </a:lnTo>
                  <a:lnTo>
                    <a:pt x="901" y="3275"/>
                  </a:lnTo>
                  <a:lnTo>
                    <a:pt x="885" y="3242"/>
                  </a:lnTo>
                  <a:lnTo>
                    <a:pt x="874" y="3206"/>
                  </a:lnTo>
                  <a:lnTo>
                    <a:pt x="871" y="3167"/>
                  </a:lnTo>
                  <a:lnTo>
                    <a:pt x="871" y="1063"/>
                  </a:lnTo>
                  <a:lnTo>
                    <a:pt x="936" y="1034"/>
                  </a:lnTo>
                  <a:lnTo>
                    <a:pt x="961" y="1024"/>
                  </a:lnTo>
                  <a:lnTo>
                    <a:pt x="982" y="1013"/>
                  </a:lnTo>
                  <a:lnTo>
                    <a:pt x="1000" y="999"/>
                  </a:lnTo>
                  <a:lnTo>
                    <a:pt x="1017" y="982"/>
                  </a:lnTo>
                  <a:lnTo>
                    <a:pt x="1568" y="328"/>
                  </a:lnTo>
                  <a:lnTo>
                    <a:pt x="1569" y="327"/>
                  </a:lnTo>
                  <a:lnTo>
                    <a:pt x="1569" y="326"/>
                  </a:lnTo>
                  <a:lnTo>
                    <a:pt x="1569" y="327"/>
                  </a:lnTo>
                  <a:lnTo>
                    <a:pt x="1568" y="327"/>
                  </a:lnTo>
                  <a:lnTo>
                    <a:pt x="945" y="902"/>
                  </a:lnTo>
                  <a:lnTo>
                    <a:pt x="920" y="921"/>
                  </a:lnTo>
                  <a:lnTo>
                    <a:pt x="894" y="936"/>
                  </a:lnTo>
                  <a:lnTo>
                    <a:pt x="249" y="1211"/>
                  </a:lnTo>
                  <a:lnTo>
                    <a:pt x="215" y="1221"/>
                  </a:lnTo>
                  <a:lnTo>
                    <a:pt x="180" y="1225"/>
                  </a:lnTo>
                  <a:lnTo>
                    <a:pt x="150" y="1223"/>
                  </a:lnTo>
                  <a:lnTo>
                    <a:pt x="121" y="1215"/>
                  </a:lnTo>
                  <a:lnTo>
                    <a:pt x="94" y="1203"/>
                  </a:lnTo>
                  <a:lnTo>
                    <a:pt x="70" y="1187"/>
                  </a:lnTo>
                  <a:lnTo>
                    <a:pt x="48" y="1168"/>
                  </a:lnTo>
                  <a:lnTo>
                    <a:pt x="30" y="1143"/>
                  </a:lnTo>
                  <a:lnTo>
                    <a:pt x="14" y="1115"/>
                  </a:lnTo>
                  <a:lnTo>
                    <a:pt x="5" y="1085"/>
                  </a:lnTo>
                  <a:lnTo>
                    <a:pt x="0" y="1054"/>
                  </a:lnTo>
                  <a:lnTo>
                    <a:pt x="1" y="1022"/>
                  </a:lnTo>
                  <a:lnTo>
                    <a:pt x="8" y="992"/>
                  </a:lnTo>
                  <a:lnTo>
                    <a:pt x="20" y="965"/>
                  </a:lnTo>
                  <a:lnTo>
                    <a:pt x="35" y="938"/>
                  </a:lnTo>
                  <a:lnTo>
                    <a:pt x="56" y="915"/>
                  </a:lnTo>
                  <a:lnTo>
                    <a:pt x="81" y="895"/>
                  </a:lnTo>
                  <a:lnTo>
                    <a:pt x="110" y="881"/>
                  </a:lnTo>
                  <a:lnTo>
                    <a:pt x="726" y="618"/>
                  </a:lnTo>
                  <a:lnTo>
                    <a:pt x="1326" y="64"/>
                  </a:lnTo>
                  <a:lnTo>
                    <a:pt x="1327" y="63"/>
                  </a:lnTo>
                  <a:lnTo>
                    <a:pt x="1326" y="64"/>
                  </a:lnTo>
                  <a:lnTo>
                    <a:pt x="871" y="387"/>
                  </a:lnTo>
                  <a:lnTo>
                    <a:pt x="871" y="361"/>
                  </a:lnTo>
                  <a:lnTo>
                    <a:pt x="874" y="307"/>
                  </a:lnTo>
                  <a:lnTo>
                    <a:pt x="886" y="256"/>
                  </a:lnTo>
                  <a:lnTo>
                    <a:pt x="905" y="208"/>
                  </a:lnTo>
                  <a:lnTo>
                    <a:pt x="929" y="163"/>
                  </a:lnTo>
                  <a:lnTo>
                    <a:pt x="959" y="124"/>
                  </a:lnTo>
                  <a:lnTo>
                    <a:pt x="995" y="88"/>
                  </a:lnTo>
                  <a:lnTo>
                    <a:pt x="1035" y="57"/>
                  </a:lnTo>
                  <a:lnTo>
                    <a:pt x="1079" y="33"/>
                  </a:lnTo>
                  <a:lnTo>
                    <a:pt x="1126" y="14"/>
                  </a:lnTo>
                  <a:lnTo>
                    <a:pt x="1177" y="4"/>
                  </a:lnTo>
                  <a:lnTo>
                    <a:pt x="12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28"/>
            <p:cNvSpPr>
              <a:spLocks/>
            </p:cNvSpPr>
            <p:nvPr/>
          </p:nvSpPr>
          <p:spPr bwMode="auto">
            <a:xfrm>
              <a:off x="6842" y="2565"/>
              <a:ext cx="209" cy="209"/>
            </a:xfrm>
            <a:custGeom>
              <a:avLst/>
              <a:gdLst>
                <a:gd name="T0" fmla="*/ 418 w 837"/>
                <a:gd name="T1" fmla="*/ 0 h 839"/>
                <a:gd name="T2" fmla="*/ 475 w 837"/>
                <a:gd name="T3" fmla="*/ 3 h 839"/>
                <a:gd name="T4" fmla="*/ 529 w 837"/>
                <a:gd name="T5" fmla="*/ 15 h 839"/>
                <a:gd name="T6" fmla="*/ 581 w 837"/>
                <a:gd name="T7" fmla="*/ 32 h 839"/>
                <a:gd name="T8" fmla="*/ 629 w 837"/>
                <a:gd name="T9" fmla="*/ 57 h 839"/>
                <a:gd name="T10" fmla="*/ 674 w 837"/>
                <a:gd name="T11" fmla="*/ 87 h 839"/>
                <a:gd name="T12" fmla="*/ 714 w 837"/>
                <a:gd name="T13" fmla="*/ 123 h 839"/>
                <a:gd name="T14" fmla="*/ 749 w 837"/>
                <a:gd name="T15" fmla="*/ 163 h 839"/>
                <a:gd name="T16" fmla="*/ 779 w 837"/>
                <a:gd name="T17" fmla="*/ 208 h 839"/>
                <a:gd name="T18" fmla="*/ 803 w 837"/>
                <a:gd name="T19" fmla="*/ 256 h 839"/>
                <a:gd name="T20" fmla="*/ 821 w 837"/>
                <a:gd name="T21" fmla="*/ 307 h 839"/>
                <a:gd name="T22" fmla="*/ 833 w 837"/>
                <a:gd name="T23" fmla="*/ 362 h 839"/>
                <a:gd name="T24" fmla="*/ 837 w 837"/>
                <a:gd name="T25" fmla="*/ 420 h 839"/>
                <a:gd name="T26" fmla="*/ 833 w 837"/>
                <a:gd name="T27" fmla="*/ 476 h 839"/>
                <a:gd name="T28" fmla="*/ 821 w 837"/>
                <a:gd name="T29" fmla="*/ 531 h 839"/>
                <a:gd name="T30" fmla="*/ 803 w 837"/>
                <a:gd name="T31" fmla="*/ 582 h 839"/>
                <a:gd name="T32" fmla="*/ 779 w 837"/>
                <a:gd name="T33" fmla="*/ 631 h 839"/>
                <a:gd name="T34" fmla="*/ 749 w 837"/>
                <a:gd name="T35" fmla="*/ 675 h 839"/>
                <a:gd name="T36" fmla="*/ 714 w 837"/>
                <a:gd name="T37" fmla="*/ 716 h 839"/>
                <a:gd name="T38" fmla="*/ 674 w 837"/>
                <a:gd name="T39" fmla="*/ 751 h 839"/>
                <a:gd name="T40" fmla="*/ 629 w 837"/>
                <a:gd name="T41" fmla="*/ 781 h 839"/>
                <a:gd name="T42" fmla="*/ 581 w 837"/>
                <a:gd name="T43" fmla="*/ 806 h 839"/>
                <a:gd name="T44" fmla="*/ 529 w 837"/>
                <a:gd name="T45" fmla="*/ 824 h 839"/>
                <a:gd name="T46" fmla="*/ 475 w 837"/>
                <a:gd name="T47" fmla="*/ 835 h 839"/>
                <a:gd name="T48" fmla="*/ 418 w 837"/>
                <a:gd name="T49" fmla="*/ 839 h 839"/>
                <a:gd name="T50" fmla="*/ 362 w 837"/>
                <a:gd name="T51" fmla="*/ 835 h 839"/>
                <a:gd name="T52" fmla="*/ 307 w 837"/>
                <a:gd name="T53" fmla="*/ 824 h 839"/>
                <a:gd name="T54" fmla="*/ 255 w 837"/>
                <a:gd name="T55" fmla="*/ 806 h 839"/>
                <a:gd name="T56" fmla="*/ 206 w 837"/>
                <a:gd name="T57" fmla="*/ 781 h 839"/>
                <a:gd name="T58" fmla="*/ 162 w 837"/>
                <a:gd name="T59" fmla="*/ 751 h 839"/>
                <a:gd name="T60" fmla="*/ 122 w 837"/>
                <a:gd name="T61" fmla="*/ 716 h 839"/>
                <a:gd name="T62" fmla="*/ 86 w 837"/>
                <a:gd name="T63" fmla="*/ 675 h 839"/>
                <a:gd name="T64" fmla="*/ 56 w 837"/>
                <a:gd name="T65" fmla="*/ 631 h 839"/>
                <a:gd name="T66" fmla="*/ 33 w 837"/>
                <a:gd name="T67" fmla="*/ 582 h 839"/>
                <a:gd name="T68" fmla="*/ 15 w 837"/>
                <a:gd name="T69" fmla="*/ 531 h 839"/>
                <a:gd name="T70" fmla="*/ 4 w 837"/>
                <a:gd name="T71" fmla="*/ 476 h 839"/>
                <a:gd name="T72" fmla="*/ 0 w 837"/>
                <a:gd name="T73" fmla="*/ 420 h 839"/>
                <a:gd name="T74" fmla="*/ 4 w 837"/>
                <a:gd name="T75" fmla="*/ 362 h 839"/>
                <a:gd name="T76" fmla="*/ 15 w 837"/>
                <a:gd name="T77" fmla="*/ 307 h 839"/>
                <a:gd name="T78" fmla="*/ 33 w 837"/>
                <a:gd name="T79" fmla="*/ 256 h 839"/>
                <a:gd name="T80" fmla="*/ 56 w 837"/>
                <a:gd name="T81" fmla="*/ 208 h 839"/>
                <a:gd name="T82" fmla="*/ 86 w 837"/>
                <a:gd name="T83" fmla="*/ 163 h 839"/>
                <a:gd name="T84" fmla="*/ 122 w 837"/>
                <a:gd name="T85" fmla="*/ 123 h 839"/>
                <a:gd name="T86" fmla="*/ 162 w 837"/>
                <a:gd name="T87" fmla="*/ 87 h 839"/>
                <a:gd name="T88" fmla="*/ 206 w 837"/>
                <a:gd name="T89" fmla="*/ 57 h 839"/>
                <a:gd name="T90" fmla="*/ 255 w 837"/>
                <a:gd name="T91" fmla="*/ 32 h 839"/>
                <a:gd name="T92" fmla="*/ 307 w 837"/>
                <a:gd name="T93" fmla="*/ 15 h 839"/>
                <a:gd name="T94" fmla="*/ 362 w 837"/>
                <a:gd name="T95" fmla="*/ 3 h 839"/>
                <a:gd name="T96" fmla="*/ 418 w 837"/>
                <a:gd name="T97" fmla="*/ 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37" h="839">
                  <a:moveTo>
                    <a:pt x="418" y="0"/>
                  </a:moveTo>
                  <a:lnTo>
                    <a:pt x="475" y="3"/>
                  </a:lnTo>
                  <a:lnTo>
                    <a:pt x="529" y="15"/>
                  </a:lnTo>
                  <a:lnTo>
                    <a:pt x="581" y="32"/>
                  </a:lnTo>
                  <a:lnTo>
                    <a:pt x="629" y="57"/>
                  </a:lnTo>
                  <a:lnTo>
                    <a:pt x="674" y="87"/>
                  </a:lnTo>
                  <a:lnTo>
                    <a:pt x="714" y="123"/>
                  </a:lnTo>
                  <a:lnTo>
                    <a:pt x="749" y="163"/>
                  </a:lnTo>
                  <a:lnTo>
                    <a:pt x="779" y="208"/>
                  </a:lnTo>
                  <a:lnTo>
                    <a:pt x="803" y="256"/>
                  </a:lnTo>
                  <a:lnTo>
                    <a:pt x="821" y="307"/>
                  </a:lnTo>
                  <a:lnTo>
                    <a:pt x="833" y="362"/>
                  </a:lnTo>
                  <a:lnTo>
                    <a:pt x="837" y="420"/>
                  </a:lnTo>
                  <a:lnTo>
                    <a:pt x="833" y="476"/>
                  </a:lnTo>
                  <a:lnTo>
                    <a:pt x="821" y="531"/>
                  </a:lnTo>
                  <a:lnTo>
                    <a:pt x="803" y="582"/>
                  </a:lnTo>
                  <a:lnTo>
                    <a:pt x="779" y="631"/>
                  </a:lnTo>
                  <a:lnTo>
                    <a:pt x="749" y="675"/>
                  </a:lnTo>
                  <a:lnTo>
                    <a:pt x="714" y="716"/>
                  </a:lnTo>
                  <a:lnTo>
                    <a:pt x="674" y="751"/>
                  </a:lnTo>
                  <a:lnTo>
                    <a:pt x="629" y="781"/>
                  </a:lnTo>
                  <a:lnTo>
                    <a:pt x="581" y="806"/>
                  </a:lnTo>
                  <a:lnTo>
                    <a:pt x="529" y="824"/>
                  </a:lnTo>
                  <a:lnTo>
                    <a:pt x="475" y="835"/>
                  </a:lnTo>
                  <a:lnTo>
                    <a:pt x="418" y="839"/>
                  </a:lnTo>
                  <a:lnTo>
                    <a:pt x="362" y="835"/>
                  </a:lnTo>
                  <a:lnTo>
                    <a:pt x="307" y="824"/>
                  </a:lnTo>
                  <a:lnTo>
                    <a:pt x="255" y="806"/>
                  </a:lnTo>
                  <a:lnTo>
                    <a:pt x="206" y="781"/>
                  </a:lnTo>
                  <a:lnTo>
                    <a:pt x="162" y="751"/>
                  </a:lnTo>
                  <a:lnTo>
                    <a:pt x="122" y="716"/>
                  </a:lnTo>
                  <a:lnTo>
                    <a:pt x="86" y="675"/>
                  </a:lnTo>
                  <a:lnTo>
                    <a:pt x="56" y="631"/>
                  </a:lnTo>
                  <a:lnTo>
                    <a:pt x="33" y="582"/>
                  </a:lnTo>
                  <a:lnTo>
                    <a:pt x="15" y="531"/>
                  </a:lnTo>
                  <a:lnTo>
                    <a:pt x="4" y="476"/>
                  </a:lnTo>
                  <a:lnTo>
                    <a:pt x="0" y="420"/>
                  </a:lnTo>
                  <a:lnTo>
                    <a:pt x="4" y="362"/>
                  </a:lnTo>
                  <a:lnTo>
                    <a:pt x="15" y="307"/>
                  </a:lnTo>
                  <a:lnTo>
                    <a:pt x="33" y="256"/>
                  </a:lnTo>
                  <a:lnTo>
                    <a:pt x="56" y="208"/>
                  </a:lnTo>
                  <a:lnTo>
                    <a:pt x="86" y="163"/>
                  </a:lnTo>
                  <a:lnTo>
                    <a:pt x="122" y="123"/>
                  </a:lnTo>
                  <a:lnTo>
                    <a:pt x="162" y="87"/>
                  </a:lnTo>
                  <a:lnTo>
                    <a:pt x="206" y="57"/>
                  </a:lnTo>
                  <a:lnTo>
                    <a:pt x="255" y="32"/>
                  </a:lnTo>
                  <a:lnTo>
                    <a:pt x="307" y="15"/>
                  </a:lnTo>
                  <a:lnTo>
                    <a:pt x="362" y="3"/>
                  </a:lnTo>
                  <a:lnTo>
                    <a:pt x="4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29"/>
            <p:cNvSpPr>
              <a:spLocks/>
            </p:cNvSpPr>
            <p:nvPr/>
          </p:nvSpPr>
          <p:spPr bwMode="auto">
            <a:xfrm>
              <a:off x="6274" y="2565"/>
              <a:ext cx="209" cy="209"/>
            </a:xfrm>
            <a:custGeom>
              <a:avLst/>
              <a:gdLst>
                <a:gd name="T0" fmla="*/ 418 w 837"/>
                <a:gd name="T1" fmla="*/ 0 h 839"/>
                <a:gd name="T2" fmla="*/ 475 w 837"/>
                <a:gd name="T3" fmla="*/ 3 h 839"/>
                <a:gd name="T4" fmla="*/ 529 w 837"/>
                <a:gd name="T5" fmla="*/ 15 h 839"/>
                <a:gd name="T6" fmla="*/ 581 w 837"/>
                <a:gd name="T7" fmla="*/ 32 h 839"/>
                <a:gd name="T8" fmla="*/ 629 w 837"/>
                <a:gd name="T9" fmla="*/ 57 h 839"/>
                <a:gd name="T10" fmla="*/ 674 w 837"/>
                <a:gd name="T11" fmla="*/ 87 h 839"/>
                <a:gd name="T12" fmla="*/ 714 w 837"/>
                <a:gd name="T13" fmla="*/ 123 h 839"/>
                <a:gd name="T14" fmla="*/ 749 w 837"/>
                <a:gd name="T15" fmla="*/ 163 h 839"/>
                <a:gd name="T16" fmla="*/ 779 w 837"/>
                <a:gd name="T17" fmla="*/ 208 h 839"/>
                <a:gd name="T18" fmla="*/ 803 w 837"/>
                <a:gd name="T19" fmla="*/ 256 h 839"/>
                <a:gd name="T20" fmla="*/ 821 w 837"/>
                <a:gd name="T21" fmla="*/ 307 h 839"/>
                <a:gd name="T22" fmla="*/ 833 w 837"/>
                <a:gd name="T23" fmla="*/ 362 h 839"/>
                <a:gd name="T24" fmla="*/ 837 w 837"/>
                <a:gd name="T25" fmla="*/ 420 h 839"/>
                <a:gd name="T26" fmla="*/ 833 w 837"/>
                <a:gd name="T27" fmla="*/ 476 h 839"/>
                <a:gd name="T28" fmla="*/ 821 w 837"/>
                <a:gd name="T29" fmla="*/ 531 h 839"/>
                <a:gd name="T30" fmla="*/ 803 w 837"/>
                <a:gd name="T31" fmla="*/ 582 h 839"/>
                <a:gd name="T32" fmla="*/ 779 w 837"/>
                <a:gd name="T33" fmla="*/ 631 h 839"/>
                <a:gd name="T34" fmla="*/ 749 w 837"/>
                <a:gd name="T35" fmla="*/ 675 h 839"/>
                <a:gd name="T36" fmla="*/ 714 w 837"/>
                <a:gd name="T37" fmla="*/ 716 h 839"/>
                <a:gd name="T38" fmla="*/ 674 w 837"/>
                <a:gd name="T39" fmla="*/ 751 h 839"/>
                <a:gd name="T40" fmla="*/ 629 w 837"/>
                <a:gd name="T41" fmla="*/ 781 h 839"/>
                <a:gd name="T42" fmla="*/ 581 w 837"/>
                <a:gd name="T43" fmla="*/ 806 h 839"/>
                <a:gd name="T44" fmla="*/ 529 w 837"/>
                <a:gd name="T45" fmla="*/ 824 h 839"/>
                <a:gd name="T46" fmla="*/ 475 w 837"/>
                <a:gd name="T47" fmla="*/ 835 h 839"/>
                <a:gd name="T48" fmla="*/ 418 w 837"/>
                <a:gd name="T49" fmla="*/ 839 h 839"/>
                <a:gd name="T50" fmla="*/ 362 w 837"/>
                <a:gd name="T51" fmla="*/ 835 h 839"/>
                <a:gd name="T52" fmla="*/ 307 w 837"/>
                <a:gd name="T53" fmla="*/ 824 h 839"/>
                <a:gd name="T54" fmla="*/ 255 w 837"/>
                <a:gd name="T55" fmla="*/ 806 h 839"/>
                <a:gd name="T56" fmla="*/ 206 w 837"/>
                <a:gd name="T57" fmla="*/ 781 h 839"/>
                <a:gd name="T58" fmla="*/ 162 w 837"/>
                <a:gd name="T59" fmla="*/ 751 h 839"/>
                <a:gd name="T60" fmla="*/ 121 w 837"/>
                <a:gd name="T61" fmla="*/ 716 h 839"/>
                <a:gd name="T62" fmla="*/ 86 w 837"/>
                <a:gd name="T63" fmla="*/ 675 h 839"/>
                <a:gd name="T64" fmla="*/ 56 w 837"/>
                <a:gd name="T65" fmla="*/ 631 h 839"/>
                <a:gd name="T66" fmla="*/ 33 w 837"/>
                <a:gd name="T67" fmla="*/ 582 h 839"/>
                <a:gd name="T68" fmla="*/ 14 w 837"/>
                <a:gd name="T69" fmla="*/ 531 h 839"/>
                <a:gd name="T70" fmla="*/ 3 w 837"/>
                <a:gd name="T71" fmla="*/ 476 h 839"/>
                <a:gd name="T72" fmla="*/ 0 w 837"/>
                <a:gd name="T73" fmla="*/ 420 h 839"/>
                <a:gd name="T74" fmla="*/ 3 w 837"/>
                <a:gd name="T75" fmla="*/ 362 h 839"/>
                <a:gd name="T76" fmla="*/ 14 w 837"/>
                <a:gd name="T77" fmla="*/ 307 h 839"/>
                <a:gd name="T78" fmla="*/ 33 w 837"/>
                <a:gd name="T79" fmla="*/ 256 h 839"/>
                <a:gd name="T80" fmla="*/ 56 w 837"/>
                <a:gd name="T81" fmla="*/ 208 h 839"/>
                <a:gd name="T82" fmla="*/ 86 w 837"/>
                <a:gd name="T83" fmla="*/ 163 h 839"/>
                <a:gd name="T84" fmla="*/ 121 w 837"/>
                <a:gd name="T85" fmla="*/ 123 h 839"/>
                <a:gd name="T86" fmla="*/ 162 w 837"/>
                <a:gd name="T87" fmla="*/ 87 h 839"/>
                <a:gd name="T88" fmla="*/ 206 w 837"/>
                <a:gd name="T89" fmla="*/ 57 h 839"/>
                <a:gd name="T90" fmla="*/ 255 w 837"/>
                <a:gd name="T91" fmla="*/ 32 h 839"/>
                <a:gd name="T92" fmla="*/ 307 w 837"/>
                <a:gd name="T93" fmla="*/ 15 h 839"/>
                <a:gd name="T94" fmla="*/ 362 w 837"/>
                <a:gd name="T95" fmla="*/ 3 h 839"/>
                <a:gd name="T96" fmla="*/ 418 w 837"/>
                <a:gd name="T97" fmla="*/ 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37" h="839">
                  <a:moveTo>
                    <a:pt x="418" y="0"/>
                  </a:moveTo>
                  <a:lnTo>
                    <a:pt x="475" y="3"/>
                  </a:lnTo>
                  <a:lnTo>
                    <a:pt x="529" y="15"/>
                  </a:lnTo>
                  <a:lnTo>
                    <a:pt x="581" y="32"/>
                  </a:lnTo>
                  <a:lnTo>
                    <a:pt x="629" y="57"/>
                  </a:lnTo>
                  <a:lnTo>
                    <a:pt x="674" y="87"/>
                  </a:lnTo>
                  <a:lnTo>
                    <a:pt x="714" y="123"/>
                  </a:lnTo>
                  <a:lnTo>
                    <a:pt x="749" y="163"/>
                  </a:lnTo>
                  <a:lnTo>
                    <a:pt x="779" y="208"/>
                  </a:lnTo>
                  <a:lnTo>
                    <a:pt x="803" y="256"/>
                  </a:lnTo>
                  <a:lnTo>
                    <a:pt x="821" y="307"/>
                  </a:lnTo>
                  <a:lnTo>
                    <a:pt x="833" y="362"/>
                  </a:lnTo>
                  <a:lnTo>
                    <a:pt x="837" y="420"/>
                  </a:lnTo>
                  <a:lnTo>
                    <a:pt x="833" y="476"/>
                  </a:lnTo>
                  <a:lnTo>
                    <a:pt x="821" y="531"/>
                  </a:lnTo>
                  <a:lnTo>
                    <a:pt x="803" y="582"/>
                  </a:lnTo>
                  <a:lnTo>
                    <a:pt x="779" y="631"/>
                  </a:lnTo>
                  <a:lnTo>
                    <a:pt x="749" y="675"/>
                  </a:lnTo>
                  <a:lnTo>
                    <a:pt x="714" y="716"/>
                  </a:lnTo>
                  <a:lnTo>
                    <a:pt x="674" y="751"/>
                  </a:lnTo>
                  <a:lnTo>
                    <a:pt x="629" y="781"/>
                  </a:lnTo>
                  <a:lnTo>
                    <a:pt x="581" y="806"/>
                  </a:lnTo>
                  <a:lnTo>
                    <a:pt x="529" y="824"/>
                  </a:lnTo>
                  <a:lnTo>
                    <a:pt x="475" y="835"/>
                  </a:lnTo>
                  <a:lnTo>
                    <a:pt x="418" y="839"/>
                  </a:lnTo>
                  <a:lnTo>
                    <a:pt x="362" y="835"/>
                  </a:lnTo>
                  <a:lnTo>
                    <a:pt x="307" y="824"/>
                  </a:lnTo>
                  <a:lnTo>
                    <a:pt x="255" y="806"/>
                  </a:lnTo>
                  <a:lnTo>
                    <a:pt x="206" y="781"/>
                  </a:lnTo>
                  <a:lnTo>
                    <a:pt x="162" y="751"/>
                  </a:lnTo>
                  <a:lnTo>
                    <a:pt x="121" y="716"/>
                  </a:lnTo>
                  <a:lnTo>
                    <a:pt x="86" y="675"/>
                  </a:lnTo>
                  <a:lnTo>
                    <a:pt x="56" y="631"/>
                  </a:lnTo>
                  <a:lnTo>
                    <a:pt x="33" y="582"/>
                  </a:lnTo>
                  <a:lnTo>
                    <a:pt x="14" y="531"/>
                  </a:lnTo>
                  <a:lnTo>
                    <a:pt x="3" y="476"/>
                  </a:lnTo>
                  <a:lnTo>
                    <a:pt x="0" y="420"/>
                  </a:lnTo>
                  <a:lnTo>
                    <a:pt x="3" y="362"/>
                  </a:lnTo>
                  <a:lnTo>
                    <a:pt x="14" y="307"/>
                  </a:lnTo>
                  <a:lnTo>
                    <a:pt x="33" y="256"/>
                  </a:lnTo>
                  <a:lnTo>
                    <a:pt x="56" y="208"/>
                  </a:lnTo>
                  <a:lnTo>
                    <a:pt x="86" y="163"/>
                  </a:lnTo>
                  <a:lnTo>
                    <a:pt x="121" y="123"/>
                  </a:lnTo>
                  <a:lnTo>
                    <a:pt x="162" y="87"/>
                  </a:lnTo>
                  <a:lnTo>
                    <a:pt x="206" y="57"/>
                  </a:lnTo>
                  <a:lnTo>
                    <a:pt x="255" y="32"/>
                  </a:lnTo>
                  <a:lnTo>
                    <a:pt x="307" y="15"/>
                  </a:lnTo>
                  <a:lnTo>
                    <a:pt x="362" y="3"/>
                  </a:lnTo>
                  <a:lnTo>
                    <a:pt x="4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30"/>
            <p:cNvSpPr>
              <a:spLocks/>
            </p:cNvSpPr>
            <p:nvPr/>
          </p:nvSpPr>
          <p:spPr bwMode="auto">
            <a:xfrm>
              <a:off x="6269" y="2795"/>
              <a:ext cx="348" cy="845"/>
            </a:xfrm>
            <a:custGeom>
              <a:avLst/>
              <a:gdLst>
                <a:gd name="T0" fmla="*/ 514 w 1395"/>
                <a:gd name="T1" fmla="*/ 0 h 3383"/>
                <a:gd name="T2" fmla="*/ 618 w 1395"/>
                <a:gd name="T3" fmla="*/ 14 h 3383"/>
                <a:gd name="T4" fmla="*/ 710 w 1395"/>
                <a:gd name="T5" fmla="*/ 57 h 3383"/>
                <a:gd name="T6" fmla="*/ 785 w 1395"/>
                <a:gd name="T7" fmla="*/ 124 h 3383"/>
                <a:gd name="T8" fmla="*/ 840 w 1395"/>
                <a:gd name="T9" fmla="*/ 208 h 3383"/>
                <a:gd name="T10" fmla="*/ 870 w 1395"/>
                <a:gd name="T11" fmla="*/ 307 h 3383"/>
                <a:gd name="T12" fmla="*/ 874 w 1395"/>
                <a:gd name="T13" fmla="*/ 428 h 3383"/>
                <a:gd name="T14" fmla="*/ 963 w 1395"/>
                <a:gd name="T15" fmla="*/ 589 h 3383"/>
                <a:gd name="T16" fmla="*/ 1364 w 1395"/>
                <a:gd name="T17" fmla="*/ 863 h 3383"/>
                <a:gd name="T18" fmla="*/ 1319 w 1395"/>
                <a:gd name="T19" fmla="*/ 938 h 3383"/>
                <a:gd name="T20" fmla="*/ 1298 w 1395"/>
                <a:gd name="T21" fmla="*/ 1024 h 3383"/>
                <a:gd name="T22" fmla="*/ 1305 w 1395"/>
                <a:gd name="T23" fmla="*/ 1114 h 3383"/>
                <a:gd name="T24" fmla="*/ 1337 w 1395"/>
                <a:gd name="T25" fmla="*/ 1191 h 3383"/>
                <a:gd name="T26" fmla="*/ 768 w 1395"/>
                <a:gd name="T27" fmla="*/ 891 h 3383"/>
                <a:gd name="T28" fmla="*/ 730 w 1395"/>
                <a:gd name="T29" fmla="*/ 864 h 3383"/>
                <a:gd name="T30" fmla="*/ 678 w 1395"/>
                <a:gd name="T31" fmla="*/ 919 h 3383"/>
                <a:gd name="T32" fmla="*/ 686 w 1395"/>
                <a:gd name="T33" fmla="*/ 925 h 3383"/>
                <a:gd name="T34" fmla="*/ 874 w 1395"/>
                <a:gd name="T35" fmla="*/ 1060 h 3383"/>
                <a:gd name="T36" fmla="*/ 870 w 1395"/>
                <a:gd name="T37" fmla="*/ 3206 h 3383"/>
                <a:gd name="T38" fmla="*/ 844 w 1395"/>
                <a:gd name="T39" fmla="*/ 3275 h 3383"/>
                <a:gd name="T40" fmla="*/ 797 w 1395"/>
                <a:gd name="T41" fmla="*/ 3331 h 3383"/>
                <a:gd name="T42" fmla="*/ 734 w 1395"/>
                <a:gd name="T43" fmla="*/ 3368 h 3383"/>
                <a:gd name="T44" fmla="*/ 659 w 1395"/>
                <a:gd name="T45" fmla="*/ 3383 h 3383"/>
                <a:gd name="T46" fmla="*/ 589 w 1395"/>
                <a:gd name="T47" fmla="*/ 3371 h 3383"/>
                <a:gd name="T48" fmla="*/ 529 w 1395"/>
                <a:gd name="T49" fmla="*/ 3337 h 3383"/>
                <a:gd name="T50" fmla="*/ 562 w 1395"/>
                <a:gd name="T51" fmla="*/ 3257 h 3383"/>
                <a:gd name="T52" fmla="*/ 574 w 1395"/>
                <a:gd name="T53" fmla="*/ 3167 h 3383"/>
                <a:gd name="T54" fmla="*/ 432 w 1395"/>
                <a:gd name="T55" fmla="*/ 1884 h 3383"/>
                <a:gd name="T56" fmla="*/ 428 w 1395"/>
                <a:gd name="T57" fmla="*/ 3206 h 3383"/>
                <a:gd name="T58" fmla="*/ 402 w 1395"/>
                <a:gd name="T59" fmla="*/ 3275 h 3383"/>
                <a:gd name="T60" fmla="*/ 355 w 1395"/>
                <a:gd name="T61" fmla="*/ 3331 h 3383"/>
                <a:gd name="T62" fmla="*/ 291 w 1395"/>
                <a:gd name="T63" fmla="*/ 3368 h 3383"/>
                <a:gd name="T64" fmla="*/ 216 w 1395"/>
                <a:gd name="T65" fmla="*/ 3383 h 3383"/>
                <a:gd name="T66" fmla="*/ 142 w 1395"/>
                <a:gd name="T67" fmla="*/ 3368 h 3383"/>
                <a:gd name="T68" fmla="*/ 78 w 1395"/>
                <a:gd name="T69" fmla="*/ 3331 h 3383"/>
                <a:gd name="T70" fmla="*/ 31 w 1395"/>
                <a:gd name="T71" fmla="*/ 3275 h 3383"/>
                <a:gd name="T72" fmla="*/ 5 w 1395"/>
                <a:gd name="T73" fmla="*/ 3206 h 3383"/>
                <a:gd name="T74" fmla="*/ 2 w 1395"/>
                <a:gd name="T75" fmla="*/ 3161 h 3383"/>
                <a:gd name="T76" fmla="*/ 2 w 1395"/>
                <a:gd name="T77" fmla="*/ 3122 h 3383"/>
                <a:gd name="T78" fmla="*/ 2 w 1395"/>
                <a:gd name="T79" fmla="*/ 3046 h 3383"/>
                <a:gd name="T80" fmla="*/ 1 w 1395"/>
                <a:gd name="T81" fmla="*/ 2937 h 3383"/>
                <a:gd name="T82" fmla="*/ 1 w 1395"/>
                <a:gd name="T83" fmla="*/ 2801 h 3383"/>
                <a:gd name="T84" fmla="*/ 1 w 1395"/>
                <a:gd name="T85" fmla="*/ 2639 h 3383"/>
                <a:gd name="T86" fmla="*/ 1 w 1395"/>
                <a:gd name="T87" fmla="*/ 2456 h 3383"/>
                <a:gd name="T88" fmla="*/ 1 w 1395"/>
                <a:gd name="T89" fmla="*/ 2255 h 3383"/>
                <a:gd name="T90" fmla="*/ 1 w 1395"/>
                <a:gd name="T91" fmla="*/ 2041 h 3383"/>
                <a:gd name="T92" fmla="*/ 1 w 1395"/>
                <a:gd name="T93" fmla="*/ 1816 h 3383"/>
                <a:gd name="T94" fmla="*/ 1 w 1395"/>
                <a:gd name="T95" fmla="*/ 1584 h 3383"/>
                <a:gd name="T96" fmla="*/ 1 w 1395"/>
                <a:gd name="T97" fmla="*/ 1350 h 3383"/>
                <a:gd name="T98" fmla="*/ 0 w 1395"/>
                <a:gd name="T99" fmla="*/ 1116 h 3383"/>
                <a:gd name="T100" fmla="*/ 0 w 1395"/>
                <a:gd name="T101" fmla="*/ 887 h 3383"/>
                <a:gd name="T102" fmla="*/ 0 w 1395"/>
                <a:gd name="T103" fmla="*/ 667 h 3383"/>
                <a:gd name="T104" fmla="*/ 0 w 1395"/>
                <a:gd name="T105" fmla="*/ 459 h 3383"/>
                <a:gd name="T106" fmla="*/ 3 w 1395"/>
                <a:gd name="T107" fmla="*/ 307 h 3383"/>
                <a:gd name="T108" fmla="*/ 33 w 1395"/>
                <a:gd name="T109" fmla="*/ 208 h 3383"/>
                <a:gd name="T110" fmla="*/ 88 w 1395"/>
                <a:gd name="T111" fmla="*/ 124 h 3383"/>
                <a:gd name="T112" fmla="*/ 164 w 1395"/>
                <a:gd name="T113" fmla="*/ 57 h 3383"/>
                <a:gd name="T114" fmla="*/ 257 w 1395"/>
                <a:gd name="T115" fmla="*/ 14 h 3383"/>
                <a:gd name="T116" fmla="*/ 360 w 1395"/>
                <a:gd name="T117" fmla="*/ 0 h 3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5" h="3383">
                  <a:moveTo>
                    <a:pt x="360" y="0"/>
                  </a:moveTo>
                  <a:lnTo>
                    <a:pt x="514" y="0"/>
                  </a:lnTo>
                  <a:lnTo>
                    <a:pt x="567" y="4"/>
                  </a:lnTo>
                  <a:lnTo>
                    <a:pt x="618" y="14"/>
                  </a:lnTo>
                  <a:lnTo>
                    <a:pt x="665" y="33"/>
                  </a:lnTo>
                  <a:lnTo>
                    <a:pt x="710" y="57"/>
                  </a:lnTo>
                  <a:lnTo>
                    <a:pt x="750" y="88"/>
                  </a:lnTo>
                  <a:lnTo>
                    <a:pt x="785" y="124"/>
                  </a:lnTo>
                  <a:lnTo>
                    <a:pt x="817" y="163"/>
                  </a:lnTo>
                  <a:lnTo>
                    <a:pt x="840" y="208"/>
                  </a:lnTo>
                  <a:lnTo>
                    <a:pt x="858" y="256"/>
                  </a:lnTo>
                  <a:lnTo>
                    <a:pt x="870" y="307"/>
                  </a:lnTo>
                  <a:lnTo>
                    <a:pt x="874" y="361"/>
                  </a:lnTo>
                  <a:lnTo>
                    <a:pt x="874" y="428"/>
                  </a:lnTo>
                  <a:lnTo>
                    <a:pt x="485" y="127"/>
                  </a:lnTo>
                  <a:lnTo>
                    <a:pt x="963" y="589"/>
                  </a:lnTo>
                  <a:lnTo>
                    <a:pt x="1395" y="831"/>
                  </a:lnTo>
                  <a:lnTo>
                    <a:pt x="1364" y="863"/>
                  </a:lnTo>
                  <a:lnTo>
                    <a:pt x="1339" y="899"/>
                  </a:lnTo>
                  <a:lnTo>
                    <a:pt x="1319" y="938"/>
                  </a:lnTo>
                  <a:lnTo>
                    <a:pt x="1305" y="980"/>
                  </a:lnTo>
                  <a:lnTo>
                    <a:pt x="1298" y="1024"/>
                  </a:lnTo>
                  <a:lnTo>
                    <a:pt x="1298" y="1068"/>
                  </a:lnTo>
                  <a:lnTo>
                    <a:pt x="1305" y="1114"/>
                  </a:lnTo>
                  <a:lnTo>
                    <a:pt x="1320" y="1158"/>
                  </a:lnTo>
                  <a:lnTo>
                    <a:pt x="1337" y="1191"/>
                  </a:lnTo>
                  <a:lnTo>
                    <a:pt x="1358" y="1221"/>
                  </a:lnTo>
                  <a:lnTo>
                    <a:pt x="768" y="891"/>
                  </a:lnTo>
                  <a:lnTo>
                    <a:pt x="749" y="878"/>
                  </a:lnTo>
                  <a:lnTo>
                    <a:pt x="730" y="864"/>
                  </a:lnTo>
                  <a:lnTo>
                    <a:pt x="237" y="386"/>
                  </a:lnTo>
                  <a:lnTo>
                    <a:pt x="678" y="919"/>
                  </a:lnTo>
                  <a:lnTo>
                    <a:pt x="682" y="921"/>
                  </a:lnTo>
                  <a:lnTo>
                    <a:pt x="686" y="925"/>
                  </a:lnTo>
                  <a:lnTo>
                    <a:pt x="732" y="958"/>
                  </a:lnTo>
                  <a:lnTo>
                    <a:pt x="874" y="1060"/>
                  </a:lnTo>
                  <a:lnTo>
                    <a:pt x="874" y="3167"/>
                  </a:lnTo>
                  <a:lnTo>
                    <a:pt x="870" y="3206"/>
                  </a:lnTo>
                  <a:lnTo>
                    <a:pt x="861" y="3242"/>
                  </a:lnTo>
                  <a:lnTo>
                    <a:pt x="844" y="3275"/>
                  </a:lnTo>
                  <a:lnTo>
                    <a:pt x="823" y="3305"/>
                  </a:lnTo>
                  <a:lnTo>
                    <a:pt x="797" y="3331"/>
                  </a:lnTo>
                  <a:lnTo>
                    <a:pt x="767" y="3352"/>
                  </a:lnTo>
                  <a:lnTo>
                    <a:pt x="734" y="3368"/>
                  </a:lnTo>
                  <a:lnTo>
                    <a:pt x="698" y="3379"/>
                  </a:lnTo>
                  <a:lnTo>
                    <a:pt x="659" y="3383"/>
                  </a:lnTo>
                  <a:lnTo>
                    <a:pt x="623" y="3379"/>
                  </a:lnTo>
                  <a:lnTo>
                    <a:pt x="589" y="3371"/>
                  </a:lnTo>
                  <a:lnTo>
                    <a:pt x="558" y="3356"/>
                  </a:lnTo>
                  <a:lnTo>
                    <a:pt x="529" y="3337"/>
                  </a:lnTo>
                  <a:lnTo>
                    <a:pt x="548" y="3297"/>
                  </a:lnTo>
                  <a:lnTo>
                    <a:pt x="562" y="3257"/>
                  </a:lnTo>
                  <a:lnTo>
                    <a:pt x="571" y="3212"/>
                  </a:lnTo>
                  <a:lnTo>
                    <a:pt x="574" y="3167"/>
                  </a:lnTo>
                  <a:lnTo>
                    <a:pt x="574" y="1884"/>
                  </a:lnTo>
                  <a:lnTo>
                    <a:pt x="432" y="1884"/>
                  </a:lnTo>
                  <a:lnTo>
                    <a:pt x="432" y="3167"/>
                  </a:lnTo>
                  <a:lnTo>
                    <a:pt x="428" y="3206"/>
                  </a:lnTo>
                  <a:lnTo>
                    <a:pt x="417" y="3242"/>
                  </a:lnTo>
                  <a:lnTo>
                    <a:pt x="402" y="3275"/>
                  </a:lnTo>
                  <a:lnTo>
                    <a:pt x="381" y="3305"/>
                  </a:lnTo>
                  <a:lnTo>
                    <a:pt x="355" y="3331"/>
                  </a:lnTo>
                  <a:lnTo>
                    <a:pt x="325" y="3352"/>
                  </a:lnTo>
                  <a:lnTo>
                    <a:pt x="291" y="3368"/>
                  </a:lnTo>
                  <a:lnTo>
                    <a:pt x="255" y="3379"/>
                  </a:lnTo>
                  <a:lnTo>
                    <a:pt x="216" y="3383"/>
                  </a:lnTo>
                  <a:lnTo>
                    <a:pt x="178" y="3379"/>
                  </a:lnTo>
                  <a:lnTo>
                    <a:pt x="142" y="3368"/>
                  </a:lnTo>
                  <a:lnTo>
                    <a:pt x="108" y="3352"/>
                  </a:lnTo>
                  <a:lnTo>
                    <a:pt x="78" y="3331"/>
                  </a:lnTo>
                  <a:lnTo>
                    <a:pt x="52" y="3305"/>
                  </a:lnTo>
                  <a:lnTo>
                    <a:pt x="31" y="3275"/>
                  </a:lnTo>
                  <a:lnTo>
                    <a:pt x="15" y="3242"/>
                  </a:lnTo>
                  <a:lnTo>
                    <a:pt x="5" y="3206"/>
                  </a:lnTo>
                  <a:lnTo>
                    <a:pt x="2" y="3167"/>
                  </a:lnTo>
                  <a:lnTo>
                    <a:pt x="2" y="3161"/>
                  </a:lnTo>
                  <a:lnTo>
                    <a:pt x="2" y="3147"/>
                  </a:lnTo>
                  <a:lnTo>
                    <a:pt x="2" y="3122"/>
                  </a:lnTo>
                  <a:lnTo>
                    <a:pt x="2" y="3088"/>
                  </a:lnTo>
                  <a:lnTo>
                    <a:pt x="2" y="3046"/>
                  </a:lnTo>
                  <a:lnTo>
                    <a:pt x="1" y="2996"/>
                  </a:lnTo>
                  <a:lnTo>
                    <a:pt x="1" y="2937"/>
                  </a:lnTo>
                  <a:lnTo>
                    <a:pt x="1" y="2873"/>
                  </a:lnTo>
                  <a:lnTo>
                    <a:pt x="1" y="2801"/>
                  </a:lnTo>
                  <a:lnTo>
                    <a:pt x="1" y="2723"/>
                  </a:lnTo>
                  <a:lnTo>
                    <a:pt x="1" y="2639"/>
                  </a:lnTo>
                  <a:lnTo>
                    <a:pt x="1" y="2550"/>
                  </a:lnTo>
                  <a:lnTo>
                    <a:pt x="1" y="2456"/>
                  </a:lnTo>
                  <a:lnTo>
                    <a:pt x="1" y="2358"/>
                  </a:lnTo>
                  <a:lnTo>
                    <a:pt x="1" y="2255"/>
                  </a:lnTo>
                  <a:lnTo>
                    <a:pt x="1" y="2149"/>
                  </a:lnTo>
                  <a:lnTo>
                    <a:pt x="1" y="2041"/>
                  </a:lnTo>
                  <a:lnTo>
                    <a:pt x="1" y="1928"/>
                  </a:lnTo>
                  <a:lnTo>
                    <a:pt x="1" y="1816"/>
                  </a:lnTo>
                  <a:lnTo>
                    <a:pt x="1" y="1700"/>
                  </a:lnTo>
                  <a:lnTo>
                    <a:pt x="1" y="1584"/>
                  </a:lnTo>
                  <a:lnTo>
                    <a:pt x="1" y="1467"/>
                  </a:lnTo>
                  <a:lnTo>
                    <a:pt x="1" y="1350"/>
                  </a:lnTo>
                  <a:lnTo>
                    <a:pt x="1" y="1232"/>
                  </a:lnTo>
                  <a:lnTo>
                    <a:pt x="0" y="1116"/>
                  </a:lnTo>
                  <a:lnTo>
                    <a:pt x="0" y="1001"/>
                  </a:lnTo>
                  <a:lnTo>
                    <a:pt x="0" y="887"/>
                  </a:lnTo>
                  <a:lnTo>
                    <a:pt x="0" y="776"/>
                  </a:lnTo>
                  <a:lnTo>
                    <a:pt x="0" y="667"/>
                  </a:lnTo>
                  <a:lnTo>
                    <a:pt x="0" y="561"/>
                  </a:lnTo>
                  <a:lnTo>
                    <a:pt x="0" y="459"/>
                  </a:lnTo>
                  <a:lnTo>
                    <a:pt x="0" y="361"/>
                  </a:lnTo>
                  <a:lnTo>
                    <a:pt x="3" y="307"/>
                  </a:lnTo>
                  <a:lnTo>
                    <a:pt x="15" y="256"/>
                  </a:lnTo>
                  <a:lnTo>
                    <a:pt x="33" y="208"/>
                  </a:lnTo>
                  <a:lnTo>
                    <a:pt x="58" y="163"/>
                  </a:lnTo>
                  <a:lnTo>
                    <a:pt x="88" y="124"/>
                  </a:lnTo>
                  <a:lnTo>
                    <a:pt x="124" y="88"/>
                  </a:lnTo>
                  <a:lnTo>
                    <a:pt x="164" y="57"/>
                  </a:lnTo>
                  <a:lnTo>
                    <a:pt x="208" y="33"/>
                  </a:lnTo>
                  <a:lnTo>
                    <a:pt x="257" y="14"/>
                  </a:lnTo>
                  <a:lnTo>
                    <a:pt x="308" y="4"/>
                  </a:lnTo>
                  <a:lnTo>
                    <a:pt x="3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3" name="Group 12"/>
          <p:cNvGrpSpPr>
            <a:grpSpLocks noChangeAspect="1"/>
          </p:cNvGrpSpPr>
          <p:nvPr/>
        </p:nvGrpSpPr>
        <p:grpSpPr bwMode="auto">
          <a:xfrm>
            <a:off x="1662333" y="5384824"/>
            <a:ext cx="453167" cy="536671"/>
            <a:chOff x="6406" y="1166"/>
            <a:chExt cx="890" cy="1054"/>
          </a:xfrm>
          <a:solidFill>
            <a:srgbClr val="00569B"/>
          </a:solidFill>
        </p:grpSpPr>
        <p:sp>
          <p:nvSpPr>
            <p:cNvPr id="94" name="Freeform 14"/>
            <p:cNvSpPr>
              <a:spLocks/>
            </p:cNvSpPr>
            <p:nvPr/>
          </p:nvSpPr>
          <p:spPr bwMode="auto">
            <a:xfrm>
              <a:off x="6616" y="1166"/>
              <a:ext cx="470" cy="625"/>
            </a:xfrm>
            <a:custGeom>
              <a:avLst/>
              <a:gdLst>
                <a:gd name="T0" fmla="*/ 1066 w 1882"/>
                <a:gd name="T1" fmla="*/ 7 h 2504"/>
                <a:gd name="T2" fmla="*/ 1216 w 1882"/>
                <a:gd name="T3" fmla="*/ 43 h 2504"/>
                <a:gd name="T4" fmla="*/ 1338 w 1882"/>
                <a:gd name="T5" fmla="*/ 101 h 2504"/>
                <a:gd name="T6" fmla="*/ 1448 w 1882"/>
                <a:gd name="T7" fmla="*/ 176 h 2504"/>
                <a:gd name="T8" fmla="*/ 1518 w 1882"/>
                <a:gd name="T9" fmla="*/ 247 h 2504"/>
                <a:gd name="T10" fmla="*/ 1553 w 1882"/>
                <a:gd name="T11" fmla="*/ 294 h 2504"/>
                <a:gd name="T12" fmla="*/ 1561 w 1882"/>
                <a:gd name="T13" fmla="*/ 306 h 2504"/>
                <a:gd name="T14" fmla="*/ 1580 w 1882"/>
                <a:gd name="T15" fmla="*/ 310 h 2504"/>
                <a:gd name="T16" fmla="*/ 1618 w 1882"/>
                <a:gd name="T17" fmla="*/ 323 h 2504"/>
                <a:gd name="T18" fmla="*/ 1667 w 1882"/>
                <a:gd name="T19" fmla="*/ 351 h 2504"/>
                <a:gd name="T20" fmla="*/ 1719 w 1882"/>
                <a:gd name="T21" fmla="*/ 401 h 2504"/>
                <a:gd name="T22" fmla="*/ 1767 w 1882"/>
                <a:gd name="T23" fmla="*/ 477 h 2504"/>
                <a:gd name="T24" fmla="*/ 1806 w 1882"/>
                <a:gd name="T25" fmla="*/ 584 h 2504"/>
                <a:gd name="T26" fmla="*/ 1826 w 1882"/>
                <a:gd name="T27" fmla="*/ 732 h 2504"/>
                <a:gd name="T28" fmla="*/ 1821 w 1882"/>
                <a:gd name="T29" fmla="*/ 922 h 2504"/>
                <a:gd name="T30" fmla="*/ 1789 w 1882"/>
                <a:gd name="T31" fmla="*/ 1134 h 2504"/>
                <a:gd name="T32" fmla="*/ 1798 w 1882"/>
                <a:gd name="T33" fmla="*/ 1194 h 2504"/>
                <a:gd name="T34" fmla="*/ 1838 w 1882"/>
                <a:gd name="T35" fmla="*/ 1207 h 2504"/>
                <a:gd name="T36" fmla="*/ 1868 w 1882"/>
                <a:gd name="T37" fmla="*/ 1244 h 2504"/>
                <a:gd name="T38" fmla="*/ 1882 w 1882"/>
                <a:gd name="T39" fmla="*/ 1314 h 2504"/>
                <a:gd name="T40" fmla="*/ 1873 w 1882"/>
                <a:gd name="T41" fmla="*/ 1420 h 2504"/>
                <a:gd name="T42" fmla="*/ 1832 w 1882"/>
                <a:gd name="T43" fmla="*/ 1575 h 2504"/>
                <a:gd name="T44" fmla="*/ 1780 w 1882"/>
                <a:gd name="T45" fmla="*/ 1703 h 2504"/>
                <a:gd name="T46" fmla="*/ 1734 w 1882"/>
                <a:gd name="T47" fmla="*/ 1769 h 2504"/>
                <a:gd name="T48" fmla="*/ 1693 w 1882"/>
                <a:gd name="T49" fmla="*/ 1790 h 2504"/>
                <a:gd name="T50" fmla="*/ 1645 w 1882"/>
                <a:gd name="T51" fmla="*/ 1955 h 2504"/>
                <a:gd name="T52" fmla="*/ 1558 w 1882"/>
                <a:gd name="T53" fmla="*/ 2125 h 2504"/>
                <a:gd name="T54" fmla="*/ 1431 w 1882"/>
                <a:gd name="T55" fmla="*/ 2281 h 2504"/>
                <a:gd name="T56" fmla="*/ 1269 w 1882"/>
                <a:gd name="T57" fmla="*/ 2409 h 2504"/>
                <a:gd name="T58" fmla="*/ 1076 w 1882"/>
                <a:gd name="T59" fmla="*/ 2488 h 2504"/>
                <a:gd name="T60" fmla="*/ 872 w 1882"/>
                <a:gd name="T61" fmla="*/ 2500 h 2504"/>
                <a:gd name="T62" fmla="*/ 673 w 1882"/>
                <a:gd name="T63" fmla="*/ 2442 h 2504"/>
                <a:gd name="T64" fmla="*/ 498 w 1882"/>
                <a:gd name="T65" fmla="*/ 2329 h 2504"/>
                <a:gd name="T66" fmla="*/ 361 w 1882"/>
                <a:gd name="T67" fmla="*/ 2181 h 2504"/>
                <a:gd name="T68" fmla="*/ 261 w 1882"/>
                <a:gd name="T69" fmla="*/ 2013 h 2504"/>
                <a:gd name="T70" fmla="*/ 202 w 1882"/>
                <a:gd name="T71" fmla="*/ 1844 h 2504"/>
                <a:gd name="T72" fmla="*/ 164 w 1882"/>
                <a:gd name="T73" fmla="*/ 1780 h 2504"/>
                <a:gd name="T74" fmla="*/ 118 w 1882"/>
                <a:gd name="T75" fmla="*/ 1731 h 2504"/>
                <a:gd name="T76" fmla="*/ 68 w 1882"/>
                <a:gd name="T77" fmla="*/ 1626 h 2504"/>
                <a:gd name="T78" fmla="*/ 19 w 1882"/>
                <a:gd name="T79" fmla="*/ 1466 h 2504"/>
                <a:gd name="T80" fmla="*/ 1 w 1882"/>
                <a:gd name="T81" fmla="*/ 1344 h 2504"/>
                <a:gd name="T82" fmla="*/ 8 w 1882"/>
                <a:gd name="T83" fmla="*/ 1265 h 2504"/>
                <a:gd name="T84" fmla="*/ 33 w 1882"/>
                <a:gd name="T85" fmla="*/ 1217 h 2504"/>
                <a:gd name="T86" fmla="*/ 71 w 1882"/>
                <a:gd name="T87" fmla="*/ 1197 h 2504"/>
                <a:gd name="T88" fmla="*/ 112 w 1882"/>
                <a:gd name="T89" fmla="*/ 1194 h 2504"/>
                <a:gd name="T90" fmla="*/ 69 w 1882"/>
                <a:gd name="T91" fmla="*/ 1011 h 2504"/>
                <a:gd name="T92" fmla="*/ 59 w 1882"/>
                <a:gd name="T93" fmla="*/ 819 h 2504"/>
                <a:gd name="T94" fmla="*/ 98 w 1882"/>
                <a:gd name="T95" fmla="*/ 631 h 2504"/>
                <a:gd name="T96" fmla="*/ 184 w 1882"/>
                <a:gd name="T97" fmla="*/ 454 h 2504"/>
                <a:gd name="T98" fmla="*/ 299 w 1882"/>
                <a:gd name="T99" fmla="*/ 310 h 2504"/>
                <a:gd name="T100" fmla="*/ 450 w 1882"/>
                <a:gd name="T101" fmla="*/ 178 h 2504"/>
                <a:gd name="T102" fmla="*/ 600 w 1882"/>
                <a:gd name="T103" fmla="*/ 83 h 2504"/>
                <a:gd name="T104" fmla="*/ 762 w 1882"/>
                <a:gd name="T105" fmla="*/ 22 h 2504"/>
                <a:gd name="T106" fmla="*/ 948 w 1882"/>
                <a:gd name="T107" fmla="*/ 0 h 2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2" h="2504">
                  <a:moveTo>
                    <a:pt x="948" y="0"/>
                  </a:moveTo>
                  <a:lnTo>
                    <a:pt x="1008" y="2"/>
                  </a:lnTo>
                  <a:lnTo>
                    <a:pt x="1066" y="7"/>
                  </a:lnTo>
                  <a:lnTo>
                    <a:pt x="1119" y="16"/>
                  </a:lnTo>
                  <a:lnTo>
                    <a:pt x="1169" y="29"/>
                  </a:lnTo>
                  <a:lnTo>
                    <a:pt x="1216" y="43"/>
                  </a:lnTo>
                  <a:lnTo>
                    <a:pt x="1260" y="61"/>
                  </a:lnTo>
                  <a:lnTo>
                    <a:pt x="1301" y="80"/>
                  </a:lnTo>
                  <a:lnTo>
                    <a:pt x="1338" y="101"/>
                  </a:lnTo>
                  <a:lnTo>
                    <a:pt x="1379" y="125"/>
                  </a:lnTo>
                  <a:lnTo>
                    <a:pt x="1415" y="151"/>
                  </a:lnTo>
                  <a:lnTo>
                    <a:pt x="1448" y="176"/>
                  </a:lnTo>
                  <a:lnTo>
                    <a:pt x="1475" y="201"/>
                  </a:lnTo>
                  <a:lnTo>
                    <a:pt x="1499" y="225"/>
                  </a:lnTo>
                  <a:lnTo>
                    <a:pt x="1518" y="247"/>
                  </a:lnTo>
                  <a:lnTo>
                    <a:pt x="1534" y="266"/>
                  </a:lnTo>
                  <a:lnTo>
                    <a:pt x="1545" y="283"/>
                  </a:lnTo>
                  <a:lnTo>
                    <a:pt x="1553" y="294"/>
                  </a:lnTo>
                  <a:lnTo>
                    <a:pt x="1558" y="302"/>
                  </a:lnTo>
                  <a:lnTo>
                    <a:pt x="1559" y="306"/>
                  </a:lnTo>
                  <a:lnTo>
                    <a:pt x="1561" y="306"/>
                  </a:lnTo>
                  <a:lnTo>
                    <a:pt x="1564" y="306"/>
                  </a:lnTo>
                  <a:lnTo>
                    <a:pt x="1572" y="307"/>
                  </a:lnTo>
                  <a:lnTo>
                    <a:pt x="1580" y="310"/>
                  </a:lnTo>
                  <a:lnTo>
                    <a:pt x="1591" y="312"/>
                  </a:lnTo>
                  <a:lnTo>
                    <a:pt x="1604" y="316"/>
                  </a:lnTo>
                  <a:lnTo>
                    <a:pt x="1618" y="323"/>
                  </a:lnTo>
                  <a:lnTo>
                    <a:pt x="1634" y="330"/>
                  </a:lnTo>
                  <a:lnTo>
                    <a:pt x="1649" y="339"/>
                  </a:lnTo>
                  <a:lnTo>
                    <a:pt x="1667" y="351"/>
                  </a:lnTo>
                  <a:lnTo>
                    <a:pt x="1684" y="365"/>
                  </a:lnTo>
                  <a:lnTo>
                    <a:pt x="1702" y="382"/>
                  </a:lnTo>
                  <a:lnTo>
                    <a:pt x="1719" y="401"/>
                  </a:lnTo>
                  <a:lnTo>
                    <a:pt x="1735" y="423"/>
                  </a:lnTo>
                  <a:lnTo>
                    <a:pt x="1752" y="448"/>
                  </a:lnTo>
                  <a:lnTo>
                    <a:pt x="1767" y="477"/>
                  </a:lnTo>
                  <a:lnTo>
                    <a:pt x="1782" y="509"/>
                  </a:lnTo>
                  <a:lnTo>
                    <a:pt x="1794" y="545"/>
                  </a:lnTo>
                  <a:lnTo>
                    <a:pt x="1806" y="584"/>
                  </a:lnTo>
                  <a:lnTo>
                    <a:pt x="1815" y="629"/>
                  </a:lnTo>
                  <a:lnTo>
                    <a:pt x="1821" y="678"/>
                  </a:lnTo>
                  <a:lnTo>
                    <a:pt x="1826" y="732"/>
                  </a:lnTo>
                  <a:lnTo>
                    <a:pt x="1828" y="790"/>
                  </a:lnTo>
                  <a:lnTo>
                    <a:pt x="1826" y="853"/>
                  </a:lnTo>
                  <a:lnTo>
                    <a:pt x="1821" y="922"/>
                  </a:lnTo>
                  <a:lnTo>
                    <a:pt x="1814" y="995"/>
                  </a:lnTo>
                  <a:lnTo>
                    <a:pt x="1802" y="1076"/>
                  </a:lnTo>
                  <a:lnTo>
                    <a:pt x="1789" y="1134"/>
                  </a:lnTo>
                  <a:lnTo>
                    <a:pt x="1771" y="1194"/>
                  </a:lnTo>
                  <a:lnTo>
                    <a:pt x="1784" y="1193"/>
                  </a:lnTo>
                  <a:lnTo>
                    <a:pt x="1798" y="1194"/>
                  </a:lnTo>
                  <a:lnTo>
                    <a:pt x="1812" y="1197"/>
                  </a:lnTo>
                  <a:lnTo>
                    <a:pt x="1825" y="1201"/>
                  </a:lnTo>
                  <a:lnTo>
                    <a:pt x="1838" y="1207"/>
                  </a:lnTo>
                  <a:lnTo>
                    <a:pt x="1850" y="1217"/>
                  </a:lnTo>
                  <a:lnTo>
                    <a:pt x="1860" y="1229"/>
                  </a:lnTo>
                  <a:lnTo>
                    <a:pt x="1868" y="1244"/>
                  </a:lnTo>
                  <a:lnTo>
                    <a:pt x="1875" y="1264"/>
                  </a:lnTo>
                  <a:lnTo>
                    <a:pt x="1879" y="1287"/>
                  </a:lnTo>
                  <a:lnTo>
                    <a:pt x="1882" y="1314"/>
                  </a:lnTo>
                  <a:lnTo>
                    <a:pt x="1882" y="1344"/>
                  </a:lnTo>
                  <a:lnTo>
                    <a:pt x="1878" y="1379"/>
                  </a:lnTo>
                  <a:lnTo>
                    <a:pt x="1873" y="1420"/>
                  </a:lnTo>
                  <a:lnTo>
                    <a:pt x="1862" y="1466"/>
                  </a:lnTo>
                  <a:lnTo>
                    <a:pt x="1850" y="1516"/>
                  </a:lnTo>
                  <a:lnTo>
                    <a:pt x="1832" y="1575"/>
                  </a:lnTo>
                  <a:lnTo>
                    <a:pt x="1814" y="1626"/>
                  </a:lnTo>
                  <a:lnTo>
                    <a:pt x="1797" y="1668"/>
                  </a:lnTo>
                  <a:lnTo>
                    <a:pt x="1780" y="1703"/>
                  </a:lnTo>
                  <a:lnTo>
                    <a:pt x="1765" y="1731"/>
                  </a:lnTo>
                  <a:lnTo>
                    <a:pt x="1749" y="1753"/>
                  </a:lnTo>
                  <a:lnTo>
                    <a:pt x="1734" y="1769"/>
                  </a:lnTo>
                  <a:lnTo>
                    <a:pt x="1720" y="1780"/>
                  </a:lnTo>
                  <a:lnTo>
                    <a:pt x="1706" y="1786"/>
                  </a:lnTo>
                  <a:lnTo>
                    <a:pt x="1693" y="1790"/>
                  </a:lnTo>
                  <a:lnTo>
                    <a:pt x="1681" y="1844"/>
                  </a:lnTo>
                  <a:lnTo>
                    <a:pt x="1666" y="1899"/>
                  </a:lnTo>
                  <a:lnTo>
                    <a:pt x="1645" y="1955"/>
                  </a:lnTo>
                  <a:lnTo>
                    <a:pt x="1621" y="2013"/>
                  </a:lnTo>
                  <a:lnTo>
                    <a:pt x="1591" y="2070"/>
                  </a:lnTo>
                  <a:lnTo>
                    <a:pt x="1558" y="2125"/>
                  </a:lnTo>
                  <a:lnTo>
                    <a:pt x="1519" y="2180"/>
                  </a:lnTo>
                  <a:lnTo>
                    <a:pt x="1477" y="2231"/>
                  </a:lnTo>
                  <a:lnTo>
                    <a:pt x="1431" y="2281"/>
                  </a:lnTo>
                  <a:lnTo>
                    <a:pt x="1381" y="2328"/>
                  </a:lnTo>
                  <a:lnTo>
                    <a:pt x="1327" y="2370"/>
                  </a:lnTo>
                  <a:lnTo>
                    <a:pt x="1269" y="2409"/>
                  </a:lnTo>
                  <a:lnTo>
                    <a:pt x="1207" y="2441"/>
                  </a:lnTo>
                  <a:lnTo>
                    <a:pt x="1142" y="2468"/>
                  </a:lnTo>
                  <a:lnTo>
                    <a:pt x="1076" y="2488"/>
                  </a:lnTo>
                  <a:lnTo>
                    <a:pt x="1008" y="2500"/>
                  </a:lnTo>
                  <a:lnTo>
                    <a:pt x="940" y="2504"/>
                  </a:lnTo>
                  <a:lnTo>
                    <a:pt x="872" y="2500"/>
                  </a:lnTo>
                  <a:lnTo>
                    <a:pt x="805" y="2488"/>
                  </a:lnTo>
                  <a:lnTo>
                    <a:pt x="740" y="2469"/>
                  </a:lnTo>
                  <a:lnTo>
                    <a:pt x="673" y="2442"/>
                  </a:lnTo>
                  <a:lnTo>
                    <a:pt x="611" y="2409"/>
                  </a:lnTo>
                  <a:lnTo>
                    <a:pt x="552" y="2371"/>
                  </a:lnTo>
                  <a:lnTo>
                    <a:pt x="498" y="2329"/>
                  </a:lnTo>
                  <a:lnTo>
                    <a:pt x="448" y="2283"/>
                  </a:lnTo>
                  <a:lnTo>
                    <a:pt x="402" y="2233"/>
                  </a:lnTo>
                  <a:lnTo>
                    <a:pt x="361" y="2181"/>
                  </a:lnTo>
                  <a:lnTo>
                    <a:pt x="322" y="2126"/>
                  </a:lnTo>
                  <a:lnTo>
                    <a:pt x="289" y="2071"/>
                  </a:lnTo>
                  <a:lnTo>
                    <a:pt x="261" y="2013"/>
                  </a:lnTo>
                  <a:lnTo>
                    <a:pt x="236" y="1957"/>
                  </a:lnTo>
                  <a:lnTo>
                    <a:pt x="216" y="1900"/>
                  </a:lnTo>
                  <a:lnTo>
                    <a:pt x="202" y="1844"/>
                  </a:lnTo>
                  <a:lnTo>
                    <a:pt x="190" y="1790"/>
                  </a:lnTo>
                  <a:lnTo>
                    <a:pt x="177" y="1786"/>
                  </a:lnTo>
                  <a:lnTo>
                    <a:pt x="164" y="1780"/>
                  </a:lnTo>
                  <a:lnTo>
                    <a:pt x="149" y="1769"/>
                  </a:lnTo>
                  <a:lnTo>
                    <a:pt x="135" y="1753"/>
                  </a:lnTo>
                  <a:lnTo>
                    <a:pt x="118" y="1731"/>
                  </a:lnTo>
                  <a:lnTo>
                    <a:pt x="103" y="1703"/>
                  </a:lnTo>
                  <a:lnTo>
                    <a:pt x="86" y="1668"/>
                  </a:lnTo>
                  <a:lnTo>
                    <a:pt x="68" y="1626"/>
                  </a:lnTo>
                  <a:lnTo>
                    <a:pt x="51" y="1577"/>
                  </a:lnTo>
                  <a:lnTo>
                    <a:pt x="33" y="1518"/>
                  </a:lnTo>
                  <a:lnTo>
                    <a:pt x="19" y="1466"/>
                  </a:lnTo>
                  <a:lnTo>
                    <a:pt x="10" y="1421"/>
                  </a:lnTo>
                  <a:lnTo>
                    <a:pt x="4" y="1380"/>
                  </a:lnTo>
                  <a:lnTo>
                    <a:pt x="1" y="1344"/>
                  </a:lnTo>
                  <a:lnTo>
                    <a:pt x="0" y="1314"/>
                  </a:lnTo>
                  <a:lnTo>
                    <a:pt x="3" y="1288"/>
                  </a:lnTo>
                  <a:lnTo>
                    <a:pt x="8" y="1265"/>
                  </a:lnTo>
                  <a:lnTo>
                    <a:pt x="14" y="1246"/>
                  </a:lnTo>
                  <a:lnTo>
                    <a:pt x="23" y="1230"/>
                  </a:lnTo>
                  <a:lnTo>
                    <a:pt x="33" y="1217"/>
                  </a:lnTo>
                  <a:lnTo>
                    <a:pt x="45" y="1208"/>
                  </a:lnTo>
                  <a:lnTo>
                    <a:pt x="58" y="1202"/>
                  </a:lnTo>
                  <a:lnTo>
                    <a:pt x="71" y="1197"/>
                  </a:lnTo>
                  <a:lnTo>
                    <a:pt x="84" y="1194"/>
                  </a:lnTo>
                  <a:lnTo>
                    <a:pt x="98" y="1194"/>
                  </a:lnTo>
                  <a:lnTo>
                    <a:pt x="112" y="1194"/>
                  </a:lnTo>
                  <a:lnTo>
                    <a:pt x="94" y="1135"/>
                  </a:lnTo>
                  <a:lnTo>
                    <a:pt x="81" y="1076"/>
                  </a:lnTo>
                  <a:lnTo>
                    <a:pt x="69" y="1011"/>
                  </a:lnTo>
                  <a:lnTo>
                    <a:pt x="62" y="945"/>
                  </a:lnTo>
                  <a:lnTo>
                    <a:pt x="58" y="881"/>
                  </a:lnTo>
                  <a:lnTo>
                    <a:pt x="59" y="819"/>
                  </a:lnTo>
                  <a:lnTo>
                    <a:pt x="66" y="758"/>
                  </a:lnTo>
                  <a:lnTo>
                    <a:pt x="78" y="697"/>
                  </a:lnTo>
                  <a:lnTo>
                    <a:pt x="98" y="631"/>
                  </a:lnTo>
                  <a:lnTo>
                    <a:pt x="122" y="568"/>
                  </a:lnTo>
                  <a:lnTo>
                    <a:pt x="150" y="509"/>
                  </a:lnTo>
                  <a:lnTo>
                    <a:pt x="184" y="454"/>
                  </a:lnTo>
                  <a:lnTo>
                    <a:pt x="220" y="402"/>
                  </a:lnTo>
                  <a:lnTo>
                    <a:pt x="259" y="355"/>
                  </a:lnTo>
                  <a:lnTo>
                    <a:pt x="299" y="310"/>
                  </a:lnTo>
                  <a:lnTo>
                    <a:pt x="347" y="262"/>
                  </a:lnTo>
                  <a:lnTo>
                    <a:pt x="397" y="217"/>
                  </a:lnTo>
                  <a:lnTo>
                    <a:pt x="450" y="178"/>
                  </a:lnTo>
                  <a:lnTo>
                    <a:pt x="505" y="140"/>
                  </a:lnTo>
                  <a:lnTo>
                    <a:pt x="551" y="110"/>
                  </a:lnTo>
                  <a:lnTo>
                    <a:pt x="600" y="83"/>
                  </a:lnTo>
                  <a:lnTo>
                    <a:pt x="650" y="58"/>
                  </a:lnTo>
                  <a:lnTo>
                    <a:pt x="704" y="38"/>
                  </a:lnTo>
                  <a:lnTo>
                    <a:pt x="762" y="22"/>
                  </a:lnTo>
                  <a:lnTo>
                    <a:pt x="822" y="9"/>
                  </a:lnTo>
                  <a:lnTo>
                    <a:pt x="885" y="4"/>
                  </a:lnTo>
                  <a:lnTo>
                    <a:pt x="94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15"/>
            <p:cNvSpPr>
              <a:spLocks/>
            </p:cNvSpPr>
            <p:nvPr/>
          </p:nvSpPr>
          <p:spPr bwMode="auto">
            <a:xfrm>
              <a:off x="6406" y="1765"/>
              <a:ext cx="890" cy="455"/>
            </a:xfrm>
            <a:custGeom>
              <a:avLst/>
              <a:gdLst>
                <a:gd name="T0" fmla="*/ 1486 w 3561"/>
                <a:gd name="T1" fmla="*/ 1062 h 1820"/>
                <a:gd name="T2" fmla="*/ 1616 w 3561"/>
                <a:gd name="T3" fmla="*/ 679 h 1820"/>
                <a:gd name="T4" fmla="*/ 1545 w 3561"/>
                <a:gd name="T5" fmla="*/ 518 h 1820"/>
                <a:gd name="T6" fmla="*/ 1543 w 3561"/>
                <a:gd name="T7" fmla="*/ 407 h 1820"/>
                <a:gd name="T8" fmla="*/ 1585 w 3561"/>
                <a:gd name="T9" fmla="*/ 335 h 1820"/>
                <a:gd name="T10" fmla="*/ 1651 w 3561"/>
                <a:gd name="T11" fmla="*/ 297 h 1820"/>
                <a:gd name="T12" fmla="*/ 1720 w 3561"/>
                <a:gd name="T13" fmla="*/ 279 h 1820"/>
                <a:gd name="T14" fmla="*/ 1770 w 3561"/>
                <a:gd name="T15" fmla="*/ 275 h 1820"/>
                <a:gd name="T16" fmla="*/ 1792 w 3561"/>
                <a:gd name="T17" fmla="*/ 275 h 1820"/>
                <a:gd name="T18" fmla="*/ 1842 w 3561"/>
                <a:gd name="T19" fmla="*/ 279 h 1820"/>
                <a:gd name="T20" fmla="*/ 1912 w 3561"/>
                <a:gd name="T21" fmla="*/ 297 h 1820"/>
                <a:gd name="T22" fmla="*/ 1977 w 3561"/>
                <a:gd name="T23" fmla="*/ 335 h 1820"/>
                <a:gd name="T24" fmla="*/ 2019 w 3561"/>
                <a:gd name="T25" fmla="*/ 407 h 1820"/>
                <a:gd name="T26" fmla="*/ 2017 w 3561"/>
                <a:gd name="T27" fmla="*/ 518 h 1820"/>
                <a:gd name="T28" fmla="*/ 1946 w 3561"/>
                <a:gd name="T29" fmla="*/ 679 h 1820"/>
                <a:gd name="T30" fmla="*/ 2076 w 3561"/>
                <a:gd name="T31" fmla="*/ 1062 h 1820"/>
                <a:gd name="T32" fmla="*/ 2416 w 3561"/>
                <a:gd name="T33" fmla="*/ 2 h 1820"/>
                <a:gd name="T34" fmla="*/ 2483 w 3561"/>
                <a:gd name="T35" fmla="*/ 45 h 1820"/>
                <a:gd name="T36" fmla="*/ 2627 w 3561"/>
                <a:gd name="T37" fmla="*/ 130 h 1820"/>
                <a:gd name="T38" fmla="*/ 2832 w 3561"/>
                <a:gd name="T39" fmla="*/ 231 h 1820"/>
                <a:gd name="T40" fmla="*/ 3084 w 3561"/>
                <a:gd name="T41" fmla="*/ 329 h 1820"/>
                <a:gd name="T42" fmla="*/ 3317 w 3561"/>
                <a:gd name="T43" fmla="*/ 405 h 1820"/>
                <a:gd name="T44" fmla="*/ 3452 w 3561"/>
                <a:gd name="T45" fmla="*/ 523 h 1820"/>
                <a:gd name="T46" fmla="*/ 3526 w 3561"/>
                <a:gd name="T47" fmla="*/ 679 h 1820"/>
                <a:gd name="T48" fmla="*/ 3557 w 3561"/>
                <a:gd name="T49" fmla="*/ 846 h 1820"/>
                <a:gd name="T50" fmla="*/ 3561 w 3561"/>
                <a:gd name="T51" fmla="*/ 995 h 1820"/>
                <a:gd name="T52" fmla="*/ 3556 w 3561"/>
                <a:gd name="T53" fmla="*/ 1063 h 1820"/>
                <a:gd name="T54" fmla="*/ 3545 w 3561"/>
                <a:gd name="T55" fmla="*/ 1189 h 1820"/>
                <a:gd name="T56" fmla="*/ 3529 w 3561"/>
                <a:gd name="T57" fmla="*/ 1338 h 1820"/>
                <a:gd name="T58" fmla="*/ 3509 w 3561"/>
                <a:gd name="T59" fmla="*/ 1406 h 1820"/>
                <a:gd name="T60" fmla="*/ 3419 w 3561"/>
                <a:gd name="T61" fmla="*/ 1456 h 1820"/>
                <a:gd name="T62" fmla="*/ 3243 w 3561"/>
                <a:gd name="T63" fmla="*/ 1538 h 1820"/>
                <a:gd name="T64" fmla="*/ 2988 w 3561"/>
                <a:gd name="T65" fmla="*/ 1634 h 1820"/>
                <a:gd name="T66" fmla="*/ 2655 w 3561"/>
                <a:gd name="T67" fmla="*/ 1725 h 1820"/>
                <a:gd name="T68" fmla="*/ 2252 w 3561"/>
                <a:gd name="T69" fmla="*/ 1795 h 1820"/>
                <a:gd name="T70" fmla="*/ 1781 w 3561"/>
                <a:gd name="T71" fmla="*/ 1820 h 1820"/>
                <a:gd name="T72" fmla="*/ 1310 w 3561"/>
                <a:gd name="T73" fmla="*/ 1793 h 1820"/>
                <a:gd name="T74" fmla="*/ 907 w 3561"/>
                <a:gd name="T75" fmla="*/ 1725 h 1820"/>
                <a:gd name="T76" fmla="*/ 574 w 3561"/>
                <a:gd name="T77" fmla="*/ 1634 h 1820"/>
                <a:gd name="T78" fmla="*/ 319 w 3561"/>
                <a:gd name="T79" fmla="*/ 1538 h 1820"/>
                <a:gd name="T80" fmla="*/ 143 w 3561"/>
                <a:gd name="T81" fmla="*/ 1456 h 1820"/>
                <a:gd name="T82" fmla="*/ 53 w 3561"/>
                <a:gd name="T83" fmla="*/ 1406 h 1820"/>
                <a:gd name="T84" fmla="*/ 34 w 3561"/>
                <a:gd name="T85" fmla="*/ 1338 h 1820"/>
                <a:gd name="T86" fmla="*/ 17 w 3561"/>
                <a:gd name="T87" fmla="*/ 1189 h 1820"/>
                <a:gd name="T88" fmla="*/ 7 w 3561"/>
                <a:gd name="T89" fmla="*/ 1063 h 1820"/>
                <a:gd name="T90" fmla="*/ 2 w 3561"/>
                <a:gd name="T91" fmla="*/ 995 h 1820"/>
                <a:gd name="T92" fmla="*/ 4 w 3561"/>
                <a:gd name="T93" fmla="*/ 846 h 1820"/>
                <a:gd name="T94" fmla="*/ 35 w 3561"/>
                <a:gd name="T95" fmla="*/ 679 h 1820"/>
                <a:gd name="T96" fmla="*/ 109 w 3561"/>
                <a:gd name="T97" fmla="*/ 523 h 1820"/>
                <a:gd name="T98" fmla="*/ 244 w 3561"/>
                <a:gd name="T99" fmla="*/ 405 h 1820"/>
                <a:gd name="T100" fmla="*/ 477 w 3561"/>
                <a:gd name="T101" fmla="*/ 329 h 1820"/>
                <a:gd name="T102" fmla="*/ 729 w 3561"/>
                <a:gd name="T103" fmla="*/ 231 h 1820"/>
                <a:gd name="T104" fmla="*/ 934 w 3561"/>
                <a:gd name="T105" fmla="*/ 130 h 1820"/>
                <a:gd name="T106" fmla="*/ 1078 w 3561"/>
                <a:gd name="T107" fmla="*/ 45 h 1820"/>
                <a:gd name="T108" fmla="*/ 1146 w 3561"/>
                <a:gd name="T109" fmla="*/ 2 h 18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561" h="1820">
                  <a:moveTo>
                    <a:pt x="1149" y="0"/>
                  </a:moveTo>
                  <a:lnTo>
                    <a:pt x="1432" y="895"/>
                  </a:lnTo>
                  <a:lnTo>
                    <a:pt x="1486" y="1064"/>
                  </a:lnTo>
                  <a:lnTo>
                    <a:pt x="1486" y="1062"/>
                  </a:lnTo>
                  <a:lnTo>
                    <a:pt x="1533" y="1204"/>
                  </a:lnTo>
                  <a:lnTo>
                    <a:pt x="1683" y="781"/>
                  </a:lnTo>
                  <a:lnTo>
                    <a:pt x="1646" y="728"/>
                  </a:lnTo>
                  <a:lnTo>
                    <a:pt x="1616" y="679"/>
                  </a:lnTo>
                  <a:lnTo>
                    <a:pt x="1590" y="633"/>
                  </a:lnTo>
                  <a:lnTo>
                    <a:pt x="1571" y="592"/>
                  </a:lnTo>
                  <a:lnTo>
                    <a:pt x="1556" y="553"/>
                  </a:lnTo>
                  <a:lnTo>
                    <a:pt x="1545" y="518"/>
                  </a:lnTo>
                  <a:lnTo>
                    <a:pt x="1539" y="485"/>
                  </a:lnTo>
                  <a:lnTo>
                    <a:pt x="1538" y="457"/>
                  </a:lnTo>
                  <a:lnTo>
                    <a:pt x="1538" y="430"/>
                  </a:lnTo>
                  <a:lnTo>
                    <a:pt x="1543" y="407"/>
                  </a:lnTo>
                  <a:lnTo>
                    <a:pt x="1549" y="385"/>
                  </a:lnTo>
                  <a:lnTo>
                    <a:pt x="1560" y="366"/>
                  </a:lnTo>
                  <a:lnTo>
                    <a:pt x="1571" y="351"/>
                  </a:lnTo>
                  <a:lnTo>
                    <a:pt x="1585" y="335"/>
                  </a:lnTo>
                  <a:lnTo>
                    <a:pt x="1601" y="324"/>
                  </a:lnTo>
                  <a:lnTo>
                    <a:pt x="1616" y="312"/>
                  </a:lnTo>
                  <a:lnTo>
                    <a:pt x="1634" y="303"/>
                  </a:lnTo>
                  <a:lnTo>
                    <a:pt x="1651" y="297"/>
                  </a:lnTo>
                  <a:lnTo>
                    <a:pt x="1669" y="290"/>
                  </a:lnTo>
                  <a:lnTo>
                    <a:pt x="1687" y="285"/>
                  </a:lnTo>
                  <a:lnTo>
                    <a:pt x="1703" y="281"/>
                  </a:lnTo>
                  <a:lnTo>
                    <a:pt x="1720" y="279"/>
                  </a:lnTo>
                  <a:lnTo>
                    <a:pt x="1736" y="278"/>
                  </a:lnTo>
                  <a:lnTo>
                    <a:pt x="1748" y="276"/>
                  </a:lnTo>
                  <a:lnTo>
                    <a:pt x="1760" y="275"/>
                  </a:lnTo>
                  <a:lnTo>
                    <a:pt x="1770" y="275"/>
                  </a:lnTo>
                  <a:lnTo>
                    <a:pt x="1777" y="275"/>
                  </a:lnTo>
                  <a:lnTo>
                    <a:pt x="1781" y="275"/>
                  </a:lnTo>
                  <a:lnTo>
                    <a:pt x="1786" y="275"/>
                  </a:lnTo>
                  <a:lnTo>
                    <a:pt x="1792" y="275"/>
                  </a:lnTo>
                  <a:lnTo>
                    <a:pt x="1802" y="275"/>
                  </a:lnTo>
                  <a:lnTo>
                    <a:pt x="1814" y="276"/>
                  </a:lnTo>
                  <a:lnTo>
                    <a:pt x="1827" y="278"/>
                  </a:lnTo>
                  <a:lnTo>
                    <a:pt x="1842" y="279"/>
                  </a:lnTo>
                  <a:lnTo>
                    <a:pt x="1859" y="281"/>
                  </a:lnTo>
                  <a:lnTo>
                    <a:pt x="1876" y="285"/>
                  </a:lnTo>
                  <a:lnTo>
                    <a:pt x="1894" y="290"/>
                  </a:lnTo>
                  <a:lnTo>
                    <a:pt x="1912" y="297"/>
                  </a:lnTo>
                  <a:lnTo>
                    <a:pt x="1928" y="303"/>
                  </a:lnTo>
                  <a:lnTo>
                    <a:pt x="1946" y="312"/>
                  </a:lnTo>
                  <a:lnTo>
                    <a:pt x="1962" y="324"/>
                  </a:lnTo>
                  <a:lnTo>
                    <a:pt x="1977" y="335"/>
                  </a:lnTo>
                  <a:lnTo>
                    <a:pt x="1991" y="351"/>
                  </a:lnTo>
                  <a:lnTo>
                    <a:pt x="2003" y="366"/>
                  </a:lnTo>
                  <a:lnTo>
                    <a:pt x="2013" y="385"/>
                  </a:lnTo>
                  <a:lnTo>
                    <a:pt x="2019" y="407"/>
                  </a:lnTo>
                  <a:lnTo>
                    <a:pt x="2025" y="430"/>
                  </a:lnTo>
                  <a:lnTo>
                    <a:pt x="2025" y="457"/>
                  </a:lnTo>
                  <a:lnTo>
                    <a:pt x="2023" y="485"/>
                  </a:lnTo>
                  <a:lnTo>
                    <a:pt x="2017" y="518"/>
                  </a:lnTo>
                  <a:lnTo>
                    <a:pt x="2007" y="553"/>
                  </a:lnTo>
                  <a:lnTo>
                    <a:pt x="1991" y="592"/>
                  </a:lnTo>
                  <a:lnTo>
                    <a:pt x="1972" y="633"/>
                  </a:lnTo>
                  <a:lnTo>
                    <a:pt x="1946" y="679"/>
                  </a:lnTo>
                  <a:lnTo>
                    <a:pt x="1917" y="728"/>
                  </a:lnTo>
                  <a:lnTo>
                    <a:pt x="1879" y="781"/>
                  </a:lnTo>
                  <a:lnTo>
                    <a:pt x="2030" y="1204"/>
                  </a:lnTo>
                  <a:lnTo>
                    <a:pt x="2076" y="1062"/>
                  </a:lnTo>
                  <a:lnTo>
                    <a:pt x="2076" y="1064"/>
                  </a:lnTo>
                  <a:lnTo>
                    <a:pt x="2130" y="895"/>
                  </a:lnTo>
                  <a:lnTo>
                    <a:pt x="2412" y="0"/>
                  </a:lnTo>
                  <a:lnTo>
                    <a:pt x="2416" y="2"/>
                  </a:lnTo>
                  <a:lnTo>
                    <a:pt x="2425" y="8"/>
                  </a:lnTo>
                  <a:lnTo>
                    <a:pt x="2439" y="17"/>
                  </a:lnTo>
                  <a:lnTo>
                    <a:pt x="2459" y="30"/>
                  </a:lnTo>
                  <a:lnTo>
                    <a:pt x="2483" y="45"/>
                  </a:lnTo>
                  <a:lnTo>
                    <a:pt x="2513" y="64"/>
                  </a:lnTo>
                  <a:lnTo>
                    <a:pt x="2547" y="84"/>
                  </a:lnTo>
                  <a:lnTo>
                    <a:pt x="2585" y="106"/>
                  </a:lnTo>
                  <a:lnTo>
                    <a:pt x="2627" y="130"/>
                  </a:lnTo>
                  <a:lnTo>
                    <a:pt x="2673" y="154"/>
                  </a:lnTo>
                  <a:lnTo>
                    <a:pt x="2723" y="180"/>
                  </a:lnTo>
                  <a:lnTo>
                    <a:pt x="2777" y="206"/>
                  </a:lnTo>
                  <a:lnTo>
                    <a:pt x="2832" y="231"/>
                  </a:lnTo>
                  <a:lnTo>
                    <a:pt x="2893" y="257"/>
                  </a:lnTo>
                  <a:lnTo>
                    <a:pt x="2954" y="281"/>
                  </a:lnTo>
                  <a:lnTo>
                    <a:pt x="3019" y="306"/>
                  </a:lnTo>
                  <a:lnTo>
                    <a:pt x="3084" y="329"/>
                  </a:lnTo>
                  <a:lnTo>
                    <a:pt x="3152" y="349"/>
                  </a:lnTo>
                  <a:lnTo>
                    <a:pt x="3222" y="369"/>
                  </a:lnTo>
                  <a:lnTo>
                    <a:pt x="3272" y="384"/>
                  </a:lnTo>
                  <a:lnTo>
                    <a:pt x="3317" y="405"/>
                  </a:lnTo>
                  <a:lnTo>
                    <a:pt x="3358" y="429"/>
                  </a:lnTo>
                  <a:lnTo>
                    <a:pt x="3392" y="457"/>
                  </a:lnTo>
                  <a:lnTo>
                    <a:pt x="3425" y="489"/>
                  </a:lnTo>
                  <a:lnTo>
                    <a:pt x="3452" y="523"/>
                  </a:lnTo>
                  <a:lnTo>
                    <a:pt x="3476" y="560"/>
                  </a:lnTo>
                  <a:lnTo>
                    <a:pt x="3495" y="598"/>
                  </a:lnTo>
                  <a:lnTo>
                    <a:pt x="3513" y="638"/>
                  </a:lnTo>
                  <a:lnTo>
                    <a:pt x="3526" y="679"/>
                  </a:lnTo>
                  <a:lnTo>
                    <a:pt x="3538" y="722"/>
                  </a:lnTo>
                  <a:lnTo>
                    <a:pt x="3547" y="763"/>
                  </a:lnTo>
                  <a:lnTo>
                    <a:pt x="3553" y="805"/>
                  </a:lnTo>
                  <a:lnTo>
                    <a:pt x="3557" y="846"/>
                  </a:lnTo>
                  <a:lnTo>
                    <a:pt x="3559" y="886"/>
                  </a:lnTo>
                  <a:lnTo>
                    <a:pt x="3561" y="924"/>
                  </a:lnTo>
                  <a:lnTo>
                    <a:pt x="3561" y="962"/>
                  </a:lnTo>
                  <a:lnTo>
                    <a:pt x="3561" y="995"/>
                  </a:lnTo>
                  <a:lnTo>
                    <a:pt x="3558" y="1027"/>
                  </a:lnTo>
                  <a:lnTo>
                    <a:pt x="3558" y="1031"/>
                  </a:lnTo>
                  <a:lnTo>
                    <a:pt x="3557" y="1044"/>
                  </a:lnTo>
                  <a:lnTo>
                    <a:pt x="3556" y="1063"/>
                  </a:lnTo>
                  <a:lnTo>
                    <a:pt x="3554" y="1089"/>
                  </a:lnTo>
                  <a:lnTo>
                    <a:pt x="3552" y="1118"/>
                  </a:lnTo>
                  <a:lnTo>
                    <a:pt x="3548" y="1153"/>
                  </a:lnTo>
                  <a:lnTo>
                    <a:pt x="3545" y="1189"/>
                  </a:lnTo>
                  <a:lnTo>
                    <a:pt x="3541" y="1226"/>
                  </a:lnTo>
                  <a:lnTo>
                    <a:pt x="3538" y="1265"/>
                  </a:lnTo>
                  <a:lnTo>
                    <a:pt x="3534" y="1302"/>
                  </a:lnTo>
                  <a:lnTo>
                    <a:pt x="3529" y="1338"/>
                  </a:lnTo>
                  <a:lnTo>
                    <a:pt x="3525" y="1370"/>
                  </a:lnTo>
                  <a:lnTo>
                    <a:pt x="3520" y="1398"/>
                  </a:lnTo>
                  <a:lnTo>
                    <a:pt x="3517" y="1401"/>
                  </a:lnTo>
                  <a:lnTo>
                    <a:pt x="3509" y="1406"/>
                  </a:lnTo>
                  <a:lnTo>
                    <a:pt x="3495" y="1414"/>
                  </a:lnTo>
                  <a:lnTo>
                    <a:pt x="3475" y="1425"/>
                  </a:lnTo>
                  <a:lnTo>
                    <a:pt x="3449" y="1439"/>
                  </a:lnTo>
                  <a:lnTo>
                    <a:pt x="3419" y="1456"/>
                  </a:lnTo>
                  <a:lnTo>
                    <a:pt x="3383" y="1474"/>
                  </a:lnTo>
                  <a:lnTo>
                    <a:pt x="3342" y="1494"/>
                  </a:lnTo>
                  <a:lnTo>
                    <a:pt x="3295" y="1515"/>
                  </a:lnTo>
                  <a:lnTo>
                    <a:pt x="3243" y="1538"/>
                  </a:lnTo>
                  <a:lnTo>
                    <a:pt x="3187" y="1561"/>
                  </a:lnTo>
                  <a:lnTo>
                    <a:pt x="3125" y="1586"/>
                  </a:lnTo>
                  <a:lnTo>
                    <a:pt x="3059" y="1610"/>
                  </a:lnTo>
                  <a:lnTo>
                    <a:pt x="2988" y="1634"/>
                  </a:lnTo>
                  <a:lnTo>
                    <a:pt x="2912" y="1659"/>
                  </a:lnTo>
                  <a:lnTo>
                    <a:pt x="2831" y="1682"/>
                  </a:lnTo>
                  <a:lnTo>
                    <a:pt x="2745" y="1704"/>
                  </a:lnTo>
                  <a:lnTo>
                    <a:pt x="2655" y="1725"/>
                  </a:lnTo>
                  <a:lnTo>
                    <a:pt x="2561" y="1746"/>
                  </a:lnTo>
                  <a:lnTo>
                    <a:pt x="2463" y="1764"/>
                  </a:lnTo>
                  <a:lnTo>
                    <a:pt x="2360" y="1781"/>
                  </a:lnTo>
                  <a:lnTo>
                    <a:pt x="2252" y="1795"/>
                  </a:lnTo>
                  <a:lnTo>
                    <a:pt x="2140" y="1805"/>
                  </a:lnTo>
                  <a:lnTo>
                    <a:pt x="2025" y="1814"/>
                  </a:lnTo>
                  <a:lnTo>
                    <a:pt x="1905" y="1819"/>
                  </a:lnTo>
                  <a:lnTo>
                    <a:pt x="1781" y="1820"/>
                  </a:lnTo>
                  <a:lnTo>
                    <a:pt x="1657" y="1819"/>
                  </a:lnTo>
                  <a:lnTo>
                    <a:pt x="1538" y="1814"/>
                  </a:lnTo>
                  <a:lnTo>
                    <a:pt x="1422" y="1805"/>
                  </a:lnTo>
                  <a:lnTo>
                    <a:pt x="1310" y="1793"/>
                  </a:lnTo>
                  <a:lnTo>
                    <a:pt x="1203" y="1779"/>
                  </a:lnTo>
                  <a:lnTo>
                    <a:pt x="1100" y="1764"/>
                  </a:lnTo>
                  <a:lnTo>
                    <a:pt x="1001" y="1745"/>
                  </a:lnTo>
                  <a:lnTo>
                    <a:pt x="907" y="1725"/>
                  </a:lnTo>
                  <a:lnTo>
                    <a:pt x="817" y="1704"/>
                  </a:lnTo>
                  <a:lnTo>
                    <a:pt x="731" y="1682"/>
                  </a:lnTo>
                  <a:lnTo>
                    <a:pt x="650" y="1657"/>
                  </a:lnTo>
                  <a:lnTo>
                    <a:pt x="574" y="1634"/>
                  </a:lnTo>
                  <a:lnTo>
                    <a:pt x="504" y="1610"/>
                  </a:lnTo>
                  <a:lnTo>
                    <a:pt x="437" y="1586"/>
                  </a:lnTo>
                  <a:lnTo>
                    <a:pt x="375" y="1561"/>
                  </a:lnTo>
                  <a:lnTo>
                    <a:pt x="319" y="1538"/>
                  </a:lnTo>
                  <a:lnTo>
                    <a:pt x="267" y="1515"/>
                  </a:lnTo>
                  <a:lnTo>
                    <a:pt x="220" y="1493"/>
                  </a:lnTo>
                  <a:lnTo>
                    <a:pt x="179" y="1474"/>
                  </a:lnTo>
                  <a:lnTo>
                    <a:pt x="143" y="1456"/>
                  </a:lnTo>
                  <a:lnTo>
                    <a:pt x="112" y="1439"/>
                  </a:lnTo>
                  <a:lnTo>
                    <a:pt x="88" y="1425"/>
                  </a:lnTo>
                  <a:lnTo>
                    <a:pt x="67" y="1414"/>
                  </a:lnTo>
                  <a:lnTo>
                    <a:pt x="53" y="1406"/>
                  </a:lnTo>
                  <a:lnTo>
                    <a:pt x="45" y="1401"/>
                  </a:lnTo>
                  <a:lnTo>
                    <a:pt x="41" y="1398"/>
                  </a:lnTo>
                  <a:lnTo>
                    <a:pt x="38" y="1370"/>
                  </a:lnTo>
                  <a:lnTo>
                    <a:pt x="34" y="1338"/>
                  </a:lnTo>
                  <a:lnTo>
                    <a:pt x="29" y="1302"/>
                  </a:lnTo>
                  <a:lnTo>
                    <a:pt x="25" y="1265"/>
                  </a:lnTo>
                  <a:lnTo>
                    <a:pt x="21" y="1226"/>
                  </a:lnTo>
                  <a:lnTo>
                    <a:pt x="17" y="1189"/>
                  </a:lnTo>
                  <a:lnTo>
                    <a:pt x="14" y="1153"/>
                  </a:lnTo>
                  <a:lnTo>
                    <a:pt x="11" y="1118"/>
                  </a:lnTo>
                  <a:lnTo>
                    <a:pt x="8" y="1089"/>
                  </a:lnTo>
                  <a:lnTo>
                    <a:pt x="7" y="1063"/>
                  </a:lnTo>
                  <a:lnTo>
                    <a:pt x="5" y="1044"/>
                  </a:lnTo>
                  <a:lnTo>
                    <a:pt x="4" y="1031"/>
                  </a:lnTo>
                  <a:lnTo>
                    <a:pt x="4" y="1027"/>
                  </a:lnTo>
                  <a:lnTo>
                    <a:pt x="2" y="995"/>
                  </a:lnTo>
                  <a:lnTo>
                    <a:pt x="0" y="962"/>
                  </a:lnTo>
                  <a:lnTo>
                    <a:pt x="0" y="924"/>
                  </a:lnTo>
                  <a:lnTo>
                    <a:pt x="2" y="886"/>
                  </a:lnTo>
                  <a:lnTo>
                    <a:pt x="4" y="846"/>
                  </a:lnTo>
                  <a:lnTo>
                    <a:pt x="9" y="805"/>
                  </a:lnTo>
                  <a:lnTo>
                    <a:pt x="16" y="763"/>
                  </a:lnTo>
                  <a:lnTo>
                    <a:pt x="23" y="722"/>
                  </a:lnTo>
                  <a:lnTo>
                    <a:pt x="35" y="679"/>
                  </a:lnTo>
                  <a:lnTo>
                    <a:pt x="49" y="638"/>
                  </a:lnTo>
                  <a:lnTo>
                    <a:pt x="66" y="598"/>
                  </a:lnTo>
                  <a:lnTo>
                    <a:pt x="86" y="560"/>
                  </a:lnTo>
                  <a:lnTo>
                    <a:pt x="109" y="523"/>
                  </a:lnTo>
                  <a:lnTo>
                    <a:pt x="136" y="489"/>
                  </a:lnTo>
                  <a:lnTo>
                    <a:pt x="169" y="457"/>
                  </a:lnTo>
                  <a:lnTo>
                    <a:pt x="205" y="429"/>
                  </a:lnTo>
                  <a:lnTo>
                    <a:pt x="244" y="405"/>
                  </a:lnTo>
                  <a:lnTo>
                    <a:pt x="289" y="384"/>
                  </a:lnTo>
                  <a:lnTo>
                    <a:pt x="339" y="369"/>
                  </a:lnTo>
                  <a:lnTo>
                    <a:pt x="409" y="349"/>
                  </a:lnTo>
                  <a:lnTo>
                    <a:pt x="477" y="329"/>
                  </a:lnTo>
                  <a:lnTo>
                    <a:pt x="544" y="306"/>
                  </a:lnTo>
                  <a:lnTo>
                    <a:pt x="608" y="281"/>
                  </a:lnTo>
                  <a:lnTo>
                    <a:pt x="669" y="257"/>
                  </a:lnTo>
                  <a:lnTo>
                    <a:pt x="729" y="231"/>
                  </a:lnTo>
                  <a:lnTo>
                    <a:pt x="785" y="206"/>
                  </a:lnTo>
                  <a:lnTo>
                    <a:pt x="838" y="180"/>
                  </a:lnTo>
                  <a:lnTo>
                    <a:pt x="888" y="154"/>
                  </a:lnTo>
                  <a:lnTo>
                    <a:pt x="934" y="130"/>
                  </a:lnTo>
                  <a:lnTo>
                    <a:pt x="976" y="106"/>
                  </a:lnTo>
                  <a:lnTo>
                    <a:pt x="1015" y="84"/>
                  </a:lnTo>
                  <a:lnTo>
                    <a:pt x="1048" y="64"/>
                  </a:lnTo>
                  <a:lnTo>
                    <a:pt x="1078" y="45"/>
                  </a:lnTo>
                  <a:lnTo>
                    <a:pt x="1102" y="30"/>
                  </a:lnTo>
                  <a:lnTo>
                    <a:pt x="1123" y="17"/>
                  </a:lnTo>
                  <a:lnTo>
                    <a:pt x="1137" y="8"/>
                  </a:lnTo>
                  <a:lnTo>
                    <a:pt x="1146" y="2"/>
                  </a:lnTo>
                  <a:lnTo>
                    <a:pt x="1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00657860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FORM PREMARITAL AGREEMENT ACT SUMM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12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2568102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pPr algn="ctr">
              <a:lnSpc>
                <a:spcPts val="2500"/>
              </a:lnSpc>
            </a:pP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This multi-state act is a response to the lack of certainty in enforcing the hopes and wishes of the couple.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411166" y="1447800"/>
            <a:ext cx="2568102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pPr algn="ctr">
              <a:lnSpc>
                <a:spcPts val="2500"/>
              </a:lnSpc>
            </a:pPr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This is based on the increased demand for written agreements.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212732" y="1447800"/>
            <a:ext cx="2568102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pPr algn="ctr">
              <a:lnSpc>
                <a:spcPts val="2500"/>
              </a:lnSpc>
            </a:pPr>
            <a:r>
              <a:rPr lang="en-US" sz="2000" dirty="0">
                <a:solidFill>
                  <a:srgbClr val="FF0000"/>
                </a:solidFill>
              </a:rPr>
              <a:t>Unconscionability is acceptable.  </a:t>
            </a:r>
          </a:p>
        </p:txBody>
      </p:sp>
      <p:sp>
        <p:nvSpPr>
          <p:cNvPr id="8" name="Rectangle 7"/>
          <p:cNvSpPr/>
          <p:nvPr/>
        </p:nvSpPr>
        <p:spPr>
          <a:xfrm>
            <a:off x="9014298" y="1447800"/>
            <a:ext cx="2568102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91440" rIns="91440" bIns="91440" rtlCol="0" anchor="t"/>
          <a:lstStyle/>
          <a:p>
            <a:pPr algn="ctr">
              <a:lnSpc>
                <a:spcPts val="2500"/>
              </a:lnSpc>
            </a:pPr>
            <a:r>
              <a:rPr lang="en-US" sz="2000" dirty="0">
                <a:solidFill>
                  <a:srgbClr val="FF0000"/>
                </a:solidFill>
              </a:rPr>
              <a:t>Non disclosure is definitely not okay and will be counter productive.</a:t>
            </a:r>
          </a:p>
        </p:txBody>
      </p:sp>
      <p:sp>
        <p:nvSpPr>
          <p:cNvPr id="9" name="Rectangle 8"/>
          <p:cNvSpPr/>
          <p:nvPr/>
        </p:nvSpPr>
        <p:spPr>
          <a:xfrm>
            <a:off x="609600" y="6082336"/>
            <a:ext cx="2568102" cy="89864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3411166" y="6082336"/>
            <a:ext cx="2568102" cy="89864"/>
          </a:xfrm>
          <a:prstGeom prst="rect">
            <a:avLst/>
          </a:prstGeom>
          <a:solidFill>
            <a:srgbClr val="268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6212732" y="6082336"/>
            <a:ext cx="2568102" cy="89864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9014298" y="6082336"/>
            <a:ext cx="2568102" cy="89864"/>
          </a:xfrm>
          <a:prstGeom prst="rect">
            <a:avLst/>
          </a:prstGeom>
          <a:solidFill>
            <a:srgbClr val="268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4"/>
          <p:cNvGrpSpPr>
            <a:grpSpLocks noChangeAspect="1"/>
          </p:cNvGrpSpPr>
          <p:nvPr/>
        </p:nvGrpSpPr>
        <p:grpSpPr bwMode="auto">
          <a:xfrm>
            <a:off x="7154867" y="4857750"/>
            <a:ext cx="852488" cy="939800"/>
            <a:chOff x="4507" y="3060"/>
            <a:chExt cx="537" cy="592"/>
          </a:xfrm>
          <a:solidFill>
            <a:srgbClr val="00569B"/>
          </a:solidFill>
        </p:grpSpPr>
        <p:sp>
          <p:nvSpPr>
            <p:cNvPr id="17" name="Freeform 6"/>
            <p:cNvSpPr>
              <a:spLocks noEditPoints="1"/>
            </p:cNvSpPr>
            <p:nvPr/>
          </p:nvSpPr>
          <p:spPr bwMode="auto">
            <a:xfrm>
              <a:off x="4777" y="3385"/>
              <a:ext cx="267" cy="267"/>
            </a:xfrm>
            <a:custGeom>
              <a:avLst/>
              <a:gdLst>
                <a:gd name="T0" fmla="*/ 703 w 1606"/>
                <a:gd name="T1" fmla="*/ 900 h 1605"/>
                <a:gd name="T2" fmla="*/ 228 w 1606"/>
                <a:gd name="T3" fmla="*/ 768 h 1605"/>
                <a:gd name="T4" fmla="*/ 1326 w 1606"/>
                <a:gd name="T5" fmla="*/ 619 h 1605"/>
                <a:gd name="T6" fmla="*/ 803 w 1606"/>
                <a:gd name="T7" fmla="*/ 0 h 1605"/>
                <a:gd name="T8" fmla="*/ 947 w 1606"/>
                <a:gd name="T9" fmla="*/ 13 h 1605"/>
                <a:gd name="T10" fmla="*/ 1083 w 1606"/>
                <a:gd name="T11" fmla="*/ 50 h 1605"/>
                <a:gd name="T12" fmla="*/ 1208 w 1606"/>
                <a:gd name="T13" fmla="*/ 110 h 1605"/>
                <a:gd name="T14" fmla="*/ 1319 w 1606"/>
                <a:gd name="T15" fmla="*/ 189 h 1605"/>
                <a:gd name="T16" fmla="*/ 1416 w 1606"/>
                <a:gd name="T17" fmla="*/ 285 h 1605"/>
                <a:gd name="T18" fmla="*/ 1496 w 1606"/>
                <a:gd name="T19" fmla="*/ 397 h 1605"/>
                <a:gd name="T20" fmla="*/ 1555 w 1606"/>
                <a:gd name="T21" fmla="*/ 522 h 1605"/>
                <a:gd name="T22" fmla="*/ 1593 w 1606"/>
                <a:gd name="T23" fmla="*/ 658 h 1605"/>
                <a:gd name="T24" fmla="*/ 1606 w 1606"/>
                <a:gd name="T25" fmla="*/ 802 h 1605"/>
                <a:gd name="T26" fmla="*/ 1593 w 1606"/>
                <a:gd name="T27" fmla="*/ 946 h 1605"/>
                <a:gd name="T28" fmla="*/ 1555 w 1606"/>
                <a:gd name="T29" fmla="*/ 1082 h 1605"/>
                <a:gd name="T30" fmla="*/ 1496 w 1606"/>
                <a:gd name="T31" fmla="*/ 1207 h 1605"/>
                <a:gd name="T32" fmla="*/ 1416 w 1606"/>
                <a:gd name="T33" fmla="*/ 1319 h 1605"/>
                <a:gd name="T34" fmla="*/ 1319 w 1606"/>
                <a:gd name="T35" fmla="*/ 1416 h 1605"/>
                <a:gd name="T36" fmla="*/ 1208 w 1606"/>
                <a:gd name="T37" fmla="*/ 1495 h 1605"/>
                <a:gd name="T38" fmla="*/ 1083 w 1606"/>
                <a:gd name="T39" fmla="*/ 1554 h 1605"/>
                <a:gd name="T40" fmla="*/ 947 w 1606"/>
                <a:gd name="T41" fmla="*/ 1592 h 1605"/>
                <a:gd name="T42" fmla="*/ 803 w 1606"/>
                <a:gd name="T43" fmla="*/ 1605 h 1605"/>
                <a:gd name="T44" fmla="*/ 659 w 1606"/>
                <a:gd name="T45" fmla="*/ 1592 h 1605"/>
                <a:gd name="T46" fmla="*/ 523 w 1606"/>
                <a:gd name="T47" fmla="*/ 1554 h 1605"/>
                <a:gd name="T48" fmla="*/ 398 w 1606"/>
                <a:gd name="T49" fmla="*/ 1495 h 1605"/>
                <a:gd name="T50" fmla="*/ 287 w 1606"/>
                <a:gd name="T51" fmla="*/ 1416 h 1605"/>
                <a:gd name="T52" fmla="*/ 190 w 1606"/>
                <a:gd name="T53" fmla="*/ 1319 h 1605"/>
                <a:gd name="T54" fmla="*/ 110 w 1606"/>
                <a:gd name="T55" fmla="*/ 1207 h 1605"/>
                <a:gd name="T56" fmla="*/ 51 w 1606"/>
                <a:gd name="T57" fmla="*/ 1082 h 1605"/>
                <a:gd name="T58" fmla="*/ 13 w 1606"/>
                <a:gd name="T59" fmla="*/ 946 h 1605"/>
                <a:gd name="T60" fmla="*/ 0 w 1606"/>
                <a:gd name="T61" fmla="*/ 802 h 1605"/>
                <a:gd name="T62" fmla="*/ 13 w 1606"/>
                <a:gd name="T63" fmla="*/ 658 h 1605"/>
                <a:gd name="T64" fmla="*/ 51 w 1606"/>
                <a:gd name="T65" fmla="*/ 522 h 1605"/>
                <a:gd name="T66" fmla="*/ 110 w 1606"/>
                <a:gd name="T67" fmla="*/ 397 h 1605"/>
                <a:gd name="T68" fmla="*/ 190 w 1606"/>
                <a:gd name="T69" fmla="*/ 285 h 1605"/>
                <a:gd name="T70" fmla="*/ 287 w 1606"/>
                <a:gd name="T71" fmla="*/ 189 h 1605"/>
                <a:gd name="T72" fmla="*/ 398 w 1606"/>
                <a:gd name="T73" fmla="*/ 110 h 1605"/>
                <a:gd name="T74" fmla="*/ 523 w 1606"/>
                <a:gd name="T75" fmla="*/ 50 h 1605"/>
                <a:gd name="T76" fmla="*/ 659 w 1606"/>
                <a:gd name="T77" fmla="*/ 13 h 1605"/>
                <a:gd name="T78" fmla="*/ 803 w 1606"/>
                <a:gd name="T79" fmla="*/ 0 h 1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06" h="1605">
                  <a:moveTo>
                    <a:pt x="1155" y="448"/>
                  </a:moveTo>
                  <a:lnTo>
                    <a:pt x="703" y="900"/>
                  </a:lnTo>
                  <a:lnTo>
                    <a:pt x="400" y="596"/>
                  </a:lnTo>
                  <a:lnTo>
                    <a:pt x="228" y="768"/>
                  </a:lnTo>
                  <a:lnTo>
                    <a:pt x="703" y="1242"/>
                  </a:lnTo>
                  <a:lnTo>
                    <a:pt x="1326" y="619"/>
                  </a:lnTo>
                  <a:lnTo>
                    <a:pt x="1155" y="448"/>
                  </a:lnTo>
                  <a:close/>
                  <a:moveTo>
                    <a:pt x="803" y="0"/>
                  </a:moveTo>
                  <a:lnTo>
                    <a:pt x="876" y="3"/>
                  </a:lnTo>
                  <a:lnTo>
                    <a:pt x="947" y="13"/>
                  </a:lnTo>
                  <a:lnTo>
                    <a:pt x="1016" y="28"/>
                  </a:lnTo>
                  <a:lnTo>
                    <a:pt x="1083" y="50"/>
                  </a:lnTo>
                  <a:lnTo>
                    <a:pt x="1146" y="77"/>
                  </a:lnTo>
                  <a:lnTo>
                    <a:pt x="1208" y="110"/>
                  </a:lnTo>
                  <a:lnTo>
                    <a:pt x="1266" y="147"/>
                  </a:lnTo>
                  <a:lnTo>
                    <a:pt x="1319" y="189"/>
                  </a:lnTo>
                  <a:lnTo>
                    <a:pt x="1370" y="235"/>
                  </a:lnTo>
                  <a:lnTo>
                    <a:pt x="1416" y="285"/>
                  </a:lnTo>
                  <a:lnTo>
                    <a:pt x="1458" y="340"/>
                  </a:lnTo>
                  <a:lnTo>
                    <a:pt x="1496" y="397"/>
                  </a:lnTo>
                  <a:lnTo>
                    <a:pt x="1528" y="459"/>
                  </a:lnTo>
                  <a:lnTo>
                    <a:pt x="1555" y="522"/>
                  </a:lnTo>
                  <a:lnTo>
                    <a:pt x="1577" y="589"/>
                  </a:lnTo>
                  <a:lnTo>
                    <a:pt x="1593" y="658"/>
                  </a:lnTo>
                  <a:lnTo>
                    <a:pt x="1602" y="730"/>
                  </a:lnTo>
                  <a:lnTo>
                    <a:pt x="1606" y="802"/>
                  </a:lnTo>
                  <a:lnTo>
                    <a:pt x="1602" y="875"/>
                  </a:lnTo>
                  <a:lnTo>
                    <a:pt x="1593" y="946"/>
                  </a:lnTo>
                  <a:lnTo>
                    <a:pt x="1577" y="1015"/>
                  </a:lnTo>
                  <a:lnTo>
                    <a:pt x="1555" y="1082"/>
                  </a:lnTo>
                  <a:lnTo>
                    <a:pt x="1528" y="1146"/>
                  </a:lnTo>
                  <a:lnTo>
                    <a:pt x="1496" y="1207"/>
                  </a:lnTo>
                  <a:lnTo>
                    <a:pt x="1458" y="1265"/>
                  </a:lnTo>
                  <a:lnTo>
                    <a:pt x="1416" y="1319"/>
                  </a:lnTo>
                  <a:lnTo>
                    <a:pt x="1370" y="1369"/>
                  </a:lnTo>
                  <a:lnTo>
                    <a:pt x="1319" y="1416"/>
                  </a:lnTo>
                  <a:lnTo>
                    <a:pt x="1266" y="1458"/>
                  </a:lnTo>
                  <a:lnTo>
                    <a:pt x="1208" y="1495"/>
                  </a:lnTo>
                  <a:lnTo>
                    <a:pt x="1146" y="1528"/>
                  </a:lnTo>
                  <a:lnTo>
                    <a:pt x="1083" y="1554"/>
                  </a:lnTo>
                  <a:lnTo>
                    <a:pt x="1016" y="1576"/>
                  </a:lnTo>
                  <a:lnTo>
                    <a:pt x="947" y="1592"/>
                  </a:lnTo>
                  <a:lnTo>
                    <a:pt x="876" y="1602"/>
                  </a:lnTo>
                  <a:lnTo>
                    <a:pt x="803" y="1605"/>
                  </a:lnTo>
                  <a:lnTo>
                    <a:pt x="730" y="1602"/>
                  </a:lnTo>
                  <a:lnTo>
                    <a:pt x="659" y="1592"/>
                  </a:lnTo>
                  <a:lnTo>
                    <a:pt x="590" y="1576"/>
                  </a:lnTo>
                  <a:lnTo>
                    <a:pt x="523" y="1554"/>
                  </a:lnTo>
                  <a:lnTo>
                    <a:pt x="460" y="1528"/>
                  </a:lnTo>
                  <a:lnTo>
                    <a:pt x="398" y="1495"/>
                  </a:lnTo>
                  <a:lnTo>
                    <a:pt x="340" y="1458"/>
                  </a:lnTo>
                  <a:lnTo>
                    <a:pt x="287" y="1416"/>
                  </a:lnTo>
                  <a:lnTo>
                    <a:pt x="236" y="1369"/>
                  </a:lnTo>
                  <a:lnTo>
                    <a:pt x="190" y="1319"/>
                  </a:lnTo>
                  <a:lnTo>
                    <a:pt x="148" y="1265"/>
                  </a:lnTo>
                  <a:lnTo>
                    <a:pt x="110" y="1207"/>
                  </a:lnTo>
                  <a:lnTo>
                    <a:pt x="78" y="1146"/>
                  </a:lnTo>
                  <a:lnTo>
                    <a:pt x="51" y="1082"/>
                  </a:lnTo>
                  <a:lnTo>
                    <a:pt x="29" y="1015"/>
                  </a:lnTo>
                  <a:lnTo>
                    <a:pt x="13" y="946"/>
                  </a:lnTo>
                  <a:lnTo>
                    <a:pt x="4" y="875"/>
                  </a:lnTo>
                  <a:lnTo>
                    <a:pt x="0" y="802"/>
                  </a:lnTo>
                  <a:lnTo>
                    <a:pt x="4" y="730"/>
                  </a:lnTo>
                  <a:lnTo>
                    <a:pt x="13" y="658"/>
                  </a:lnTo>
                  <a:lnTo>
                    <a:pt x="29" y="589"/>
                  </a:lnTo>
                  <a:lnTo>
                    <a:pt x="51" y="522"/>
                  </a:lnTo>
                  <a:lnTo>
                    <a:pt x="78" y="459"/>
                  </a:lnTo>
                  <a:lnTo>
                    <a:pt x="110" y="397"/>
                  </a:lnTo>
                  <a:lnTo>
                    <a:pt x="148" y="340"/>
                  </a:lnTo>
                  <a:lnTo>
                    <a:pt x="190" y="285"/>
                  </a:lnTo>
                  <a:lnTo>
                    <a:pt x="236" y="235"/>
                  </a:lnTo>
                  <a:lnTo>
                    <a:pt x="287" y="189"/>
                  </a:lnTo>
                  <a:lnTo>
                    <a:pt x="340" y="147"/>
                  </a:lnTo>
                  <a:lnTo>
                    <a:pt x="398" y="110"/>
                  </a:lnTo>
                  <a:lnTo>
                    <a:pt x="460" y="77"/>
                  </a:lnTo>
                  <a:lnTo>
                    <a:pt x="523" y="50"/>
                  </a:lnTo>
                  <a:lnTo>
                    <a:pt x="590" y="28"/>
                  </a:lnTo>
                  <a:lnTo>
                    <a:pt x="659" y="13"/>
                  </a:lnTo>
                  <a:lnTo>
                    <a:pt x="730" y="3"/>
                  </a:lnTo>
                  <a:lnTo>
                    <a:pt x="80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7"/>
            <p:cNvSpPr>
              <a:spLocks/>
            </p:cNvSpPr>
            <p:nvPr/>
          </p:nvSpPr>
          <p:spPr bwMode="auto">
            <a:xfrm>
              <a:off x="4796" y="3080"/>
              <a:ext cx="94" cy="94"/>
            </a:xfrm>
            <a:custGeom>
              <a:avLst/>
              <a:gdLst>
                <a:gd name="T0" fmla="*/ 0 w 565"/>
                <a:gd name="T1" fmla="*/ 0 h 566"/>
                <a:gd name="T2" fmla="*/ 565 w 565"/>
                <a:gd name="T3" fmla="*/ 566 h 566"/>
                <a:gd name="T4" fmla="*/ 0 w 565"/>
                <a:gd name="T5" fmla="*/ 566 h 566"/>
                <a:gd name="T6" fmla="*/ 0 w 565"/>
                <a:gd name="T7" fmla="*/ 0 h 5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65" h="566">
                  <a:moveTo>
                    <a:pt x="0" y="0"/>
                  </a:moveTo>
                  <a:lnTo>
                    <a:pt x="565" y="566"/>
                  </a:lnTo>
                  <a:lnTo>
                    <a:pt x="0" y="56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8"/>
            <p:cNvSpPr>
              <a:spLocks noEditPoints="1"/>
            </p:cNvSpPr>
            <p:nvPr/>
          </p:nvSpPr>
          <p:spPr bwMode="auto">
            <a:xfrm>
              <a:off x="4507" y="3060"/>
              <a:ext cx="404" cy="558"/>
            </a:xfrm>
            <a:custGeom>
              <a:avLst/>
              <a:gdLst>
                <a:gd name="T0" fmla="*/ 404 w 2421"/>
                <a:gd name="T1" fmla="*/ 1433 h 3351"/>
                <a:gd name="T2" fmla="*/ 404 w 2421"/>
                <a:gd name="T3" fmla="*/ 1675 h 3351"/>
                <a:gd name="T4" fmla="*/ 2018 w 2421"/>
                <a:gd name="T5" fmla="*/ 1675 h 3351"/>
                <a:gd name="T6" fmla="*/ 2018 w 2421"/>
                <a:gd name="T7" fmla="*/ 1433 h 3351"/>
                <a:gd name="T8" fmla="*/ 404 w 2421"/>
                <a:gd name="T9" fmla="*/ 1433 h 3351"/>
                <a:gd name="T10" fmla="*/ 0 w 2421"/>
                <a:gd name="T11" fmla="*/ 0 h 3351"/>
                <a:gd name="T12" fmla="*/ 1493 w 2421"/>
                <a:gd name="T13" fmla="*/ 0 h 3351"/>
                <a:gd name="T14" fmla="*/ 1493 w 2421"/>
                <a:gd name="T15" fmla="*/ 929 h 3351"/>
                <a:gd name="T16" fmla="*/ 2421 w 2421"/>
                <a:gd name="T17" fmla="*/ 929 h 3351"/>
                <a:gd name="T18" fmla="*/ 2421 w 2421"/>
                <a:gd name="T19" fmla="*/ 1705 h 3351"/>
                <a:gd name="T20" fmla="*/ 2337 w 2421"/>
                <a:gd name="T21" fmla="*/ 1708 h 3351"/>
                <a:gd name="T22" fmla="*/ 2255 w 2421"/>
                <a:gd name="T23" fmla="*/ 1718 h 3351"/>
                <a:gd name="T24" fmla="*/ 2176 w 2421"/>
                <a:gd name="T25" fmla="*/ 1734 h 3351"/>
                <a:gd name="T26" fmla="*/ 2098 w 2421"/>
                <a:gd name="T27" fmla="*/ 1756 h 3351"/>
                <a:gd name="T28" fmla="*/ 2024 w 2421"/>
                <a:gd name="T29" fmla="*/ 1784 h 3351"/>
                <a:gd name="T30" fmla="*/ 1951 w 2421"/>
                <a:gd name="T31" fmla="*/ 1816 h 3351"/>
                <a:gd name="T32" fmla="*/ 1882 w 2421"/>
                <a:gd name="T33" fmla="*/ 1855 h 3351"/>
                <a:gd name="T34" fmla="*/ 1816 w 2421"/>
                <a:gd name="T35" fmla="*/ 1898 h 3351"/>
                <a:gd name="T36" fmla="*/ 1754 w 2421"/>
                <a:gd name="T37" fmla="*/ 1946 h 3351"/>
                <a:gd name="T38" fmla="*/ 1696 w 2421"/>
                <a:gd name="T39" fmla="*/ 1998 h 3351"/>
                <a:gd name="T40" fmla="*/ 404 w 2421"/>
                <a:gd name="T41" fmla="*/ 1998 h 3351"/>
                <a:gd name="T42" fmla="*/ 404 w 2421"/>
                <a:gd name="T43" fmla="*/ 2240 h 3351"/>
                <a:gd name="T44" fmla="*/ 1510 w 2421"/>
                <a:gd name="T45" fmla="*/ 2240 h 3351"/>
                <a:gd name="T46" fmla="*/ 1477 w 2421"/>
                <a:gd name="T47" fmla="*/ 2300 h 3351"/>
                <a:gd name="T48" fmla="*/ 1450 w 2421"/>
                <a:gd name="T49" fmla="*/ 2364 h 3351"/>
                <a:gd name="T50" fmla="*/ 1427 w 2421"/>
                <a:gd name="T51" fmla="*/ 2428 h 3351"/>
                <a:gd name="T52" fmla="*/ 1407 w 2421"/>
                <a:gd name="T53" fmla="*/ 2495 h 3351"/>
                <a:gd name="T54" fmla="*/ 1393 w 2421"/>
                <a:gd name="T55" fmla="*/ 2563 h 3351"/>
                <a:gd name="T56" fmla="*/ 404 w 2421"/>
                <a:gd name="T57" fmla="*/ 2563 h 3351"/>
                <a:gd name="T58" fmla="*/ 404 w 2421"/>
                <a:gd name="T59" fmla="*/ 2805 h 3351"/>
                <a:gd name="T60" fmla="*/ 1378 w 2421"/>
                <a:gd name="T61" fmla="*/ 2805 h 3351"/>
                <a:gd name="T62" fmla="*/ 1385 w 2421"/>
                <a:gd name="T63" fmla="*/ 2880 h 3351"/>
                <a:gd name="T64" fmla="*/ 1397 w 2421"/>
                <a:gd name="T65" fmla="*/ 2954 h 3351"/>
                <a:gd name="T66" fmla="*/ 1414 w 2421"/>
                <a:gd name="T67" fmla="*/ 3026 h 3351"/>
                <a:gd name="T68" fmla="*/ 1435 w 2421"/>
                <a:gd name="T69" fmla="*/ 3096 h 3351"/>
                <a:gd name="T70" fmla="*/ 1462 w 2421"/>
                <a:gd name="T71" fmla="*/ 3162 h 3351"/>
                <a:gd name="T72" fmla="*/ 1492 w 2421"/>
                <a:gd name="T73" fmla="*/ 3228 h 3351"/>
                <a:gd name="T74" fmla="*/ 1528 w 2421"/>
                <a:gd name="T75" fmla="*/ 3290 h 3351"/>
                <a:gd name="T76" fmla="*/ 1567 w 2421"/>
                <a:gd name="T77" fmla="*/ 3351 h 3351"/>
                <a:gd name="T78" fmla="*/ 0 w 2421"/>
                <a:gd name="T79" fmla="*/ 3351 h 3351"/>
                <a:gd name="T80" fmla="*/ 0 w 2421"/>
                <a:gd name="T81" fmla="*/ 0 h 33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421" h="3351">
                  <a:moveTo>
                    <a:pt x="404" y="1433"/>
                  </a:moveTo>
                  <a:lnTo>
                    <a:pt x="404" y="1675"/>
                  </a:lnTo>
                  <a:lnTo>
                    <a:pt x="2018" y="1675"/>
                  </a:lnTo>
                  <a:lnTo>
                    <a:pt x="2018" y="1433"/>
                  </a:lnTo>
                  <a:lnTo>
                    <a:pt x="404" y="1433"/>
                  </a:lnTo>
                  <a:close/>
                  <a:moveTo>
                    <a:pt x="0" y="0"/>
                  </a:moveTo>
                  <a:lnTo>
                    <a:pt x="1493" y="0"/>
                  </a:lnTo>
                  <a:lnTo>
                    <a:pt x="1493" y="929"/>
                  </a:lnTo>
                  <a:lnTo>
                    <a:pt x="2421" y="929"/>
                  </a:lnTo>
                  <a:lnTo>
                    <a:pt x="2421" y="1705"/>
                  </a:lnTo>
                  <a:lnTo>
                    <a:pt x="2337" y="1708"/>
                  </a:lnTo>
                  <a:lnTo>
                    <a:pt x="2255" y="1718"/>
                  </a:lnTo>
                  <a:lnTo>
                    <a:pt x="2176" y="1734"/>
                  </a:lnTo>
                  <a:lnTo>
                    <a:pt x="2098" y="1756"/>
                  </a:lnTo>
                  <a:lnTo>
                    <a:pt x="2024" y="1784"/>
                  </a:lnTo>
                  <a:lnTo>
                    <a:pt x="1951" y="1816"/>
                  </a:lnTo>
                  <a:lnTo>
                    <a:pt x="1882" y="1855"/>
                  </a:lnTo>
                  <a:lnTo>
                    <a:pt x="1816" y="1898"/>
                  </a:lnTo>
                  <a:lnTo>
                    <a:pt x="1754" y="1946"/>
                  </a:lnTo>
                  <a:lnTo>
                    <a:pt x="1696" y="1998"/>
                  </a:lnTo>
                  <a:lnTo>
                    <a:pt x="404" y="1998"/>
                  </a:lnTo>
                  <a:lnTo>
                    <a:pt x="404" y="2240"/>
                  </a:lnTo>
                  <a:lnTo>
                    <a:pt x="1510" y="2240"/>
                  </a:lnTo>
                  <a:lnTo>
                    <a:pt x="1477" y="2300"/>
                  </a:lnTo>
                  <a:lnTo>
                    <a:pt x="1450" y="2364"/>
                  </a:lnTo>
                  <a:lnTo>
                    <a:pt x="1427" y="2428"/>
                  </a:lnTo>
                  <a:lnTo>
                    <a:pt x="1407" y="2495"/>
                  </a:lnTo>
                  <a:lnTo>
                    <a:pt x="1393" y="2563"/>
                  </a:lnTo>
                  <a:lnTo>
                    <a:pt x="404" y="2563"/>
                  </a:lnTo>
                  <a:lnTo>
                    <a:pt x="404" y="2805"/>
                  </a:lnTo>
                  <a:lnTo>
                    <a:pt x="1378" y="2805"/>
                  </a:lnTo>
                  <a:lnTo>
                    <a:pt x="1385" y="2880"/>
                  </a:lnTo>
                  <a:lnTo>
                    <a:pt x="1397" y="2954"/>
                  </a:lnTo>
                  <a:lnTo>
                    <a:pt x="1414" y="3026"/>
                  </a:lnTo>
                  <a:lnTo>
                    <a:pt x="1435" y="3096"/>
                  </a:lnTo>
                  <a:lnTo>
                    <a:pt x="1462" y="3162"/>
                  </a:lnTo>
                  <a:lnTo>
                    <a:pt x="1492" y="3228"/>
                  </a:lnTo>
                  <a:lnTo>
                    <a:pt x="1528" y="3290"/>
                  </a:lnTo>
                  <a:lnTo>
                    <a:pt x="1567" y="3351"/>
                  </a:lnTo>
                  <a:lnTo>
                    <a:pt x="0" y="3351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5" name="Group 21"/>
          <p:cNvGrpSpPr>
            <a:grpSpLocks noChangeAspect="1"/>
          </p:cNvGrpSpPr>
          <p:nvPr/>
        </p:nvGrpSpPr>
        <p:grpSpPr bwMode="auto">
          <a:xfrm>
            <a:off x="1441724" y="4877221"/>
            <a:ext cx="903854" cy="900858"/>
            <a:chOff x="-425" y="2418"/>
            <a:chExt cx="302" cy="301"/>
          </a:xfrm>
          <a:solidFill>
            <a:srgbClr val="00569B"/>
          </a:solidFill>
        </p:grpSpPr>
        <p:sp>
          <p:nvSpPr>
            <p:cNvPr id="76" name="Freeform 23"/>
            <p:cNvSpPr>
              <a:spLocks/>
            </p:cNvSpPr>
            <p:nvPr/>
          </p:nvSpPr>
          <p:spPr bwMode="auto">
            <a:xfrm>
              <a:off x="-373" y="2472"/>
              <a:ext cx="130" cy="27"/>
            </a:xfrm>
            <a:custGeom>
              <a:avLst/>
              <a:gdLst>
                <a:gd name="T0" fmla="*/ 151 w 1438"/>
                <a:gd name="T1" fmla="*/ 0 h 302"/>
                <a:gd name="T2" fmla="*/ 1287 w 1438"/>
                <a:gd name="T3" fmla="*/ 0 h 302"/>
                <a:gd name="T4" fmla="*/ 1318 w 1438"/>
                <a:gd name="T5" fmla="*/ 3 h 302"/>
                <a:gd name="T6" fmla="*/ 1346 w 1438"/>
                <a:gd name="T7" fmla="*/ 12 h 302"/>
                <a:gd name="T8" fmla="*/ 1372 w 1438"/>
                <a:gd name="T9" fmla="*/ 26 h 302"/>
                <a:gd name="T10" fmla="*/ 1394 w 1438"/>
                <a:gd name="T11" fmla="*/ 45 h 302"/>
                <a:gd name="T12" fmla="*/ 1413 w 1438"/>
                <a:gd name="T13" fmla="*/ 67 h 302"/>
                <a:gd name="T14" fmla="*/ 1426 w 1438"/>
                <a:gd name="T15" fmla="*/ 93 h 302"/>
                <a:gd name="T16" fmla="*/ 1435 w 1438"/>
                <a:gd name="T17" fmla="*/ 121 h 302"/>
                <a:gd name="T18" fmla="*/ 1438 w 1438"/>
                <a:gd name="T19" fmla="*/ 151 h 302"/>
                <a:gd name="T20" fmla="*/ 1435 w 1438"/>
                <a:gd name="T21" fmla="*/ 181 h 302"/>
                <a:gd name="T22" fmla="*/ 1426 w 1438"/>
                <a:gd name="T23" fmla="*/ 209 h 302"/>
                <a:gd name="T24" fmla="*/ 1413 w 1438"/>
                <a:gd name="T25" fmla="*/ 235 h 302"/>
                <a:gd name="T26" fmla="*/ 1394 w 1438"/>
                <a:gd name="T27" fmla="*/ 257 h 302"/>
                <a:gd name="T28" fmla="*/ 1372 w 1438"/>
                <a:gd name="T29" fmla="*/ 276 h 302"/>
                <a:gd name="T30" fmla="*/ 1346 w 1438"/>
                <a:gd name="T31" fmla="*/ 289 h 302"/>
                <a:gd name="T32" fmla="*/ 1318 w 1438"/>
                <a:gd name="T33" fmla="*/ 298 h 302"/>
                <a:gd name="T34" fmla="*/ 1287 w 1438"/>
                <a:gd name="T35" fmla="*/ 302 h 302"/>
                <a:gd name="T36" fmla="*/ 151 w 1438"/>
                <a:gd name="T37" fmla="*/ 302 h 302"/>
                <a:gd name="T38" fmla="*/ 121 w 1438"/>
                <a:gd name="T39" fmla="*/ 298 h 302"/>
                <a:gd name="T40" fmla="*/ 93 w 1438"/>
                <a:gd name="T41" fmla="*/ 289 h 302"/>
                <a:gd name="T42" fmla="*/ 66 w 1438"/>
                <a:gd name="T43" fmla="*/ 276 h 302"/>
                <a:gd name="T44" fmla="*/ 44 w 1438"/>
                <a:gd name="T45" fmla="*/ 257 h 302"/>
                <a:gd name="T46" fmla="*/ 26 w 1438"/>
                <a:gd name="T47" fmla="*/ 235 h 302"/>
                <a:gd name="T48" fmla="*/ 12 w 1438"/>
                <a:gd name="T49" fmla="*/ 209 h 302"/>
                <a:gd name="T50" fmla="*/ 4 w 1438"/>
                <a:gd name="T51" fmla="*/ 181 h 302"/>
                <a:gd name="T52" fmla="*/ 0 w 1438"/>
                <a:gd name="T53" fmla="*/ 151 h 302"/>
                <a:gd name="T54" fmla="*/ 4 w 1438"/>
                <a:gd name="T55" fmla="*/ 121 h 302"/>
                <a:gd name="T56" fmla="*/ 12 w 1438"/>
                <a:gd name="T57" fmla="*/ 93 h 302"/>
                <a:gd name="T58" fmla="*/ 26 w 1438"/>
                <a:gd name="T59" fmla="*/ 67 h 302"/>
                <a:gd name="T60" fmla="*/ 44 w 1438"/>
                <a:gd name="T61" fmla="*/ 45 h 302"/>
                <a:gd name="T62" fmla="*/ 66 w 1438"/>
                <a:gd name="T63" fmla="*/ 26 h 302"/>
                <a:gd name="T64" fmla="*/ 93 w 1438"/>
                <a:gd name="T65" fmla="*/ 12 h 302"/>
                <a:gd name="T66" fmla="*/ 121 w 1438"/>
                <a:gd name="T67" fmla="*/ 3 h 302"/>
                <a:gd name="T68" fmla="*/ 151 w 1438"/>
                <a:gd name="T6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8" h="302">
                  <a:moveTo>
                    <a:pt x="151" y="0"/>
                  </a:moveTo>
                  <a:lnTo>
                    <a:pt x="1287" y="0"/>
                  </a:lnTo>
                  <a:lnTo>
                    <a:pt x="1318" y="3"/>
                  </a:lnTo>
                  <a:lnTo>
                    <a:pt x="1346" y="12"/>
                  </a:lnTo>
                  <a:lnTo>
                    <a:pt x="1372" y="26"/>
                  </a:lnTo>
                  <a:lnTo>
                    <a:pt x="1394" y="45"/>
                  </a:lnTo>
                  <a:lnTo>
                    <a:pt x="1413" y="67"/>
                  </a:lnTo>
                  <a:lnTo>
                    <a:pt x="1426" y="93"/>
                  </a:lnTo>
                  <a:lnTo>
                    <a:pt x="1435" y="121"/>
                  </a:lnTo>
                  <a:lnTo>
                    <a:pt x="1438" y="151"/>
                  </a:lnTo>
                  <a:lnTo>
                    <a:pt x="1435" y="181"/>
                  </a:lnTo>
                  <a:lnTo>
                    <a:pt x="1426" y="209"/>
                  </a:lnTo>
                  <a:lnTo>
                    <a:pt x="1413" y="235"/>
                  </a:lnTo>
                  <a:lnTo>
                    <a:pt x="1394" y="257"/>
                  </a:lnTo>
                  <a:lnTo>
                    <a:pt x="1372" y="276"/>
                  </a:lnTo>
                  <a:lnTo>
                    <a:pt x="1346" y="289"/>
                  </a:lnTo>
                  <a:lnTo>
                    <a:pt x="1318" y="298"/>
                  </a:lnTo>
                  <a:lnTo>
                    <a:pt x="1287" y="302"/>
                  </a:lnTo>
                  <a:lnTo>
                    <a:pt x="151" y="302"/>
                  </a:lnTo>
                  <a:lnTo>
                    <a:pt x="121" y="298"/>
                  </a:lnTo>
                  <a:lnTo>
                    <a:pt x="93" y="289"/>
                  </a:lnTo>
                  <a:lnTo>
                    <a:pt x="66" y="276"/>
                  </a:lnTo>
                  <a:lnTo>
                    <a:pt x="44" y="257"/>
                  </a:lnTo>
                  <a:lnTo>
                    <a:pt x="26" y="235"/>
                  </a:lnTo>
                  <a:lnTo>
                    <a:pt x="12" y="209"/>
                  </a:lnTo>
                  <a:lnTo>
                    <a:pt x="4" y="181"/>
                  </a:lnTo>
                  <a:lnTo>
                    <a:pt x="0" y="151"/>
                  </a:lnTo>
                  <a:lnTo>
                    <a:pt x="4" y="121"/>
                  </a:lnTo>
                  <a:lnTo>
                    <a:pt x="12" y="93"/>
                  </a:lnTo>
                  <a:lnTo>
                    <a:pt x="26" y="67"/>
                  </a:lnTo>
                  <a:lnTo>
                    <a:pt x="44" y="45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24"/>
            <p:cNvSpPr>
              <a:spLocks/>
            </p:cNvSpPr>
            <p:nvPr/>
          </p:nvSpPr>
          <p:spPr bwMode="auto">
            <a:xfrm>
              <a:off x="-373" y="2523"/>
              <a:ext cx="130" cy="27"/>
            </a:xfrm>
            <a:custGeom>
              <a:avLst/>
              <a:gdLst>
                <a:gd name="T0" fmla="*/ 151 w 1438"/>
                <a:gd name="T1" fmla="*/ 0 h 301"/>
                <a:gd name="T2" fmla="*/ 1287 w 1438"/>
                <a:gd name="T3" fmla="*/ 0 h 301"/>
                <a:gd name="T4" fmla="*/ 1318 w 1438"/>
                <a:gd name="T5" fmla="*/ 3 h 301"/>
                <a:gd name="T6" fmla="*/ 1346 w 1438"/>
                <a:gd name="T7" fmla="*/ 12 h 301"/>
                <a:gd name="T8" fmla="*/ 1372 w 1438"/>
                <a:gd name="T9" fmla="*/ 26 h 301"/>
                <a:gd name="T10" fmla="*/ 1394 w 1438"/>
                <a:gd name="T11" fmla="*/ 44 h 301"/>
                <a:gd name="T12" fmla="*/ 1413 w 1438"/>
                <a:gd name="T13" fmla="*/ 66 h 301"/>
                <a:gd name="T14" fmla="*/ 1426 w 1438"/>
                <a:gd name="T15" fmla="*/ 92 h 301"/>
                <a:gd name="T16" fmla="*/ 1435 w 1438"/>
                <a:gd name="T17" fmla="*/ 120 h 301"/>
                <a:gd name="T18" fmla="*/ 1438 w 1438"/>
                <a:gd name="T19" fmla="*/ 150 h 301"/>
                <a:gd name="T20" fmla="*/ 1435 w 1438"/>
                <a:gd name="T21" fmla="*/ 181 h 301"/>
                <a:gd name="T22" fmla="*/ 1426 w 1438"/>
                <a:gd name="T23" fmla="*/ 210 h 301"/>
                <a:gd name="T24" fmla="*/ 1413 w 1438"/>
                <a:gd name="T25" fmla="*/ 235 h 301"/>
                <a:gd name="T26" fmla="*/ 1394 w 1438"/>
                <a:gd name="T27" fmla="*/ 258 h 301"/>
                <a:gd name="T28" fmla="*/ 1372 w 1438"/>
                <a:gd name="T29" fmla="*/ 275 h 301"/>
                <a:gd name="T30" fmla="*/ 1346 w 1438"/>
                <a:gd name="T31" fmla="*/ 290 h 301"/>
                <a:gd name="T32" fmla="*/ 1318 w 1438"/>
                <a:gd name="T33" fmla="*/ 298 h 301"/>
                <a:gd name="T34" fmla="*/ 1287 w 1438"/>
                <a:gd name="T35" fmla="*/ 301 h 301"/>
                <a:gd name="T36" fmla="*/ 151 w 1438"/>
                <a:gd name="T37" fmla="*/ 301 h 301"/>
                <a:gd name="T38" fmla="*/ 121 w 1438"/>
                <a:gd name="T39" fmla="*/ 298 h 301"/>
                <a:gd name="T40" fmla="*/ 93 w 1438"/>
                <a:gd name="T41" fmla="*/ 290 h 301"/>
                <a:gd name="T42" fmla="*/ 66 w 1438"/>
                <a:gd name="T43" fmla="*/ 275 h 301"/>
                <a:gd name="T44" fmla="*/ 44 w 1438"/>
                <a:gd name="T45" fmla="*/ 258 h 301"/>
                <a:gd name="T46" fmla="*/ 26 w 1438"/>
                <a:gd name="T47" fmla="*/ 235 h 301"/>
                <a:gd name="T48" fmla="*/ 12 w 1438"/>
                <a:gd name="T49" fmla="*/ 210 h 301"/>
                <a:gd name="T50" fmla="*/ 4 w 1438"/>
                <a:gd name="T51" fmla="*/ 181 h 301"/>
                <a:gd name="T52" fmla="*/ 0 w 1438"/>
                <a:gd name="T53" fmla="*/ 150 h 301"/>
                <a:gd name="T54" fmla="*/ 4 w 1438"/>
                <a:gd name="T55" fmla="*/ 120 h 301"/>
                <a:gd name="T56" fmla="*/ 12 w 1438"/>
                <a:gd name="T57" fmla="*/ 92 h 301"/>
                <a:gd name="T58" fmla="*/ 26 w 1438"/>
                <a:gd name="T59" fmla="*/ 66 h 301"/>
                <a:gd name="T60" fmla="*/ 44 w 1438"/>
                <a:gd name="T61" fmla="*/ 44 h 301"/>
                <a:gd name="T62" fmla="*/ 66 w 1438"/>
                <a:gd name="T63" fmla="*/ 26 h 301"/>
                <a:gd name="T64" fmla="*/ 93 w 1438"/>
                <a:gd name="T65" fmla="*/ 12 h 301"/>
                <a:gd name="T66" fmla="*/ 121 w 1438"/>
                <a:gd name="T67" fmla="*/ 3 h 301"/>
                <a:gd name="T68" fmla="*/ 151 w 1438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8" h="301">
                  <a:moveTo>
                    <a:pt x="151" y="0"/>
                  </a:moveTo>
                  <a:lnTo>
                    <a:pt x="1287" y="0"/>
                  </a:lnTo>
                  <a:lnTo>
                    <a:pt x="1318" y="3"/>
                  </a:lnTo>
                  <a:lnTo>
                    <a:pt x="1346" y="12"/>
                  </a:lnTo>
                  <a:lnTo>
                    <a:pt x="1372" y="26"/>
                  </a:lnTo>
                  <a:lnTo>
                    <a:pt x="1394" y="44"/>
                  </a:lnTo>
                  <a:lnTo>
                    <a:pt x="1413" y="66"/>
                  </a:lnTo>
                  <a:lnTo>
                    <a:pt x="1426" y="92"/>
                  </a:lnTo>
                  <a:lnTo>
                    <a:pt x="1435" y="120"/>
                  </a:lnTo>
                  <a:lnTo>
                    <a:pt x="1438" y="150"/>
                  </a:lnTo>
                  <a:lnTo>
                    <a:pt x="1435" y="181"/>
                  </a:lnTo>
                  <a:lnTo>
                    <a:pt x="1426" y="210"/>
                  </a:lnTo>
                  <a:lnTo>
                    <a:pt x="1413" y="235"/>
                  </a:lnTo>
                  <a:lnTo>
                    <a:pt x="1394" y="258"/>
                  </a:lnTo>
                  <a:lnTo>
                    <a:pt x="1372" y="275"/>
                  </a:lnTo>
                  <a:lnTo>
                    <a:pt x="1346" y="290"/>
                  </a:lnTo>
                  <a:lnTo>
                    <a:pt x="1318" y="298"/>
                  </a:lnTo>
                  <a:lnTo>
                    <a:pt x="1287" y="301"/>
                  </a:lnTo>
                  <a:lnTo>
                    <a:pt x="151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6" y="275"/>
                  </a:lnTo>
                  <a:lnTo>
                    <a:pt x="44" y="258"/>
                  </a:lnTo>
                  <a:lnTo>
                    <a:pt x="26" y="235"/>
                  </a:lnTo>
                  <a:lnTo>
                    <a:pt x="12" y="210"/>
                  </a:lnTo>
                  <a:lnTo>
                    <a:pt x="4" y="181"/>
                  </a:lnTo>
                  <a:lnTo>
                    <a:pt x="0" y="150"/>
                  </a:lnTo>
                  <a:lnTo>
                    <a:pt x="4" y="120"/>
                  </a:lnTo>
                  <a:lnTo>
                    <a:pt x="12" y="92"/>
                  </a:lnTo>
                  <a:lnTo>
                    <a:pt x="26" y="66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25"/>
            <p:cNvSpPr>
              <a:spLocks/>
            </p:cNvSpPr>
            <p:nvPr/>
          </p:nvSpPr>
          <p:spPr bwMode="auto">
            <a:xfrm>
              <a:off x="-373" y="2574"/>
              <a:ext cx="79" cy="28"/>
            </a:xfrm>
            <a:custGeom>
              <a:avLst/>
              <a:gdLst>
                <a:gd name="T0" fmla="*/ 151 w 870"/>
                <a:gd name="T1" fmla="*/ 0 h 301"/>
                <a:gd name="T2" fmla="*/ 720 w 870"/>
                <a:gd name="T3" fmla="*/ 0 h 301"/>
                <a:gd name="T4" fmla="*/ 750 w 870"/>
                <a:gd name="T5" fmla="*/ 4 h 301"/>
                <a:gd name="T6" fmla="*/ 778 w 870"/>
                <a:gd name="T7" fmla="*/ 12 h 301"/>
                <a:gd name="T8" fmla="*/ 805 w 870"/>
                <a:gd name="T9" fmla="*/ 26 h 301"/>
                <a:gd name="T10" fmla="*/ 827 w 870"/>
                <a:gd name="T11" fmla="*/ 44 h 301"/>
                <a:gd name="T12" fmla="*/ 845 w 870"/>
                <a:gd name="T13" fmla="*/ 67 h 301"/>
                <a:gd name="T14" fmla="*/ 859 w 870"/>
                <a:gd name="T15" fmla="*/ 92 h 301"/>
                <a:gd name="T16" fmla="*/ 867 w 870"/>
                <a:gd name="T17" fmla="*/ 120 h 301"/>
                <a:gd name="T18" fmla="*/ 870 w 870"/>
                <a:gd name="T19" fmla="*/ 151 h 301"/>
                <a:gd name="T20" fmla="*/ 867 w 870"/>
                <a:gd name="T21" fmla="*/ 181 h 301"/>
                <a:gd name="T22" fmla="*/ 859 w 870"/>
                <a:gd name="T23" fmla="*/ 209 h 301"/>
                <a:gd name="T24" fmla="*/ 845 w 870"/>
                <a:gd name="T25" fmla="*/ 234 h 301"/>
                <a:gd name="T26" fmla="*/ 827 w 870"/>
                <a:gd name="T27" fmla="*/ 257 h 301"/>
                <a:gd name="T28" fmla="*/ 805 w 870"/>
                <a:gd name="T29" fmla="*/ 275 h 301"/>
                <a:gd name="T30" fmla="*/ 778 w 870"/>
                <a:gd name="T31" fmla="*/ 290 h 301"/>
                <a:gd name="T32" fmla="*/ 750 w 870"/>
                <a:gd name="T33" fmla="*/ 298 h 301"/>
                <a:gd name="T34" fmla="*/ 720 w 870"/>
                <a:gd name="T35" fmla="*/ 301 h 301"/>
                <a:gd name="T36" fmla="*/ 151 w 870"/>
                <a:gd name="T37" fmla="*/ 301 h 301"/>
                <a:gd name="T38" fmla="*/ 121 w 870"/>
                <a:gd name="T39" fmla="*/ 298 h 301"/>
                <a:gd name="T40" fmla="*/ 93 w 870"/>
                <a:gd name="T41" fmla="*/ 290 h 301"/>
                <a:gd name="T42" fmla="*/ 66 w 870"/>
                <a:gd name="T43" fmla="*/ 275 h 301"/>
                <a:gd name="T44" fmla="*/ 44 w 870"/>
                <a:gd name="T45" fmla="*/ 257 h 301"/>
                <a:gd name="T46" fmla="*/ 26 w 870"/>
                <a:gd name="T47" fmla="*/ 234 h 301"/>
                <a:gd name="T48" fmla="*/ 12 w 870"/>
                <a:gd name="T49" fmla="*/ 209 h 301"/>
                <a:gd name="T50" fmla="*/ 4 w 870"/>
                <a:gd name="T51" fmla="*/ 181 h 301"/>
                <a:gd name="T52" fmla="*/ 0 w 870"/>
                <a:gd name="T53" fmla="*/ 151 h 301"/>
                <a:gd name="T54" fmla="*/ 4 w 870"/>
                <a:gd name="T55" fmla="*/ 120 h 301"/>
                <a:gd name="T56" fmla="*/ 12 w 870"/>
                <a:gd name="T57" fmla="*/ 92 h 301"/>
                <a:gd name="T58" fmla="*/ 26 w 870"/>
                <a:gd name="T59" fmla="*/ 67 h 301"/>
                <a:gd name="T60" fmla="*/ 44 w 870"/>
                <a:gd name="T61" fmla="*/ 44 h 301"/>
                <a:gd name="T62" fmla="*/ 66 w 870"/>
                <a:gd name="T63" fmla="*/ 26 h 301"/>
                <a:gd name="T64" fmla="*/ 93 w 870"/>
                <a:gd name="T65" fmla="*/ 12 h 301"/>
                <a:gd name="T66" fmla="*/ 121 w 870"/>
                <a:gd name="T67" fmla="*/ 4 h 301"/>
                <a:gd name="T68" fmla="*/ 151 w 870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0" h="301">
                  <a:moveTo>
                    <a:pt x="151" y="0"/>
                  </a:moveTo>
                  <a:lnTo>
                    <a:pt x="720" y="0"/>
                  </a:lnTo>
                  <a:lnTo>
                    <a:pt x="750" y="4"/>
                  </a:lnTo>
                  <a:lnTo>
                    <a:pt x="778" y="12"/>
                  </a:lnTo>
                  <a:lnTo>
                    <a:pt x="805" y="26"/>
                  </a:lnTo>
                  <a:lnTo>
                    <a:pt x="827" y="44"/>
                  </a:lnTo>
                  <a:lnTo>
                    <a:pt x="845" y="67"/>
                  </a:lnTo>
                  <a:lnTo>
                    <a:pt x="859" y="92"/>
                  </a:lnTo>
                  <a:lnTo>
                    <a:pt x="867" y="120"/>
                  </a:lnTo>
                  <a:lnTo>
                    <a:pt x="870" y="151"/>
                  </a:lnTo>
                  <a:lnTo>
                    <a:pt x="867" y="181"/>
                  </a:lnTo>
                  <a:lnTo>
                    <a:pt x="859" y="209"/>
                  </a:lnTo>
                  <a:lnTo>
                    <a:pt x="845" y="234"/>
                  </a:lnTo>
                  <a:lnTo>
                    <a:pt x="827" y="257"/>
                  </a:lnTo>
                  <a:lnTo>
                    <a:pt x="805" y="275"/>
                  </a:lnTo>
                  <a:lnTo>
                    <a:pt x="778" y="290"/>
                  </a:lnTo>
                  <a:lnTo>
                    <a:pt x="750" y="298"/>
                  </a:lnTo>
                  <a:lnTo>
                    <a:pt x="720" y="301"/>
                  </a:lnTo>
                  <a:lnTo>
                    <a:pt x="151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6" y="275"/>
                  </a:lnTo>
                  <a:lnTo>
                    <a:pt x="44" y="257"/>
                  </a:lnTo>
                  <a:lnTo>
                    <a:pt x="26" y="234"/>
                  </a:lnTo>
                  <a:lnTo>
                    <a:pt x="12" y="209"/>
                  </a:lnTo>
                  <a:lnTo>
                    <a:pt x="4" y="181"/>
                  </a:lnTo>
                  <a:lnTo>
                    <a:pt x="0" y="151"/>
                  </a:lnTo>
                  <a:lnTo>
                    <a:pt x="4" y="120"/>
                  </a:lnTo>
                  <a:lnTo>
                    <a:pt x="12" y="92"/>
                  </a:lnTo>
                  <a:lnTo>
                    <a:pt x="26" y="67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4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26"/>
            <p:cNvSpPr>
              <a:spLocks/>
            </p:cNvSpPr>
            <p:nvPr/>
          </p:nvSpPr>
          <p:spPr bwMode="auto">
            <a:xfrm>
              <a:off x="-425" y="2418"/>
              <a:ext cx="234" cy="301"/>
            </a:xfrm>
            <a:custGeom>
              <a:avLst/>
              <a:gdLst>
                <a:gd name="T0" fmla="*/ 152 w 2574"/>
                <a:gd name="T1" fmla="*/ 0 h 3310"/>
                <a:gd name="T2" fmla="*/ 2423 w 2574"/>
                <a:gd name="T3" fmla="*/ 0 h 3310"/>
                <a:gd name="T4" fmla="*/ 2453 w 2574"/>
                <a:gd name="T5" fmla="*/ 3 h 3310"/>
                <a:gd name="T6" fmla="*/ 2481 w 2574"/>
                <a:gd name="T7" fmla="*/ 12 h 3310"/>
                <a:gd name="T8" fmla="*/ 2507 w 2574"/>
                <a:gd name="T9" fmla="*/ 26 h 3310"/>
                <a:gd name="T10" fmla="*/ 2529 w 2574"/>
                <a:gd name="T11" fmla="*/ 44 h 3310"/>
                <a:gd name="T12" fmla="*/ 2548 w 2574"/>
                <a:gd name="T13" fmla="*/ 67 h 3310"/>
                <a:gd name="T14" fmla="*/ 2562 w 2574"/>
                <a:gd name="T15" fmla="*/ 92 h 3310"/>
                <a:gd name="T16" fmla="*/ 2571 w 2574"/>
                <a:gd name="T17" fmla="*/ 120 h 3310"/>
                <a:gd name="T18" fmla="*/ 2574 w 2574"/>
                <a:gd name="T19" fmla="*/ 150 h 3310"/>
                <a:gd name="T20" fmla="*/ 2574 w 2574"/>
                <a:gd name="T21" fmla="*/ 374 h 3310"/>
                <a:gd name="T22" fmla="*/ 2272 w 2574"/>
                <a:gd name="T23" fmla="*/ 896 h 3310"/>
                <a:gd name="T24" fmla="*/ 2272 w 2574"/>
                <a:gd name="T25" fmla="*/ 301 h 3310"/>
                <a:gd name="T26" fmla="*/ 304 w 2574"/>
                <a:gd name="T27" fmla="*/ 301 h 3310"/>
                <a:gd name="T28" fmla="*/ 304 w 2574"/>
                <a:gd name="T29" fmla="*/ 3008 h 3310"/>
                <a:gd name="T30" fmla="*/ 2272 w 2574"/>
                <a:gd name="T31" fmla="*/ 3008 h 3310"/>
                <a:gd name="T32" fmla="*/ 2272 w 2574"/>
                <a:gd name="T33" fmla="*/ 2634 h 3310"/>
                <a:gd name="T34" fmla="*/ 2430 w 2574"/>
                <a:gd name="T35" fmla="*/ 2530 h 3310"/>
                <a:gd name="T36" fmla="*/ 2458 w 2574"/>
                <a:gd name="T37" fmla="*/ 2508 h 3310"/>
                <a:gd name="T38" fmla="*/ 2482 w 2574"/>
                <a:gd name="T39" fmla="*/ 2483 h 3310"/>
                <a:gd name="T40" fmla="*/ 2502 w 2574"/>
                <a:gd name="T41" fmla="*/ 2454 h 3310"/>
                <a:gd name="T42" fmla="*/ 2574 w 2574"/>
                <a:gd name="T43" fmla="*/ 2330 h 3310"/>
                <a:gd name="T44" fmla="*/ 2574 w 2574"/>
                <a:gd name="T45" fmla="*/ 3159 h 3310"/>
                <a:gd name="T46" fmla="*/ 2571 w 2574"/>
                <a:gd name="T47" fmla="*/ 3189 h 3310"/>
                <a:gd name="T48" fmla="*/ 2562 w 2574"/>
                <a:gd name="T49" fmla="*/ 3217 h 3310"/>
                <a:gd name="T50" fmla="*/ 2548 w 2574"/>
                <a:gd name="T51" fmla="*/ 3243 h 3310"/>
                <a:gd name="T52" fmla="*/ 2529 w 2574"/>
                <a:gd name="T53" fmla="*/ 3265 h 3310"/>
                <a:gd name="T54" fmla="*/ 2507 w 2574"/>
                <a:gd name="T55" fmla="*/ 3284 h 3310"/>
                <a:gd name="T56" fmla="*/ 2481 w 2574"/>
                <a:gd name="T57" fmla="*/ 3297 h 3310"/>
                <a:gd name="T58" fmla="*/ 2453 w 2574"/>
                <a:gd name="T59" fmla="*/ 3307 h 3310"/>
                <a:gd name="T60" fmla="*/ 2423 w 2574"/>
                <a:gd name="T61" fmla="*/ 3310 h 3310"/>
                <a:gd name="T62" fmla="*/ 152 w 2574"/>
                <a:gd name="T63" fmla="*/ 3310 h 3310"/>
                <a:gd name="T64" fmla="*/ 121 w 2574"/>
                <a:gd name="T65" fmla="*/ 3307 h 3310"/>
                <a:gd name="T66" fmla="*/ 93 w 2574"/>
                <a:gd name="T67" fmla="*/ 3297 h 3310"/>
                <a:gd name="T68" fmla="*/ 67 w 2574"/>
                <a:gd name="T69" fmla="*/ 3284 h 3310"/>
                <a:gd name="T70" fmla="*/ 45 w 2574"/>
                <a:gd name="T71" fmla="*/ 3265 h 3310"/>
                <a:gd name="T72" fmla="*/ 26 w 2574"/>
                <a:gd name="T73" fmla="*/ 3243 h 3310"/>
                <a:gd name="T74" fmla="*/ 13 w 2574"/>
                <a:gd name="T75" fmla="*/ 3217 h 3310"/>
                <a:gd name="T76" fmla="*/ 3 w 2574"/>
                <a:gd name="T77" fmla="*/ 3189 h 3310"/>
                <a:gd name="T78" fmla="*/ 0 w 2574"/>
                <a:gd name="T79" fmla="*/ 3159 h 3310"/>
                <a:gd name="T80" fmla="*/ 0 w 2574"/>
                <a:gd name="T81" fmla="*/ 150 h 3310"/>
                <a:gd name="T82" fmla="*/ 3 w 2574"/>
                <a:gd name="T83" fmla="*/ 120 h 3310"/>
                <a:gd name="T84" fmla="*/ 13 w 2574"/>
                <a:gd name="T85" fmla="*/ 92 h 3310"/>
                <a:gd name="T86" fmla="*/ 26 w 2574"/>
                <a:gd name="T87" fmla="*/ 67 h 3310"/>
                <a:gd name="T88" fmla="*/ 45 w 2574"/>
                <a:gd name="T89" fmla="*/ 44 h 3310"/>
                <a:gd name="T90" fmla="*/ 67 w 2574"/>
                <a:gd name="T91" fmla="*/ 26 h 3310"/>
                <a:gd name="T92" fmla="*/ 93 w 2574"/>
                <a:gd name="T93" fmla="*/ 12 h 3310"/>
                <a:gd name="T94" fmla="*/ 121 w 2574"/>
                <a:gd name="T95" fmla="*/ 3 h 3310"/>
                <a:gd name="T96" fmla="*/ 152 w 2574"/>
                <a:gd name="T97" fmla="*/ 0 h 3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74" h="3310">
                  <a:moveTo>
                    <a:pt x="152" y="0"/>
                  </a:moveTo>
                  <a:lnTo>
                    <a:pt x="2423" y="0"/>
                  </a:lnTo>
                  <a:lnTo>
                    <a:pt x="2453" y="3"/>
                  </a:lnTo>
                  <a:lnTo>
                    <a:pt x="2481" y="12"/>
                  </a:lnTo>
                  <a:lnTo>
                    <a:pt x="2507" y="26"/>
                  </a:lnTo>
                  <a:lnTo>
                    <a:pt x="2529" y="44"/>
                  </a:lnTo>
                  <a:lnTo>
                    <a:pt x="2548" y="67"/>
                  </a:lnTo>
                  <a:lnTo>
                    <a:pt x="2562" y="92"/>
                  </a:lnTo>
                  <a:lnTo>
                    <a:pt x="2571" y="120"/>
                  </a:lnTo>
                  <a:lnTo>
                    <a:pt x="2574" y="150"/>
                  </a:lnTo>
                  <a:lnTo>
                    <a:pt x="2574" y="374"/>
                  </a:lnTo>
                  <a:lnTo>
                    <a:pt x="2272" y="896"/>
                  </a:lnTo>
                  <a:lnTo>
                    <a:pt x="2272" y="301"/>
                  </a:lnTo>
                  <a:lnTo>
                    <a:pt x="304" y="301"/>
                  </a:lnTo>
                  <a:lnTo>
                    <a:pt x="304" y="3008"/>
                  </a:lnTo>
                  <a:lnTo>
                    <a:pt x="2272" y="3008"/>
                  </a:lnTo>
                  <a:lnTo>
                    <a:pt x="2272" y="2634"/>
                  </a:lnTo>
                  <a:lnTo>
                    <a:pt x="2430" y="2530"/>
                  </a:lnTo>
                  <a:lnTo>
                    <a:pt x="2458" y="2508"/>
                  </a:lnTo>
                  <a:lnTo>
                    <a:pt x="2482" y="2483"/>
                  </a:lnTo>
                  <a:lnTo>
                    <a:pt x="2502" y="2454"/>
                  </a:lnTo>
                  <a:lnTo>
                    <a:pt x="2574" y="2330"/>
                  </a:lnTo>
                  <a:lnTo>
                    <a:pt x="2574" y="3159"/>
                  </a:lnTo>
                  <a:lnTo>
                    <a:pt x="2571" y="3189"/>
                  </a:lnTo>
                  <a:lnTo>
                    <a:pt x="2562" y="3217"/>
                  </a:lnTo>
                  <a:lnTo>
                    <a:pt x="2548" y="3243"/>
                  </a:lnTo>
                  <a:lnTo>
                    <a:pt x="2529" y="3265"/>
                  </a:lnTo>
                  <a:lnTo>
                    <a:pt x="2507" y="3284"/>
                  </a:lnTo>
                  <a:lnTo>
                    <a:pt x="2481" y="3297"/>
                  </a:lnTo>
                  <a:lnTo>
                    <a:pt x="2453" y="3307"/>
                  </a:lnTo>
                  <a:lnTo>
                    <a:pt x="2423" y="3310"/>
                  </a:lnTo>
                  <a:lnTo>
                    <a:pt x="152" y="3310"/>
                  </a:lnTo>
                  <a:lnTo>
                    <a:pt x="121" y="3307"/>
                  </a:lnTo>
                  <a:lnTo>
                    <a:pt x="93" y="3297"/>
                  </a:lnTo>
                  <a:lnTo>
                    <a:pt x="67" y="3284"/>
                  </a:lnTo>
                  <a:lnTo>
                    <a:pt x="45" y="3265"/>
                  </a:lnTo>
                  <a:lnTo>
                    <a:pt x="26" y="3243"/>
                  </a:lnTo>
                  <a:lnTo>
                    <a:pt x="13" y="3217"/>
                  </a:lnTo>
                  <a:lnTo>
                    <a:pt x="3" y="3189"/>
                  </a:lnTo>
                  <a:lnTo>
                    <a:pt x="0" y="3159"/>
                  </a:lnTo>
                  <a:lnTo>
                    <a:pt x="0" y="150"/>
                  </a:lnTo>
                  <a:lnTo>
                    <a:pt x="3" y="120"/>
                  </a:lnTo>
                  <a:lnTo>
                    <a:pt x="13" y="92"/>
                  </a:lnTo>
                  <a:lnTo>
                    <a:pt x="26" y="67"/>
                  </a:lnTo>
                  <a:lnTo>
                    <a:pt x="45" y="44"/>
                  </a:lnTo>
                  <a:lnTo>
                    <a:pt x="67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27"/>
            <p:cNvSpPr>
              <a:spLocks noEditPoints="1"/>
            </p:cNvSpPr>
            <p:nvPr/>
          </p:nvSpPr>
          <p:spPr bwMode="auto">
            <a:xfrm>
              <a:off x="-267" y="2452"/>
              <a:ext cx="144" cy="215"/>
            </a:xfrm>
            <a:custGeom>
              <a:avLst/>
              <a:gdLst>
                <a:gd name="T0" fmla="*/ 131 w 1591"/>
                <a:gd name="T1" fmla="*/ 1996 h 2370"/>
                <a:gd name="T2" fmla="*/ 223 w 1591"/>
                <a:gd name="T3" fmla="*/ 2040 h 2370"/>
                <a:gd name="T4" fmla="*/ 308 w 1591"/>
                <a:gd name="T5" fmla="*/ 2097 h 2370"/>
                <a:gd name="T6" fmla="*/ 439 w 1591"/>
                <a:gd name="T7" fmla="*/ 1980 h 2370"/>
                <a:gd name="T8" fmla="*/ 389 w 1591"/>
                <a:gd name="T9" fmla="*/ 1934 h 2370"/>
                <a:gd name="T10" fmla="*/ 314 w 1591"/>
                <a:gd name="T11" fmla="*/ 1883 h 2370"/>
                <a:gd name="T12" fmla="*/ 245 w 1591"/>
                <a:gd name="T13" fmla="*/ 1849 h 2370"/>
                <a:gd name="T14" fmla="*/ 187 w 1591"/>
                <a:gd name="T15" fmla="*/ 1829 h 2370"/>
                <a:gd name="T16" fmla="*/ 141 w 1591"/>
                <a:gd name="T17" fmla="*/ 1820 h 2370"/>
                <a:gd name="T18" fmla="*/ 1118 w 1591"/>
                <a:gd name="T19" fmla="*/ 0 h 2370"/>
                <a:gd name="T20" fmla="*/ 1173 w 1591"/>
                <a:gd name="T21" fmla="*/ 7 h 2370"/>
                <a:gd name="T22" fmla="*/ 1240 w 1591"/>
                <a:gd name="T23" fmla="*/ 25 h 2370"/>
                <a:gd name="T24" fmla="*/ 1319 w 1591"/>
                <a:gd name="T25" fmla="*/ 57 h 2370"/>
                <a:gd name="T26" fmla="*/ 1407 w 1591"/>
                <a:gd name="T27" fmla="*/ 108 h 2370"/>
                <a:gd name="T28" fmla="*/ 1478 w 1591"/>
                <a:gd name="T29" fmla="*/ 163 h 2370"/>
                <a:gd name="T30" fmla="*/ 1528 w 1591"/>
                <a:gd name="T31" fmla="*/ 215 h 2370"/>
                <a:gd name="T32" fmla="*/ 1561 w 1591"/>
                <a:gd name="T33" fmla="*/ 261 h 2370"/>
                <a:gd name="T34" fmla="*/ 1580 w 1591"/>
                <a:gd name="T35" fmla="*/ 297 h 2370"/>
                <a:gd name="T36" fmla="*/ 1588 w 1591"/>
                <a:gd name="T37" fmla="*/ 320 h 2370"/>
                <a:gd name="T38" fmla="*/ 1591 w 1591"/>
                <a:gd name="T39" fmla="*/ 344 h 2370"/>
                <a:gd name="T40" fmla="*/ 1581 w 1591"/>
                <a:gd name="T41" fmla="*/ 379 h 2370"/>
                <a:gd name="T42" fmla="*/ 625 w 1591"/>
                <a:gd name="T43" fmla="*/ 2021 h 2370"/>
                <a:gd name="T44" fmla="*/ 116 w 1591"/>
                <a:gd name="T45" fmla="*/ 2357 h 2370"/>
                <a:gd name="T46" fmla="*/ 77 w 1591"/>
                <a:gd name="T47" fmla="*/ 2370 h 2370"/>
                <a:gd name="T48" fmla="*/ 36 w 1591"/>
                <a:gd name="T49" fmla="*/ 2359 h 2370"/>
                <a:gd name="T50" fmla="*/ 12 w 1591"/>
                <a:gd name="T51" fmla="*/ 2338 h 2370"/>
                <a:gd name="T52" fmla="*/ 0 w 1591"/>
                <a:gd name="T53" fmla="*/ 2306 h 2370"/>
                <a:gd name="T54" fmla="*/ 34 w 1591"/>
                <a:gd name="T55" fmla="*/ 1702 h 2370"/>
                <a:gd name="T56" fmla="*/ 45 w 1591"/>
                <a:gd name="T57" fmla="*/ 1670 h 2370"/>
                <a:gd name="T58" fmla="*/ 1002 w 1591"/>
                <a:gd name="T59" fmla="*/ 27 h 2370"/>
                <a:gd name="T60" fmla="*/ 1034 w 1591"/>
                <a:gd name="T61" fmla="*/ 7 h 2370"/>
                <a:gd name="T62" fmla="*/ 1048 w 1591"/>
                <a:gd name="T63" fmla="*/ 4 h 2370"/>
                <a:gd name="T64" fmla="*/ 1076 w 1591"/>
                <a:gd name="T65" fmla="*/ 0 h 2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91" h="2370">
                  <a:moveTo>
                    <a:pt x="141" y="1820"/>
                  </a:moveTo>
                  <a:lnTo>
                    <a:pt x="131" y="1996"/>
                  </a:lnTo>
                  <a:lnTo>
                    <a:pt x="177" y="2016"/>
                  </a:lnTo>
                  <a:lnTo>
                    <a:pt x="223" y="2040"/>
                  </a:lnTo>
                  <a:lnTo>
                    <a:pt x="267" y="2067"/>
                  </a:lnTo>
                  <a:lnTo>
                    <a:pt x="308" y="2097"/>
                  </a:lnTo>
                  <a:lnTo>
                    <a:pt x="455" y="2000"/>
                  </a:lnTo>
                  <a:lnTo>
                    <a:pt x="439" y="1980"/>
                  </a:lnTo>
                  <a:lnTo>
                    <a:pt x="417" y="1958"/>
                  </a:lnTo>
                  <a:lnTo>
                    <a:pt x="389" y="1934"/>
                  </a:lnTo>
                  <a:lnTo>
                    <a:pt x="355" y="1909"/>
                  </a:lnTo>
                  <a:lnTo>
                    <a:pt x="314" y="1883"/>
                  </a:lnTo>
                  <a:lnTo>
                    <a:pt x="278" y="1864"/>
                  </a:lnTo>
                  <a:lnTo>
                    <a:pt x="245" y="1849"/>
                  </a:lnTo>
                  <a:lnTo>
                    <a:pt x="214" y="1837"/>
                  </a:lnTo>
                  <a:lnTo>
                    <a:pt x="187" y="1829"/>
                  </a:lnTo>
                  <a:lnTo>
                    <a:pt x="163" y="1824"/>
                  </a:lnTo>
                  <a:lnTo>
                    <a:pt x="141" y="1820"/>
                  </a:lnTo>
                  <a:close/>
                  <a:moveTo>
                    <a:pt x="1095" y="0"/>
                  </a:moveTo>
                  <a:lnTo>
                    <a:pt x="1118" y="0"/>
                  </a:lnTo>
                  <a:lnTo>
                    <a:pt x="1144" y="2"/>
                  </a:lnTo>
                  <a:lnTo>
                    <a:pt x="1173" y="7"/>
                  </a:lnTo>
                  <a:lnTo>
                    <a:pt x="1205" y="14"/>
                  </a:lnTo>
                  <a:lnTo>
                    <a:pt x="1240" y="25"/>
                  </a:lnTo>
                  <a:lnTo>
                    <a:pt x="1278" y="39"/>
                  </a:lnTo>
                  <a:lnTo>
                    <a:pt x="1319" y="57"/>
                  </a:lnTo>
                  <a:lnTo>
                    <a:pt x="1362" y="81"/>
                  </a:lnTo>
                  <a:lnTo>
                    <a:pt x="1407" y="108"/>
                  </a:lnTo>
                  <a:lnTo>
                    <a:pt x="1446" y="136"/>
                  </a:lnTo>
                  <a:lnTo>
                    <a:pt x="1478" y="163"/>
                  </a:lnTo>
                  <a:lnTo>
                    <a:pt x="1505" y="190"/>
                  </a:lnTo>
                  <a:lnTo>
                    <a:pt x="1528" y="215"/>
                  </a:lnTo>
                  <a:lnTo>
                    <a:pt x="1546" y="239"/>
                  </a:lnTo>
                  <a:lnTo>
                    <a:pt x="1561" y="261"/>
                  </a:lnTo>
                  <a:lnTo>
                    <a:pt x="1571" y="280"/>
                  </a:lnTo>
                  <a:lnTo>
                    <a:pt x="1580" y="297"/>
                  </a:lnTo>
                  <a:lnTo>
                    <a:pt x="1585" y="311"/>
                  </a:lnTo>
                  <a:lnTo>
                    <a:pt x="1588" y="320"/>
                  </a:lnTo>
                  <a:lnTo>
                    <a:pt x="1589" y="325"/>
                  </a:lnTo>
                  <a:lnTo>
                    <a:pt x="1591" y="344"/>
                  </a:lnTo>
                  <a:lnTo>
                    <a:pt x="1588" y="363"/>
                  </a:lnTo>
                  <a:lnTo>
                    <a:pt x="1581" y="379"/>
                  </a:lnTo>
                  <a:lnTo>
                    <a:pt x="634" y="2008"/>
                  </a:lnTo>
                  <a:lnTo>
                    <a:pt x="625" y="2021"/>
                  </a:lnTo>
                  <a:lnTo>
                    <a:pt x="611" y="2033"/>
                  </a:lnTo>
                  <a:lnTo>
                    <a:pt x="116" y="2357"/>
                  </a:lnTo>
                  <a:lnTo>
                    <a:pt x="97" y="2367"/>
                  </a:lnTo>
                  <a:lnTo>
                    <a:pt x="77" y="2370"/>
                  </a:lnTo>
                  <a:lnTo>
                    <a:pt x="56" y="2368"/>
                  </a:lnTo>
                  <a:lnTo>
                    <a:pt x="36" y="2359"/>
                  </a:lnTo>
                  <a:lnTo>
                    <a:pt x="23" y="2350"/>
                  </a:lnTo>
                  <a:lnTo>
                    <a:pt x="12" y="2338"/>
                  </a:lnTo>
                  <a:lnTo>
                    <a:pt x="5" y="2323"/>
                  </a:lnTo>
                  <a:lnTo>
                    <a:pt x="0" y="2306"/>
                  </a:lnTo>
                  <a:lnTo>
                    <a:pt x="0" y="2290"/>
                  </a:lnTo>
                  <a:lnTo>
                    <a:pt x="34" y="1702"/>
                  </a:lnTo>
                  <a:lnTo>
                    <a:pt x="38" y="1685"/>
                  </a:lnTo>
                  <a:lnTo>
                    <a:pt x="45" y="1670"/>
                  </a:lnTo>
                  <a:lnTo>
                    <a:pt x="991" y="41"/>
                  </a:lnTo>
                  <a:lnTo>
                    <a:pt x="1002" y="27"/>
                  </a:lnTo>
                  <a:lnTo>
                    <a:pt x="1016" y="15"/>
                  </a:lnTo>
                  <a:lnTo>
                    <a:pt x="1034" y="7"/>
                  </a:lnTo>
                  <a:lnTo>
                    <a:pt x="1038" y="6"/>
                  </a:lnTo>
                  <a:lnTo>
                    <a:pt x="1048" y="4"/>
                  </a:lnTo>
                  <a:lnTo>
                    <a:pt x="1060" y="2"/>
                  </a:lnTo>
                  <a:lnTo>
                    <a:pt x="1076" y="0"/>
                  </a:lnTo>
                  <a:lnTo>
                    <a:pt x="10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28"/>
            <p:cNvSpPr>
              <a:spLocks/>
            </p:cNvSpPr>
            <p:nvPr/>
          </p:nvSpPr>
          <p:spPr bwMode="auto">
            <a:xfrm>
              <a:off x="-381" y="2625"/>
              <a:ext cx="105" cy="53"/>
            </a:xfrm>
            <a:custGeom>
              <a:avLst/>
              <a:gdLst>
                <a:gd name="T0" fmla="*/ 557 w 1155"/>
                <a:gd name="T1" fmla="*/ 5 h 591"/>
                <a:gd name="T2" fmla="*/ 583 w 1155"/>
                <a:gd name="T3" fmla="*/ 28 h 591"/>
                <a:gd name="T4" fmla="*/ 591 w 1155"/>
                <a:gd name="T5" fmla="*/ 111 h 591"/>
                <a:gd name="T6" fmla="*/ 560 w 1155"/>
                <a:gd name="T7" fmla="*/ 199 h 591"/>
                <a:gd name="T8" fmla="*/ 569 w 1155"/>
                <a:gd name="T9" fmla="*/ 242 h 591"/>
                <a:gd name="T10" fmla="*/ 587 w 1155"/>
                <a:gd name="T11" fmla="*/ 270 h 591"/>
                <a:gd name="T12" fmla="*/ 637 w 1155"/>
                <a:gd name="T13" fmla="*/ 278 h 591"/>
                <a:gd name="T14" fmla="*/ 681 w 1155"/>
                <a:gd name="T15" fmla="*/ 323 h 591"/>
                <a:gd name="T16" fmla="*/ 693 w 1155"/>
                <a:gd name="T17" fmla="*/ 357 h 591"/>
                <a:gd name="T18" fmla="*/ 847 w 1155"/>
                <a:gd name="T19" fmla="*/ 351 h 591"/>
                <a:gd name="T20" fmla="*/ 996 w 1155"/>
                <a:gd name="T21" fmla="*/ 366 h 591"/>
                <a:gd name="T22" fmla="*/ 1118 w 1155"/>
                <a:gd name="T23" fmla="*/ 373 h 591"/>
                <a:gd name="T24" fmla="*/ 1149 w 1155"/>
                <a:gd name="T25" fmla="*/ 400 h 591"/>
                <a:gd name="T26" fmla="*/ 1154 w 1155"/>
                <a:gd name="T27" fmla="*/ 441 h 591"/>
                <a:gd name="T28" fmla="*/ 1131 w 1155"/>
                <a:gd name="T29" fmla="*/ 475 h 591"/>
                <a:gd name="T30" fmla="*/ 1066 w 1155"/>
                <a:gd name="T31" fmla="*/ 482 h 591"/>
                <a:gd name="T32" fmla="*/ 957 w 1155"/>
                <a:gd name="T33" fmla="*/ 467 h 591"/>
                <a:gd name="T34" fmla="*/ 843 w 1155"/>
                <a:gd name="T35" fmla="*/ 452 h 591"/>
                <a:gd name="T36" fmla="*/ 738 w 1155"/>
                <a:gd name="T37" fmla="*/ 461 h 591"/>
                <a:gd name="T38" fmla="*/ 679 w 1155"/>
                <a:gd name="T39" fmla="*/ 486 h 591"/>
                <a:gd name="T40" fmla="*/ 636 w 1155"/>
                <a:gd name="T41" fmla="*/ 492 h 591"/>
                <a:gd name="T42" fmla="*/ 603 w 1155"/>
                <a:gd name="T43" fmla="*/ 477 h 591"/>
                <a:gd name="T44" fmla="*/ 576 w 1155"/>
                <a:gd name="T45" fmla="*/ 454 h 591"/>
                <a:gd name="T46" fmla="*/ 571 w 1155"/>
                <a:gd name="T47" fmla="*/ 407 h 591"/>
                <a:gd name="T48" fmla="*/ 537 w 1155"/>
                <a:gd name="T49" fmla="*/ 457 h 591"/>
                <a:gd name="T50" fmla="*/ 495 w 1155"/>
                <a:gd name="T51" fmla="*/ 471 h 591"/>
                <a:gd name="T52" fmla="*/ 455 w 1155"/>
                <a:gd name="T53" fmla="*/ 456 h 591"/>
                <a:gd name="T54" fmla="*/ 439 w 1155"/>
                <a:gd name="T55" fmla="*/ 419 h 591"/>
                <a:gd name="T56" fmla="*/ 450 w 1155"/>
                <a:gd name="T57" fmla="*/ 390 h 591"/>
                <a:gd name="T58" fmla="*/ 458 w 1155"/>
                <a:gd name="T59" fmla="*/ 369 h 591"/>
                <a:gd name="T60" fmla="*/ 422 w 1155"/>
                <a:gd name="T61" fmla="*/ 404 h 591"/>
                <a:gd name="T62" fmla="*/ 379 w 1155"/>
                <a:gd name="T63" fmla="*/ 428 h 591"/>
                <a:gd name="T64" fmla="*/ 335 w 1155"/>
                <a:gd name="T65" fmla="*/ 417 h 591"/>
                <a:gd name="T66" fmla="*/ 314 w 1155"/>
                <a:gd name="T67" fmla="*/ 379 h 591"/>
                <a:gd name="T68" fmla="*/ 364 w 1155"/>
                <a:gd name="T69" fmla="*/ 288 h 591"/>
                <a:gd name="T70" fmla="*/ 252 w 1155"/>
                <a:gd name="T71" fmla="*/ 393 h 591"/>
                <a:gd name="T72" fmla="*/ 96 w 1155"/>
                <a:gd name="T73" fmla="*/ 581 h 591"/>
                <a:gd name="T74" fmla="*/ 49 w 1155"/>
                <a:gd name="T75" fmla="*/ 590 h 591"/>
                <a:gd name="T76" fmla="*/ 9 w 1155"/>
                <a:gd name="T77" fmla="*/ 569 h 591"/>
                <a:gd name="T78" fmla="*/ 2 w 1155"/>
                <a:gd name="T79" fmla="*/ 527 h 591"/>
                <a:gd name="T80" fmla="*/ 138 w 1155"/>
                <a:gd name="T81" fmla="*/ 351 h 591"/>
                <a:gd name="T82" fmla="*/ 344 w 1155"/>
                <a:gd name="T83" fmla="*/ 123 h 591"/>
                <a:gd name="T84" fmla="*/ 398 w 1155"/>
                <a:gd name="T85" fmla="*/ 70 h 591"/>
                <a:gd name="T86" fmla="*/ 462 w 1155"/>
                <a:gd name="T87" fmla="*/ 20 h 591"/>
                <a:gd name="T88" fmla="*/ 534 w 1155"/>
                <a:gd name="T89" fmla="*/ 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55" h="591">
                  <a:moveTo>
                    <a:pt x="534" y="0"/>
                  </a:moveTo>
                  <a:lnTo>
                    <a:pt x="545" y="2"/>
                  </a:lnTo>
                  <a:lnTo>
                    <a:pt x="557" y="5"/>
                  </a:lnTo>
                  <a:lnTo>
                    <a:pt x="567" y="10"/>
                  </a:lnTo>
                  <a:lnTo>
                    <a:pt x="576" y="18"/>
                  </a:lnTo>
                  <a:lnTo>
                    <a:pt x="583" y="28"/>
                  </a:lnTo>
                  <a:lnTo>
                    <a:pt x="591" y="54"/>
                  </a:lnTo>
                  <a:lnTo>
                    <a:pt x="593" y="82"/>
                  </a:lnTo>
                  <a:lnTo>
                    <a:pt x="591" y="111"/>
                  </a:lnTo>
                  <a:lnTo>
                    <a:pt x="584" y="140"/>
                  </a:lnTo>
                  <a:lnTo>
                    <a:pt x="573" y="170"/>
                  </a:lnTo>
                  <a:lnTo>
                    <a:pt x="560" y="199"/>
                  </a:lnTo>
                  <a:lnTo>
                    <a:pt x="543" y="230"/>
                  </a:lnTo>
                  <a:lnTo>
                    <a:pt x="557" y="235"/>
                  </a:lnTo>
                  <a:lnTo>
                    <a:pt x="569" y="242"/>
                  </a:lnTo>
                  <a:lnTo>
                    <a:pt x="579" y="254"/>
                  </a:lnTo>
                  <a:lnTo>
                    <a:pt x="583" y="263"/>
                  </a:lnTo>
                  <a:lnTo>
                    <a:pt x="587" y="270"/>
                  </a:lnTo>
                  <a:lnTo>
                    <a:pt x="604" y="269"/>
                  </a:lnTo>
                  <a:lnTo>
                    <a:pt x="620" y="272"/>
                  </a:lnTo>
                  <a:lnTo>
                    <a:pt x="637" y="278"/>
                  </a:lnTo>
                  <a:lnTo>
                    <a:pt x="653" y="289"/>
                  </a:lnTo>
                  <a:lnTo>
                    <a:pt x="668" y="303"/>
                  </a:lnTo>
                  <a:lnTo>
                    <a:pt x="681" y="323"/>
                  </a:lnTo>
                  <a:lnTo>
                    <a:pt x="689" y="338"/>
                  </a:lnTo>
                  <a:lnTo>
                    <a:pt x="692" y="349"/>
                  </a:lnTo>
                  <a:lnTo>
                    <a:pt x="693" y="357"/>
                  </a:lnTo>
                  <a:lnTo>
                    <a:pt x="746" y="351"/>
                  </a:lnTo>
                  <a:lnTo>
                    <a:pt x="797" y="350"/>
                  </a:lnTo>
                  <a:lnTo>
                    <a:pt x="847" y="351"/>
                  </a:lnTo>
                  <a:lnTo>
                    <a:pt x="897" y="355"/>
                  </a:lnTo>
                  <a:lnTo>
                    <a:pt x="946" y="361"/>
                  </a:lnTo>
                  <a:lnTo>
                    <a:pt x="996" y="366"/>
                  </a:lnTo>
                  <a:lnTo>
                    <a:pt x="1048" y="369"/>
                  </a:lnTo>
                  <a:lnTo>
                    <a:pt x="1101" y="371"/>
                  </a:lnTo>
                  <a:lnTo>
                    <a:pt x="1118" y="373"/>
                  </a:lnTo>
                  <a:lnTo>
                    <a:pt x="1131" y="379"/>
                  </a:lnTo>
                  <a:lnTo>
                    <a:pt x="1142" y="389"/>
                  </a:lnTo>
                  <a:lnTo>
                    <a:pt x="1149" y="400"/>
                  </a:lnTo>
                  <a:lnTo>
                    <a:pt x="1154" y="413"/>
                  </a:lnTo>
                  <a:lnTo>
                    <a:pt x="1155" y="427"/>
                  </a:lnTo>
                  <a:lnTo>
                    <a:pt x="1154" y="441"/>
                  </a:lnTo>
                  <a:lnTo>
                    <a:pt x="1149" y="454"/>
                  </a:lnTo>
                  <a:lnTo>
                    <a:pt x="1142" y="466"/>
                  </a:lnTo>
                  <a:lnTo>
                    <a:pt x="1131" y="475"/>
                  </a:lnTo>
                  <a:lnTo>
                    <a:pt x="1118" y="481"/>
                  </a:lnTo>
                  <a:lnTo>
                    <a:pt x="1101" y="483"/>
                  </a:lnTo>
                  <a:lnTo>
                    <a:pt x="1066" y="482"/>
                  </a:lnTo>
                  <a:lnTo>
                    <a:pt x="1031" y="478"/>
                  </a:lnTo>
                  <a:lnTo>
                    <a:pt x="993" y="473"/>
                  </a:lnTo>
                  <a:lnTo>
                    <a:pt x="957" y="467"/>
                  </a:lnTo>
                  <a:lnTo>
                    <a:pt x="919" y="460"/>
                  </a:lnTo>
                  <a:lnTo>
                    <a:pt x="881" y="455"/>
                  </a:lnTo>
                  <a:lnTo>
                    <a:pt x="843" y="452"/>
                  </a:lnTo>
                  <a:lnTo>
                    <a:pt x="807" y="451"/>
                  </a:lnTo>
                  <a:lnTo>
                    <a:pt x="771" y="454"/>
                  </a:lnTo>
                  <a:lnTo>
                    <a:pt x="738" y="461"/>
                  </a:lnTo>
                  <a:lnTo>
                    <a:pt x="705" y="474"/>
                  </a:lnTo>
                  <a:lnTo>
                    <a:pt x="693" y="480"/>
                  </a:lnTo>
                  <a:lnTo>
                    <a:pt x="679" y="486"/>
                  </a:lnTo>
                  <a:lnTo>
                    <a:pt x="664" y="492"/>
                  </a:lnTo>
                  <a:lnTo>
                    <a:pt x="651" y="494"/>
                  </a:lnTo>
                  <a:lnTo>
                    <a:pt x="636" y="492"/>
                  </a:lnTo>
                  <a:lnTo>
                    <a:pt x="626" y="487"/>
                  </a:lnTo>
                  <a:lnTo>
                    <a:pt x="614" y="482"/>
                  </a:lnTo>
                  <a:lnTo>
                    <a:pt x="603" y="477"/>
                  </a:lnTo>
                  <a:lnTo>
                    <a:pt x="592" y="471"/>
                  </a:lnTo>
                  <a:lnTo>
                    <a:pt x="584" y="464"/>
                  </a:lnTo>
                  <a:lnTo>
                    <a:pt x="576" y="454"/>
                  </a:lnTo>
                  <a:lnTo>
                    <a:pt x="572" y="442"/>
                  </a:lnTo>
                  <a:lnTo>
                    <a:pt x="571" y="423"/>
                  </a:lnTo>
                  <a:lnTo>
                    <a:pt x="571" y="407"/>
                  </a:lnTo>
                  <a:lnTo>
                    <a:pt x="560" y="427"/>
                  </a:lnTo>
                  <a:lnTo>
                    <a:pt x="547" y="446"/>
                  </a:lnTo>
                  <a:lnTo>
                    <a:pt x="537" y="457"/>
                  </a:lnTo>
                  <a:lnTo>
                    <a:pt x="524" y="466"/>
                  </a:lnTo>
                  <a:lnTo>
                    <a:pt x="509" y="470"/>
                  </a:lnTo>
                  <a:lnTo>
                    <a:pt x="495" y="471"/>
                  </a:lnTo>
                  <a:lnTo>
                    <a:pt x="480" y="469"/>
                  </a:lnTo>
                  <a:lnTo>
                    <a:pt x="467" y="464"/>
                  </a:lnTo>
                  <a:lnTo>
                    <a:pt x="455" y="456"/>
                  </a:lnTo>
                  <a:lnTo>
                    <a:pt x="446" y="446"/>
                  </a:lnTo>
                  <a:lnTo>
                    <a:pt x="440" y="433"/>
                  </a:lnTo>
                  <a:lnTo>
                    <a:pt x="439" y="419"/>
                  </a:lnTo>
                  <a:lnTo>
                    <a:pt x="444" y="402"/>
                  </a:lnTo>
                  <a:lnTo>
                    <a:pt x="447" y="396"/>
                  </a:lnTo>
                  <a:lnTo>
                    <a:pt x="450" y="390"/>
                  </a:lnTo>
                  <a:lnTo>
                    <a:pt x="450" y="390"/>
                  </a:lnTo>
                  <a:lnTo>
                    <a:pt x="449" y="390"/>
                  </a:lnTo>
                  <a:lnTo>
                    <a:pt x="458" y="369"/>
                  </a:lnTo>
                  <a:lnTo>
                    <a:pt x="445" y="378"/>
                  </a:lnTo>
                  <a:lnTo>
                    <a:pt x="432" y="390"/>
                  </a:lnTo>
                  <a:lnTo>
                    <a:pt x="422" y="404"/>
                  </a:lnTo>
                  <a:lnTo>
                    <a:pt x="409" y="417"/>
                  </a:lnTo>
                  <a:lnTo>
                    <a:pt x="394" y="425"/>
                  </a:lnTo>
                  <a:lnTo>
                    <a:pt x="379" y="428"/>
                  </a:lnTo>
                  <a:lnTo>
                    <a:pt x="363" y="428"/>
                  </a:lnTo>
                  <a:lnTo>
                    <a:pt x="348" y="424"/>
                  </a:lnTo>
                  <a:lnTo>
                    <a:pt x="335" y="417"/>
                  </a:lnTo>
                  <a:lnTo>
                    <a:pt x="324" y="406"/>
                  </a:lnTo>
                  <a:lnTo>
                    <a:pt x="317" y="394"/>
                  </a:lnTo>
                  <a:lnTo>
                    <a:pt x="314" y="379"/>
                  </a:lnTo>
                  <a:lnTo>
                    <a:pt x="316" y="364"/>
                  </a:lnTo>
                  <a:lnTo>
                    <a:pt x="323" y="347"/>
                  </a:lnTo>
                  <a:lnTo>
                    <a:pt x="364" y="288"/>
                  </a:lnTo>
                  <a:lnTo>
                    <a:pt x="404" y="226"/>
                  </a:lnTo>
                  <a:lnTo>
                    <a:pt x="326" y="309"/>
                  </a:lnTo>
                  <a:lnTo>
                    <a:pt x="252" y="393"/>
                  </a:lnTo>
                  <a:lnTo>
                    <a:pt x="179" y="480"/>
                  </a:lnTo>
                  <a:lnTo>
                    <a:pt x="108" y="569"/>
                  </a:lnTo>
                  <a:lnTo>
                    <a:pt x="96" y="581"/>
                  </a:lnTo>
                  <a:lnTo>
                    <a:pt x="80" y="588"/>
                  </a:lnTo>
                  <a:lnTo>
                    <a:pt x="65" y="591"/>
                  </a:lnTo>
                  <a:lnTo>
                    <a:pt x="49" y="590"/>
                  </a:lnTo>
                  <a:lnTo>
                    <a:pt x="33" y="586"/>
                  </a:lnTo>
                  <a:lnTo>
                    <a:pt x="21" y="579"/>
                  </a:lnTo>
                  <a:lnTo>
                    <a:pt x="9" y="569"/>
                  </a:lnTo>
                  <a:lnTo>
                    <a:pt x="2" y="556"/>
                  </a:lnTo>
                  <a:lnTo>
                    <a:pt x="0" y="542"/>
                  </a:lnTo>
                  <a:lnTo>
                    <a:pt x="2" y="527"/>
                  </a:lnTo>
                  <a:lnTo>
                    <a:pt x="11" y="511"/>
                  </a:lnTo>
                  <a:lnTo>
                    <a:pt x="74" y="431"/>
                  </a:lnTo>
                  <a:lnTo>
                    <a:pt x="138" y="351"/>
                  </a:lnTo>
                  <a:lnTo>
                    <a:pt x="204" y="273"/>
                  </a:lnTo>
                  <a:lnTo>
                    <a:pt x="273" y="196"/>
                  </a:lnTo>
                  <a:lnTo>
                    <a:pt x="344" y="123"/>
                  </a:lnTo>
                  <a:lnTo>
                    <a:pt x="361" y="107"/>
                  </a:lnTo>
                  <a:lnTo>
                    <a:pt x="380" y="89"/>
                  </a:lnTo>
                  <a:lnTo>
                    <a:pt x="398" y="70"/>
                  </a:lnTo>
                  <a:lnTo>
                    <a:pt x="418" y="52"/>
                  </a:lnTo>
                  <a:lnTo>
                    <a:pt x="439" y="35"/>
                  </a:lnTo>
                  <a:lnTo>
                    <a:pt x="462" y="20"/>
                  </a:lnTo>
                  <a:lnTo>
                    <a:pt x="485" y="9"/>
                  </a:lnTo>
                  <a:lnTo>
                    <a:pt x="509" y="2"/>
                  </a:lnTo>
                  <a:lnTo>
                    <a:pt x="5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6" name="Group 4"/>
          <p:cNvGrpSpPr>
            <a:grpSpLocks noChangeAspect="1"/>
          </p:cNvGrpSpPr>
          <p:nvPr/>
        </p:nvGrpSpPr>
        <p:grpSpPr bwMode="auto">
          <a:xfrm>
            <a:off x="4237151" y="4905716"/>
            <a:ext cx="916132" cy="843868"/>
            <a:chOff x="-413" y="1979"/>
            <a:chExt cx="393" cy="362"/>
          </a:xfrm>
          <a:solidFill>
            <a:srgbClr val="26867C"/>
          </a:solidFill>
        </p:grpSpPr>
        <p:sp>
          <p:nvSpPr>
            <p:cNvPr id="107" name="Rectangle 6"/>
            <p:cNvSpPr>
              <a:spLocks noChangeArrowheads="1"/>
            </p:cNvSpPr>
            <p:nvPr/>
          </p:nvSpPr>
          <p:spPr bwMode="auto">
            <a:xfrm>
              <a:off x="-389" y="2104"/>
              <a:ext cx="17" cy="4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8" name="Rectangle 7"/>
            <p:cNvSpPr>
              <a:spLocks noChangeArrowheads="1"/>
            </p:cNvSpPr>
            <p:nvPr/>
          </p:nvSpPr>
          <p:spPr bwMode="auto">
            <a:xfrm>
              <a:off x="-389" y="2176"/>
              <a:ext cx="17" cy="4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9" name="Freeform 8"/>
            <p:cNvSpPr>
              <a:spLocks/>
            </p:cNvSpPr>
            <p:nvPr/>
          </p:nvSpPr>
          <p:spPr bwMode="auto">
            <a:xfrm>
              <a:off x="-389" y="1979"/>
              <a:ext cx="305" cy="153"/>
            </a:xfrm>
            <a:custGeom>
              <a:avLst/>
              <a:gdLst>
                <a:gd name="T0" fmla="*/ 2746 w 2746"/>
                <a:gd name="T1" fmla="*/ 942 h 1381"/>
                <a:gd name="T2" fmla="*/ 2746 w 2746"/>
                <a:gd name="T3" fmla="*/ 1225 h 1381"/>
                <a:gd name="T4" fmla="*/ 2589 w 2746"/>
                <a:gd name="T5" fmla="*/ 1381 h 1381"/>
                <a:gd name="T6" fmla="*/ 2589 w 2746"/>
                <a:gd name="T7" fmla="*/ 287 h 1381"/>
                <a:gd name="T8" fmla="*/ 2586 w 2746"/>
                <a:gd name="T9" fmla="*/ 260 h 1381"/>
                <a:gd name="T10" fmla="*/ 2579 w 2746"/>
                <a:gd name="T11" fmla="*/ 236 h 1381"/>
                <a:gd name="T12" fmla="*/ 2567 w 2746"/>
                <a:gd name="T13" fmla="*/ 214 h 1381"/>
                <a:gd name="T14" fmla="*/ 2551 w 2746"/>
                <a:gd name="T15" fmla="*/ 195 h 1381"/>
                <a:gd name="T16" fmla="*/ 2531 w 2746"/>
                <a:gd name="T17" fmla="*/ 179 h 1381"/>
                <a:gd name="T18" fmla="*/ 2509 w 2746"/>
                <a:gd name="T19" fmla="*/ 166 h 1381"/>
                <a:gd name="T20" fmla="*/ 2484 w 2746"/>
                <a:gd name="T21" fmla="*/ 159 h 1381"/>
                <a:gd name="T22" fmla="*/ 2458 w 2746"/>
                <a:gd name="T23" fmla="*/ 156 h 1381"/>
                <a:gd name="T24" fmla="*/ 287 w 2746"/>
                <a:gd name="T25" fmla="*/ 156 h 1381"/>
                <a:gd name="T26" fmla="*/ 261 w 2746"/>
                <a:gd name="T27" fmla="*/ 159 h 1381"/>
                <a:gd name="T28" fmla="*/ 236 w 2746"/>
                <a:gd name="T29" fmla="*/ 166 h 1381"/>
                <a:gd name="T30" fmla="*/ 214 w 2746"/>
                <a:gd name="T31" fmla="*/ 179 h 1381"/>
                <a:gd name="T32" fmla="*/ 194 w 2746"/>
                <a:gd name="T33" fmla="*/ 195 h 1381"/>
                <a:gd name="T34" fmla="*/ 178 w 2746"/>
                <a:gd name="T35" fmla="*/ 214 h 1381"/>
                <a:gd name="T36" fmla="*/ 166 w 2746"/>
                <a:gd name="T37" fmla="*/ 236 h 1381"/>
                <a:gd name="T38" fmla="*/ 159 w 2746"/>
                <a:gd name="T39" fmla="*/ 260 h 1381"/>
                <a:gd name="T40" fmla="*/ 156 w 2746"/>
                <a:gd name="T41" fmla="*/ 287 h 1381"/>
                <a:gd name="T42" fmla="*/ 156 w 2746"/>
                <a:gd name="T43" fmla="*/ 832 h 1381"/>
                <a:gd name="T44" fmla="*/ 0 w 2746"/>
                <a:gd name="T45" fmla="*/ 832 h 1381"/>
                <a:gd name="T46" fmla="*/ 0 w 2746"/>
                <a:gd name="T47" fmla="*/ 287 h 1381"/>
                <a:gd name="T48" fmla="*/ 3 w 2746"/>
                <a:gd name="T49" fmla="*/ 244 h 1381"/>
                <a:gd name="T50" fmla="*/ 12 w 2746"/>
                <a:gd name="T51" fmla="*/ 205 h 1381"/>
                <a:gd name="T52" fmla="*/ 27 w 2746"/>
                <a:gd name="T53" fmla="*/ 166 h 1381"/>
                <a:gd name="T54" fmla="*/ 46 w 2746"/>
                <a:gd name="T55" fmla="*/ 131 h 1381"/>
                <a:gd name="T56" fmla="*/ 70 w 2746"/>
                <a:gd name="T57" fmla="*/ 99 h 1381"/>
                <a:gd name="T58" fmla="*/ 99 w 2746"/>
                <a:gd name="T59" fmla="*/ 71 h 1381"/>
                <a:gd name="T60" fmla="*/ 131 w 2746"/>
                <a:gd name="T61" fmla="*/ 46 h 1381"/>
                <a:gd name="T62" fmla="*/ 165 w 2746"/>
                <a:gd name="T63" fmla="*/ 27 h 1381"/>
                <a:gd name="T64" fmla="*/ 204 w 2746"/>
                <a:gd name="T65" fmla="*/ 13 h 1381"/>
                <a:gd name="T66" fmla="*/ 245 w 2746"/>
                <a:gd name="T67" fmla="*/ 3 h 1381"/>
                <a:gd name="T68" fmla="*/ 287 w 2746"/>
                <a:gd name="T69" fmla="*/ 0 h 1381"/>
                <a:gd name="T70" fmla="*/ 2458 w 2746"/>
                <a:gd name="T71" fmla="*/ 0 h 1381"/>
                <a:gd name="T72" fmla="*/ 2500 w 2746"/>
                <a:gd name="T73" fmla="*/ 3 h 1381"/>
                <a:gd name="T74" fmla="*/ 2541 w 2746"/>
                <a:gd name="T75" fmla="*/ 13 h 1381"/>
                <a:gd name="T76" fmla="*/ 2579 w 2746"/>
                <a:gd name="T77" fmla="*/ 27 h 1381"/>
                <a:gd name="T78" fmla="*/ 2614 w 2746"/>
                <a:gd name="T79" fmla="*/ 46 h 1381"/>
                <a:gd name="T80" fmla="*/ 2646 w 2746"/>
                <a:gd name="T81" fmla="*/ 71 h 1381"/>
                <a:gd name="T82" fmla="*/ 2674 w 2746"/>
                <a:gd name="T83" fmla="*/ 99 h 1381"/>
                <a:gd name="T84" fmla="*/ 2699 w 2746"/>
                <a:gd name="T85" fmla="*/ 131 h 1381"/>
                <a:gd name="T86" fmla="*/ 2718 w 2746"/>
                <a:gd name="T87" fmla="*/ 166 h 1381"/>
                <a:gd name="T88" fmla="*/ 2733 w 2746"/>
                <a:gd name="T89" fmla="*/ 205 h 1381"/>
                <a:gd name="T90" fmla="*/ 2742 w 2746"/>
                <a:gd name="T91" fmla="*/ 244 h 1381"/>
                <a:gd name="T92" fmla="*/ 2745 w 2746"/>
                <a:gd name="T93" fmla="*/ 287 h 1381"/>
                <a:gd name="T94" fmla="*/ 2745 w 2746"/>
                <a:gd name="T95" fmla="*/ 942 h 1381"/>
                <a:gd name="T96" fmla="*/ 2746 w 2746"/>
                <a:gd name="T97" fmla="*/ 942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46" h="1381">
                  <a:moveTo>
                    <a:pt x="2746" y="942"/>
                  </a:moveTo>
                  <a:lnTo>
                    <a:pt x="2746" y="1225"/>
                  </a:lnTo>
                  <a:lnTo>
                    <a:pt x="2589" y="1381"/>
                  </a:lnTo>
                  <a:lnTo>
                    <a:pt x="2589" y="287"/>
                  </a:lnTo>
                  <a:lnTo>
                    <a:pt x="2586" y="260"/>
                  </a:lnTo>
                  <a:lnTo>
                    <a:pt x="2579" y="236"/>
                  </a:lnTo>
                  <a:lnTo>
                    <a:pt x="2567" y="214"/>
                  </a:lnTo>
                  <a:lnTo>
                    <a:pt x="2551" y="195"/>
                  </a:lnTo>
                  <a:lnTo>
                    <a:pt x="2531" y="179"/>
                  </a:lnTo>
                  <a:lnTo>
                    <a:pt x="2509" y="166"/>
                  </a:lnTo>
                  <a:lnTo>
                    <a:pt x="2484" y="159"/>
                  </a:lnTo>
                  <a:lnTo>
                    <a:pt x="2458" y="156"/>
                  </a:lnTo>
                  <a:lnTo>
                    <a:pt x="287" y="156"/>
                  </a:lnTo>
                  <a:lnTo>
                    <a:pt x="261" y="159"/>
                  </a:lnTo>
                  <a:lnTo>
                    <a:pt x="236" y="166"/>
                  </a:lnTo>
                  <a:lnTo>
                    <a:pt x="214" y="179"/>
                  </a:lnTo>
                  <a:lnTo>
                    <a:pt x="194" y="195"/>
                  </a:lnTo>
                  <a:lnTo>
                    <a:pt x="178" y="214"/>
                  </a:lnTo>
                  <a:lnTo>
                    <a:pt x="166" y="236"/>
                  </a:lnTo>
                  <a:lnTo>
                    <a:pt x="159" y="260"/>
                  </a:lnTo>
                  <a:lnTo>
                    <a:pt x="156" y="287"/>
                  </a:lnTo>
                  <a:lnTo>
                    <a:pt x="156" y="832"/>
                  </a:lnTo>
                  <a:lnTo>
                    <a:pt x="0" y="832"/>
                  </a:lnTo>
                  <a:lnTo>
                    <a:pt x="0" y="287"/>
                  </a:lnTo>
                  <a:lnTo>
                    <a:pt x="3" y="244"/>
                  </a:lnTo>
                  <a:lnTo>
                    <a:pt x="12" y="205"/>
                  </a:lnTo>
                  <a:lnTo>
                    <a:pt x="27" y="166"/>
                  </a:lnTo>
                  <a:lnTo>
                    <a:pt x="46" y="131"/>
                  </a:lnTo>
                  <a:lnTo>
                    <a:pt x="70" y="99"/>
                  </a:lnTo>
                  <a:lnTo>
                    <a:pt x="99" y="71"/>
                  </a:lnTo>
                  <a:lnTo>
                    <a:pt x="131" y="46"/>
                  </a:lnTo>
                  <a:lnTo>
                    <a:pt x="165" y="27"/>
                  </a:lnTo>
                  <a:lnTo>
                    <a:pt x="204" y="13"/>
                  </a:lnTo>
                  <a:lnTo>
                    <a:pt x="245" y="3"/>
                  </a:lnTo>
                  <a:lnTo>
                    <a:pt x="287" y="0"/>
                  </a:lnTo>
                  <a:lnTo>
                    <a:pt x="2458" y="0"/>
                  </a:lnTo>
                  <a:lnTo>
                    <a:pt x="2500" y="3"/>
                  </a:lnTo>
                  <a:lnTo>
                    <a:pt x="2541" y="13"/>
                  </a:lnTo>
                  <a:lnTo>
                    <a:pt x="2579" y="27"/>
                  </a:lnTo>
                  <a:lnTo>
                    <a:pt x="2614" y="46"/>
                  </a:lnTo>
                  <a:lnTo>
                    <a:pt x="2646" y="71"/>
                  </a:lnTo>
                  <a:lnTo>
                    <a:pt x="2674" y="99"/>
                  </a:lnTo>
                  <a:lnTo>
                    <a:pt x="2699" y="131"/>
                  </a:lnTo>
                  <a:lnTo>
                    <a:pt x="2718" y="166"/>
                  </a:lnTo>
                  <a:lnTo>
                    <a:pt x="2733" y="205"/>
                  </a:lnTo>
                  <a:lnTo>
                    <a:pt x="2742" y="244"/>
                  </a:lnTo>
                  <a:lnTo>
                    <a:pt x="2745" y="287"/>
                  </a:lnTo>
                  <a:lnTo>
                    <a:pt x="2745" y="942"/>
                  </a:lnTo>
                  <a:lnTo>
                    <a:pt x="2746" y="9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-389" y="2235"/>
              <a:ext cx="305" cy="106"/>
            </a:xfrm>
            <a:custGeom>
              <a:avLst/>
              <a:gdLst>
                <a:gd name="T0" fmla="*/ 2662 w 2746"/>
                <a:gd name="T1" fmla="*/ 53 h 954"/>
                <a:gd name="T2" fmla="*/ 2689 w 2746"/>
                <a:gd name="T3" fmla="*/ 66 h 954"/>
                <a:gd name="T4" fmla="*/ 2717 w 2746"/>
                <a:gd name="T5" fmla="*/ 74 h 954"/>
                <a:gd name="T6" fmla="*/ 2746 w 2746"/>
                <a:gd name="T7" fmla="*/ 78 h 954"/>
                <a:gd name="T8" fmla="*/ 2746 w 2746"/>
                <a:gd name="T9" fmla="*/ 667 h 954"/>
                <a:gd name="T10" fmla="*/ 2743 w 2746"/>
                <a:gd name="T11" fmla="*/ 710 h 954"/>
                <a:gd name="T12" fmla="*/ 2733 w 2746"/>
                <a:gd name="T13" fmla="*/ 749 h 954"/>
                <a:gd name="T14" fmla="*/ 2719 w 2746"/>
                <a:gd name="T15" fmla="*/ 788 h 954"/>
                <a:gd name="T16" fmla="*/ 2699 w 2746"/>
                <a:gd name="T17" fmla="*/ 823 h 954"/>
                <a:gd name="T18" fmla="*/ 2675 w 2746"/>
                <a:gd name="T19" fmla="*/ 854 h 954"/>
                <a:gd name="T20" fmla="*/ 2646 w 2746"/>
                <a:gd name="T21" fmla="*/ 883 h 954"/>
                <a:gd name="T22" fmla="*/ 2614 w 2746"/>
                <a:gd name="T23" fmla="*/ 907 h 954"/>
                <a:gd name="T24" fmla="*/ 2579 w 2746"/>
                <a:gd name="T25" fmla="*/ 927 h 954"/>
                <a:gd name="T26" fmla="*/ 2541 w 2746"/>
                <a:gd name="T27" fmla="*/ 941 h 954"/>
                <a:gd name="T28" fmla="*/ 2500 w 2746"/>
                <a:gd name="T29" fmla="*/ 951 h 954"/>
                <a:gd name="T30" fmla="*/ 2458 w 2746"/>
                <a:gd name="T31" fmla="*/ 954 h 954"/>
                <a:gd name="T32" fmla="*/ 287 w 2746"/>
                <a:gd name="T33" fmla="*/ 954 h 954"/>
                <a:gd name="T34" fmla="*/ 245 w 2746"/>
                <a:gd name="T35" fmla="*/ 951 h 954"/>
                <a:gd name="T36" fmla="*/ 204 w 2746"/>
                <a:gd name="T37" fmla="*/ 941 h 954"/>
                <a:gd name="T38" fmla="*/ 165 w 2746"/>
                <a:gd name="T39" fmla="*/ 927 h 954"/>
                <a:gd name="T40" fmla="*/ 131 w 2746"/>
                <a:gd name="T41" fmla="*/ 907 h 954"/>
                <a:gd name="T42" fmla="*/ 99 w 2746"/>
                <a:gd name="T43" fmla="*/ 883 h 954"/>
                <a:gd name="T44" fmla="*/ 70 w 2746"/>
                <a:gd name="T45" fmla="*/ 854 h 954"/>
                <a:gd name="T46" fmla="*/ 46 w 2746"/>
                <a:gd name="T47" fmla="*/ 823 h 954"/>
                <a:gd name="T48" fmla="*/ 27 w 2746"/>
                <a:gd name="T49" fmla="*/ 788 h 954"/>
                <a:gd name="T50" fmla="*/ 12 w 2746"/>
                <a:gd name="T51" fmla="*/ 749 h 954"/>
                <a:gd name="T52" fmla="*/ 3 w 2746"/>
                <a:gd name="T53" fmla="*/ 710 h 954"/>
                <a:gd name="T54" fmla="*/ 0 w 2746"/>
                <a:gd name="T55" fmla="*/ 667 h 954"/>
                <a:gd name="T56" fmla="*/ 0 w 2746"/>
                <a:gd name="T57" fmla="*/ 123 h 954"/>
                <a:gd name="T58" fmla="*/ 156 w 2746"/>
                <a:gd name="T59" fmla="*/ 123 h 954"/>
                <a:gd name="T60" fmla="*/ 156 w 2746"/>
                <a:gd name="T61" fmla="*/ 667 h 954"/>
                <a:gd name="T62" fmla="*/ 159 w 2746"/>
                <a:gd name="T63" fmla="*/ 694 h 954"/>
                <a:gd name="T64" fmla="*/ 166 w 2746"/>
                <a:gd name="T65" fmla="*/ 718 h 954"/>
                <a:gd name="T66" fmla="*/ 178 w 2746"/>
                <a:gd name="T67" fmla="*/ 740 h 954"/>
                <a:gd name="T68" fmla="*/ 194 w 2746"/>
                <a:gd name="T69" fmla="*/ 759 h 954"/>
                <a:gd name="T70" fmla="*/ 214 w 2746"/>
                <a:gd name="T71" fmla="*/ 775 h 954"/>
                <a:gd name="T72" fmla="*/ 236 w 2746"/>
                <a:gd name="T73" fmla="*/ 788 h 954"/>
                <a:gd name="T74" fmla="*/ 261 w 2746"/>
                <a:gd name="T75" fmla="*/ 795 h 954"/>
                <a:gd name="T76" fmla="*/ 287 w 2746"/>
                <a:gd name="T77" fmla="*/ 798 h 954"/>
                <a:gd name="T78" fmla="*/ 2458 w 2746"/>
                <a:gd name="T79" fmla="*/ 798 h 954"/>
                <a:gd name="T80" fmla="*/ 2484 w 2746"/>
                <a:gd name="T81" fmla="*/ 795 h 954"/>
                <a:gd name="T82" fmla="*/ 2509 w 2746"/>
                <a:gd name="T83" fmla="*/ 788 h 954"/>
                <a:gd name="T84" fmla="*/ 2531 w 2746"/>
                <a:gd name="T85" fmla="*/ 775 h 954"/>
                <a:gd name="T86" fmla="*/ 2551 w 2746"/>
                <a:gd name="T87" fmla="*/ 759 h 954"/>
                <a:gd name="T88" fmla="*/ 2567 w 2746"/>
                <a:gd name="T89" fmla="*/ 740 h 954"/>
                <a:gd name="T90" fmla="*/ 2579 w 2746"/>
                <a:gd name="T91" fmla="*/ 718 h 954"/>
                <a:gd name="T92" fmla="*/ 2587 w 2746"/>
                <a:gd name="T93" fmla="*/ 694 h 954"/>
                <a:gd name="T94" fmla="*/ 2589 w 2746"/>
                <a:gd name="T95" fmla="*/ 667 h 954"/>
                <a:gd name="T96" fmla="*/ 2589 w 2746"/>
                <a:gd name="T97" fmla="*/ 181 h 954"/>
                <a:gd name="T98" fmla="*/ 2589 w 2746"/>
                <a:gd name="T99" fmla="*/ 181 h 954"/>
                <a:gd name="T100" fmla="*/ 2589 w 2746"/>
                <a:gd name="T101" fmla="*/ 9 h 954"/>
                <a:gd name="T102" fmla="*/ 2599 w 2746"/>
                <a:gd name="T103" fmla="*/ 0 h 954"/>
                <a:gd name="T104" fmla="*/ 2617 w 2746"/>
                <a:gd name="T105" fmla="*/ 20 h 954"/>
                <a:gd name="T106" fmla="*/ 2639 w 2746"/>
                <a:gd name="T107" fmla="*/ 38 h 954"/>
                <a:gd name="T108" fmla="*/ 2662 w 2746"/>
                <a:gd name="T109" fmla="*/ 53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46" h="954">
                  <a:moveTo>
                    <a:pt x="2662" y="53"/>
                  </a:moveTo>
                  <a:lnTo>
                    <a:pt x="2689" y="66"/>
                  </a:lnTo>
                  <a:lnTo>
                    <a:pt x="2717" y="74"/>
                  </a:lnTo>
                  <a:lnTo>
                    <a:pt x="2746" y="78"/>
                  </a:lnTo>
                  <a:lnTo>
                    <a:pt x="2746" y="667"/>
                  </a:lnTo>
                  <a:lnTo>
                    <a:pt x="2743" y="710"/>
                  </a:lnTo>
                  <a:lnTo>
                    <a:pt x="2733" y="749"/>
                  </a:lnTo>
                  <a:lnTo>
                    <a:pt x="2719" y="788"/>
                  </a:lnTo>
                  <a:lnTo>
                    <a:pt x="2699" y="823"/>
                  </a:lnTo>
                  <a:lnTo>
                    <a:pt x="2675" y="854"/>
                  </a:lnTo>
                  <a:lnTo>
                    <a:pt x="2646" y="883"/>
                  </a:lnTo>
                  <a:lnTo>
                    <a:pt x="2614" y="907"/>
                  </a:lnTo>
                  <a:lnTo>
                    <a:pt x="2579" y="927"/>
                  </a:lnTo>
                  <a:lnTo>
                    <a:pt x="2541" y="941"/>
                  </a:lnTo>
                  <a:lnTo>
                    <a:pt x="2500" y="951"/>
                  </a:lnTo>
                  <a:lnTo>
                    <a:pt x="2458" y="954"/>
                  </a:lnTo>
                  <a:lnTo>
                    <a:pt x="287" y="954"/>
                  </a:lnTo>
                  <a:lnTo>
                    <a:pt x="245" y="951"/>
                  </a:lnTo>
                  <a:lnTo>
                    <a:pt x="204" y="941"/>
                  </a:lnTo>
                  <a:lnTo>
                    <a:pt x="165" y="927"/>
                  </a:lnTo>
                  <a:lnTo>
                    <a:pt x="131" y="907"/>
                  </a:lnTo>
                  <a:lnTo>
                    <a:pt x="99" y="883"/>
                  </a:lnTo>
                  <a:lnTo>
                    <a:pt x="70" y="854"/>
                  </a:lnTo>
                  <a:lnTo>
                    <a:pt x="46" y="823"/>
                  </a:lnTo>
                  <a:lnTo>
                    <a:pt x="27" y="788"/>
                  </a:lnTo>
                  <a:lnTo>
                    <a:pt x="12" y="749"/>
                  </a:lnTo>
                  <a:lnTo>
                    <a:pt x="3" y="710"/>
                  </a:lnTo>
                  <a:lnTo>
                    <a:pt x="0" y="667"/>
                  </a:lnTo>
                  <a:lnTo>
                    <a:pt x="0" y="123"/>
                  </a:lnTo>
                  <a:lnTo>
                    <a:pt x="156" y="123"/>
                  </a:lnTo>
                  <a:lnTo>
                    <a:pt x="156" y="667"/>
                  </a:lnTo>
                  <a:lnTo>
                    <a:pt x="159" y="694"/>
                  </a:lnTo>
                  <a:lnTo>
                    <a:pt x="166" y="718"/>
                  </a:lnTo>
                  <a:lnTo>
                    <a:pt x="178" y="740"/>
                  </a:lnTo>
                  <a:lnTo>
                    <a:pt x="194" y="759"/>
                  </a:lnTo>
                  <a:lnTo>
                    <a:pt x="214" y="775"/>
                  </a:lnTo>
                  <a:lnTo>
                    <a:pt x="236" y="788"/>
                  </a:lnTo>
                  <a:lnTo>
                    <a:pt x="261" y="795"/>
                  </a:lnTo>
                  <a:lnTo>
                    <a:pt x="287" y="798"/>
                  </a:lnTo>
                  <a:lnTo>
                    <a:pt x="2458" y="798"/>
                  </a:lnTo>
                  <a:lnTo>
                    <a:pt x="2484" y="795"/>
                  </a:lnTo>
                  <a:lnTo>
                    <a:pt x="2509" y="788"/>
                  </a:lnTo>
                  <a:lnTo>
                    <a:pt x="2531" y="775"/>
                  </a:lnTo>
                  <a:lnTo>
                    <a:pt x="2551" y="759"/>
                  </a:lnTo>
                  <a:lnTo>
                    <a:pt x="2567" y="740"/>
                  </a:lnTo>
                  <a:lnTo>
                    <a:pt x="2579" y="718"/>
                  </a:lnTo>
                  <a:lnTo>
                    <a:pt x="2587" y="694"/>
                  </a:lnTo>
                  <a:lnTo>
                    <a:pt x="2589" y="667"/>
                  </a:lnTo>
                  <a:lnTo>
                    <a:pt x="2589" y="181"/>
                  </a:lnTo>
                  <a:lnTo>
                    <a:pt x="2589" y="181"/>
                  </a:lnTo>
                  <a:lnTo>
                    <a:pt x="2589" y="9"/>
                  </a:lnTo>
                  <a:lnTo>
                    <a:pt x="2599" y="0"/>
                  </a:lnTo>
                  <a:lnTo>
                    <a:pt x="2617" y="20"/>
                  </a:lnTo>
                  <a:lnTo>
                    <a:pt x="2639" y="38"/>
                  </a:lnTo>
                  <a:lnTo>
                    <a:pt x="2662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1" name="Freeform 10"/>
            <p:cNvSpPr>
              <a:spLocks/>
            </p:cNvSpPr>
            <p:nvPr/>
          </p:nvSpPr>
          <p:spPr bwMode="auto">
            <a:xfrm>
              <a:off x="-413" y="2218"/>
              <a:ext cx="72" cy="29"/>
            </a:xfrm>
            <a:custGeom>
              <a:avLst/>
              <a:gdLst>
                <a:gd name="T0" fmla="*/ 400 w 647"/>
                <a:gd name="T1" fmla="*/ 64 h 264"/>
                <a:gd name="T2" fmla="*/ 68 w 647"/>
                <a:gd name="T3" fmla="*/ 64 h 264"/>
                <a:gd name="T4" fmla="*/ 51 w 647"/>
                <a:gd name="T5" fmla="*/ 67 h 264"/>
                <a:gd name="T6" fmla="*/ 35 w 647"/>
                <a:gd name="T7" fmla="*/ 73 h 264"/>
                <a:gd name="T8" fmla="*/ 21 w 647"/>
                <a:gd name="T9" fmla="*/ 84 h 264"/>
                <a:gd name="T10" fmla="*/ 10 w 647"/>
                <a:gd name="T11" fmla="*/ 97 h 264"/>
                <a:gd name="T12" fmla="*/ 4 w 647"/>
                <a:gd name="T13" fmla="*/ 114 h 264"/>
                <a:gd name="T14" fmla="*/ 0 w 647"/>
                <a:gd name="T15" fmla="*/ 131 h 264"/>
                <a:gd name="T16" fmla="*/ 4 w 647"/>
                <a:gd name="T17" fmla="*/ 149 h 264"/>
                <a:gd name="T18" fmla="*/ 10 w 647"/>
                <a:gd name="T19" fmla="*/ 166 h 264"/>
                <a:gd name="T20" fmla="*/ 21 w 647"/>
                <a:gd name="T21" fmla="*/ 179 h 264"/>
                <a:gd name="T22" fmla="*/ 35 w 647"/>
                <a:gd name="T23" fmla="*/ 190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0 h 264"/>
                <a:gd name="T32" fmla="*/ 437 w 647"/>
                <a:gd name="T33" fmla="*/ 238 h 264"/>
                <a:gd name="T34" fmla="*/ 459 w 647"/>
                <a:gd name="T35" fmla="*/ 252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1 h 264"/>
                <a:gd name="T42" fmla="*/ 566 w 647"/>
                <a:gd name="T43" fmla="*/ 253 h 264"/>
                <a:gd name="T44" fmla="*/ 588 w 647"/>
                <a:gd name="T45" fmla="*/ 242 h 264"/>
                <a:gd name="T46" fmla="*/ 607 w 647"/>
                <a:gd name="T47" fmla="*/ 224 h 264"/>
                <a:gd name="T48" fmla="*/ 624 w 647"/>
                <a:gd name="T49" fmla="*/ 205 h 264"/>
                <a:gd name="T50" fmla="*/ 636 w 647"/>
                <a:gd name="T51" fmla="*/ 183 h 264"/>
                <a:gd name="T52" fmla="*/ 644 w 647"/>
                <a:gd name="T53" fmla="*/ 158 h 264"/>
                <a:gd name="T54" fmla="*/ 647 w 647"/>
                <a:gd name="T55" fmla="*/ 131 h 264"/>
                <a:gd name="T56" fmla="*/ 644 w 647"/>
                <a:gd name="T57" fmla="*/ 104 h 264"/>
                <a:gd name="T58" fmla="*/ 636 w 647"/>
                <a:gd name="T59" fmla="*/ 80 h 264"/>
                <a:gd name="T60" fmla="*/ 624 w 647"/>
                <a:gd name="T61" fmla="*/ 57 h 264"/>
                <a:gd name="T62" fmla="*/ 607 w 647"/>
                <a:gd name="T63" fmla="*/ 38 h 264"/>
                <a:gd name="T64" fmla="*/ 588 w 647"/>
                <a:gd name="T65" fmla="*/ 22 h 264"/>
                <a:gd name="T66" fmla="*/ 566 w 647"/>
                <a:gd name="T67" fmla="*/ 9 h 264"/>
                <a:gd name="T68" fmla="*/ 541 w 647"/>
                <a:gd name="T69" fmla="*/ 2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1 h 264"/>
                <a:gd name="T76" fmla="*/ 437 w 647"/>
                <a:gd name="T77" fmla="*/ 24 h 264"/>
                <a:gd name="T78" fmla="*/ 416 w 647"/>
                <a:gd name="T79" fmla="*/ 42 h 264"/>
                <a:gd name="T80" fmla="*/ 400 w 647"/>
                <a:gd name="T81" fmla="*/ 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4"/>
                  </a:moveTo>
                  <a:lnTo>
                    <a:pt x="68" y="64"/>
                  </a:lnTo>
                  <a:lnTo>
                    <a:pt x="51" y="67"/>
                  </a:lnTo>
                  <a:lnTo>
                    <a:pt x="35" y="73"/>
                  </a:lnTo>
                  <a:lnTo>
                    <a:pt x="21" y="84"/>
                  </a:lnTo>
                  <a:lnTo>
                    <a:pt x="10" y="97"/>
                  </a:lnTo>
                  <a:lnTo>
                    <a:pt x="4" y="114"/>
                  </a:lnTo>
                  <a:lnTo>
                    <a:pt x="0" y="131"/>
                  </a:lnTo>
                  <a:lnTo>
                    <a:pt x="4" y="149"/>
                  </a:lnTo>
                  <a:lnTo>
                    <a:pt x="10" y="166"/>
                  </a:lnTo>
                  <a:lnTo>
                    <a:pt x="21" y="179"/>
                  </a:lnTo>
                  <a:lnTo>
                    <a:pt x="35" y="190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0"/>
                  </a:lnTo>
                  <a:lnTo>
                    <a:pt x="437" y="238"/>
                  </a:lnTo>
                  <a:lnTo>
                    <a:pt x="459" y="252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1"/>
                  </a:lnTo>
                  <a:lnTo>
                    <a:pt x="566" y="253"/>
                  </a:lnTo>
                  <a:lnTo>
                    <a:pt x="588" y="242"/>
                  </a:lnTo>
                  <a:lnTo>
                    <a:pt x="607" y="224"/>
                  </a:lnTo>
                  <a:lnTo>
                    <a:pt x="624" y="205"/>
                  </a:lnTo>
                  <a:lnTo>
                    <a:pt x="636" y="183"/>
                  </a:lnTo>
                  <a:lnTo>
                    <a:pt x="644" y="158"/>
                  </a:lnTo>
                  <a:lnTo>
                    <a:pt x="647" y="131"/>
                  </a:lnTo>
                  <a:lnTo>
                    <a:pt x="644" y="104"/>
                  </a:lnTo>
                  <a:lnTo>
                    <a:pt x="636" y="80"/>
                  </a:lnTo>
                  <a:lnTo>
                    <a:pt x="624" y="57"/>
                  </a:lnTo>
                  <a:lnTo>
                    <a:pt x="607" y="38"/>
                  </a:lnTo>
                  <a:lnTo>
                    <a:pt x="588" y="22"/>
                  </a:lnTo>
                  <a:lnTo>
                    <a:pt x="566" y="9"/>
                  </a:lnTo>
                  <a:lnTo>
                    <a:pt x="541" y="2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1"/>
                  </a:lnTo>
                  <a:lnTo>
                    <a:pt x="437" y="24"/>
                  </a:lnTo>
                  <a:lnTo>
                    <a:pt x="416" y="42"/>
                  </a:lnTo>
                  <a:lnTo>
                    <a:pt x="400" y="6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2" name="Freeform 11"/>
            <p:cNvSpPr>
              <a:spLocks/>
            </p:cNvSpPr>
            <p:nvPr/>
          </p:nvSpPr>
          <p:spPr bwMode="auto">
            <a:xfrm>
              <a:off x="-413" y="2145"/>
              <a:ext cx="72" cy="30"/>
            </a:xfrm>
            <a:custGeom>
              <a:avLst/>
              <a:gdLst>
                <a:gd name="T0" fmla="*/ 400 w 647"/>
                <a:gd name="T1" fmla="*/ 66 h 265"/>
                <a:gd name="T2" fmla="*/ 68 w 647"/>
                <a:gd name="T3" fmla="*/ 66 h 265"/>
                <a:gd name="T4" fmla="*/ 51 w 647"/>
                <a:gd name="T5" fmla="*/ 68 h 265"/>
                <a:gd name="T6" fmla="*/ 35 w 647"/>
                <a:gd name="T7" fmla="*/ 74 h 265"/>
                <a:gd name="T8" fmla="*/ 21 w 647"/>
                <a:gd name="T9" fmla="*/ 85 h 265"/>
                <a:gd name="T10" fmla="*/ 10 w 647"/>
                <a:gd name="T11" fmla="*/ 99 h 265"/>
                <a:gd name="T12" fmla="*/ 4 w 647"/>
                <a:gd name="T13" fmla="*/ 115 h 265"/>
                <a:gd name="T14" fmla="*/ 0 w 647"/>
                <a:gd name="T15" fmla="*/ 132 h 265"/>
                <a:gd name="T16" fmla="*/ 4 w 647"/>
                <a:gd name="T17" fmla="*/ 151 h 265"/>
                <a:gd name="T18" fmla="*/ 10 w 647"/>
                <a:gd name="T19" fmla="*/ 167 h 265"/>
                <a:gd name="T20" fmla="*/ 21 w 647"/>
                <a:gd name="T21" fmla="*/ 181 h 265"/>
                <a:gd name="T22" fmla="*/ 35 w 647"/>
                <a:gd name="T23" fmla="*/ 191 h 265"/>
                <a:gd name="T24" fmla="*/ 51 w 647"/>
                <a:gd name="T25" fmla="*/ 198 h 265"/>
                <a:gd name="T26" fmla="*/ 68 w 647"/>
                <a:gd name="T27" fmla="*/ 200 h 265"/>
                <a:gd name="T28" fmla="*/ 400 w 647"/>
                <a:gd name="T29" fmla="*/ 200 h 265"/>
                <a:gd name="T30" fmla="*/ 416 w 647"/>
                <a:gd name="T31" fmla="*/ 222 h 265"/>
                <a:gd name="T32" fmla="*/ 437 w 647"/>
                <a:gd name="T33" fmla="*/ 240 h 265"/>
                <a:gd name="T34" fmla="*/ 460 w 647"/>
                <a:gd name="T35" fmla="*/ 253 h 265"/>
                <a:gd name="T36" fmla="*/ 486 w 647"/>
                <a:gd name="T37" fmla="*/ 262 h 265"/>
                <a:gd name="T38" fmla="*/ 514 w 647"/>
                <a:gd name="T39" fmla="*/ 265 h 265"/>
                <a:gd name="T40" fmla="*/ 541 w 647"/>
                <a:gd name="T41" fmla="*/ 263 h 265"/>
                <a:gd name="T42" fmla="*/ 566 w 647"/>
                <a:gd name="T43" fmla="*/ 255 h 265"/>
                <a:gd name="T44" fmla="*/ 588 w 647"/>
                <a:gd name="T45" fmla="*/ 242 h 265"/>
                <a:gd name="T46" fmla="*/ 607 w 647"/>
                <a:gd name="T47" fmla="*/ 226 h 265"/>
                <a:gd name="T48" fmla="*/ 624 w 647"/>
                <a:gd name="T49" fmla="*/ 207 h 265"/>
                <a:gd name="T50" fmla="*/ 636 w 647"/>
                <a:gd name="T51" fmla="*/ 184 h 265"/>
                <a:gd name="T52" fmla="*/ 644 w 647"/>
                <a:gd name="T53" fmla="*/ 160 h 265"/>
                <a:gd name="T54" fmla="*/ 647 w 647"/>
                <a:gd name="T55" fmla="*/ 132 h 265"/>
                <a:gd name="T56" fmla="*/ 644 w 647"/>
                <a:gd name="T57" fmla="*/ 106 h 265"/>
                <a:gd name="T58" fmla="*/ 636 w 647"/>
                <a:gd name="T59" fmla="*/ 82 h 265"/>
                <a:gd name="T60" fmla="*/ 624 w 647"/>
                <a:gd name="T61" fmla="*/ 59 h 265"/>
                <a:gd name="T62" fmla="*/ 607 w 647"/>
                <a:gd name="T63" fmla="*/ 40 h 265"/>
                <a:gd name="T64" fmla="*/ 588 w 647"/>
                <a:gd name="T65" fmla="*/ 24 h 265"/>
                <a:gd name="T66" fmla="*/ 566 w 647"/>
                <a:gd name="T67" fmla="*/ 11 h 265"/>
                <a:gd name="T68" fmla="*/ 541 w 647"/>
                <a:gd name="T69" fmla="*/ 3 h 265"/>
                <a:gd name="T70" fmla="*/ 514 w 647"/>
                <a:gd name="T71" fmla="*/ 0 h 265"/>
                <a:gd name="T72" fmla="*/ 486 w 647"/>
                <a:gd name="T73" fmla="*/ 3 h 265"/>
                <a:gd name="T74" fmla="*/ 460 w 647"/>
                <a:gd name="T75" fmla="*/ 12 h 265"/>
                <a:gd name="T76" fmla="*/ 437 w 647"/>
                <a:gd name="T77" fmla="*/ 26 h 265"/>
                <a:gd name="T78" fmla="*/ 416 w 647"/>
                <a:gd name="T79" fmla="*/ 44 h 265"/>
                <a:gd name="T80" fmla="*/ 400 w 647"/>
                <a:gd name="T81" fmla="*/ 66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5">
                  <a:moveTo>
                    <a:pt x="400" y="66"/>
                  </a:moveTo>
                  <a:lnTo>
                    <a:pt x="68" y="66"/>
                  </a:lnTo>
                  <a:lnTo>
                    <a:pt x="51" y="68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9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1"/>
                  </a:lnTo>
                  <a:lnTo>
                    <a:pt x="10" y="167"/>
                  </a:lnTo>
                  <a:lnTo>
                    <a:pt x="21" y="181"/>
                  </a:lnTo>
                  <a:lnTo>
                    <a:pt x="35" y="191"/>
                  </a:lnTo>
                  <a:lnTo>
                    <a:pt x="51" y="198"/>
                  </a:lnTo>
                  <a:lnTo>
                    <a:pt x="68" y="200"/>
                  </a:lnTo>
                  <a:lnTo>
                    <a:pt x="400" y="200"/>
                  </a:lnTo>
                  <a:lnTo>
                    <a:pt x="416" y="222"/>
                  </a:lnTo>
                  <a:lnTo>
                    <a:pt x="437" y="240"/>
                  </a:lnTo>
                  <a:lnTo>
                    <a:pt x="460" y="253"/>
                  </a:lnTo>
                  <a:lnTo>
                    <a:pt x="486" y="262"/>
                  </a:lnTo>
                  <a:lnTo>
                    <a:pt x="514" y="265"/>
                  </a:lnTo>
                  <a:lnTo>
                    <a:pt x="541" y="263"/>
                  </a:lnTo>
                  <a:lnTo>
                    <a:pt x="566" y="255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2"/>
                  </a:lnTo>
                  <a:lnTo>
                    <a:pt x="644" y="106"/>
                  </a:lnTo>
                  <a:lnTo>
                    <a:pt x="636" y="82"/>
                  </a:lnTo>
                  <a:lnTo>
                    <a:pt x="624" y="59"/>
                  </a:lnTo>
                  <a:lnTo>
                    <a:pt x="607" y="40"/>
                  </a:lnTo>
                  <a:lnTo>
                    <a:pt x="588" y="24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60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3" name="Freeform 12"/>
            <p:cNvSpPr>
              <a:spLocks/>
            </p:cNvSpPr>
            <p:nvPr/>
          </p:nvSpPr>
          <p:spPr bwMode="auto">
            <a:xfrm>
              <a:off x="-413" y="2073"/>
              <a:ext cx="72" cy="29"/>
            </a:xfrm>
            <a:custGeom>
              <a:avLst/>
              <a:gdLst>
                <a:gd name="T0" fmla="*/ 400 w 647"/>
                <a:gd name="T1" fmla="*/ 65 h 264"/>
                <a:gd name="T2" fmla="*/ 68 w 647"/>
                <a:gd name="T3" fmla="*/ 65 h 264"/>
                <a:gd name="T4" fmla="*/ 51 w 647"/>
                <a:gd name="T5" fmla="*/ 67 h 264"/>
                <a:gd name="T6" fmla="*/ 35 w 647"/>
                <a:gd name="T7" fmla="*/ 74 h 264"/>
                <a:gd name="T8" fmla="*/ 21 w 647"/>
                <a:gd name="T9" fmla="*/ 85 h 264"/>
                <a:gd name="T10" fmla="*/ 10 w 647"/>
                <a:gd name="T11" fmla="*/ 98 h 264"/>
                <a:gd name="T12" fmla="*/ 4 w 647"/>
                <a:gd name="T13" fmla="*/ 115 h 264"/>
                <a:gd name="T14" fmla="*/ 0 w 647"/>
                <a:gd name="T15" fmla="*/ 132 h 264"/>
                <a:gd name="T16" fmla="*/ 4 w 647"/>
                <a:gd name="T17" fmla="*/ 150 h 264"/>
                <a:gd name="T18" fmla="*/ 10 w 647"/>
                <a:gd name="T19" fmla="*/ 166 h 264"/>
                <a:gd name="T20" fmla="*/ 21 w 647"/>
                <a:gd name="T21" fmla="*/ 180 h 264"/>
                <a:gd name="T22" fmla="*/ 35 w 647"/>
                <a:gd name="T23" fmla="*/ 191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2 h 264"/>
                <a:gd name="T32" fmla="*/ 437 w 647"/>
                <a:gd name="T33" fmla="*/ 239 h 264"/>
                <a:gd name="T34" fmla="*/ 459 w 647"/>
                <a:gd name="T35" fmla="*/ 253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2 h 264"/>
                <a:gd name="T42" fmla="*/ 566 w 647"/>
                <a:gd name="T43" fmla="*/ 254 h 264"/>
                <a:gd name="T44" fmla="*/ 588 w 647"/>
                <a:gd name="T45" fmla="*/ 242 h 264"/>
                <a:gd name="T46" fmla="*/ 607 w 647"/>
                <a:gd name="T47" fmla="*/ 226 h 264"/>
                <a:gd name="T48" fmla="*/ 624 w 647"/>
                <a:gd name="T49" fmla="*/ 207 h 264"/>
                <a:gd name="T50" fmla="*/ 636 w 647"/>
                <a:gd name="T51" fmla="*/ 184 h 264"/>
                <a:gd name="T52" fmla="*/ 644 w 647"/>
                <a:gd name="T53" fmla="*/ 160 h 264"/>
                <a:gd name="T54" fmla="*/ 647 w 647"/>
                <a:gd name="T55" fmla="*/ 133 h 264"/>
                <a:gd name="T56" fmla="*/ 644 w 647"/>
                <a:gd name="T57" fmla="*/ 106 h 264"/>
                <a:gd name="T58" fmla="*/ 636 w 647"/>
                <a:gd name="T59" fmla="*/ 81 h 264"/>
                <a:gd name="T60" fmla="*/ 624 w 647"/>
                <a:gd name="T61" fmla="*/ 59 h 264"/>
                <a:gd name="T62" fmla="*/ 607 w 647"/>
                <a:gd name="T63" fmla="*/ 39 h 264"/>
                <a:gd name="T64" fmla="*/ 588 w 647"/>
                <a:gd name="T65" fmla="*/ 22 h 264"/>
                <a:gd name="T66" fmla="*/ 566 w 647"/>
                <a:gd name="T67" fmla="*/ 11 h 264"/>
                <a:gd name="T68" fmla="*/ 541 w 647"/>
                <a:gd name="T69" fmla="*/ 3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2 h 264"/>
                <a:gd name="T76" fmla="*/ 437 w 647"/>
                <a:gd name="T77" fmla="*/ 26 h 264"/>
                <a:gd name="T78" fmla="*/ 416 w 647"/>
                <a:gd name="T79" fmla="*/ 44 h 264"/>
                <a:gd name="T80" fmla="*/ 400 w 647"/>
                <a:gd name="T81" fmla="*/ 65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5"/>
                  </a:moveTo>
                  <a:lnTo>
                    <a:pt x="68" y="65"/>
                  </a:lnTo>
                  <a:lnTo>
                    <a:pt x="51" y="67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8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0"/>
                  </a:lnTo>
                  <a:lnTo>
                    <a:pt x="10" y="166"/>
                  </a:lnTo>
                  <a:lnTo>
                    <a:pt x="21" y="180"/>
                  </a:lnTo>
                  <a:lnTo>
                    <a:pt x="35" y="191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2"/>
                  </a:lnTo>
                  <a:lnTo>
                    <a:pt x="437" y="239"/>
                  </a:lnTo>
                  <a:lnTo>
                    <a:pt x="459" y="253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2"/>
                  </a:lnTo>
                  <a:lnTo>
                    <a:pt x="566" y="254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3"/>
                  </a:lnTo>
                  <a:lnTo>
                    <a:pt x="644" y="106"/>
                  </a:lnTo>
                  <a:lnTo>
                    <a:pt x="636" y="81"/>
                  </a:lnTo>
                  <a:lnTo>
                    <a:pt x="624" y="59"/>
                  </a:lnTo>
                  <a:lnTo>
                    <a:pt x="607" y="39"/>
                  </a:lnTo>
                  <a:lnTo>
                    <a:pt x="588" y="22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4" name="Freeform 13"/>
            <p:cNvSpPr>
              <a:spLocks/>
            </p:cNvSpPr>
            <p:nvPr/>
          </p:nvSpPr>
          <p:spPr bwMode="auto">
            <a:xfrm>
              <a:off x="-118" y="2110"/>
              <a:ext cx="91" cy="90"/>
            </a:xfrm>
            <a:custGeom>
              <a:avLst/>
              <a:gdLst>
                <a:gd name="T0" fmla="*/ 537 w 816"/>
                <a:gd name="T1" fmla="*/ 547 h 805"/>
                <a:gd name="T2" fmla="*/ 497 w 816"/>
                <a:gd name="T3" fmla="*/ 587 h 805"/>
                <a:gd name="T4" fmla="*/ 468 w 816"/>
                <a:gd name="T5" fmla="*/ 616 h 805"/>
                <a:gd name="T6" fmla="*/ 447 w 816"/>
                <a:gd name="T7" fmla="*/ 636 h 805"/>
                <a:gd name="T8" fmla="*/ 433 w 816"/>
                <a:gd name="T9" fmla="*/ 650 h 805"/>
                <a:gd name="T10" fmla="*/ 421 w 816"/>
                <a:gd name="T11" fmla="*/ 662 h 805"/>
                <a:gd name="T12" fmla="*/ 410 w 816"/>
                <a:gd name="T13" fmla="*/ 673 h 805"/>
                <a:gd name="T14" fmla="*/ 395 w 816"/>
                <a:gd name="T15" fmla="*/ 688 h 805"/>
                <a:gd name="T16" fmla="*/ 374 w 816"/>
                <a:gd name="T17" fmla="*/ 708 h 805"/>
                <a:gd name="T18" fmla="*/ 345 w 816"/>
                <a:gd name="T19" fmla="*/ 737 h 805"/>
                <a:gd name="T20" fmla="*/ 303 w 816"/>
                <a:gd name="T21" fmla="*/ 779 h 805"/>
                <a:gd name="T22" fmla="*/ 208 w 816"/>
                <a:gd name="T23" fmla="*/ 736 h 805"/>
                <a:gd name="T24" fmla="*/ 68 w 816"/>
                <a:gd name="T25" fmla="*/ 607 h 805"/>
                <a:gd name="T26" fmla="*/ 0 w 816"/>
                <a:gd name="T27" fmla="*/ 538 h 805"/>
                <a:gd name="T28" fmla="*/ 2 w 816"/>
                <a:gd name="T29" fmla="*/ 535 h 805"/>
                <a:gd name="T30" fmla="*/ 37 w 816"/>
                <a:gd name="T31" fmla="*/ 499 h 805"/>
                <a:gd name="T32" fmla="*/ 92 w 816"/>
                <a:gd name="T33" fmla="*/ 446 h 805"/>
                <a:gd name="T34" fmla="*/ 135 w 816"/>
                <a:gd name="T35" fmla="*/ 403 h 805"/>
                <a:gd name="T36" fmla="*/ 169 w 816"/>
                <a:gd name="T37" fmla="*/ 369 h 805"/>
                <a:gd name="T38" fmla="*/ 197 w 816"/>
                <a:gd name="T39" fmla="*/ 341 h 805"/>
                <a:gd name="T40" fmla="*/ 223 w 816"/>
                <a:gd name="T41" fmla="*/ 315 h 805"/>
                <a:gd name="T42" fmla="*/ 248 w 816"/>
                <a:gd name="T43" fmla="*/ 291 h 805"/>
                <a:gd name="T44" fmla="*/ 277 w 816"/>
                <a:gd name="T45" fmla="*/ 263 h 805"/>
                <a:gd name="T46" fmla="*/ 312 w 816"/>
                <a:gd name="T47" fmla="*/ 228 h 805"/>
                <a:gd name="T48" fmla="*/ 356 w 816"/>
                <a:gd name="T49" fmla="*/ 187 h 805"/>
                <a:gd name="T50" fmla="*/ 411 w 816"/>
                <a:gd name="T51" fmla="*/ 133 h 805"/>
                <a:gd name="T52" fmla="*/ 473 w 816"/>
                <a:gd name="T53" fmla="*/ 75 h 805"/>
                <a:gd name="T54" fmla="*/ 540 w 816"/>
                <a:gd name="T55" fmla="*/ 31 h 805"/>
                <a:gd name="T56" fmla="*/ 602 w 816"/>
                <a:gd name="T57" fmla="*/ 4 h 805"/>
                <a:gd name="T58" fmla="*/ 657 w 816"/>
                <a:gd name="T59" fmla="*/ 1 h 805"/>
                <a:gd name="T60" fmla="*/ 709 w 816"/>
                <a:gd name="T61" fmla="*/ 22 h 805"/>
                <a:gd name="T62" fmla="*/ 759 w 816"/>
                <a:gd name="T63" fmla="*/ 60 h 805"/>
                <a:gd name="T64" fmla="*/ 796 w 816"/>
                <a:gd name="T65" fmla="*/ 108 h 805"/>
                <a:gd name="T66" fmla="*/ 815 w 816"/>
                <a:gd name="T67" fmla="*/ 161 h 805"/>
                <a:gd name="T68" fmla="*/ 810 w 816"/>
                <a:gd name="T69" fmla="*/ 217 h 805"/>
                <a:gd name="T70" fmla="*/ 773 w 816"/>
                <a:gd name="T71" fmla="*/ 283 h 805"/>
                <a:gd name="T72" fmla="*/ 717 w 816"/>
                <a:gd name="T73" fmla="*/ 354 h 805"/>
                <a:gd name="T74" fmla="*/ 681 w 816"/>
                <a:gd name="T75" fmla="*/ 398 h 805"/>
                <a:gd name="T76" fmla="*/ 656 w 816"/>
                <a:gd name="T77" fmla="*/ 424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6" h="805">
                  <a:moveTo>
                    <a:pt x="563" y="521"/>
                  </a:moveTo>
                  <a:lnTo>
                    <a:pt x="537" y="547"/>
                  </a:lnTo>
                  <a:lnTo>
                    <a:pt x="516" y="569"/>
                  </a:lnTo>
                  <a:lnTo>
                    <a:pt x="497" y="587"/>
                  </a:lnTo>
                  <a:lnTo>
                    <a:pt x="482" y="603"/>
                  </a:lnTo>
                  <a:lnTo>
                    <a:pt x="468" y="616"/>
                  </a:lnTo>
                  <a:lnTo>
                    <a:pt x="457" y="627"/>
                  </a:lnTo>
                  <a:lnTo>
                    <a:pt x="447" y="636"/>
                  </a:lnTo>
                  <a:lnTo>
                    <a:pt x="440" y="644"/>
                  </a:lnTo>
                  <a:lnTo>
                    <a:pt x="433" y="650"/>
                  </a:lnTo>
                  <a:lnTo>
                    <a:pt x="427" y="657"/>
                  </a:lnTo>
                  <a:lnTo>
                    <a:pt x="421" y="662"/>
                  </a:lnTo>
                  <a:lnTo>
                    <a:pt x="416" y="668"/>
                  </a:lnTo>
                  <a:lnTo>
                    <a:pt x="410" y="673"/>
                  </a:lnTo>
                  <a:lnTo>
                    <a:pt x="403" y="679"/>
                  </a:lnTo>
                  <a:lnTo>
                    <a:pt x="395" y="688"/>
                  </a:lnTo>
                  <a:lnTo>
                    <a:pt x="386" y="696"/>
                  </a:lnTo>
                  <a:lnTo>
                    <a:pt x="374" y="708"/>
                  </a:lnTo>
                  <a:lnTo>
                    <a:pt x="361" y="721"/>
                  </a:lnTo>
                  <a:lnTo>
                    <a:pt x="345" y="737"/>
                  </a:lnTo>
                  <a:lnTo>
                    <a:pt x="326" y="756"/>
                  </a:lnTo>
                  <a:lnTo>
                    <a:pt x="303" y="779"/>
                  </a:lnTo>
                  <a:lnTo>
                    <a:pt x="277" y="805"/>
                  </a:lnTo>
                  <a:lnTo>
                    <a:pt x="208" y="736"/>
                  </a:lnTo>
                  <a:lnTo>
                    <a:pt x="138" y="671"/>
                  </a:lnTo>
                  <a:lnTo>
                    <a:pt x="68" y="607"/>
                  </a:lnTo>
                  <a:lnTo>
                    <a:pt x="0" y="539"/>
                  </a:lnTo>
                  <a:lnTo>
                    <a:pt x="0" y="538"/>
                  </a:lnTo>
                  <a:lnTo>
                    <a:pt x="1" y="537"/>
                  </a:lnTo>
                  <a:lnTo>
                    <a:pt x="2" y="535"/>
                  </a:lnTo>
                  <a:lnTo>
                    <a:pt x="3" y="533"/>
                  </a:lnTo>
                  <a:lnTo>
                    <a:pt x="37" y="499"/>
                  </a:lnTo>
                  <a:lnTo>
                    <a:pt x="66" y="472"/>
                  </a:lnTo>
                  <a:lnTo>
                    <a:pt x="92" y="446"/>
                  </a:lnTo>
                  <a:lnTo>
                    <a:pt x="114" y="423"/>
                  </a:lnTo>
                  <a:lnTo>
                    <a:pt x="135" y="403"/>
                  </a:lnTo>
                  <a:lnTo>
                    <a:pt x="152" y="385"/>
                  </a:lnTo>
                  <a:lnTo>
                    <a:pt x="169" y="369"/>
                  </a:lnTo>
                  <a:lnTo>
                    <a:pt x="183" y="355"/>
                  </a:lnTo>
                  <a:lnTo>
                    <a:pt x="197" y="341"/>
                  </a:lnTo>
                  <a:lnTo>
                    <a:pt x="210" y="328"/>
                  </a:lnTo>
                  <a:lnTo>
                    <a:pt x="223" y="315"/>
                  </a:lnTo>
                  <a:lnTo>
                    <a:pt x="236" y="303"/>
                  </a:lnTo>
                  <a:lnTo>
                    <a:pt x="248" y="291"/>
                  </a:lnTo>
                  <a:lnTo>
                    <a:pt x="262" y="277"/>
                  </a:lnTo>
                  <a:lnTo>
                    <a:pt x="277" y="263"/>
                  </a:lnTo>
                  <a:lnTo>
                    <a:pt x="294" y="247"/>
                  </a:lnTo>
                  <a:lnTo>
                    <a:pt x="312" y="228"/>
                  </a:lnTo>
                  <a:lnTo>
                    <a:pt x="332" y="209"/>
                  </a:lnTo>
                  <a:lnTo>
                    <a:pt x="356" y="187"/>
                  </a:lnTo>
                  <a:lnTo>
                    <a:pt x="382" y="161"/>
                  </a:lnTo>
                  <a:lnTo>
                    <a:pt x="411" y="133"/>
                  </a:lnTo>
                  <a:lnTo>
                    <a:pt x="443" y="101"/>
                  </a:lnTo>
                  <a:lnTo>
                    <a:pt x="473" y="75"/>
                  </a:lnTo>
                  <a:lnTo>
                    <a:pt x="505" y="52"/>
                  </a:lnTo>
                  <a:lnTo>
                    <a:pt x="540" y="31"/>
                  </a:lnTo>
                  <a:lnTo>
                    <a:pt x="574" y="14"/>
                  </a:lnTo>
                  <a:lnTo>
                    <a:pt x="602" y="4"/>
                  </a:lnTo>
                  <a:lnTo>
                    <a:pt x="630" y="0"/>
                  </a:lnTo>
                  <a:lnTo>
                    <a:pt x="657" y="1"/>
                  </a:lnTo>
                  <a:lnTo>
                    <a:pt x="684" y="9"/>
                  </a:lnTo>
                  <a:lnTo>
                    <a:pt x="709" y="22"/>
                  </a:lnTo>
                  <a:lnTo>
                    <a:pt x="734" y="39"/>
                  </a:lnTo>
                  <a:lnTo>
                    <a:pt x="759" y="60"/>
                  </a:lnTo>
                  <a:lnTo>
                    <a:pt x="780" y="84"/>
                  </a:lnTo>
                  <a:lnTo>
                    <a:pt x="796" y="108"/>
                  </a:lnTo>
                  <a:lnTo>
                    <a:pt x="808" y="134"/>
                  </a:lnTo>
                  <a:lnTo>
                    <a:pt x="815" y="161"/>
                  </a:lnTo>
                  <a:lnTo>
                    <a:pt x="816" y="188"/>
                  </a:lnTo>
                  <a:lnTo>
                    <a:pt x="810" y="217"/>
                  </a:lnTo>
                  <a:lnTo>
                    <a:pt x="798" y="246"/>
                  </a:lnTo>
                  <a:lnTo>
                    <a:pt x="773" y="283"/>
                  </a:lnTo>
                  <a:lnTo>
                    <a:pt x="746" y="319"/>
                  </a:lnTo>
                  <a:lnTo>
                    <a:pt x="717" y="354"/>
                  </a:lnTo>
                  <a:lnTo>
                    <a:pt x="689" y="389"/>
                  </a:lnTo>
                  <a:lnTo>
                    <a:pt x="681" y="398"/>
                  </a:lnTo>
                  <a:lnTo>
                    <a:pt x="674" y="407"/>
                  </a:lnTo>
                  <a:lnTo>
                    <a:pt x="656" y="424"/>
                  </a:lnTo>
                  <a:lnTo>
                    <a:pt x="563" y="5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4"/>
            <p:cNvSpPr>
              <a:spLocks/>
            </p:cNvSpPr>
            <p:nvPr/>
          </p:nvSpPr>
          <p:spPr bwMode="auto">
            <a:xfrm>
              <a:off x="-89" y="2158"/>
              <a:ext cx="69" cy="70"/>
            </a:xfrm>
            <a:custGeom>
              <a:avLst/>
              <a:gdLst>
                <a:gd name="T0" fmla="*/ 606 w 629"/>
                <a:gd name="T1" fmla="*/ 105 h 630"/>
                <a:gd name="T2" fmla="*/ 517 w 629"/>
                <a:gd name="T3" fmla="*/ 196 h 630"/>
                <a:gd name="T4" fmla="*/ 427 w 629"/>
                <a:gd name="T5" fmla="*/ 286 h 630"/>
                <a:gd name="T6" fmla="*/ 106 w 629"/>
                <a:gd name="T7" fmla="*/ 605 h 630"/>
                <a:gd name="T8" fmla="*/ 94 w 629"/>
                <a:gd name="T9" fmla="*/ 618 h 630"/>
                <a:gd name="T10" fmla="*/ 78 w 629"/>
                <a:gd name="T11" fmla="*/ 625 h 630"/>
                <a:gd name="T12" fmla="*/ 63 w 629"/>
                <a:gd name="T13" fmla="*/ 630 h 630"/>
                <a:gd name="T14" fmla="*/ 47 w 629"/>
                <a:gd name="T15" fmla="*/ 630 h 630"/>
                <a:gd name="T16" fmla="*/ 30 w 629"/>
                <a:gd name="T17" fmla="*/ 622 h 630"/>
                <a:gd name="T18" fmla="*/ 16 w 629"/>
                <a:gd name="T19" fmla="*/ 613 h 630"/>
                <a:gd name="T20" fmla="*/ 6 w 629"/>
                <a:gd name="T21" fmla="*/ 601 h 630"/>
                <a:gd name="T22" fmla="*/ 1 w 629"/>
                <a:gd name="T23" fmla="*/ 588 h 630"/>
                <a:gd name="T24" fmla="*/ 0 w 629"/>
                <a:gd name="T25" fmla="*/ 573 h 630"/>
                <a:gd name="T26" fmla="*/ 3 w 629"/>
                <a:gd name="T27" fmla="*/ 557 h 630"/>
                <a:gd name="T28" fmla="*/ 10 w 629"/>
                <a:gd name="T29" fmla="*/ 543 h 630"/>
                <a:gd name="T30" fmla="*/ 20 w 629"/>
                <a:gd name="T31" fmla="*/ 530 h 630"/>
                <a:gd name="T32" fmla="*/ 32 w 629"/>
                <a:gd name="T33" fmla="*/ 517 h 630"/>
                <a:gd name="T34" fmla="*/ 48 w 629"/>
                <a:gd name="T35" fmla="*/ 501 h 630"/>
                <a:gd name="T36" fmla="*/ 68 w 629"/>
                <a:gd name="T37" fmla="*/ 482 h 630"/>
                <a:gd name="T38" fmla="*/ 88 w 629"/>
                <a:gd name="T39" fmla="*/ 461 h 630"/>
                <a:gd name="T40" fmla="*/ 112 w 629"/>
                <a:gd name="T41" fmla="*/ 438 h 630"/>
                <a:gd name="T42" fmla="*/ 136 w 629"/>
                <a:gd name="T43" fmla="*/ 413 h 630"/>
                <a:gd name="T44" fmla="*/ 162 w 629"/>
                <a:gd name="T45" fmla="*/ 387 h 630"/>
                <a:gd name="T46" fmla="*/ 189 w 629"/>
                <a:gd name="T47" fmla="*/ 360 h 630"/>
                <a:gd name="T48" fmla="*/ 217 w 629"/>
                <a:gd name="T49" fmla="*/ 332 h 630"/>
                <a:gd name="T50" fmla="*/ 246 w 629"/>
                <a:gd name="T51" fmla="*/ 303 h 630"/>
                <a:gd name="T52" fmla="*/ 275 w 629"/>
                <a:gd name="T53" fmla="*/ 274 h 630"/>
                <a:gd name="T54" fmla="*/ 303 w 629"/>
                <a:gd name="T55" fmla="*/ 246 h 630"/>
                <a:gd name="T56" fmla="*/ 331 w 629"/>
                <a:gd name="T57" fmla="*/ 217 h 630"/>
                <a:gd name="T58" fmla="*/ 359 w 629"/>
                <a:gd name="T59" fmla="*/ 191 h 630"/>
                <a:gd name="T60" fmla="*/ 385 w 629"/>
                <a:gd name="T61" fmla="*/ 164 h 630"/>
                <a:gd name="T62" fmla="*/ 409 w 629"/>
                <a:gd name="T63" fmla="*/ 139 h 630"/>
                <a:gd name="T64" fmla="*/ 433 w 629"/>
                <a:gd name="T65" fmla="*/ 116 h 630"/>
                <a:gd name="T66" fmla="*/ 455 w 629"/>
                <a:gd name="T67" fmla="*/ 94 h 630"/>
                <a:gd name="T68" fmla="*/ 474 w 629"/>
                <a:gd name="T69" fmla="*/ 75 h 630"/>
                <a:gd name="T70" fmla="*/ 491 w 629"/>
                <a:gd name="T71" fmla="*/ 59 h 630"/>
                <a:gd name="T72" fmla="*/ 505 w 629"/>
                <a:gd name="T73" fmla="*/ 45 h 630"/>
                <a:gd name="T74" fmla="*/ 516 w 629"/>
                <a:gd name="T75" fmla="*/ 34 h 630"/>
                <a:gd name="T76" fmla="*/ 523 w 629"/>
                <a:gd name="T77" fmla="*/ 27 h 630"/>
                <a:gd name="T78" fmla="*/ 527 w 629"/>
                <a:gd name="T79" fmla="*/ 22 h 630"/>
                <a:gd name="T80" fmla="*/ 546 w 629"/>
                <a:gd name="T81" fmla="*/ 9 h 630"/>
                <a:gd name="T82" fmla="*/ 564 w 629"/>
                <a:gd name="T83" fmla="*/ 1 h 630"/>
                <a:gd name="T84" fmla="*/ 581 w 629"/>
                <a:gd name="T85" fmla="*/ 0 h 630"/>
                <a:gd name="T86" fmla="*/ 599 w 629"/>
                <a:gd name="T87" fmla="*/ 6 h 630"/>
                <a:gd name="T88" fmla="*/ 615 w 629"/>
                <a:gd name="T89" fmla="*/ 19 h 630"/>
                <a:gd name="T90" fmla="*/ 623 w 629"/>
                <a:gd name="T91" fmla="*/ 31 h 630"/>
                <a:gd name="T92" fmla="*/ 629 w 629"/>
                <a:gd name="T93" fmla="*/ 45 h 630"/>
                <a:gd name="T94" fmla="*/ 629 w 629"/>
                <a:gd name="T95" fmla="*/ 60 h 630"/>
                <a:gd name="T96" fmla="*/ 625 w 629"/>
                <a:gd name="T97" fmla="*/ 75 h 630"/>
                <a:gd name="T98" fmla="*/ 618 w 629"/>
                <a:gd name="T99" fmla="*/ 90 h 630"/>
                <a:gd name="T100" fmla="*/ 606 w 629"/>
                <a:gd name="T101" fmla="*/ 105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9" h="630">
                  <a:moveTo>
                    <a:pt x="606" y="105"/>
                  </a:moveTo>
                  <a:lnTo>
                    <a:pt x="517" y="196"/>
                  </a:lnTo>
                  <a:lnTo>
                    <a:pt x="427" y="286"/>
                  </a:lnTo>
                  <a:lnTo>
                    <a:pt x="106" y="605"/>
                  </a:lnTo>
                  <a:lnTo>
                    <a:pt x="94" y="618"/>
                  </a:lnTo>
                  <a:lnTo>
                    <a:pt x="78" y="625"/>
                  </a:lnTo>
                  <a:lnTo>
                    <a:pt x="63" y="630"/>
                  </a:lnTo>
                  <a:lnTo>
                    <a:pt x="47" y="630"/>
                  </a:lnTo>
                  <a:lnTo>
                    <a:pt x="30" y="622"/>
                  </a:lnTo>
                  <a:lnTo>
                    <a:pt x="16" y="613"/>
                  </a:lnTo>
                  <a:lnTo>
                    <a:pt x="6" y="601"/>
                  </a:lnTo>
                  <a:lnTo>
                    <a:pt x="1" y="588"/>
                  </a:lnTo>
                  <a:lnTo>
                    <a:pt x="0" y="573"/>
                  </a:lnTo>
                  <a:lnTo>
                    <a:pt x="3" y="557"/>
                  </a:lnTo>
                  <a:lnTo>
                    <a:pt x="10" y="543"/>
                  </a:lnTo>
                  <a:lnTo>
                    <a:pt x="20" y="530"/>
                  </a:lnTo>
                  <a:lnTo>
                    <a:pt x="32" y="517"/>
                  </a:lnTo>
                  <a:lnTo>
                    <a:pt x="48" y="501"/>
                  </a:lnTo>
                  <a:lnTo>
                    <a:pt x="68" y="482"/>
                  </a:lnTo>
                  <a:lnTo>
                    <a:pt x="88" y="461"/>
                  </a:lnTo>
                  <a:lnTo>
                    <a:pt x="112" y="438"/>
                  </a:lnTo>
                  <a:lnTo>
                    <a:pt x="136" y="413"/>
                  </a:lnTo>
                  <a:lnTo>
                    <a:pt x="162" y="387"/>
                  </a:lnTo>
                  <a:lnTo>
                    <a:pt x="189" y="360"/>
                  </a:lnTo>
                  <a:lnTo>
                    <a:pt x="217" y="332"/>
                  </a:lnTo>
                  <a:lnTo>
                    <a:pt x="246" y="303"/>
                  </a:lnTo>
                  <a:lnTo>
                    <a:pt x="275" y="274"/>
                  </a:lnTo>
                  <a:lnTo>
                    <a:pt x="303" y="246"/>
                  </a:lnTo>
                  <a:lnTo>
                    <a:pt x="331" y="217"/>
                  </a:lnTo>
                  <a:lnTo>
                    <a:pt x="359" y="191"/>
                  </a:lnTo>
                  <a:lnTo>
                    <a:pt x="385" y="164"/>
                  </a:lnTo>
                  <a:lnTo>
                    <a:pt x="409" y="139"/>
                  </a:lnTo>
                  <a:lnTo>
                    <a:pt x="433" y="116"/>
                  </a:lnTo>
                  <a:lnTo>
                    <a:pt x="455" y="94"/>
                  </a:lnTo>
                  <a:lnTo>
                    <a:pt x="474" y="75"/>
                  </a:lnTo>
                  <a:lnTo>
                    <a:pt x="491" y="59"/>
                  </a:lnTo>
                  <a:lnTo>
                    <a:pt x="505" y="45"/>
                  </a:lnTo>
                  <a:lnTo>
                    <a:pt x="516" y="34"/>
                  </a:lnTo>
                  <a:lnTo>
                    <a:pt x="523" y="27"/>
                  </a:lnTo>
                  <a:lnTo>
                    <a:pt x="527" y="22"/>
                  </a:lnTo>
                  <a:lnTo>
                    <a:pt x="546" y="9"/>
                  </a:lnTo>
                  <a:lnTo>
                    <a:pt x="564" y="1"/>
                  </a:lnTo>
                  <a:lnTo>
                    <a:pt x="581" y="0"/>
                  </a:lnTo>
                  <a:lnTo>
                    <a:pt x="599" y="6"/>
                  </a:lnTo>
                  <a:lnTo>
                    <a:pt x="615" y="19"/>
                  </a:lnTo>
                  <a:lnTo>
                    <a:pt x="623" y="31"/>
                  </a:lnTo>
                  <a:lnTo>
                    <a:pt x="629" y="45"/>
                  </a:lnTo>
                  <a:lnTo>
                    <a:pt x="629" y="60"/>
                  </a:lnTo>
                  <a:lnTo>
                    <a:pt x="625" y="75"/>
                  </a:lnTo>
                  <a:lnTo>
                    <a:pt x="618" y="90"/>
                  </a:lnTo>
                  <a:lnTo>
                    <a:pt x="606" y="1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6" name="Freeform 15"/>
            <p:cNvSpPr>
              <a:spLocks/>
            </p:cNvSpPr>
            <p:nvPr/>
          </p:nvSpPr>
          <p:spPr bwMode="auto">
            <a:xfrm>
              <a:off x="-312" y="2031"/>
              <a:ext cx="180" cy="13"/>
            </a:xfrm>
            <a:custGeom>
              <a:avLst/>
              <a:gdLst>
                <a:gd name="T0" fmla="*/ 1615 w 1615"/>
                <a:gd name="T1" fmla="*/ 61 h 123"/>
                <a:gd name="T2" fmla="*/ 1612 w 1615"/>
                <a:gd name="T3" fmla="*/ 81 h 123"/>
                <a:gd name="T4" fmla="*/ 1603 w 1615"/>
                <a:gd name="T5" fmla="*/ 98 h 123"/>
                <a:gd name="T6" fmla="*/ 1590 w 1615"/>
                <a:gd name="T7" fmla="*/ 111 h 123"/>
                <a:gd name="T8" fmla="*/ 1573 w 1615"/>
                <a:gd name="T9" fmla="*/ 120 h 123"/>
                <a:gd name="T10" fmla="*/ 1554 w 1615"/>
                <a:gd name="T11" fmla="*/ 123 h 123"/>
                <a:gd name="T12" fmla="*/ 61 w 1615"/>
                <a:gd name="T13" fmla="*/ 123 h 123"/>
                <a:gd name="T14" fmla="*/ 42 w 1615"/>
                <a:gd name="T15" fmla="*/ 120 h 123"/>
                <a:gd name="T16" fmla="*/ 25 w 1615"/>
                <a:gd name="T17" fmla="*/ 111 h 123"/>
                <a:gd name="T18" fmla="*/ 12 w 1615"/>
                <a:gd name="T19" fmla="*/ 98 h 123"/>
                <a:gd name="T20" fmla="*/ 3 w 1615"/>
                <a:gd name="T21" fmla="*/ 81 h 123"/>
                <a:gd name="T22" fmla="*/ 0 w 1615"/>
                <a:gd name="T23" fmla="*/ 61 h 123"/>
                <a:gd name="T24" fmla="*/ 3 w 1615"/>
                <a:gd name="T25" fmla="*/ 42 h 123"/>
                <a:gd name="T26" fmla="*/ 12 w 1615"/>
                <a:gd name="T27" fmla="*/ 25 h 123"/>
                <a:gd name="T28" fmla="*/ 25 w 1615"/>
                <a:gd name="T29" fmla="*/ 12 h 123"/>
                <a:gd name="T30" fmla="*/ 42 w 1615"/>
                <a:gd name="T31" fmla="*/ 3 h 123"/>
                <a:gd name="T32" fmla="*/ 61 w 1615"/>
                <a:gd name="T33" fmla="*/ 0 h 123"/>
                <a:gd name="T34" fmla="*/ 1554 w 1615"/>
                <a:gd name="T35" fmla="*/ 0 h 123"/>
                <a:gd name="T36" fmla="*/ 1573 w 1615"/>
                <a:gd name="T37" fmla="*/ 3 h 123"/>
                <a:gd name="T38" fmla="*/ 1590 w 1615"/>
                <a:gd name="T39" fmla="*/ 12 h 123"/>
                <a:gd name="T40" fmla="*/ 1603 w 1615"/>
                <a:gd name="T41" fmla="*/ 25 h 123"/>
                <a:gd name="T42" fmla="*/ 1612 w 1615"/>
                <a:gd name="T43" fmla="*/ 42 h 123"/>
                <a:gd name="T44" fmla="*/ 1615 w 1615"/>
                <a:gd name="T45" fmla="*/ 6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3">
                  <a:moveTo>
                    <a:pt x="1615" y="61"/>
                  </a:moveTo>
                  <a:lnTo>
                    <a:pt x="1612" y="81"/>
                  </a:lnTo>
                  <a:lnTo>
                    <a:pt x="1603" y="98"/>
                  </a:lnTo>
                  <a:lnTo>
                    <a:pt x="1590" y="111"/>
                  </a:lnTo>
                  <a:lnTo>
                    <a:pt x="1573" y="120"/>
                  </a:lnTo>
                  <a:lnTo>
                    <a:pt x="1554" y="123"/>
                  </a:lnTo>
                  <a:lnTo>
                    <a:pt x="61" y="123"/>
                  </a:lnTo>
                  <a:lnTo>
                    <a:pt x="42" y="120"/>
                  </a:lnTo>
                  <a:lnTo>
                    <a:pt x="25" y="111"/>
                  </a:lnTo>
                  <a:lnTo>
                    <a:pt x="12" y="98"/>
                  </a:lnTo>
                  <a:lnTo>
                    <a:pt x="3" y="81"/>
                  </a:lnTo>
                  <a:lnTo>
                    <a:pt x="0" y="61"/>
                  </a:lnTo>
                  <a:lnTo>
                    <a:pt x="3" y="42"/>
                  </a:lnTo>
                  <a:lnTo>
                    <a:pt x="12" y="25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3"/>
                  </a:lnTo>
                  <a:lnTo>
                    <a:pt x="1590" y="12"/>
                  </a:lnTo>
                  <a:lnTo>
                    <a:pt x="1603" y="25"/>
                  </a:lnTo>
                  <a:lnTo>
                    <a:pt x="1612" y="42"/>
                  </a:lnTo>
                  <a:lnTo>
                    <a:pt x="161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7" name="Freeform 16"/>
            <p:cNvSpPr>
              <a:spLocks/>
            </p:cNvSpPr>
            <p:nvPr/>
          </p:nvSpPr>
          <p:spPr bwMode="auto">
            <a:xfrm>
              <a:off x="-312" y="2092"/>
              <a:ext cx="180" cy="14"/>
            </a:xfrm>
            <a:custGeom>
              <a:avLst/>
              <a:gdLst>
                <a:gd name="T0" fmla="*/ 1615 w 1615"/>
                <a:gd name="T1" fmla="*/ 63 h 124"/>
                <a:gd name="T2" fmla="*/ 1612 w 1615"/>
                <a:gd name="T3" fmla="*/ 82 h 124"/>
                <a:gd name="T4" fmla="*/ 1603 w 1615"/>
                <a:gd name="T5" fmla="*/ 99 h 124"/>
                <a:gd name="T6" fmla="*/ 1590 w 1615"/>
                <a:gd name="T7" fmla="*/ 112 h 124"/>
                <a:gd name="T8" fmla="*/ 1573 w 1615"/>
                <a:gd name="T9" fmla="*/ 120 h 124"/>
                <a:gd name="T10" fmla="*/ 1554 w 1615"/>
                <a:gd name="T11" fmla="*/ 124 h 124"/>
                <a:gd name="T12" fmla="*/ 61 w 1615"/>
                <a:gd name="T13" fmla="*/ 124 h 124"/>
                <a:gd name="T14" fmla="*/ 42 w 1615"/>
                <a:gd name="T15" fmla="*/ 120 h 124"/>
                <a:gd name="T16" fmla="*/ 25 w 1615"/>
                <a:gd name="T17" fmla="*/ 112 h 124"/>
                <a:gd name="T18" fmla="*/ 12 w 1615"/>
                <a:gd name="T19" fmla="*/ 99 h 124"/>
                <a:gd name="T20" fmla="*/ 3 w 1615"/>
                <a:gd name="T21" fmla="*/ 82 h 124"/>
                <a:gd name="T22" fmla="*/ 0 w 1615"/>
                <a:gd name="T23" fmla="*/ 63 h 124"/>
                <a:gd name="T24" fmla="*/ 3 w 1615"/>
                <a:gd name="T25" fmla="*/ 43 h 124"/>
                <a:gd name="T26" fmla="*/ 12 w 1615"/>
                <a:gd name="T27" fmla="*/ 26 h 124"/>
                <a:gd name="T28" fmla="*/ 25 w 1615"/>
                <a:gd name="T29" fmla="*/ 12 h 124"/>
                <a:gd name="T30" fmla="*/ 42 w 1615"/>
                <a:gd name="T31" fmla="*/ 4 h 124"/>
                <a:gd name="T32" fmla="*/ 61 w 1615"/>
                <a:gd name="T33" fmla="*/ 0 h 124"/>
                <a:gd name="T34" fmla="*/ 1554 w 1615"/>
                <a:gd name="T35" fmla="*/ 0 h 124"/>
                <a:gd name="T36" fmla="*/ 1573 w 1615"/>
                <a:gd name="T37" fmla="*/ 4 h 124"/>
                <a:gd name="T38" fmla="*/ 1590 w 1615"/>
                <a:gd name="T39" fmla="*/ 12 h 124"/>
                <a:gd name="T40" fmla="*/ 1603 w 1615"/>
                <a:gd name="T41" fmla="*/ 26 h 124"/>
                <a:gd name="T42" fmla="*/ 1612 w 1615"/>
                <a:gd name="T43" fmla="*/ 43 h 124"/>
                <a:gd name="T44" fmla="*/ 1615 w 1615"/>
                <a:gd name="T45" fmla="*/ 6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4">
                  <a:moveTo>
                    <a:pt x="1615" y="63"/>
                  </a:moveTo>
                  <a:lnTo>
                    <a:pt x="1612" y="82"/>
                  </a:lnTo>
                  <a:lnTo>
                    <a:pt x="1603" y="99"/>
                  </a:lnTo>
                  <a:lnTo>
                    <a:pt x="1590" y="112"/>
                  </a:lnTo>
                  <a:lnTo>
                    <a:pt x="1573" y="120"/>
                  </a:lnTo>
                  <a:lnTo>
                    <a:pt x="1554" y="124"/>
                  </a:lnTo>
                  <a:lnTo>
                    <a:pt x="61" y="124"/>
                  </a:lnTo>
                  <a:lnTo>
                    <a:pt x="42" y="120"/>
                  </a:lnTo>
                  <a:lnTo>
                    <a:pt x="25" y="112"/>
                  </a:lnTo>
                  <a:lnTo>
                    <a:pt x="12" y="99"/>
                  </a:lnTo>
                  <a:lnTo>
                    <a:pt x="3" y="82"/>
                  </a:lnTo>
                  <a:lnTo>
                    <a:pt x="0" y="63"/>
                  </a:lnTo>
                  <a:lnTo>
                    <a:pt x="3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4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4"/>
                  </a:lnTo>
                  <a:lnTo>
                    <a:pt x="1590" y="12"/>
                  </a:lnTo>
                  <a:lnTo>
                    <a:pt x="1603" y="26"/>
                  </a:lnTo>
                  <a:lnTo>
                    <a:pt x="1612" y="43"/>
                  </a:lnTo>
                  <a:lnTo>
                    <a:pt x="1615" y="6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8" name="Freeform 17"/>
            <p:cNvSpPr>
              <a:spLocks/>
            </p:cNvSpPr>
            <p:nvPr/>
          </p:nvSpPr>
          <p:spPr bwMode="auto">
            <a:xfrm>
              <a:off x="-312" y="2153"/>
              <a:ext cx="179" cy="14"/>
            </a:xfrm>
            <a:custGeom>
              <a:avLst/>
              <a:gdLst>
                <a:gd name="T0" fmla="*/ 1614 w 1614"/>
                <a:gd name="T1" fmla="*/ 49 h 124"/>
                <a:gd name="T2" fmla="*/ 1540 w 1614"/>
                <a:gd name="T3" fmla="*/ 124 h 124"/>
                <a:gd name="T4" fmla="*/ 61 w 1614"/>
                <a:gd name="T5" fmla="*/ 124 h 124"/>
                <a:gd name="T6" fmla="*/ 42 w 1614"/>
                <a:gd name="T7" fmla="*/ 121 h 124"/>
                <a:gd name="T8" fmla="*/ 25 w 1614"/>
                <a:gd name="T9" fmla="*/ 112 h 124"/>
                <a:gd name="T10" fmla="*/ 12 w 1614"/>
                <a:gd name="T11" fmla="*/ 98 h 124"/>
                <a:gd name="T12" fmla="*/ 2 w 1614"/>
                <a:gd name="T13" fmla="*/ 81 h 124"/>
                <a:gd name="T14" fmla="*/ 0 w 1614"/>
                <a:gd name="T15" fmla="*/ 62 h 124"/>
                <a:gd name="T16" fmla="*/ 2 w 1614"/>
                <a:gd name="T17" fmla="*/ 43 h 124"/>
                <a:gd name="T18" fmla="*/ 12 w 1614"/>
                <a:gd name="T19" fmla="*/ 26 h 124"/>
                <a:gd name="T20" fmla="*/ 25 w 1614"/>
                <a:gd name="T21" fmla="*/ 12 h 124"/>
                <a:gd name="T22" fmla="*/ 42 w 1614"/>
                <a:gd name="T23" fmla="*/ 3 h 124"/>
                <a:gd name="T24" fmla="*/ 61 w 1614"/>
                <a:gd name="T25" fmla="*/ 0 h 124"/>
                <a:gd name="T26" fmla="*/ 1554 w 1614"/>
                <a:gd name="T27" fmla="*/ 0 h 124"/>
                <a:gd name="T28" fmla="*/ 1571 w 1614"/>
                <a:gd name="T29" fmla="*/ 3 h 124"/>
                <a:gd name="T30" fmla="*/ 1586 w 1614"/>
                <a:gd name="T31" fmla="*/ 10 h 124"/>
                <a:gd name="T32" fmla="*/ 1599 w 1614"/>
                <a:gd name="T33" fmla="*/ 20 h 124"/>
                <a:gd name="T34" fmla="*/ 1609 w 1614"/>
                <a:gd name="T35" fmla="*/ 33 h 124"/>
                <a:gd name="T36" fmla="*/ 1614 w 1614"/>
                <a:gd name="T37" fmla="*/ 49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14" h="124">
                  <a:moveTo>
                    <a:pt x="1614" y="49"/>
                  </a:moveTo>
                  <a:lnTo>
                    <a:pt x="1540" y="124"/>
                  </a:lnTo>
                  <a:lnTo>
                    <a:pt x="61" y="124"/>
                  </a:lnTo>
                  <a:lnTo>
                    <a:pt x="42" y="121"/>
                  </a:lnTo>
                  <a:lnTo>
                    <a:pt x="25" y="112"/>
                  </a:lnTo>
                  <a:lnTo>
                    <a:pt x="12" y="98"/>
                  </a:lnTo>
                  <a:lnTo>
                    <a:pt x="2" y="81"/>
                  </a:lnTo>
                  <a:lnTo>
                    <a:pt x="0" y="62"/>
                  </a:lnTo>
                  <a:lnTo>
                    <a:pt x="2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1" y="3"/>
                  </a:lnTo>
                  <a:lnTo>
                    <a:pt x="1586" y="10"/>
                  </a:lnTo>
                  <a:lnTo>
                    <a:pt x="1599" y="20"/>
                  </a:lnTo>
                  <a:lnTo>
                    <a:pt x="1609" y="33"/>
                  </a:lnTo>
                  <a:lnTo>
                    <a:pt x="1614" y="4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9" name="Freeform 18"/>
            <p:cNvSpPr>
              <a:spLocks/>
            </p:cNvSpPr>
            <p:nvPr/>
          </p:nvSpPr>
          <p:spPr bwMode="auto">
            <a:xfrm>
              <a:off x="-224" y="2177"/>
              <a:ext cx="129" cy="132"/>
            </a:xfrm>
            <a:custGeom>
              <a:avLst/>
              <a:gdLst>
                <a:gd name="T0" fmla="*/ 1155 w 1157"/>
                <a:gd name="T1" fmla="*/ 280 h 1183"/>
                <a:gd name="T2" fmla="*/ 1140 w 1157"/>
                <a:gd name="T3" fmla="*/ 296 h 1183"/>
                <a:gd name="T4" fmla="*/ 1111 w 1157"/>
                <a:gd name="T5" fmla="*/ 325 h 1183"/>
                <a:gd name="T6" fmla="*/ 1070 w 1157"/>
                <a:gd name="T7" fmla="*/ 367 h 1183"/>
                <a:gd name="T8" fmla="*/ 1020 w 1157"/>
                <a:gd name="T9" fmla="*/ 417 h 1183"/>
                <a:gd name="T10" fmla="*/ 963 w 1157"/>
                <a:gd name="T11" fmla="*/ 475 h 1183"/>
                <a:gd name="T12" fmla="*/ 899 w 1157"/>
                <a:gd name="T13" fmla="*/ 537 h 1183"/>
                <a:gd name="T14" fmla="*/ 833 w 1157"/>
                <a:gd name="T15" fmla="*/ 603 h 1183"/>
                <a:gd name="T16" fmla="*/ 765 w 1157"/>
                <a:gd name="T17" fmla="*/ 670 h 1183"/>
                <a:gd name="T18" fmla="*/ 697 w 1157"/>
                <a:gd name="T19" fmla="*/ 736 h 1183"/>
                <a:gd name="T20" fmla="*/ 633 w 1157"/>
                <a:gd name="T21" fmla="*/ 798 h 1183"/>
                <a:gd name="T22" fmla="*/ 573 w 1157"/>
                <a:gd name="T23" fmla="*/ 855 h 1183"/>
                <a:gd name="T24" fmla="*/ 520 w 1157"/>
                <a:gd name="T25" fmla="*/ 904 h 1183"/>
                <a:gd name="T26" fmla="*/ 475 w 1157"/>
                <a:gd name="T27" fmla="*/ 945 h 1183"/>
                <a:gd name="T28" fmla="*/ 442 w 1157"/>
                <a:gd name="T29" fmla="*/ 973 h 1183"/>
                <a:gd name="T30" fmla="*/ 427 w 1157"/>
                <a:gd name="T31" fmla="*/ 983 h 1183"/>
                <a:gd name="T32" fmla="*/ 409 w 1157"/>
                <a:gd name="T33" fmla="*/ 995 h 1183"/>
                <a:gd name="T34" fmla="*/ 378 w 1157"/>
                <a:gd name="T35" fmla="*/ 1017 h 1183"/>
                <a:gd name="T36" fmla="*/ 336 w 1157"/>
                <a:gd name="T37" fmla="*/ 1042 h 1183"/>
                <a:gd name="T38" fmla="*/ 287 w 1157"/>
                <a:gd name="T39" fmla="*/ 1071 h 1183"/>
                <a:gd name="T40" fmla="*/ 234 w 1157"/>
                <a:gd name="T41" fmla="*/ 1099 h 1183"/>
                <a:gd name="T42" fmla="*/ 181 w 1157"/>
                <a:gd name="T43" fmla="*/ 1123 h 1183"/>
                <a:gd name="T44" fmla="*/ 129 w 1157"/>
                <a:gd name="T45" fmla="*/ 1139 h 1183"/>
                <a:gd name="T46" fmla="*/ 84 w 1157"/>
                <a:gd name="T47" fmla="*/ 1143 h 1183"/>
                <a:gd name="T48" fmla="*/ 78 w 1157"/>
                <a:gd name="T49" fmla="*/ 1144 h 1183"/>
                <a:gd name="T50" fmla="*/ 47 w 1157"/>
                <a:gd name="T51" fmla="*/ 1174 h 1183"/>
                <a:gd name="T52" fmla="*/ 27 w 1157"/>
                <a:gd name="T53" fmla="*/ 1183 h 1183"/>
                <a:gd name="T54" fmla="*/ 9 w 1157"/>
                <a:gd name="T55" fmla="*/ 1176 h 1183"/>
                <a:gd name="T56" fmla="*/ 0 w 1157"/>
                <a:gd name="T57" fmla="*/ 1157 h 1183"/>
                <a:gd name="T58" fmla="*/ 6 w 1157"/>
                <a:gd name="T59" fmla="*/ 1137 h 1183"/>
                <a:gd name="T60" fmla="*/ 29 w 1157"/>
                <a:gd name="T61" fmla="*/ 1091 h 1183"/>
                <a:gd name="T62" fmla="*/ 32 w 1157"/>
                <a:gd name="T63" fmla="*/ 1046 h 1183"/>
                <a:gd name="T64" fmla="*/ 46 w 1157"/>
                <a:gd name="T65" fmla="*/ 994 h 1183"/>
                <a:gd name="T66" fmla="*/ 68 w 1157"/>
                <a:gd name="T67" fmla="*/ 941 h 1183"/>
                <a:gd name="T68" fmla="*/ 93 w 1157"/>
                <a:gd name="T69" fmla="*/ 886 h 1183"/>
                <a:gd name="T70" fmla="*/ 120 w 1157"/>
                <a:gd name="T71" fmla="*/ 837 h 1183"/>
                <a:gd name="T72" fmla="*/ 146 w 1157"/>
                <a:gd name="T73" fmla="*/ 794 h 1183"/>
                <a:gd name="T74" fmla="*/ 167 w 1157"/>
                <a:gd name="T75" fmla="*/ 762 h 1183"/>
                <a:gd name="T76" fmla="*/ 177 w 1157"/>
                <a:gd name="T77" fmla="*/ 745 h 1183"/>
                <a:gd name="T78" fmla="*/ 188 w 1157"/>
                <a:gd name="T79" fmla="*/ 730 h 1183"/>
                <a:gd name="T80" fmla="*/ 215 w 1157"/>
                <a:gd name="T81" fmla="*/ 695 h 1183"/>
                <a:gd name="T82" fmla="*/ 254 w 1157"/>
                <a:gd name="T83" fmla="*/ 650 h 1183"/>
                <a:gd name="T84" fmla="*/ 302 w 1157"/>
                <a:gd name="T85" fmla="*/ 596 h 1183"/>
                <a:gd name="T86" fmla="*/ 358 w 1157"/>
                <a:gd name="T87" fmla="*/ 535 h 1183"/>
                <a:gd name="T88" fmla="*/ 419 w 1157"/>
                <a:gd name="T89" fmla="*/ 469 h 1183"/>
                <a:gd name="T90" fmla="*/ 484 w 1157"/>
                <a:gd name="T91" fmla="*/ 400 h 1183"/>
                <a:gd name="T92" fmla="*/ 549 w 1157"/>
                <a:gd name="T93" fmla="*/ 331 h 1183"/>
                <a:gd name="T94" fmla="*/ 614 w 1157"/>
                <a:gd name="T95" fmla="*/ 264 h 1183"/>
                <a:gd name="T96" fmla="*/ 675 w 1157"/>
                <a:gd name="T97" fmla="*/ 199 h 1183"/>
                <a:gd name="T98" fmla="*/ 732 w 1157"/>
                <a:gd name="T99" fmla="*/ 141 h 1183"/>
                <a:gd name="T100" fmla="*/ 781 w 1157"/>
                <a:gd name="T101" fmla="*/ 89 h 1183"/>
                <a:gd name="T102" fmla="*/ 821 w 1157"/>
                <a:gd name="T103" fmla="*/ 47 h 1183"/>
                <a:gd name="T104" fmla="*/ 850 w 1157"/>
                <a:gd name="T105" fmla="*/ 18 h 1183"/>
                <a:gd name="T106" fmla="*/ 865 w 1157"/>
                <a:gd name="T107" fmla="*/ 2 h 1183"/>
                <a:gd name="T108" fmla="*/ 1012 w 1157"/>
                <a:gd name="T109" fmla="*/ 137 h 1183"/>
                <a:gd name="T110" fmla="*/ 1020 w 1157"/>
                <a:gd name="T111" fmla="*/ 145 h 1183"/>
                <a:gd name="T112" fmla="*/ 1039 w 1157"/>
                <a:gd name="T113" fmla="*/ 162 h 1183"/>
                <a:gd name="T114" fmla="*/ 1064 w 1157"/>
                <a:gd name="T115" fmla="*/ 187 h 1183"/>
                <a:gd name="T116" fmla="*/ 1093 w 1157"/>
                <a:gd name="T117" fmla="*/ 214 h 1183"/>
                <a:gd name="T118" fmla="*/ 1121 w 1157"/>
                <a:gd name="T119" fmla="*/ 241 h 1183"/>
                <a:gd name="T120" fmla="*/ 1142 w 1157"/>
                <a:gd name="T121" fmla="*/ 264 h 1183"/>
                <a:gd name="T122" fmla="*/ 1155 w 1157"/>
                <a:gd name="T123" fmla="*/ 277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57" h="1183">
                  <a:moveTo>
                    <a:pt x="1157" y="278"/>
                  </a:moveTo>
                  <a:lnTo>
                    <a:pt x="1155" y="280"/>
                  </a:lnTo>
                  <a:lnTo>
                    <a:pt x="1150" y="286"/>
                  </a:lnTo>
                  <a:lnTo>
                    <a:pt x="1140" y="296"/>
                  </a:lnTo>
                  <a:lnTo>
                    <a:pt x="1127" y="309"/>
                  </a:lnTo>
                  <a:lnTo>
                    <a:pt x="1111" y="325"/>
                  </a:lnTo>
                  <a:lnTo>
                    <a:pt x="1092" y="344"/>
                  </a:lnTo>
                  <a:lnTo>
                    <a:pt x="1070" y="367"/>
                  </a:lnTo>
                  <a:lnTo>
                    <a:pt x="1047" y="390"/>
                  </a:lnTo>
                  <a:lnTo>
                    <a:pt x="1020" y="417"/>
                  </a:lnTo>
                  <a:lnTo>
                    <a:pt x="992" y="445"/>
                  </a:lnTo>
                  <a:lnTo>
                    <a:pt x="963" y="475"/>
                  </a:lnTo>
                  <a:lnTo>
                    <a:pt x="932" y="505"/>
                  </a:lnTo>
                  <a:lnTo>
                    <a:pt x="899" y="537"/>
                  </a:lnTo>
                  <a:lnTo>
                    <a:pt x="866" y="570"/>
                  </a:lnTo>
                  <a:lnTo>
                    <a:pt x="833" y="603"/>
                  </a:lnTo>
                  <a:lnTo>
                    <a:pt x="799" y="636"/>
                  </a:lnTo>
                  <a:lnTo>
                    <a:pt x="765" y="670"/>
                  </a:lnTo>
                  <a:lnTo>
                    <a:pt x="731" y="703"/>
                  </a:lnTo>
                  <a:lnTo>
                    <a:pt x="697" y="736"/>
                  </a:lnTo>
                  <a:lnTo>
                    <a:pt x="665" y="767"/>
                  </a:lnTo>
                  <a:lnTo>
                    <a:pt x="633" y="798"/>
                  </a:lnTo>
                  <a:lnTo>
                    <a:pt x="603" y="827"/>
                  </a:lnTo>
                  <a:lnTo>
                    <a:pt x="573" y="855"/>
                  </a:lnTo>
                  <a:lnTo>
                    <a:pt x="546" y="881"/>
                  </a:lnTo>
                  <a:lnTo>
                    <a:pt x="520" y="904"/>
                  </a:lnTo>
                  <a:lnTo>
                    <a:pt x="496" y="926"/>
                  </a:lnTo>
                  <a:lnTo>
                    <a:pt x="475" y="945"/>
                  </a:lnTo>
                  <a:lnTo>
                    <a:pt x="457" y="960"/>
                  </a:lnTo>
                  <a:lnTo>
                    <a:pt x="442" y="973"/>
                  </a:lnTo>
                  <a:lnTo>
                    <a:pt x="429" y="981"/>
                  </a:lnTo>
                  <a:lnTo>
                    <a:pt x="427" y="983"/>
                  </a:lnTo>
                  <a:lnTo>
                    <a:pt x="420" y="988"/>
                  </a:lnTo>
                  <a:lnTo>
                    <a:pt x="409" y="995"/>
                  </a:lnTo>
                  <a:lnTo>
                    <a:pt x="395" y="1005"/>
                  </a:lnTo>
                  <a:lnTo>
                    <a:pt x="378" y="1017"/>
                  </a:lnTo>
                  <a:lnTo>
                    <a:pt x="359" y="1029"/>
                  </a:lnTo>
                  <a:lnTo>
                    <a:pt x="336" y="1042"/>
                  </a:lnTo>
                  <a:lnTo>
                    <a:pt x="313" y="1057"/>
                  </a:lnTo>
                  <a:lnTo>
                    <a:pt x="287" y="1071"/>
                  </a:lnTo>
                  <a:lnTo>
                    <a:pt x="261" y="1086"/>
                  </a:lnTo>
                  <a:lnTo>
                    <a:pt x="234" y="1099"/>
                  </a:lnTo>
                  <a:lnTo>
                    <a:pt x="207" y="1112"/>
                  </a:lnTo>
                  <a:lnTo>
                    <a:pt x="181" y="1123"/>
                  </a:lnTo>
                  <a:lnTo>
                    <a:pt x="155" y="1131"/>
                  </a:lnTo>
                  <a:lnTo>
                    <a:pt x="129" y="1139"/>
                  </a:lnTo>
                  <a:lnTo>
                    <a:pt x="105" y="1142"/>
                  </a:lnTo>
                  <a:lnTo>
                    <a:pt x="84" y="1143"/>
                  </a:lnTo>
                  <a:lnTo>
                    <a:pt x="82" y="1144"/>
                  </a:lnTo>
                  <a:lnTo>
                    <a:pt x="78" y="1144"/>
                  </a:lnTo>
                  <a:lnTo>
                    <a:pt x="76" y="1144"/>
                  </a:lnTo>
                  <a:lnTo>
                    <a:pt x="47" y="1174"/>
                  </a:lnTo>
                  <a:lnTo>
                    <a:pt x="38" y="1180"/>
                  </a:lnTo>
                  <a:lnTo>
                    <a:pt x="27" y="1183"/>
                  </a:lnTo>
                  <a:lnTo>
                    <a:pt x="17" y="1182"/>
                  </a:lnTo>
                  <a:lnTo>
                    <a:pt x="9" y="1176"/>
                  </a:lnTo>
                  <a:lnTo>
                    <a:pt x="2" y="1167"/>
                  </a:lnTo>
                  <a:lnTo>
                    <a:pt x="0" y="1157"/>
                  </a:lnTo>
                  <a:lnTo>
                    <a:pt x="1" y="1146"/>
                  </a:lnTo>
                  <a:lnTo>
                    <a:pt x="6" y="1137"/>
                  </a:lnTo>
                  <a:lnTo>
                    <a:pt x="33" y="1109"/>
                  </a:lnTo>
                  <a:lnTo>
                    <a:pt x="29" y="1091"/>
                  </a:lnTo>
                  <a:lnTo>
                    <a:pt x="29" y="1069"/>
                  </a:lnTo>
                  <a:lnTo>
                    <a:pt x="32" y="1046"/>
                  </a:lnTo>
                  <a:lnTo>
                    <a:pt x="38" y="1021"/>
                  </a:lnTo>
                  <a:lnTo>
                    <a:pt x="46" y="994"/>
                  </a:lnTo>
                  <a:lnTo>
                    <a:pt x="56" y="967"/>
                  </a:lnTo>
                  <a:lnTo>
                    <a:pt x="68" y="941"/>
                  </a:lnTo>
                  <a:lnTo>
                    <a:pt x="81" y="913"/>
                  </a:lnTo>
                  <a:lnTo>
                    <a:pt x="93" y="886"/>
                  </a:lnTo>
                  <a:lnTo>
                    <a:pt x="107" y="860"/>
                  </a:lnTo>
                  <a:lnTo>
                    <a:pt x="120" y="837"/>
                  </a:lnTo>
                  <a:lnTo>
                    <a:pt x="134" y="814"/>
                  </a:lnTo>
                  <a:lnTo>
                    <a:pt x="146" y="794"/>
                  </a:lnTo>
                  <a:lnTo>
                    <a:pt x="157" y="777"/>
                  </a:lnTo>
                  <a:lnTo>
                    <a:pt x="167" y="762"/>
                  </a:lnTo>
                  <a:lnTo>
                    <a:pt x="173" y="751"/>
                  </a:lnTo>
                  <a:lnTo>
                    <a:pt x="177" y="745"/>
                  </a:lnTo>
                  <a:lnTo>
                    <a:pt x="179" y="742"/>
                  </a:lnTo>
                  <a:lnTo>
                    <a:pt x="188" y="730"/>
                  </a:lnTo>
                  <a:lnTo>
                    <a:pt x="200" y="715"/>
                  </a:lnTo>
                  <a:lnTo>
                    <a:pt x="215" y="695"/>
                  </a:lnTo>
                  <a:lnTo>
                    <a:pt x="233" y="674"/>
                  </a:lnTo>
                  <a:lnTo>
                    <a:pt x="254" y="650"/>
                  </a:lnTo>
                  <a:lnTo>
                    <a:pt x="277" y="624"/>
                  </a:lnTo>
                  <a:lnTo>
                    <a:pt x="302" y="596"/>
                  </a:lnTo>
                  <a:lnTo>
                    <a:pt x="329" y="566"/>
                  </a:lnTo>
                  <a:lnTo>
                    <a:pt x="358" y="535"/>
                  </a:lnTo>
                  <a:lnTo>
                    <a:pt x="388" y="503"/>
                  </a:lnTo>
                  <a:lnTo>
                    <a:pt x="419" y="469"/>
                  </a:lnTo>
                  <a:lnTo>
                    <a:pt x="451" y="435"/>
                  </a:lnTo>
                  <a:lnTo>
                    <a:pt x="484" y="400"/>
                  </a:lnTo>
                  <a:lnTo>
                    <a:pt x="516" y="365"/>
                  </a:lnTo>
                  <a:lnTo>
                    <a:pt x="549" y="331"/>
                  </a:lnTo>
                  <a:lnTo>
                    <a:pt x="581" y="297"/>
                  </a:lnTo>
                  <a:lnTo>
                    <a:pt x="614" y="264"/>
                  </a:lnTo>
                  <a:lnTo>
                    <a:pt x="645" y="230"/>
                  </a:lnTo>
                  <a:lnTo>
                    <a:pt x="675" y="199"/>
                  </a:lnTo>
                  <a:lnTo>
                    <a:pt x="704" y="168"/>
                  </a:lnTo>
                  <a:lnTo>
                    <a:pt x="732" y="141"/>
                  </a:lnTo>
                  <a:lnTo>
                    <a:pt x="758" y="114"/>
                  </a:lnTo>
                  <a:lnTo>
                    <a:pt x="781" y="89"/>
                  </a:lnTo>
                  <a:lnTo>
                    <a:pt x="803" y="68"/>
                  </a:lnTo>
                  <a:lnTo>
                    <a:pt x="821" y="47"/>
                  </a:lnTo>
                  <a:lnTo>
                    <a:pt x="837" y="31"/>
                  </a:lnTo>
                  <a:lnTo>
                    <a:pt x="850" y="18"/>
                  </a:lnTo>
                  <a:lnTo>
                    <a:pt x="860" y="9"/>
                  </a:lnTo>
                  <a:lnTo>
                    <a:pt x="865" y="2"/>
                  </a:lnTo>
                  <a:lnTo>
                    <a:pt x="867" y="0"/>
                  </a:lnTo>
                  <a:lnTo>
                    <a:pt x="1012" y="137"/>
                  </a:lnTo>
                  <a:lnTo>
                    <a:pt x="1014" y="139"/>
                  </a:lnTo>
                  <a:lnTo>
                    <a:pt x="1020" y="145"/>
                  </a:lnTo>
                  <a:lnTo>
                    <a:pt x="1028" y="152"/>
                  </a:lnTo>
                  <a:lnTo>
                    <a:pt x="1039" y="162"/>
                  </a:lnTo>
                  <a:lnTo>
                    <a:pt x="1051" y="174"/>
                  </a:lnTo>
                  <a:lnTo>
                    <a:pt x="1064" y="187"/>
                  </a:lnTo>
                  <a:lnTo>
                    <a:pt x="1079" y="201"/>
                  </a:lnTo>
                  <a:lnTo>
                    <a:pt x="1093" y="214"/>
                  </a:lnTo>
                  <a:lnTo>
                    <a:pt x="1107" y="228"/>
                  </a:lnTo>
                  <a:lnTo>
                    <a:pt x="1121" y="241"/>
                  </a:lnTo>
                  <a:lnTo>
                    <a:pt x="1133" y="253"/>
                  </a:lnTo>
                  <a:lnTo>
                    <a:pt x="1142" y="264"/>
                  </a:lnTo>
                  <a:lnTo>
                    <a:pt x="1151" y="271"/>
                  </a:lnTo>
                  <a:lnTo>
                    <a:pt x="1155" y="277"/>
                  </a:lnTo>
                  <a:lnTo>
                    <a:pt x="1157" y="2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20" name="Group 4"/>
          <p:cNvGrpSpPr>
            <a:grpSpLocks noChangeAspect="1"/>
          </p:cNvGrpSpPr>
          <p:nvPr/>
        </p:nvGrpSpPr>
        <p:grpSpPr bwMode="auto">
          <a:xfrm>
            <a:off x="9884166" y="4913467"/>
            <a:ext cx="828366" cy="828366"/>
            <a:chOff x="592" y="2862"/>
            <a:chExt cx="324" cy="324"/>
          </a:xfrm>
          <a:solidFill>
            <a:srgbClr val="26867C"/>
          </a:solidFill>
        </p:grpSpPr>
        <p:sp>
          <p:nvSpPr>
            <p:cNvPr id="121" name="Freeform 6"/>
            <p:cNvSpPr>
              <a:spLocks noEditPoints="1"/>
            </p:cNvSpPr>
            <p:nvPr/>
          </p:nvSpPr>
          <p:spPr bwMode="auto">
            <a:xfrm>
              <a:off x="785" y="3061"/>
              <a:ext cx="131" cy="125"/>
            </a:xfrm>
            <a:custGeom>
              <a:avLst/>
              <a:gdLst>
                <a:gd name="T0" fmla="*/ 648 w 1432"/>
                <a:gd name="T1" fmla="*/ 3 h 1377"/>
                <a:gd name="T2" fmla="*/ 515 w 1432"/>
                <a:gd name="T3" fmla="*/ 27 h 1377"/>
                <a:gd name="T4" fmla="*/ 393 w 1432"/>
                <a:gd name="T5" fmla="*/ 73 h 1377"/>
                <a:gd name="T6" fmla="*/ 283 w 1432"/>
                <a:gd name="T7" fmla="*/ 140 h 1377"/>
                <a:gd name="T8" fmla="*/ 188 w 1432"/>
                <a:gd name="T9" fmla="*/ 224 h 1377"/>
                <a:gd name="T10" fmla="*/ 109 w 1432"/>
                <a:gd name="T11" fmla="*/ 323 h 1377"/>
                <a:gd name="T12" fmla="*/ 50 w 1432"/>
                <a:gd name="T13" fmla="*/ 435 h 1377"/>
                <a:gd name="T14" fmla="*/ 13 w 1432"/>
                <a:gd name="T15" fmla="*/ 558 h 1377"/>
                <a:gd name="T16" fmla="*/ 0 w 1432"/>
                <a:gd name="T17" fmla="*/ 688 h 1377"/>
                <a:gd name="T18" fmla="*/ 13 w 1432"/>
                <a:gd name="T19" fmla="*/ 819 h 1377"/>
                <a:gd name="T20" fmla="*/ 50 w 1432"/>
                <a:gd name="T21" fmla="*/ 942 h 1377"/>
                <a:gd name="T22" fmla="*/ 109 w 1432"/>
                <a:gd name="T23" fmla="*/ 1053 h 1377"/>
                <a:gd name="T24" fmla="*/ 188 w 1432"/>
                <a:gd name="T25" fmla="*/ 1153 h 1377"/>
                <a:gd name="T26" fmla="*/ 283 w 1432"/>
                <a:gd name="T27" fmla="*/ 1236 h 1377"/>
                <a:gd name="T28" fmla="*/ 393 w 1432"/>
                <a:gd name="T29" fmla="*/ 1303 h 1377"/>
                <a:gd name="T30" fmla="*/ 515 w 1432"/>
                <a:gd name="T31" fmla="*/ 1350 h 1377"/>
                <a:gd name="T32" fmla="*/ 648 w 1432"/>
                <a:gd name="T33" fmla="*/ 1374 h 1377"/>
                <a:gd name="T34" fmla="*/ 785 w 1432"/>
                <a:gd name="T35" fmla="*/ 1374 h 1377"/>
                <a:gd name="T36" fmla="*/ 917 w 1432"/>
                <a:gd name="T37" fmla="*/ 1350 h 1377"/>
                <a:gd name="T38" fmla="*/ 1039 w 1432"/>
                <a:gd name="T39" fmla="*/ 1303 h 1377"/>
                <a:gd name="T40" fmla="*/ 1149 w 1432"/>
                <a:gd name="T41" fmla="*/ 1236 h 1377"/>
                <a:gd name="T42" fmla="*/ 1245 w 1432"/>
                <a:gd name="T43" fmla="*/ 1153 h 1377"/>
                <a:gd name="T44" fmla="*/ 1323 w 1432"/>
                <a:gd name="T45" fmla="*/ 1053 h 1377"/>
                <a:gd name="T46" fmla="*/ 1382 w 1432"/>
                <a:gd name="T47" fmla="*/ 942 h 1377"/>
                <a:gd name="T48" fmla="*/ 1419 w 1432"/>
                <a:gd name="T49" fmla="*/ 819 h 1377"/>
                <a:gd name="T50" fmla="*/ 1432 w 1432"/>
                <a:gd name="T51" fmla="*/ 689 h 1377"/>
                <a:gd name="T52" fmla="*/ 1419 w 1432"/>
                <a:gd name="T53" fmla="*/ 558 h 1377"/>
                <a:gd name="T54" fmla="*/ 1382 w 1432"/>
                <a:gd name="T55" fmla="*/ 436 h 1377"/>
                <a:gd name="T56" fmla="*/ 1323 w 1432"/>
                <a:gd name="T57" fmla="*/ 323 h 1377"/>
                <a:gd name="T58" fmla="*/ 1245 w 1432"/>
                <a:gd name="T59" fmla="*/ 224 h 1377"/>
                <a:gd name="T60" fmla="*/ 1149 w 1432"/>
                <a:gd name="T61" fmla="*/ 140 h 1377"/>
                <a:gd name="T62" fmla="*/ 1039 w 1432"/>
                <a:gd name="T63" fmla="*/ 73 h 1377"/>
                <a:gd name="T64" fmla="*/ 917 w 1432"/>
                <a:gd name="T65" fmla="*/ 27 h 1377"/>
                <a:gd name="T66" fmla="*/ 785 w 1432"/>
                <a:gd name="T67" fmla="*/ 3 h 1377"/>
                <a:gd name="T68" fmla="*/ 1013 w 1432"/>
                <a:gd name="T69" fmla="*/ 877 h 1377"/>
                <a:gd name="T70" fmla="*/ 1033 w 1432"/>
                <a:gd name="T71" fmla="*/ 912 h 1377"/>
                <a:gd name="T72" fmla="*/ 1033 w 1432"/>
                <a:gd name="T73" fmla="*/ 950 h 1377"/>
                <a:gd name="T74" fmla="*/ 1014 w 1432"/>
                <a:gd name="T75" fmla="*/ 984 h 1377"/>
                <a:gd name="T76" fmla="*/ 979 w 1432"/>
                <a:gd name="T77" fmla="*/ 1004 h 1377"/>
                <a:gd name="T78" fmla="*/ 940 w 1432"/>
                <a:gd name="T79" fmla="*/ 1004 h 1377"/>
                <a:gd name="T80" fmla="*/ 906 w 1432"/>
                <a:gd name="T81" fmla="*/ 984 h 1377"/>
                <a:gd name="T82" fmla="*/ 526 w 1432"/>
                <a:gd name="T83" fmla="*/ 984 h 1377"/>
                <a:gd name="T84" fmla="*/ 492 w 1432"/>
                <a:gd name="T85" fmla="*/ 1004 h 1377"/>
                <a:gd name="T86" fmla="*/ 453 w 1432"/>
                <a:gd name="T87" fmla="*/ 1004 h 1377"/>
                <a:gd name="T88" fmla="*/ 419 w 1432"/>
                <a:gd name="T89" fmla="*/ 984 h 1377"/>
                <a:gd name="T90" fmla="*/ 399 w 1432"/>
                <a:gd name="T91" fmla="*/ 950 h 1377"/>
                <a:gd name="T92" fmla="*/ 399 w 1432"/>
                <a:gd name="T93" fmla="*/ 912 h 1377"/>
                <a:gd name="T94" fmla="*/ 419 w 1432"/>
                <a:gd name="T95" fmla="*/ 877 h 1377"/>
                <a:gd name="T96" fmla="*/ 419 w 1432"/>
                <a:gd name="T97" fmla="*/ 500 h 1377"/>
                <a:gd name="T98" fmla="*/ 399 w 1432"/>
                <a:gd name="T99" fmla="*/ 466 h 1377"/>
                <a:gd name="T100" fmla="*/ 399 w 1432"/>
                <a:gd name="T101" fmla="*/ 427 h 1377"/>
                <a:gd name="T102" fmla="*/ 419 w 1432"/>
                <a:gd name="T103" fmla="*/ 392 h 1377"/>
                <a:gd name="T104" fmla="*/ 453 w 1432"/>
                <a:gd name="T105" fmla="*/ 373 h 1377"/>
                <a:gd name="T106" fmla="*/ 491 w 1432"/>
                <a:gd name="T107" fmla="*/ 373 h 1377"/>
                <a:gd name="T108" fmla="*/ 526 w 1432"/>
                <a:gd name="T109" fmla="*/ 392 h 1377"/>
                <a:gd name="T110" fmla="*/ 906 w 1432"/>
                <a:gd name="T111" fmla="*/ 392 h 1377"/>
                <a:gd name="T112" fmla="*/ 940 w 1432"/>
                <a:gd name="T113" fmla="*/ 373 h 1377"/>
                <a:gd name="T114" fmla="*/ 979 w 1432"/>
                <a:gd name="T115" fmla="*/ 373 h 1377"/>
                <a:gd name="T116" fmla="*/ 1013 w 1432"/>
                <a:gd name="T117" fmla="*/ 392 h 1377"/>
                <a:gd name="T118" fmla="*/ 1033 w 1432"/>
                <a:gd name="T119" fmla="*/ 427 h 1377"/>
                <a:gd name="T120" fmla="*/ 1032 w 1432"/>
                <a:gd name="T121" fmla="*/ 466 h 1377"/>
                <a:gd name="T122" fmla="*/ 1013 w 1432"/>
                <a:gd name="T123" fmla="*/ 500 h 1377"/>
                <a:gd name="T124" fmla="*/ 1013 w 1432"/>
                <a:gd name="T125" fmla="*/ 877 h 1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32" h="1377">
                  <a:moveTo>
                    <a:pt x="716" y="0"/>
                  </a:moveTo>
                  <a:lnTo>
                    <a:pt x="648" y="3"/>
                  </a:lnTo>
                  <a:lnTo>
                    <a:pt x="581" y="12"/>
                  </a:lnTo>
                  <a:lnTo>
                    <a:pt x="515" y="27"/>
                  </a:lnTo>
                  <a:lnTo>
                    <a:pt x="453" y="48"/>
                  </a:lnTo>
                  <a:lnTo>
                    <a:pt x="393" y="73"/>
                  </a:lnTo>
                  <a:lnTo>
                    <a:pt x="337" y="105"/>
                  </a:lnTo>
                  <a:lnTo>
                    <a:pt x="283" y="140"/>
                  </a:lnTo>
                  <a:lnTo>
                    <a:pt x="233" y="180"/>
                  </a:lnTo>
                  <a:lnTo>
                    <a:pt x="188" y="224"/>
                  </a:lnTo>
                  <a:lnTo>
                    <a:pt x="146" y="272"/>
                  </a:lnTo>
                  <a:lnTo>
                    <a:pt x="109" y="323"/>
                  </a:lnTo>
                  <a:lnTo>
                    <a:pt x="77" y="377"/>
                  </a:lnTo>
                  <a:lnTo>
                    <a:pt x="50" y="435"/>
                  </a:lnTo>
                  <a:lnTo>
                    <a:pt x="29" y="495"/>
                  </a:lnTo>
                  <a:lnTo>
                    <a:pt x="13" y="558"/>
                  </a:lnTo>
                  <a:lnTo>
                    <a:pt x="3" y="622"/>
                  </a:lnTo>
                  <a:lnTo>
                    <a:pt x="0" y="688"/>
                  </a:lnTo>
                  <a:lnTo>
                    <a:pt x="3" y="755"/>
                  </a:lnTo>
                  <a:lnTo>
                    <a:pt x="13" y="819"/>
                  </a:lnTo>
                  <a:lnTo>
                    <a:pt x="29" y="881"/>
                  </a:lnTo>
                  <a:lnTo>
                    <a:pt x="50" y="942"/>
                  </a:lnTo>
                  <a:lnTo>
                    <a:pt x="77" y="999"/>
                  </a:lnTo>
                  <a:lnTo>
                    <a:pt x="109" y="1053"/>
                  </a:lnTo>
                  <a:lnTo>
                    <a:pt x="146" y="1105"/>
                  </a:lnTo>
                  <a:lnTo>
                    <a:pt x="188" y="1153"/>
                  </a:lnTo>
                  <a:lnTo>
                    <a:pt x="233" y="1196"/>
                  </a:lnTo>
                  <a:lnTo>
                    <a:pt x="283" y="1236"/>
                  </a:lnTo>
                  <a:lnTo>
                    <a:pt x="337" y="1272"/>
                  </a:lnTo>
                  <a:lnTo>
                    <a:pt x="393" y="1303"/>
                  </a:lnTo>
                  <a:lnTo>
                    <a:pt x="453" y="1329"/>
                  </a:lnTo>
                  <a:lnTo>
                    <a:pt x="515" y="1350"/>
                  </a:lnTo>
                  <a:lnTo>
                    <a:pt x="581" y="1365"/>
                  </a:lnTo>
                  <a:lnTo>
                    <a:pt x="648" y="1374"/>
                  </a:lnTo>
                  <a:lnTo>
                    <a:pt x="716" y="1377"/>
                  </a:lnTo>
                  <a:lnTo>
                    <a:pt x="785" y="1374"/>
                  </a:lnTo>
                  <a:lnTo>
                    <a:pt x="852" y="1365"/>
                  </a:lnTo>
                  <a:lnTo>
                    <a:pt x="917" y="1350"/>
                  </a:lnTo>
                  <a:lnTo>
                    <a:pt x="979" y="1329"/>
                  </a:lnTo>
                  <a:lnTo>
                    <a:pt x="1039" y="1303"/>
                  </a:lnTo>
                  <a:lnTo>
                    <a:pt x="1096" y="1272"/>
                  </a:lnTo>
                  <a:lnTo>
                    <a:pt x="1149" y="1236"/>
                  </a:lnTo>
                  <a:lnTo>
                    <a:pt x="1198" y="1196"/>
                  </a:lnTo>
                  <a:lnTo>
                    <a:pt x="1245" y="1153"/>
                  </a:lnTo>
                  <a:lnTo>
                    <a:pt x="1286" y="1105"/>
                  </a:lnTo>
                  <a:lnTo>
                    <a:pt x="1323" y="1053"/>
                  </a:lnTo>
                  <a:lnTo>
                    <a:pt x="1355" y="999"/>
                  </a:lnTo>
                  <a:lnTo>
                    <a:pt x="1382" y="942"/>
                  </a:lnTo>
                  <a:lnTo>
                    <a:pt x="1404" y="881"/>
                  </a:lnTo>
                  <a:lnTo>
                    <a:pt x="1419" y="819"/>
                  </a:lnTo>
                  <a:lnTo>
                    <a:pt x="1428" y="755"/>
                  </a:lnTo>
                  <a:lnTo>
                    <a:pt x="1432" y="689"/>
                  </a:lnTo>
                  <a:lnTo>
                    <a:pt x="1428" y="622"/>
                  </a:lnTo>
                  <a:lnTo>
                    <a:pt x="1419" y="558"/>
                  </a:lnTo>
                  <a:lnTo>
                    <a:pt x="1404" y="495"/>
                  </a:lnTo>
                  <a:lnTo>
                    <a:pt x="1382" y="436"/>
                  </a:lnTo>
                  <a:lnTo>
                    <a:pt x="1355" y="377"/>
                  </a:lnTo>
                  <a:lnTo>
                    <a:pt x="1323" y="323"/>
                  </a:lnTo>
                  <a:lnTo>
                    <a:pt x="1286" y="272"/>
                  </a:lnTo>
                  <a:lnTo>
                    <a:pt x="1245" y="224"/>
                  </a:lnTo>
                  <a:lnTo>
                    <a:pt x="1198" y="180"/>
                  </a:lnTo>
                  <a:lnTo>
                    <a:pt x="1149" y="140"/>
                  </a:lnTo>
                  <a:lnTo>
                    <a:pt x="1096" y="105"/>
                  </a:lnTo>
                  <a:lnTo>
                    <a:pt x="1039" y="73"/>
                  </a:lnTo>
                  <a:lnTo>
                    <a:pt x="979" y="48"/>
                  </a:lnTo>
                  <a:lnTo>
                    <a:pt x="917" y="27"/>
                  </a:lnTo>
                  <a:lnTo>
                    <a:pt x="852" y="12"/>
                  </a:lnTo>
                  <a:lnTo>
                    <a:pt x="785" y="3"/>
                  </a:lnTo>
                  <a:lnTo>
                    <a:pt x="716" y="0"/>
                  </a:lnTo>
                  <a:close/>
                  <a:moveTo>
                    <a:pt x="1013" y="877"/>
                  </a:moveTo>
                  <a:lnTo>
                    <a:pt x="1026" y="893"/>
                  </a:lnTo>
                  <a:lnTo>
                    <a:pt x="1033" y="912"/>
                  </a:lnTo>
                  <a:lnTo>
                    <a:pt x="1035" y="930"/>
                  </a:lnTo>
                  <a:lnTo>
                    <a:pt x="1033" y="950"/>
                  </a:lnTo>
                  <a:lnTo>
                    <a:pt x="1026" y="968"/>
                  </a:lnTo>
                  <a:lnTo>
                    <a:pt x="1014" y="984"/>
                  </a:lnTo>
                  <a:lnTo>
                    <a:pt x="998" y="996"/>
                  </a:lnTo>
                  <a:lnTo>
                    <a:pt x="979" y="1004"/>
                  </a:lnTo>
                  <a:lnTo>
                    <a:pt x="960" y="1007"/>
                  </a:lnTo>
                  <a:lnTo>
                    <a:pt x="940" y="1004"/>
                  </a:lnTo>
                  <a:lnTo>
                    <a:pt x="922" y="997"/>
                  </a:lnTo>
                  <a:lnTo>
                    <a:pt x="906" y="984"/>
                  </a:lnTo>
                  <a:lnTo>
                    <a:pt x="716" y="795"/>
                  </a:lnTo>
                  <a:lnTo>
                    <a:pt x="526" y="984"/>
                  </a:lnTo>
                  <a:lnTo>
                    <a:pt x="509" y="997"/>
                  </a:lnTo>
                  <a:lnTo>
                    <a:pt x="492" y="1004"/>
                  </a:lnTo>
                  <a:lnTo>
                    <a:pt x="473" y="1007"/>
                  </a:lnTo>
                  <a:lnTo>
                    <a:pt x="453" y="1004"/>
                  </a:lnTo>
                  <a:lnTo>
                    <a:pt x="435" y="996"/>
                  </a:lnTo>
                  <a:lnTo>
                    <a:pt x="419" y="984"/>
                  </a:lnTo>
                  <a:lnTo>
                    <a:pt x="407" y="968"/>
                  </a:lnTo>
                  <a:lnTo>
                    <a:pt x="399" y="950"/>
                  </a:lnTo>
                  <a:lnTo>
                    <a:pt x="397" y="930"/>
                  </a:lnTo>
                  <a:lnTo>
                    <a:pt x="399" y="912"/>
                  </a:lnTo>
                  <a:lnTo>
                    <a:pt x="407" y="893"/>
                  </a:lnTo>
                  <a:lnTo>
                    <a:pt x="419" y="877"/>
                  </a:lnTo>
                  <a:lnTo>
                    <a:pt x="609" y="689"/>
                  </a:lnTo>
                  <a:lnTo>
                    <a:pt x="419" y="500"/>
                  </a:lnTo>
                  <a:lnTo>
                    <a:pt x="407" y="483"/>
                  </a:lnTo>
                  <a:lnTo>
                    <a:pt x="399" y="466"/>
                  </a:lnTo>
                  <a:lnTo>
                    <a:pt x="397" y="447"/>
                  </a:lnTo>
                  <a:lnTo>
                    <a:pt x="399" y="427"/>
                  </a:lnTo>
                  <a:lnTo>
                    <a:pt x="407" y="409"/>
                  </a:lnTo>
                  <a:lnTo>
                    <a:pt x="419" y="392"/>
                  </a:lnTo>
                  <a:lnTo>
                    <a:pt x="435" y="381"/>
                  </a:lnTo>
                  <a:lnTo>
                    <a:pt x="453" y="373"/>
                  </a:lnTo>
                  <a:lnTo>
                    <a:pt x="473" y="371"/>
                  </a:lnTo>
                  <a:lnTo>
                    <a:pt x="491" y="373"/>
                  </a:lnTo>
                  <a:lnTo>
                    <a:pt x="509" y="381"/>
                  </a:lnTo>
                  <a:lnTo>
                    <a:pt x="526" y="392"/>
                  </a:lnTo>
                  <a:lnTo>
                    <a:pt x="716" y="582"/>
                  </a:lnTo>
                  <a:lnTo>
                    <a:pt x="906" y="392"/>
                  </a:lnTo>
                  <a:lnTo>
                    <a:pt x="922" y="381"/>
                  </a:lnTo>
                  <a:lnTo>
                    <a:pt x="940" y="373"/>
                  </a:lnTo>
                  <a:lnTo>
                    <a:pt x="960" y="371"/>
                  </a:lnTo>
                  <a:lnTo>
                    <a:pt x="979" y="373"/>
                  </a:lnTo>
                  <a:lnTo>
                    <a:pt x="996" y="381"/>
                  </a:lnTo>
                  <a:lnTo>
                    <a:pt x="1013" y="392"/>
                  </a:lnTo>
                  <a:lnTo>
                    <a:pt x="1026" y="409"/>
                  </a:lnTo>
                  <a:lnTo>
                    <a:pt x="1033" y="427"/>
                  </a:lnTo>
                  <a:lnTo>
                    <a:pt x="1035" y="447"/>
                  </a:lnTo>
                  <a:lnTo>
                    <a:pt x="1032" y="466"/>
                  </a:lnTo>
                  <a:lnTo>
                    <a:pt x="1026" y="483"/>
                  </a:lnTo>
                  <a:lnTo>
                    <a:pt x="1013" y="500"/>
                  </a:lnTo>
                  <a:lnTo>
                    <a:pt x="824" y="689"/>
                  </a:lnTo>
                  <a:lnTo>
                    <a:pt x="1013" y="87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2" name="Freeform 7"/>
            <p:cNvSpPr>
              <a:spLocks noEditPoints="1"/>
            </p:cNvSpPr>
            <p:nvPr/>
          </p:nvSpPr>
          <p:spPr bwMode="auto">
            <a:xfrm>
              <a:off x="592" y="2862"/>
              <a:ext cx="225" cy="291"/>
            </a:xfrm>
            <a:custGeom>
              <a:avLst/>
              <a:gdLst>
                <a:gd name="T0" fmla="*/ 1987 w 2473"/>
                <a:gd name="T1" fmla="*/ 2735 h 3197"/>
                <a:gd name="T2" fmla="*/ 2048 w 2473"/>
                <a:gd name="T3" fmla="*/ 2538 h 3197"/>
                <a:gd name="T4" fmla="*/ 2154 w 2473"/>
                <a:gd name="T5" fmla="*/ 2366 h 3197"/>
                <a:gd name="T6" fmla="*/ 2297 w 2473"/>
                <a:gd name="T7" fmla="*/ 2222 h 3197"/>
                <a:gd name="T8" fmla="*/ 2473 w 2473"/>
                <a:gd name="T9" fmla="*/ 2116 h 3197"/>
                <a:gd name="T10" fmla="*/ 2464 w 2473"/>
                <a:gd name="T11" fmla="*/ 2 h 3197"/>
                <a:gd name="T12" fmla="*/ 9 w 2473"/>
                <a:gd name="T13" fmla="*/ 2 h 3197"/>
                <a:gd name="T14" fmla="*/ 0 w 2473"/>
                <a:gd name="T15" fmla="*/ 3179 h 3197"/>
                <a:gd name="T16" fmla="*/ 19 w 2473"/>
                <a:gd name="T17" fmla="*/ 3197 h 3197"/>
                <a:gd name="T18" fmla="*/ 1999 w 2473"/>
                <a:gd name="T19" fmla="*/ 3074 h 3197"/>
                <a:gd name="T20" fmla="*/ 1974 w 2473"/>
                <a:gd name="T21" fmla="*/ 2876 h 3197"/>
                <a:gd name="T22" fmla="*/ 1933 w 2473"/>
                <a:gd name="T23" fmla="*/ 526 h 3197"/>
                <a:gd name="T24" fmla="*/ 1979 w 2473"/>
                <a:gd name="T25" fmla="*/ 562 h 3197"/>
                <a:gd name="T26" fmla="*/ 1986 w 2473"/>
                <a:gd name="T27" fmla="*/ 620 h 3197"/>
                <a:gd name="T28" fmla="*/ 1951 w 2473"/>
                <a:gd name="T29" fmla="*/ 665 h 3197"/>
                <a:gd name="T30" fmla="*/ 560 w 2473"/>
                <a:gd name="T31" fmla="*/ 675 h 3197"/>
                <a:gd name="T32" fmla="*/ 507 w 2473"/>
                <a:gd name="T33" fmla="*/ 654 h 3197"/>
                <a:gd name="T34" fmla="*/ 484 w 2473"/>
                <a:gd name="T35" fmla="*/ 599 h 3197"/>
                <a:gd name="T36" fmla="*/ 507 w 2473"/>
                <a:gd name="T37" fmla="*/ 546 h 3197"/>
                <a:gd name="T38" fmla="*/ 560 w 2473"/>
                <a:gd name="T39" fmla="*/ 524 h 3197"/>
                <a:gd name="T40" fmla="*/ 1933 w 2473"/>
                <a:gd name="T41" fmla="*/ 1026 h 3197"/>
                <a:gd name="T42" fmla="*/ 1979 w 2473"/>
                <a:gd name="T43" fmla="*/ 1060 h 3197"/>
                <a:gd name="T44" fmla="*/ 1986 w 2473"/>
                <a:gd name="T45" fmla="*/ 1119 h 3197"/>
                <a:gd name="T46" fmla="*/ 1951 w 2473"/>
                <a:gd name="T47" fmla="*/ 1164 h 3197"/>
                <a:gd name="T48" fmla="*/ 560 w 2473"/>
                <a:gd name="T49" fmla="*/ 1175 h 3197"/>
                <a:gd name="T50" fmla="*/ 507 w 2473"/>
                <a:gd name="T51" fmla="*/ 1152 h 3197"/>
                <a:gd name="T52" fmla="*/ 484 w 2473"/>
                <a:gd name="T53" fmla="*/ 1099 h 3197"/>
                <a:gd name="T54" fmla="*/ 507 w 2473"/>
                <a:gd name="T55" fmla="*/ 1045 h 3197"/>
                <a:gd name="T56" fmla="*/ 560 w 2473"/>
                <a:gd name="T57" fmla="*/ 1024 h 3197"/>
                <a:gd name="T58" fmla="*/ 1933 w 2473"/>
                <a:gd name="T59" fmla="*/ 1526 h 3197"/>
                <a:gd name="T60" fmla="*/ 1979 w 2473"/>
                <a:gd name="T61" fmla="*/ 1560 h 3197"/>
                <a:gd name="T62" fmla="*/ 1986 w 2473"/>
                <a:gd name="T63" fmla="*/ 1619 h 3197"/>
                <a:gd name="T64" fmla="*/ 1951 w 2473"/>
                <a:gd name="T65" fmla="*/ 1664 h 3197"/>
                <a:gd name="T66" fmla="*/ 560 w 2473"/>
                <a:gd name="T67" fmla="*/ 1675 h 3197"/>
                <a:gd name="T68" fmla="*/ 507 w 2473"/>
                <a:gd name="T69" fmla="*/ 1652 h 3197"/>
                <a:gd name="T70" fmla="*/ 484 w 2473"/>
                <a:gd name="T71" fmla="*/ 1598 h 3197"/>
                <a:gd name="T72" fmla="*/ 507 w 2473"/>
                <a:gd name="T73" fmla="*/ 1545 h 3197"/>
                <a:gd name="T74" fmla="*/ 560 w 2473"/>
                <a:gd name="T75" fmla="*/ 1522 h 3197"/>
                <a:gd name="T76" fmla="*/ 1933 w 2473"/>
                <a:gd name="T77" fmla="*/ 2025 h 3197"/>
                <a:gd name="T78" fmla="*/ 1979 w 2473"/>
                <a:gd name="T79" fmla="*/ 2060 h 3197"/>
                <a:gd name="T80" fmla="*/ 1986 w 2473"/>
                <a:gd name="T81" fmla="*/ 2118 h 3197"/>
                <a:gd name="T82" fmla="*/ 1951 w 2473"/>
                <a:gd name="T83" fmla="*/ 2164 h 3197"/>
                <a:gd name="T84" fmla="*/ 560 w 2473"/>
                <a:gd name="T85" fmla="*/ 2174 h 3197"/>
                <a:gd name="T86" fmla="*/ 507 w 2473"/>
                <a:gd name="T87" fmla="*/ 2152 h 3197"/>
                <a:gd name="T88" fmla="*/ 484 w 2473"/>
                <a:gd name="T89" fmla="*/ 2098 h 3197"/>
                <a:gd name="T90" fmla="*/ 507 w 2473"/>
                <a:gd name="T91" fmla="*/ 2045 h 3197"/>
                <a:gd name="T92" fmla="*/ 560 w 2473"/>
                <a:gd name="T93" fmla="*/ 2022 h 3197"/>
                <a:gd name="T94" fmla="*/ 540 w 2473"/>
                <a:gd name="T95" fmla="*/ 2670 h 3197"/>
                <a:gd name="T96" fmla="*/ 495 w 2473"/>
                <a:gd name="T97" fmla="*/ 2636 h 3197"/>
                <a:gd name="T98" fmla="*/ 487 w 2473"/>
                <a:gd name="T99" fmla="*/ 2577 h 3197"/>
                <a:gd name="T100" fmla="*/ 522 w 2473"/>
                <a:gd name="T101" fmla="*/ 2532 h 3197"/>
                <a:gd name="T102" fmla="*/ 1913 w 2473"/>
                <a:gd name="T103" fmla="*/ 2522 h 3197"/>
                <a:gd name="T104" fmla="*/ 1967 w 2473"/>
                <a:gd name="T105" fmla="*/ 2544 h 3197"/>
                <a:gd name="T106" fmla="*/ 1988 w 2473"/>
                <a:gd name="T107" fmla="*/ 2598 h 3197"/>
                <a:gd name="T108" fmla="*/ 1967 w 2473"/>
                <a:gd name="T109" fmla="*/ 2651 h 3197"/>
                <a:gd name="T110" fmla="*/ 1913 w 2473"/>
                <a:gd name="T111" fmla="*/ 2674 h 3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73" h="3197">
                  <a:moveTo>
                    <a:pt x="1974" y="2876"/>
                  </a:moveTo>
                  <a:lnTo>
                    <a:pt x="1978" y="2804"/>
                  </a:lnTo>
                  <a:lnTo>
                    <a:pt x="1987" y="2735"/>
                  </a:lnTo>
                  <a:lnTo>
                    <a:pt x="2001" y="2667"/>
                  </a:lnTo>
                  <a:lnTo>
                    <a:pt x="2022" y="2602"/>
                  </a:lnTo>
                  <a:lnTo>
                    <a:pt x="2048" y="2538"/>
                  </a:lnTo>
                  <a:lnTo>
                    <a:pt x="2078" y="2478"/>
                  </a:lnTo>
                  <a:lnTo>
                    <a:pt x="2114" y="2420"/>
                  </a:lnTo>
                  <a:lnTo>
                    <a:pt x="2154" y="2366"/>
                  </a:lnTo>
                  <a:lnTo>
                    <a:pt x="2198" y="2314"/>
                  </a:lnTo>
                  <a:lnTo>
                    <a:pt x="2245" y="2267"/>
                  </a:lnTo>
                  <a:lnTo>
                    <a:pt x="2297" y="2222"/>
                  </a:lnTo>
                  <a:lnTo>
                    <a:pt x="2352" y="2182"/>
                  </a:lnTo>
                  <a:lnTo>
                    <a:pt x="2412" y="2147"/>
                  </a:lnTo>
                  <a:lnTo>
                    <a:pt x="2473" y="2116"/>
                  </a:lnTo>
                  <a:lnTo>
                    <a:pt x="2473" y="18"/>
                  </a:lnTo>
                  <a:lnTo>
                    <a:pt x="2470" y="9"/>
                  </a:lnTo>
                  <a:lnTo>
                    <a:pt x="2464" y="2"/>
                  </a:lnTo>
                  <a:lnTo>
                    <a:pt x="2454" y="0"/>
                  </a:lnTo>
                  <a:lnTo>
                    <a:pt x="19" y="0"/>
                  </a:lnTo>
                  <a:lnTo>
                    <a:pt x="9" y="2"/>
                  </a:lnTo>
                  <a:lnTo>
                    <a:pt x="2" y="9"/>
                  </a:lnTo>
                  <a:lnTo>
                    <a:pt x="0" y="18"/>
                  </a:lnTo>
                  <a:lnTo>
                    <a:pt x="0" y="3179"/>
                  </a:lnTo>
                  <a:lnTo>
                    <a:pt x="2" y="3189"/>
                  </a:lnTo>
                  <a:lnTo>
                    <a:pt x="9" y="3195"/>
                  </a:lnTo>
                  <a:lnTo>
                    <a:pt x="19" y="3197"/>
                  </a:lnTo>
                  <a:lnTo>
                    <a:pt x="2041" y="3197"/>
                  </a:lnTo>
                  <a:lnTo>
                    <a:pt x="2018" y="3137"/>
                  </a:lnTo>
                  <a:lnTo>
                    <a:pt x="1999" y="3074"/>
                  </a:lnTo>
                  <a:lnTo>
                    <a:pt x="1986" y="3010"/>
                  </a:lnTo>
                  <a:lnTo>
                    <a:pt x="1978" y="2943"/>
                  </a:lnTo>
                  <a:lnTo>
                    <a:pt x="1974" y="2876"/>
                  </a:lnTo>
                  <a:close/>
                  <a:moveTo>
                    <a:pt x="560" y="524"/>
                  </a:moveTo>
                  <a:lnTo>
                    <a:pt x="1913" y="524"/>
                  </a:lnTo>
                  <a:lnTo>
                    <a:pt x="1933" y="526"/>
                  </a:lnTo>
                  <a:lnTo>
                    <a:pt x="1951" y="534"/>
                  </a:lnTo>
                  <a:lnTo>
                    <a:pt x="1967" y="545"/>
                  </a:lnTo>
                  <a:lnTo>
                    <a:pt x="1979" y="562"/>
                  </a:lnTo>
                  <a:lnTo>
                    <a:pt x="1986" y="579"/>
                  </a:lnTo>
                  <a:lnTo>
                    <a:pt x="1988" y="599"/>
                  </a:lnTo>
                  <a:lnTo>
                    <a:pt x="1986" y="620"/>
                  </a:lnTo>
                  <a:lnTo>
                    <a:pt x="1979" y="637"/>
                  </a:lnTo>
                  <a:lnTo>
                    <a:pt x="1967" y="654"/>
                  </a:lnTo>
                  <a:lnTo>
                    <a:pt x="1951" y="665"/>
                  </a:lnTo>
                  <a:lnTo>
                    <a:pt x="1933" y="673"/>
                  </a:lnTo>
                  <a:lnTo>
                    <a:pt x="1913" y="675"/>
                  </a:lnTo>
                  <a:lnTo>
                    <a:pt x="560" y="675"/>
                  </a:lnTo>
                  <a:lnTo>
                    <a:pt x="540" y="673"/>
                  </a:lnTo>
                  <a:lnTo>
                    <a:pt x="522" y="665"/>
                  </a:lnTo>
                  <a:lnTo>
                    <a:pt x="507" y="654"/>
                  </a:lnTo>
                  <a:lnTo>
                    <a:pt x="495" y="637"/>
                  </a:lnTo>
                  <a:lnTo>
                    <a:pt x="487" y="620"/>
                  </a:lnTo>
                  <a:lnTo>
                    <a:pt x="484" y="599"/>
                  </a:lnTo>
                  <a:lnTo>
                    <a:pt x="487" y="579"/>
                  </a:lnTo>
                  <a:lnTo>
                    <a:pt x="495" y="562"/>
                  </a:lnTo>
                  <a:lnTo>
                    <a:pt x="507" y="546"/>
                  </a:lnTo>
                  <a:lnTo>
                    <a:pt x="522" y="534"/>
                  </a:lnTo>
                  <a:lnTo>
                    <a:pt x="540" y="527"/>
                  </a:lnTo>
                  <a:lnTo>
                    <a:pt x="560" y="524"/>
                  </a:lnTo>
                  <a:close/>
                  <a:moveTo>
                    <a:pt x="560" y="1024"/>
                  </a:moveTo>
                  <a:lnTo>
                    <a:pt x="1913" y="1024"/>
                  </a:lnTo>
                  <a:lnTo>
                    <a:pt x="1933" y="1026"/>
                  </a:lnTo>
                  <a:lnTo>
                    <a:pt x="1951" y="1033"/>
                  </a:lnTo>
                  <a:lnTo>
                    <a:pt x="1967" y="1045"/>
                  </a:lnTo>
                  <a:lnTo>
                    <a:pt x="1979" y="1060"/>
                  </a:lnTo>
                  <a:lnTo>
                    <a:pt x="1986" y="1079"/>
                  </a:lnTo>
                  <a:lnTo>
                    <a:pt x="1988" y="1099"/>
                  </a:lnTo>
                  <a:lnTo>
                    <a:pt x="1986" y="1119"/>
                  </a:lnTo>
                  <a:lnTo>
                    <a:pt x="1979" y="1137"/>
                  </a:lnTo>
                  <a:lnTo>
                    <a:pt x="1967" y="1152"/>
                  </a:lnTo>
                  <a:lnTo>
                    <a:pt x="1951" y="1164"/>
                  </a:lnTo>
                  <a:lnTo>
                    <a:pt x="1933" y="1172"/>
                  </a:lnTo>
                  <a:lnTo>
                    <a:pt x="1913" y="1175"/>
                  </a:lnTo>
                  <a:lnTo>
                    <a:pt x="560" y="1175"/>
                  </a:lnTo>
                  <a:lnTo>
                    <a:pt x="540" y="1172"/>
                  </a:lnTo>
                  <a:lnTo>
                    <a:pt x="522" y="1164"/>
                  </a:lnTo>
                  <a:lnTo>
                    <a:pt x="507" y="1152"/>
                  </a:lnTo>
                  <a:lnTo>
                    <a:pt x="495" y="1137"/>
                  </a:lnTo>
                  <a:lnTo>
                    <a:pt x="487" y="1119"/>
                  </a:lnTo>
                  <a:lnTo>
                    <a:pt x="484" y="1099"/>
                  </a:lnTo>
                  <a:lnTo>
                    <a:pt x="487" y="1079"/>
                  </a:lnTo>
                  <a:lnTo>
                    <a:pt x="495" y="1060"/>
                  </a:lnTo>
                  <a:lnTo>
                    <a:pt x="507" y="1045"/>
                  </a:lnTo>
                  <a:lnTo>
                    <a:pt x="522" y="1033"/>
                  </a:lnTo>
                  <a:lnTo>
                    <a:pt x="540" y="1026"/>
                  </a:lnTo>
                  <a:lnTo>
                    <a:pt x="560" y="1024"/>
                  </a:lnTo>
                  <a:close/>
                  <a:moveTo>
                    <a:pt x="560" y="1522"/>
                  </a:moveTo>
                  <a:lnTo>
                    <a:pt x="1913" y="1522"/>
                  </a:lnTo>
                  <a:lnTo>
                    <a:pt x="1933" y="1526"/>
                  </a:lnTo>
                  <a:lnTo>
                    <a:pt x="1951" y="1533"/>
                  </a:lnTo>
                  <a:lnTo>
                    <a:pt x="1967" y="1545"/>
                  </a:lnTo>
                  <a:lnTo>
                    <a:pt x="1979" y="1560"/>
                  </a:lnTo>
                  <a:lnTo>
                    <a:pt x="1986" y="1579"/>
                  </a:lnTo>
                  <a:lnTo>
                    <a:pt x="1988" y="1598"/>
                  </a:lnTo>
                  <a:lnTo>
                    <a:pt x="1986" y="1619"/>
                  </a:lnTo>
                  <a:lnTo>
                    <a:pt x="1979" y="1637"/>
                  </a:lnTo>
                  <a:lnTo>
                    <a:pt x="1967" y="1652"/>
                  </a:lnTo>
                  <a:lnTo>
                    <a:pt x="1951" y="1664"/>
                  </a:lnTo>
                  <a:lnTo>
                    <a:pt x="1933" y="1672"/>
                  </a:lnTo>
                  <a:lnTo>
                    <a:pt x="1913" y="1675"/>
                  </a:lnTo>
                  <a:lnTo>
                    <a:pt x="560" y="1675"/>
                  </a:lnTo>
                  <a:lnTo>
                    <a:pt x="540" y="1672"/>
                  </a:lnTo>
                  <a:lnTo>
                    <a:pt x="522" y="1664"/>
                  </a:lnTo>
                  <a:lnTo>
                    <a:pt x="507" y="1652"/>
                  </a:lnTo>
                  <a:lnTo>
                    <a:pt x="495" y="1637"/>
                  </a:lnTo>
                  <a:lnTo>
                    <a:pt x="487" y="1619"/>
                  </a:lnTo>
                  <a:lnTo>
                    <a:pt x="484" y="1598"/>
                  </a:lnTo>
                  <a:lnTo>
                    <a:pt x="487" y="1579"/>
                  </a:lnTo>
                  <a:lnTo>
                    <a:pt x="495" y="1560"/>
                  </a:lnTo>
                  <a:lnTo>
                    <a:pt x="507" y="1545"/>
                  </a:lnTo>
                  <a:lnTo>
                    <a:pt x="522" y="1533"/>
                  </a:lnTo>
                  <a:lnTo>
                    <a:pt x="540" y="1526"/>
                  </a:lnTo>
                  <a:lnTo>
                    <a:pt x="560" y="1522"/>
                  </a:lnTo>
                  <a:close/>
                  <a:moveTo>
                    <a:pt x="560" y="2022"/>
                  </a:moveTo>
                  <a:lnTo>
                    <a:pt x="1913" y="2022"/>
                  </a:lnTo>
                  <a:lnTo>
                    <a:pt x="1933" y="2025"/>
                  </a:lnTo>
                  <a:lnTo>
                    <a:pt x="1951" y="2033"/>
                  </a:lnTo>
                  <a:lnTo>
                    <a:pt x="1967" y="2045"/>
                  </a:lnTo>
                  <a:lnTo>
                    <a:pt x="1979" y="2060"/>
                  </a:lnTo>
                  <a:lnTo>
                    <a:pt x="1986" y="2077"/>
                  </a:lnTo>
                  <a:lnTo>
                    <a:pt x="1988" y="2098"/>
                  </a:lnTo>
                  <a:lnTo>
                    <a:pt x="1986" y="2118"/>
                  </a:lnTo>
                  <a:lnTo>
                    <a:pt x="1979" y="2136"/>
                  </a:lnTo>
                  <a:lnTo>
                    <a:pt x="1967" y="2152"/>
                  </a:lnTo>
                  <a:lnTo>
                    <a:pt x="1951" y="2164"/>
                  </a:lnTo>
                  <a:lnTo>
                    <a:pt x="1933" y="2172"/>
                  </a:lnTo>
                  <a:lnTo>
                    <a:pt x="1913" y="2174"/>
                  </a:lnTo>
                  <a:lnTo>
                    <a:pt x="560" y="2174"/>
                  </a:lnTo>
                  <a:lnTo>
                    <a:pt x="540" y="2172"/>
                  </a:lnTo>
                  <a:lnTo>
                    <a:pt x="522" y="2164"/>
                  </a:lnTo>
                  <a:lnTo>
                    <a:pt x="507" y="2152"/>
                  </a:lnTo>
                  <a:lnTo>
                    <a:pt x="495" y="2136"/>
                  </a:lnTo>
                  <a:lnTo>
                    <a:pt x="487" y="2118"/>
                  </a:lnTo>
                  <a:lnTo>
                    <a:pt x="484" y="2098"/>
                  </a:lnTo>
                  <a:lnTo>
                    <a:pt x="487" y="2077"/>
                  </a:lnTo>
                  <a:lnTo>
                    <a:pt x="495" y="2060"/>
                  </a:lnTo>
                  <a:lnTo>
                    <a:pt x="507" y="2045"/>
                  </a:lnTo>
                  <a:lnTo>
                    <a:pt x="522" y="2033"/>
                  </a:lnTo>
                  <a:lnTo>
                    <a:pt x="540" y="2025"/>
                  </a:lnTo>
                  <a:lnTo>
                    <a:pt x="560" y="2022"/>
                  </a:lnTo>
                  <a:close/>
                  <a:moveTo>
                    <a:pt x="1913" y="2674"/>
                  </a:moveTo>
                  <a:lnTo>
                    <a:pt x="560" y="2674"/>
                  </a:lnTo>
                  <a:lnTo>
                    <a:pt x="540" y="2670"/>
                  </a:lnTo>
                  <a:lnTo>
                    <a:pt x="522" y="2663"/>
                  </a:lnTo>
                  <a:lnTo>
                    <a:pt x="507" y="2651"/>
                  </a:lnTo>
                  <a:lnTo>
                    <a:pt x="495" y="2636"/>
                  </a:lnTo>
                  <a:lnTo>
                    <a:pt x="487" y="2618"/>
                  </a:lnTo>
                  <a:lnTo>
                    <a:pt x="484" y="2598"/>
                  </a:lnTo>
                  <a:lnTo>
                    <a:pt x="487" y="2577"/>
                  </a:lnTo>
                  <a:lnTo>
                    <a:pt x="495" y="2560"/>
                  </a:lnTo>
                  <a:lnTo>
                    <a:pt x="507" y="2544"/>
                  </a:lnTo>
                  <a:lnTo>
                    <a:pt x="522" y="2532"/>
                  </a:lnTo>
                  <a:lnTo>
                    <a:pt x="540" y="2524"/>
                  </a:lnTo>
                  <a:lnTo>
                    <a:pt x="560" y="2522"/>
                  </a:lnTo>
                  <a:lnTo>
                    <a:pt x="1913" y="2522"/>
                  </a:lnTo>
                  <a:lnTo>
                    <a:pt x="1933" y="2524"/>
                  </a:lnTo>
                  <a:lnTo>
                    <a:pt x="1951" y="2532"/>
                  </a:lnTo>
                  <a:lnTo>
                    <a:pt x="1967" y="2544"/>
                  </a:lnTo>
                  <a:lnTo>
                    <a:pt x="1979" y="2560"/>
                  </a:lnTo>
                  <a:lnTo>
                    <a:pt x="1986" y="2577"/>
                  </a:lnTo>
                  <a:lnTo>
                    <a:pt x="1988" y="2598"/>
                  </a:lnTo>
                  <a:lnTo>
                    <a:pt x="1986" y="2618"/>
                  </a:lnTo>
                  <a:lnTo>
                    <a:pt x="1979" y="2636"/>
                  </a:lnTo>
                  <a:lnTo>
                    <a:pt x="1967" y="2651"/>
                  </a:lnTo>
                  <a:lnTo>
                    <a:pt x="1951" y="2663"/>
                  </a:lnTo>
                  <a:lnTo>
                    <a:pt x="1933" y="2670"/>
                  </a:lnTo>
                  <a:lnTo>
                    <a:pt x="1913" y="267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0167426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3444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3" name="think-cell Slide" r:id="rId4" imgW="381" imgH="318" progId="TCLayout.ActiveDocument.1">
                  <p:embed/>
                </p:oleObj>
              </mc:Choice>
              <mc:Fallback>
                <p:oleObj name="think-cell Slide" r:id="rId4" imgW="381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1683554" y="1447800"/>
            <a:ext cx="9898845" cy="82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Terms of Agreement—lack of fairness, Change of circumstances, Violation of public policy.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683554" y="2423160"/>
            <a:ext cx="9898845" cy="82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Circumstances surrounding execution of agreement: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683554" y="3398520"/>
            <a:ext cx="9898845" cy="82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Involuntary execution (fraud, duress, undue influence).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683554" y="4373880"/>
            <a:ext cx="9898845" cy="82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Lack of independent legal and mediation advisory.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683554" y="5349240"/>
            <a:ext cx="9898845" cy="82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Lack of financial disclosure.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NFORCEABILITY OF MARITAL AGREE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13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781050" y="1447800"/>
            <a:ext cx="822960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781050" y="2423160"/>
            <a:ext cx="822960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781050" y="3398520"/>
            <a:ext cx="822960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781050" y="4373880"/>
            <a:ext cx="822960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781050" y="5349240"/>
            <a:ext cx="822960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609600" y="1447800"/>
            <a:ext cx="91905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609600" y="2423160"/>
            <a:ext cx="91905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609600" y="3398520"/>
            <a:ext cx="91905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609600" y="4373880"/>
            <a:ext cx="91905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09600" y="5349240"/>
            <a:ext cx="91905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2" name="Group 21"/>
          <p:cNvGrpSpPr>
            <a:grpSpLocks noChangeAspect="1"/>
          </p:cNvGrpSpPr>
          <p:nvPr/>
        </p:nvGrpSpPr>
        <p:grpSpPr bwMode="auto">
          <a:xfrm>
            <a:off x="986023" y="1640876"/>
            <a:ext cx="413014" cy="454414"/>
            <a:chOff x="-576" y="3243"/>
            <a:chExt cx="419" cy="461"/>
          </a:xfrm>
          <a:solidFill>
            <a:schemeClr val="bg1"/>
          </a:solidFill>
        </p:grpSpPr>
        <p:sp>
          <p:nvSpPr>
            <p:cNvPr id="24" name="Freeform 6"/>
            <p:cNvSpPr>
              <a:spLocks noEditPoints="1"/>
            </p:cNvSpPr>
            <p:nvPr/>
          </p:nvSpPr>
          <p:spPr bwMode="auto">
            <a:xfrm>
              <a:off x="-365" y="3496"/>
              <a:ext cx="208" cy="208"/>
            </a:xfrm>
            <a:custGeom>
              <a:avLst/>
              <a:gdLst>
                <a:gd name="T0" fmla="*/ 732 w 1672"/>
                <a:gd name="T1" fmla="*/ 934 h 1666"/>
                <a:gd name="T2" fmla="*/ 238 w 1672"/>
                <a:gd name="T3" fmla="*/ 797 h 1666"/>
                <a:gd name="T4" fmla="*/ 1380 w 1672"/>
                <a:gd name="T5" fmla="*/ 642 h 1666"/>
                <a:gd name="T6" fmla="*/ 836 w 1672"/>
                <a:gd name="T7" fmla="*/ 0 h 1666"/>
                <a:gd name="T8" fmla="*/ 986 w 1672"/>
                <a:gd name="T9" fmla="*/ 13 h 1666"/>
                <a:gd name="T10" fmla="*/ 1127 w 1672"/>
                <a:gd name="T11" fmla="*/ 51 h 1666"/>
                <a:gd name="T12" fmla="*/ 1257 w 1672"/>
                <a:gd name="T13" fmla="*/ 114 h 1666"/>
                <a:gd name="T14" fmla="*/ 1374 w 1672"/>
                <a:gd name="T15" fmla="*/ 195 h 1666"/>
                <a:gd name="T16" fmla="*/ 1474 w 1672"/>
                <a:gd name="T17" fmla="*/ 296 h 1666"/>
                <a:gd name="T18" fmla="*/ 1557 w 1672"/>
                <a:gd name="T19" fmla="*/ 412 h 1666"/>
                <a:gd name="T20" fmla="*/ 1619 w 1672"/>
                <a:gd name="T21" fmla="*/ 542 h 1666"/>
                <a:gd name="T22" fmla="*/ 1658 w 1672"/>
                <a:gd name="T23" fmla="*/ 683 h 1666"/>
                <a:gd name="T24" fmla="*/ 1672 w 1672"/>
                <a:gd name="T25" fmla="*/ 832 h 1666"/>
                <a:gd name="T26" fmla="*/ 1658 w 1672"/>
                <a:gd name="T27" fmla="*/ 982 h 1666"/>
                <a:gd name="T28" fmla="*/ 1619 w 1672"/>
                <a:gd name="T29" fmla="*/ 1123 h 1666"/>
                <a:gd name="T30" fmla="*/ 1557 w 1672"/>
                <a:gd name="T31" fmla="*/ 1252 h 1666"/>
                <a:gd name="T32" fmla="*/ 1474 w 1672"/>
                <a:gd name="T33" fmla="*/ 1369 h 1666"/>
                <a:gd name="T34" fmla="*/ 1374 w 1672"/>
                <a:gd name="T35" fmla="*/ 1469 h 1666"/>
                <a:gd name="T36" fmla="*/ 1257 w 1672"/>
                <a:gd name="T37" fmla="*/ 1552 h 1666"/>
                <a:gd name="T38" fmla="*/ 1127 w 1672"/>
                <a:gd name="T39" fmla="*/ 1613 h 1666"/>
                <a:gd name="T40" fmla="*/ 986 w 1672"/>
                <a:gd name="T41" fmla="*/ 1653 h 1666"/>
                <a:gd name="T42" fmla="*/ 836 w 1672"/>
                <a:gd name="T43" fmla="*/ 1666 h 1666"/>
                <a:gd name="T44" fmla="*/ 686 w 1672"/>
                <a:gd name="T45" fmla="*/ 1653 h 1666"/>
                <a:gd name="T46" fmla="*/ 545 w 1672"/>
                <a:gd name="T47" fmla="*/ 1613 h 1666"/>
                <a:gd name="T48" fmla="*/ 415 w 1672"/>
                <a:gd name="T49" fmla="*/ 1552 h 1666"/>
                <a:gd name="T50" fmla="*/ 298 w 1672"/>
                <a:gd name="T51" fmla="*/ 1469 h 1666"/>
                <a:gd name="T52" fmla="*/ 198 w 1672"/>
                <a:gd name="T53" fmla="*/ 1369 h 1666"/>
                <a:gd name="T54" fmla="*/ 115 w 1672"/>
                <a:gd name="T55" fmla="*/ 1252 h 1666"/>
                <a:gd name="T56" fmla="*/ 53 w 1672"/>
                <a:gd name="T57" fmla="*/ 1123 h 1666"/>
                <a:gd name="T58" fmla="*/ 14 w 1672"/>
                <a:gd name="T59" fmla="*/ 982 h 1666"/>
                <a:gd name="T60" fmla="*/ 0 w 1672"/>
                <a:gd name="T61" fmla="*/ 832 h 1666"/>
                <a:gd name="T62" fmla="*/ 14 w 1672"/>
                <a:gd name="T63" fmla="*/ 683 h 1666"/>
                <a:gd name="T64" fmla="*/ 53 w 1672"/>
                <a:gd name="T65" fmla="*/ 542 h 1666"/>
                <a:gd name="T66" fmla="*/ 115 w 1672"/>
                <a:gd name="T67" fmla="*/ 412 h 1666"/>
                <a:gd name="T68" fmla="*/ 198 w 1672"/>
                <a:gd name="T69" fmla="*/ 296 h 1666"/>
                <a:gd name="T70" fmla="*/ 298 w 1672"/>
                <a:gd name="T71" fmla="*/ 195 h 1666"/>
                <a:gd name="T72" fmla="*/ 415 w 1672"/>
                <a:gd name="T73" fmla="*/ 114 h 1666"/>
                <a:gd name="T74" fmla="*/ 545 w 1672"/>
                <a:gd name="T75" fmla="*/ 51 h 1666"/>
                <a:gd name="T76" fmla="*/ 686 w 1672"/>
                <a:gd name="T77" fmla="*/ 13 h 1666"/>
                <a:gd name="T78" fmla="*/ 836 w 1672"/>
                <a:gd name="T79" fmla="*/ 0 h 1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72" h="1666">
                  <a:moveTo>
                    <a:pt x="1202" y="465"/>
                  </a:moveTo>
                  <a:lnTo>
                    <a:pt x="732" y="934"/>
                  </a:lnTo>
                  <a:lnTo>
                    <a:pt x="416" y="619"/>
                  </a:lnTo>
                  <a:lnTo>
                    <a:pt x="238" y="797"/>
                  </a:lnTo>
                  <a:lnTo>
                    <a:pt x="732" y="1289"/>
                  </a:lnTo>
                  <a:lnTo>
                    <a:pt x="1380" y="642"/>
                  </a:lnTo>
                  <a:lnTo>
                    <a:pt x="1202" y="465"/>
                  </a:lnTo>
                  <a:close/>
                  <a:moveTo>
                    <a:pt x="836" y="0"/>
                  </a:moveTo>
                  <a:lnTo>
                    <a:pt x="912" y="3"/>
                  </a:lnTo>
                  <a:lnTo>
                    <a:pt x="986" y="13"/>
                  </a:lnTo>
                  <a:lnTo>
                    <a:pt x="1058" y="29"/>
                  </a:lnTo>
                  <a:lnTo>
                    <a:pt x="1127" y="51"/>
                  </a:lnTo>
                  <a:lnTo>
                    <a:pt x="1193" y="79"/>
                  </a:lnTo>
                  <a:lnTo>
                    <a:pt x="1257" y="114"/>
                  </a:lnTo>
                  <a:lnTo>
                    <a:pt x="1318" y="152"/>
                  </a:lnTo>
                  <a:lnTo>
                    <a:pt x="1374" y="195"/>
                  </a:lnTo>
                  <a:lnTo>
                    <a:pt x="1426" y="243"/>
                  </a:lnTo>
                  <a:lnTo>
                    <a:pt x="1474" y="296"/>
                  </a:lnTo>
                  <a:lnTo>
                    <a:pt x="1518" y="353"/>
                  </a:lnTo>
                  <a:lnTo>
                    <a:pt x="1557" y="412"/>
                  </a:lnTo>
                  <a:lnTo>
                    <a:pt x="1591" y="476"/>
                  </a:lnTo>
                  <a:lnTo>
                    <a:pt x="1619" y="542"/>
                  </a:lnTo>
                  <a:lnTo>
                    <a:pt x="1641" y="611"/>
                  </a:lnTo>
                  <a:lnTo>
                    <a:pt x="1658" y="683"/>
                  </a:lnTo>
                  <a:lnTo>
                    <a:pt x="1668" y="757"/>
                  </a:lnTo>
                  <a:lnTo>
                    <a:pt x="1672" y="832"/>
                  </a:lnTo>
                  <a:lnTo>
                    <a:pt x="1668" y="908"/>
                  </a:lnTo>
                  <a:lnTo>
                    <a:pt x="1658" y="982"/>
                  </a:lnTo>
                  <a:lnTo>
                    <a:pt x="1641" y="1054"/>
                  </a:lnTo>
                  <a:lnTo>
                    <a:pt x="1619" y="1123"/>
                  </a:lnTo>
                  <a:lnTo>
                    <a:pt x="1591" y="1190"/>
                  </a:lnTo>
                  <a:lnTo>
                    <a:pt x="1557" y="1252"/>
                  </a:lnTo>
                  <a:lnTo>
                    <a:pt x="1518" y="1313"/>
                  </a:lnTo>
                  <a:lnTo>
                    <a:pt x="1474" y="1369"/>
                  </a:lnTo>
                  <a:lnTo>
                    <a:pt x="1426" y="1421"/>
                  </a:lnTo>
                  <a:lnTo>
                    <a:pt x="1374" y="1469"/>
                  </a:lnTo>
                  <a:lnTo>
                    <a:pt x="1318" y="1513"/>
                  </a:lnTo>
                  <a:lnTo>
                    <a:pt x="1257" y="1552"/>
                  </a:lnTo>
                  <a:lnTo>
                    <a:pt x="1193" y="1586"/>
                  </a:lnTo>
                  <a:lnTo>
                    <a:pt x="1127" y="1613"/>
                  </a:lnTo>
                  <a:lnTo>
                    <a:pt x="1058" y="1636"/>
                  </a:lnTo>
                  <a:lnTo>
                    <a:pt x="986" y="1653"/>
                  </a:lnTo>
                  <a:lnTo>
                    <a:pt x="912" y="1663"/>
                  </a:lnTo>
                  <a:lnTo>
                    <a:pt x="836" y="1666"/>
                  </a:lnTo>
                  <a:lnTo>
                    <a:pt x="760" y="1663"/>
                  </a:lnTo>
                  <a:lnTo>
                    <a:pt x="686" y="1653"/>
                  </a:lnTo>
                  <a:lnTo>
                    <a:pt x="614" y="1636"/>
                  </a:lnTo>
                  <a:lnTo>
                    <a:pt x="545" y="1613"/>
                  </a:lnTo>
                  <a:lnTo>
                    <a:pt x="479" y="1586"/>
                  </a:lnTo>
                  <a:lnTo>
                    <a:pt x="415" y="1552"/>
                  </a:lnTo>
                  <a:lnTo>
                    <a:pt x="354" y="1513"/>
                  </a:lnTo>
                  <a:lnTo>
                    <a:pt x="298" y="1469"/>
                  </a:lnTo>
                  <a:lnTo>
                    <a:pt x="246" y="1421"/>
                  </a:lnTo>
                  <a:lnTo>
                    <a:pt x="198" y="1369"/>
                  </a:lnTo>
                  <a:lnTo>
                    <a:pt x="154" y="1313"/>
                  </a:lnTo>
                  <a:lnTo>
                    <a:pt x="115" y="1252"/>
                  </a:lnTo>
                  <a:lnTo>
                    <a:pt x="81" y="1190"/>
                  </a:lnTo>
                  <a:lnTo>
                    <a:pt x="53" y="1123"/>
                  </a:lnTo>
                  <a:lnTo>
                    <a:pt x="31" y="1054"/>
                  </a:lnTo>
                  <a:lnTo>
                    <a:pt x="14" y="982"/>
                  </a:lnTo>
                  <a:lnTo>
                    <a:pt x="4" y="908"/>
                  </a:lnTo>
                  <a:lnTo>
                    <a:pt x="0" y="832"/>
                  </a:lnTo>
                  <a:lnTo>
                    <a:pt x="4" y="757"/>
                  </a:lnTo>
                  <a:lnTo>
                    <a:pt x="14" y="683"/>
                  </a:lnTo>
                  <a:lnTo>
                    <a:pt x="31" y="611"/>
                  </a:lnTo>
                  <a:lnTo>
                    <a:pt x="53" y="542"/>
                  </a:lnTo>
                  <a:lnTo>
                    <a:pt x="81" y="476"/>
                  </a:lnTo>
                  <a:lnTo>
                    <a:pt x="115" y="412"/>
                  </a:lnTo>
                  <a:lnTo>
                    <a:pt x="154" y="353"/>
                  </a:lnTo>
                  <a:lnTo>
                    <a:pt x="198" y="296"/>
                  </a:lnTo>
                  <a:lnTo>
                    <a:pt x="246" y="243"/>
                  </a:lnTo>
                  <a:lnTo>
                    <a:pt x="298" y="195"/>
                  </a:lnTo>
                  <a:lnTo>
                    <a:pt x="354" y="152"/>
                  </a:lnTo>
                  <a:lnTo>
                    <a:pt x="415" y="114"/>
                  </a:lnTo>
                  <a:lnTo>
                    <a:pt x="479" y="79"/>
                  </a:lnTo>
                  <a:lnTo>
                    <a:pt x="545" y="51"/>
                  </a:lnTo>
                  <a:lnTo>
                    <a:pt x="614" y="29"/>
                  </a:lnTo>
                  <a:lnTo>
                    <a:pt x="686" y="13"/>
                  </a:lnTo>
                  <a:lnTo>
                    <a:pt x="760" y="3"/>
                  </a:lnTo>
                  <a:lnTo>
                    <a:pt x="83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7"/>
            <p:cNvSpPr>
              <a:spLocks/>
            </p:cNvSpPr>
            <p:nvPr/>
          </p:nvSpPr>
          <p:spPr bwMode="auto">
            <a:xfrm>
              <a:off x="-350" y="3259"/>
              <a:ext cx="73" cy="73"/>
            </a:xfrm>
            <a:custGeom>
              <a:avLst/>
              <a:gdLst>
                <a:gd name="T0" fmla="*/ 0 w 590"/>
                <a:gd name="T1" fmla="*/ 0 h 588"/>
                <a:gd name="T2" fmla="*/ 590 w 590"/>
                <a:gd name="T3" fmla="*/ 588 h 588"/>
                <a:gd name="T4" fmla="*/ 0 w 590"/>
                <a:gd name="T5" fmla="*/ 588 h 588"/>
                <a:gd name="T6" fmla="*/ 0 w 590"/>
                <a:gd name="T7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0" h="588">
                  <a:moveTo>
                    <a:pt x="0" y="0"/>
                  </a:moveTo>
                  <a:lnTo>
                    <a:pt x="590" y="588"/>
                  </a:lnTo>
                  <a:lnTo>
                    <a:pt x="0" y="5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8"/>
            <p:cNvSpPr>
              <a:spLocks noEditPoints="1"/>
            </p:cNvSpPr>
            <p:nvPr/>
          </p:nvSpPr>
          <p:spPr bwMode="auto">
            <a:xfrm>
              <a:off x="-576" y="3243"/>
              <a:ext cx="315" cy="435"/>
            </a:xfrm>
            <a:custGeom>
              <a:avLst/>
              <a:gdLst>
                <a:gd name="T0" fmla="*/ 420 w 2520"/>
                <a:gd name="T1" fmla="*/ 1487 h 3479"/>
                <a:gd name="T2" fmla="*/ 420 w 2520"/>
                <a:gd name="T3" fmla="*/ 1739 h 3479"/>
                <a:gd name="T4" fmla="*/ 2100 w 2520"/>
                <a:gd name="T5" fmla="*/ 1739 h 3479"/>
                <a:gd name="T6" fmla="*/ 2100 w 2520"/>
                <a:gd name="T7" fmla="*/ 1487 h 3479"/>
                <a:gd name="T8" fmla="*/ 420 w 2520"/>
                <a:gd name="T9" fmla="*/ 1487 h 3479"/>
                <a:gd name="T10" fmla="*/ 0 w 2520"/>
                <a:gd name="T11" fmla="*/ 0 h 3479"/>
                <a:gd name="T12" fmla="*/ 1555 w 2520"/>
                <a:gd name="T13" fmla="*/ 0 h 3479"/>
                <a:gd name="T14" fmla="*/ 1555 w 2520"/>
                <a:gd name="T15" fmla="*/ 964 h 3479"/>
                <a:gd name="T16" fmla="*/ 2520 w 2520"/>
                <a:gd name="T17" fmla="*/ 964 h 3479"/>
                <a:gd name="T18" fmla="*/ 2520 w 2520"/>
                <a:gd name="T19" fmla="*/ 1770 h 3479"/>
                <a:gd name="T20" fmla="*/ 2433 w 2520"/>
                <a:gd name="T21" fmla="*/ 1774 h 3479"/>
                <a:gd name="T22" fmla="*/ 2348 w 2520"/>
                <a:gd name="T23" fmla="*/ 1784 h 3479"/>
                <a:gd name="T24" fmla="*/ 2265 w 2520"/>
                <a:gd name="T25" fmla="*/ 1800 h 3479"/>
                <a:gd name="T26" fmla="*/ 2184 w 2520"/>
                <a:gd name="T27" fmla="*/ 1823 h 3479"/>
                <a:gd name="T28" fmla="*/ 2107 w 2520"/>
                <a:gd name="T29" fmla="*/ 1852 h 3479"/>
                <a:gd name="T30" fmla="*/ 2031 w 2520"/>
                <a:gd name="T31" fmla="*/ 1885 h 3479"/>
                <a:gd name="T32" fmla="*/ 1959 w 2520"/>
                <a:gd name="T33" fmla="*/ 1926 h 3479"/>
                <a:gd name="T34" fmla="*/ 1891 w 2520"/>
                <a:gd name="T35" fmla="*/ 1970 h 3479"/>
                <a:gd name="T36" fmla="*/ 1826 w 2520"/>
                <a:gd name="T37" fmla="*/ 2021 h 3479"/>
                <a:gd name="T38" fmla="*/ 1765 w 2520"/>
                <a:gd name="T39" fmla="*/ 2074 h 3479"/>
                <a:gd name="T40" fmla="*/ 420 w 2520"/>
                <a:gd name="T41" fmla="*/ 2074 h 3479"/>
                <a:gd name="T42" fmla="*/ 420 w 2520"/>
                <a:gd name="T43" fmla="*/ 2326 h 3479"/>
                <a:gd name="T44" fmla="*/ 1571 w 2520"/>
                <a:gd name="T45" fmla="*/ 2326 h 3479"/>
                <a:gd name="T46" fmla="*/ 1538 w 2520"/>
                <a:gd name="T47" fmla="*/ 2388 h 3479"/>
                <a:gd name="T48" fmla="*/ 1510 w 2520"/>
                <a:gd name="T49" fmla="*/ 2454 h 3479"/>
                <a:gd name="T50" fmla="*/ 1485 w 2520"/>
                <a:gd name="T51" fmla="*/ 2521 h 3479"/>
                <a:gd name="T52" fmla="*/ 1465 w 2520"/>
                <a:gd name="T53" fmla="*/ 2591 h 3479"/>
                <a:gd name="T54" fmla="*/ 1450 w 2520"/>
                <a:gd name="T55" fmla="*/ 2661 h 3479"/>
                <a:gd name="T56" fmla="*/ 420 w 2520"/>
                <a:gd name="T57" fmla="*/ 2661 h 3479"/>
                <a:gd name="T58" fmla="*/ 420 w 2520"/>
                <a:gd name="T59" fmla="*/ 2912 h 3479"/>
                <a:gd name="T60" fmla="*/ 1435 w 2520"/>
                <a:gd name="T61" fmla="*/ 2912 h 3479"/>
                <a:gd name="T62" fmla="*/ 1441 w 2520"/>
                <a:gd name="T63" fmla="*/ 2991 h 3479"/>
                <a:gd name="T64" fmla="*/ 1454 w 2520"/>
                <a:gd name="T65" fmla="*/ 3067 h 3479"/>
                <a:gd name="T66" fmla="*/ 1472 w 2520"/>
                <a:gd name="T67" fmla="*/ 3142 h 3479"/>
                <a:gd name="T68" fmla="*/ 1494 w 2520"/>
                <a:gd name="T69" fmla="*/ 3214 h 3479"/>
                <a:gd name="T70" fmla="*/ 1522 w 2520"/>
                <a:gd name="T71" fmla="*/ 3283 h 3479"/>
                <a:gd name="T72" fmla="*/ 1553 w 2520"/>
                <a:gd name="T73" fmla="*/ 3352 h 3479"/>
                <a:gd name="T74" fmla="*/ 1590 w 2520"/>
                <a:gd name="T75" fmla="*/ 3416 h 3479"/>
                <a:gd name="T76" fmla="*/ 1631 w 2520"/>
                <a:gd name="T77" fmla="*/ 3479 h 3479"/>
                <a:gd name="T78" fmla="*/ 0 w 2520"/>
                <a:gd name="T79" fmla="*/ 3479 h 3479"/>
                <a:gd name="T80" fmla="*/ 0 w 2520"/>
                <a:gd name="T81" fmla="*/ 0 h 3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520" h="3479">
                  <a:moveTo>
                    <a:pt x="420" y="1487"/>
                  </a:moveTo>
                  <a:lnTo>
                    <a:pt x="420" y="1739"/>
                  </a:lnTo>
                  <a:lnTo>
                    <a:pt x="2100" y="1739"/>
                  </a:lnTo>
                  <a:lnTo>
                    <a:pt x="2100" y="1487"/>
                  </a:lnTo>
                  <a:lnTo>
                    <a:pt x="420" y="1487"/>
                  </a:lnTo>
                  <a:close/>
                  <a:moveTo>
                    <a:pt x="0" y="0"/>
                  </a:moveTo>
                  <a:lnTo>
                    <a:pt x="1555" y="0"/>
                  </a:lnTo>
                  <a:lnTo>
                    <a:pt x="1555" y="964"/>
                  </a:lnTo>
                  <a:lnTo>
                    <a:pt x="2520" y="964"/>
                  </a:lnTo>
                  <a:lnTo>
                    <a:pt x="2520" y="1770"/>
                  </a:lnTo>
                  <a:lnTo>
                    <a:pt x="2433" y="1774"/>
                  </a:lnTo>
                  <a:lnTo>
                    <a:pt x="2348" y="1784"/>
                  </a:lnTo>
                  <a:lnTo>
                    <a:pt x="2265" y="1800"/>
                  </a:lnTo>
                  <a:lnTo>
                    <a:pt x="2184" y="1823"/>
                  </a:lnTo>
                  <a:lnTo>
                    <a:pt x="2107" y="1852"/>
                  </a:lnTo>
                  <a:lnTo>
                    <a:pt x="2031" y="1885"/>
                  </a:lnTo>
                  <a:lnTo>
                    <a:pt x="1959" y="1926"/>
                  </a:lnTo>
                  <a:lnTo>
                    <a:pt x="1891" y="1970"/>
                  </a:lnTo>
                  <a:lnTo>
                    <a:pt x="1826" y="2021"/>
                  </a:lnTo>
                  <a:lnTo>
                    <a:pt x="1765" y="2074"/>
                  </a:lnTo>
                  <a:lnTo>
                    <a:pt x="420" y="2074"/>
                  </a:lnTo>
                  <a:lnTo>
                    <a:pt x="420" y="2326"/>
                  </a:lnTo>
                  <a:lnTo>
                    <a:pt x="1571" y="2326"/>
                  </a:lnTo>
                  <a:lnTo>
                    <a:pt x="1538" y="2388"/>
                  </a:lnTo>
                  <a:lnTo>
                    <a:pt x="1510" y="2454"/>
                  </a:lnTo>
                  <a:lnTo>
                    <a:pt x="1485" y="2521"/>
                  </a:lnTo>
                  <a:lnTo>
                    <a:pt x="1465" y="2591"/>
                  </a:lnTo>
                  <a:lnTo>
                    <a:pt x="1450" y="2661"/>
                  </a:lnTo>
                  <a:lnTo>
                    <a:pt x="420" y="2661"/>
                  </a:lnTo>
                  <a:lnTo>
                    <a:pt x="420" y="2912"/>
                  </a:lnTo>
                  <a:lnTo>
                    <a:pt x="1435" y="2912"/>
                  </a:lnTo>
                  <a:lnTo>
                    <a:pt x="1441" y="2991"/>
                  </a:lnTo>
                  <a:lnTo>
                    <a:pt x="1454" y="3067"/>
                  </a:lnTo>
                  <a:lnTo>
                    <a:pt x="1472" y="3142"/>
                  </a:lnTo>
                  <a:lnTo>
                    <a:pt x="1494" y="3214"/>
                  </a:lnTo>
                  <a:lnTo>
                    <a:pt x="1522" y="3283"/>
                  </a:lnTo>
                  <a:lnTo>
                    <a:pt x="1553" y="3352"/>
                  </a:lnTo>
                  <a:lnTo>
                    <a:pt x="1590" y="3416"/>
                  </a:lnTo>
                  <a:lnTo>
                    <a:pt x="1631" y="3479"/>
                  </a:lnTo>
                  <a:lnTo>
                    <a:pt x="0" y="347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8" name="Group 4"/>
          <p:cNvGrpSpPr>
            <a:grpSpLocks noChangeAspect="1"/>
          </p:cNvGrpSpPr>
          <p:nvPr/>
        </p:nvGrpSpPr>
        <p:grpSpPr bwMode="auto">
          <a:xfrm>
            <a:off x="935355" y="4528185"/>
            <a:ext cx="514350" cy="514350"/>
            <a:chOff x="592" y="2862"/>
            <a:chExt cx="324" cy="324"/>
          </a:xfrm>
          <a:solidFill>
            <a:schemeClr val="bg1"/>
          </a:solidFill>
        </p:grpSpPr>
        <p:sp>
          <p:nvSpPr>
            <p:cNvPr id="79" name="Freeform 6"/>
            <p:cNvSpPr>
              <a:spLocks noEditPoints="1"/>
            </p:cNvSpPr>
            <p:nvPr/>
          </p:nvSpPr>
          <p:spPr bwMode="auto">
            <a:xfrm>
              <a:off x="785" y="3061"/>
              <a:ext cx="131" cy="125"/>
            </a:xfrm>
            <a:custGeom>
              <a:avLst/>
              <a:gdLst>
                <a:gd name="T0" fmla="*/ 648 w 1432"/>
                <a:gd name="T1" fmla="*/ 3 h 1377"/>
                <a:gd name="T2" fmla="*/ 515 w 1432"/>
                <a:gd name="T3" fmla="*/ 27 h 1377"/>
                <a:gd name="T4" fmla="*/ 393 w 1432"/>
                <a:gd name="T5" fmla="*/ 73 h 1377"/>
                <a:gd name="T6" fmla="*/ 283 w 1432"/>
                <a:gd name="T7" fmla="*/ 140 h 1377"/>
                <a:gd name="T8" fmla="*/ 188 w 1432"/>
                <a:gd name="T9" fmla="*/ 224 h 1377"/>
                <a:gd name="T10" fmla="*/ 109 w 1432"/>
                <a:gd name="T11" fmla="*/ 323 h 1377"/>
                <a:gd name="T12" fmla="*/ 50 w 1432"/>
                <a:gd name="T13" fmla="*/ 435 h 1377"/>
                <a:gd name="T14" fmla="*/ 13 w 1432"/>
                <a:gd name="T15" fmla="*/ 558 h 1377"/>
                <a:gd name="T16" fmla="*/ 0 w 1432"/>
                <a:gd name="T17" fmla="*/ 688 h 1377"/>
                <a:gd name="T18" fmla="*/ 13 w 1432"/>
                <a:gd name="T19" fmla="*/ 819 h 1377"/>
                <a:gd name="T20" fmla="*/ 50 w 1432"/>
                <a:gd name="T21" fmla="*/ 942 h 1377"/>
                <a:gd name="T22" fmla="*/ 109 w 1432"/>
                <a:gd name="T23" fmla="*/ 1053 h 1377"/>
                <a:gd name="T24" fmla="*/ 188 w 1432"/>
                <a:gd name="T25" fmla="*/ 1153 h 1377"/>
                <a:gd name="T26" fmla="*/ 283 w 1432"/>
                <a:gd name="T27" fmla="*/ 1236 h 1377"/>
                <a:gd name="T28" fmla="*/ 393 w 1432"/>
                <a:gd name="T29" fmla="*/ 1303 h 1377"/>
                <a:gd name="T30" fmla="*/ 515 w 1432"/>
                <a:gd name="T31" fmla="*/ 1350 h 1377"/>
                <a:gd name="T32" fmla="*/ 648 w 1432"/>
                <a:gd name="T33" fmla="*/ 1374 h 1377"/>
                <a:gd name="T34" fmla="*/ 785 w 1432"/>
                <a:gd name="T35" fmla="*/ 1374 h 1377"/>
                <a:gd name="T36" fmla="*/ 917 w 1432"/>
                <a:gd name="T37" fmla="*/ 1350 h 1377"/>
                <a:gd name="T38" fmla="*/ 1039 w 1432"/>
                <a:gd name="T39" fmla="*/ 1303 h 1377"/>
                <a:gd name="T40" fmla="*/ 1149 w 1432"/>
                <a:gd name="T41" fmla="*/ 1236 h 1377"/>
                <a:gd name="T42" fmla="*/ 1245 w 1432"/>
                <a:gd name="T43" fmla="*/ 1153 h 1377"/>
                <a:gd name="T44" fmla="*/ 1323 w 1432"/>
                <a:gd name="T45" fmla="*/ 1053 h 1377"/>
                <a:gd name="T46" fmla="*/ 1382 w 1432"/>
                <a:gd name="T47" fmla="*/ 942 h 1377"/>
                <a:gd name="T48" fmla="*/ 1419 w 1432"/>
                <a:gd name="T49" fmla="*/ 819 h 1377"/>
                <a:gd name="T50" fmla="*/ 1432 w 1432"/>
                <a:gd name="T51" fmla="*/ 689 h 1377"/>
                <a:gd name="T52" fmla="*/ 1419 w 1432"/>
                <a:gd name="T53" fmla="*/ 558 h 1377"/>
                <a:gd name="T54" fmla="*/ 1382 w 1432"/>
                <a:gd name="T55" fmla="*/ 436 h 1377"/>
                <a:gd name="T56" fmla="*/ 1323 w 1432"/>
                <a:gd name="T57" fmla="*/ 323 h 1377"/>
                <a:gd name="T58" fmla="*/ 1245 w 1432"/>
                <a:gd name="T59" fmla="*/ 224 h 1377"/>
                <a:gd name="T60" fmla="*/ 1149 w 1432"/>
                <a:gd name="T61" fmla="*/ 140 h 1377"/>
                <a:gd name="T62" fmla="*/ 1039 w 1432"/>
                <a:gd name="T63" fmla="*/ 73 h 1377"/>
                <a:gd name="T64" fmla="*/ 917 w 1432"/>
                <a:gd name="T65" fmla="*/ 27 h 1377"/>
                <a:gd name="T66" fmla="*/ 785 w 1432"/>
                <a:gd name="T67" fmla="*/ 3 h 1377"/>
                <a:gd name="T68" fmla="*/ 1013 w 1432"/>
                <a:gd name="T69" fmla="*/ 877 h 1377"/>
                <a:gd name="T70" fmla="*/ 1033 w 1432"/>
                <a:gd name="T71" fmla="*/ 912 h 1377"/>
                <a:gd name="T72" fmla="*/ 1033 w 1432"/>
                <a:gd name="T73" fmla="*/ 950 h 1377"/>
                <a:gd name="T74" fmla="*/ 1014 w 1432"/>
                <a:gd name="T75" fmla="*/ 984 h 1377"/>
                <a:gd name="T76" fmla="*/ 979 w 1432"/>
                <a:gd name="T77" fmla="*/ 1004 h 1377"/>
                <a:gd name="T78" fmla="*/ 940 w 1432"/>
                <a:gd name="T79" fmla="*/ 1004 h 1377"/>
                <a:gd name="T80" fmla="*/ 906 w 1432"/>
                <a:gd name="T81" fmla="*/ 984 h 1377"/>
                <a:gd name="T82" fmla="*/ 526 w 1432"/>
                <a:gd name="T83" fmla="*/ 984 h 1377"/>
                <a:gd name="T84" fmla="*/ 492 w 1432"/>
                <a:gd name="T85" fmla="*/ 1004 h 1377"/>
                <a:gd name="T86" fmla="*/ 453 w 1432"/>
                <a:gd name="T87" fmla="*/ 1004 h 1377"/>
                <a:gd name="T88" fmla="*/ 419 w 1432"/>
                <a:gd name="T89" fmla="*/ 984 h 1377"/>
                <a:gd name="T90" fmla="*/ 399 w 1432"/>
                <a:gd name="T91" fmla="*/ 950 h 1377"/>
                <a:gd name="T92" fmla="*/ 399 w 1432"/>
                <a:gd name="T93" fmla="*/ 912 h 1377"/>
                <a:gd name="T94" fmla="*/ 419 w 1432"/>
                <a:gd name="T95" fmla="*/ 877 h 1377"/>
                <a:gd name="T96" fmla="*/ 419 w 1432"/>
                <a:gd name="T97" fmla="*/ 500 h 1377"/>
                <a:gd name="T98" fmla="*/ 399 w 1432"/>
                <a:gd name="T99" fmla="*/ 466 h 1377"/>
                <a:gd name="T100" fmla="*/ 399 w 1432"/>
                <a:gd name="T101" fmla="*/ 427 h 1377"/>
                <a:gd name="T102" fmla="*/ 419 w 1432"/>
                <a:gd name="T103" fmla="*/ 392 h 1377"/>
                <a:gd name="T104" fmla="*/ 453 w 1432"/>
                <a:gd name="T105" fmla="*/ 373 h 1377"/>
                <a:gd name="T106" fmla="*/ 491 w 1432"/>
                <a:gd name="T107" fmla="*/ 373 h 1377"/>
                <a:gd name="T108" fmla="*/ 526 w 1432"/>
                <a:gd name="T109" fmla="*/ 392 h 1377"/>
                <a:gd name="T110" fmla="*/ 906 w 1432"/>
                <a:gd name="T111" fmla="*/ 392 h 1377"/>
                <a:gd name="T112" fmla="*/ 940 w 1432"/>
                <a:gd name="T113" fmla="*/ 373 h 1377"/>
                <a:gd name="T114" fmla="*/ 979 w 1432"/>
                <a:gd name="T115" fmla="*/ 373 h 1377"/>
                <a:gd name="T116" fmla="*/ 1013 w 1432"/>
                <a:gd name="T117" fmla="*/ 392 h 1377"/>
                <a:gd name="T118" fmla="*/ 1033 w 1432"/>
                <a:gd name="T119" fmla="*/ 427 h 1377"/>
                <a:gd name="T120" fmla="*/ 1032 w 1432"/>
                <a:gd name="T121" fmla="*/ 466 h 1377"/>
                <a:gd name="T122" fmla="*/ 1013 w 1432"/>
                <a:gd name="T123" fmla="*/ 500 h 1377"/>
                <a:gd name="T124" fmla="*/ 1013 w 1432"/>
                <a:gd name="T125" fmla="*/ 877 h 1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32" h="1377">
                  <a:moveTo>
                    <a:pt x="716" y="0"/>
                  </a:moveTo>
                  <a:lnTo>
                    <a:pt x="648" y="3"/>
                  </a:lnTo>
                  <a:lnTo>
                    <a:pt x="581" y="12"/>
                  </a:lnTo>
                  <a:lnTo>
                    <a:pt x="515" y="27"/>
                  </a:lnTo>
                  <a:lnTo>
                    <a:pt x="453" y="48"/>
                  </a:lnTo>
                  <a:lnTo>
                    <a:pt x="393" y="73"/>
                  </a:lnTo>
                  <a:lnTo>
                    <a:pt x="337" y="105"/>
                  </a:lnTo>
                  <a:lnTo>
                    <a:pt x="283" y="140"/>
                  </a:lnTo>
                  <a:lnTo>
                    <a:pt x="233" y="180"/>
                  </a:lnTo>
                  <a:lnTo>
                    <a:pt x="188" y="224"/>
                  </a:lnTo>
                  <a:lnTo>
                    <a:pt x="146" y="272"/>
                  </a:lnTo>
                  <a:lnTo>
                    <a:pt x="109" y="323"/>
                  </a:lnTo>
                  <a:lnTo>
                    <a:pt x="77" y="377"/>
                  </a:lnTo>
                  <a:lnTo>
                    <a:pt x="50" y="435"/>
                  </a:lnTo>
                  <a:lnTo>
                    <a:pt x="29" y="495"/>
                  </a:lnTo>
                  <a:lnTo>
                    <a:pt x="13" y="558"/>
                  </a:lnTo>
                  <a:lnTo>
                    <a:pt x="3" y="622"/>
                  </a:lnTo>
                  <a:lnTo>
                    <a:pt x="0" y="688"/>
                  </a:lnTo>
                  <a:lnTo>
                    <a:pt x="3" y="755"/>
                  </a:lnTo>
                  <a:lnTo>
                    <a:pt x="13" y="819"/>
                  </a:lnTo>
                  <a:lnTo>
                    <a:pt x="29" y="881"/>
                  </a:lnTo>
                  <a:lnTo>
                    <a:pt x="50" y="942"/>
                  </a:lnTo>
                  <a:lnTo>
                    <a:pt x="77" y="999"/>
                  </a:lnTo>
                  <a:lnTo>
                    <a:pt x="109" y="1053"/>
                  </a:lnTo>
                  <a:lnTo>
                    <a:pt x="146" y="1105"/>
                  </a:lnTo>
                  <a:lnTo>
                    <a:pt x="188" y="1153"/>
                  </a:lnTo>
                  <a:lnTo>
                    <a:pt x="233" y="1196"/>
                  </a:lnTo>
                  <a:lnTo>
                    <a:pt x="283" y="1236"/>
                  </a:lnTo>
                  <a:lnTo>
                    <a:pt x="337" y="1272"/>
                  </a:lnTo>
                  <a:lnTo>
                    <a:pt x="393" y="1303"/>
                  </a:lnTo>
                  <a:lnTo>
                    <a:pt x="453" y="1329"/>
                  </a:lnTo>
                  <a:lnTo>
                    <a:pt x="515" y="1350"/>
                  </a:lnTo>
                  <a:lnTo>
                    <a:pt x="581" y="1365"/>
                  </a:lnTo>
                  <a:lnTo>
                    <a:pt x="648" y="1374"/>
                  </a:lnTo>
                  <a:lnTo>
                    <a:pt x="716" y="1377"/>
                  </a:lnTo>
                  <a:lnTo>
                    <a:pt x="785" y="1374"/>
                  </a:lnTo>
                  <a:lnTo>
                    <a:pt x="852" y="1365"/>
                  </a:lnTo>
                  <a:lnTo>
                    <a:pt x="917" y="1350"/>
                  </a:lnTo>
                  <a:lnTo>
                    <a:pt x="979" y="1329"/>
                  </a:lnTo>
                  <a:lnTo>
                    <a:pt x="1039" y="1303"/>
                  </a:lnTo>
                  <a:lnTo>
                    <a:pt x="1096" y="1272"/>
                  </a:lnTo>
                  <a:lnTo>
                    <a:pt x="1149" y="1236"/>
                  </a:lnTo>
                  <a:lnTo>
                    <a:pt x="1198" y="1196"/>
                  </a:lnTo>
                  <a:lnTo>
                    <a:pt x="1245" y="1153"/>
                  </a:lnTo>
                  <a:lnTo>
                    <a:pt x="1286" y="1105"/>
                  </a:lnTo>
                  <a:lnTo>
                    <a:pt x="1323" y="1053"/>
                  </a:lnTo>
                  <a:lnTo>
                    <a:pt x="1355" y="999"/>
                  </a:lnTo>
                  <a:lnTo>
                    <a:pt x="1382" y="942"/>
                  </a:lnTo>
                  <a:lnTo>
                    <a:pt x="1404" y="881"/>
                  </a:lnTo>
                  <a:lnTo>
                    <a:pt x="1419" y="819"/>
                  </a:lnTo>
                  <a:lnTo>
                    <a:pt x="1428" y="755"/>
                  </a:lnTo>
                  <a:lnTo>
                    <a:pt x="1432" y="689"/>
                  </a:lnTo>
                  <a:lnTo>
                    <a:pt x="1428" y="622"/>
                  </a:lnTo>
                  <a:lnTo>
                    <a:pt x="1419" y="558"/>
                  </a:lnTo>
                  <a:lnTo>
                    <a:pt x="1404" y="495"/>
                  </a:lnTo>
                  <a:lnTo>
                    <a:pt x="1382" y="436"/>
                  </a:lnTo>
                  <a:lnTo>
                    <a:pt x="1355" y="377"/>
                  </a:lnTo>
                  <a:lnTo>
                    <a:pt x="1323" y="323"/>
                  </a:lnTo>
                  <a:lnTo>
                    <a:pt x="1286" y="272"/>
                  </a:lnTo>
                  <a:lnTo>
                    <a:pt x="1245" y="224"/>
                  </a:lnTo>
                  <a:lnTo>
                    <a:pt x="1198" y="180"/>
                  </a:lnTo>
                  <a:lnTo>
                    <a:pt x="1149" y="140"/>
                  </a:lnTo>
                  <a:lnTo>
                    <a:pt x="1096" y="105"/>
                  </a:lnTo>
                  <a:lnTo>
                    <a:pt x="1039" y="73"/>
                  </a:lnTo>
                  <a:lnTo>
                    <a:pt x="979" y="48"/>
                  </a:lnTo>
                  <a:lnTo>
                    <a:pt x="917" y="27"/>
                  </a:lnTo>
                  <a:lnTo>
                    <a:pt x="852" y="12"/>
                  </a:lnTo>
                  <a:lnTo>
                    <a:pt x="785" y="3"/>
                  </a:lnTo>
                  <a:lnTo>
                    <a:pt x="716" y="0"/>
                  </a:lnTo>
                  <a:close/>
                  <a:moveTo>
                    <a:pt x="1013" y="877"/>
                  </a:moveTo>
                  <a:lnTo>
                    <a:pt x="1026" y="893"/>
                  </a:lnTo>
                  <a:lnTo>
                    <a:pt x="1033" y="912"/>
                  </a:lnTo>
                  <a:lnTo>
                    <a:pt x="1035" y="930"/>
                  </a:lnTo>
                  <a:lnTo>
                    <a:pt x="1033" y="950"/>
                  </a:lnTo>
                  <a:lnTo>
                    <a:pt x="1026" y="968"/>
                  </a:lnTo>
                  <a:lnTo>
                    <a:pt x="1014" y="984"/>
                  </a:lnTo>
                  <a:lnTo>
                    <a:pt x="998" y="996"/>
                  </a:lnTo>
                  <a:lnTo>
                    <a:pt x="979" y="1004"/>
                  </a:lnTo>
                  <a:lnTo>
                    <a:pt x="960" y="1007"/>
                  </a:lnTo>
                  <a:lnTo>
                    <a:pt x="940" y="1004"/>
                  </a:lnTo>
                  <a:lnTo>
                    <a:pt x="922" y="997"/>
                  </a:lnTo>
                  <a:lnTo>
                    <a:pt x="906" y="984"/>
                  </a:lnTo>
                  <a:lnTo>
                    <a:pt x="716" y="795"/>
                  </a:lnTo>
                  <a:lnTo>
                    <a:pt x="526" y="984"/>
                  </a:lnTo>
                  <a:lnTo>
                    <a:pt x="509" y="997"/>
                  </a:lnTo>
                  <a:lnTo>
                    <a:pt x="492" y="1004"/>
                  </a:lnTo>
                  <a:lnTo>
                    <a:pt x="473" y="1007"/>
                  </a:lnTo>
                  <a:lnTo>
                    <a:pt x="453" y="1004"/>
                  </a:lnTo>
                  <a:lnTo>
                    <a:pt x="435" y="996"/>
                  </a:lnTo>
                  <a:lnTo>
                    <a:pt x="419" y="984"/>
                  </a:lnTo>
                  <a:lnTo>
                    <a:pt x="407" y="968"/>
                  </a:lnTo>
                  <a:lnTo>
                    <a:pt x="399" y="950"/>
                  </a:lnTo>
                  <a:lnTo>
                    <a:pt x="397" y="930"/>
                  </a:lnTo>
                  <a:lnTo>
                    <a:pt x="399" y="912"/>
                  </a:lnTo>
                  <a:lnTo>
                    <a:pt x="407" y="893"/>
                  </a:lnTo>
                  <a:lnTo>
                    <a:pt x="419" y="877"/>
                  </a:lnTo>
                  <a:lnTo>
                    <a:pt x="609" y="689"/>
                  </a:lnTo>
                  <a:lnTo>
                    <a:pt x="419" y="500"/>
                  </a:lnTo>
                  <a:lnTo>
                    <a:pt x="407" y="483"/>
                  </a:lnTo>
                  <a:lnTo>
                    <a:pt x="399" y="466"/>
                  </a:lnTo>
                  <a:lnTo>
                    <a:pt x="397" y="447"/>
                  </a:lnTo>
                  <a:lnTo>
                    <a:pt x="399" y="427"/>
                  </a:lnTo>
                  <a:lnTo>
                    <a:pt x="407" y="409"/>
                  </a:lnTo>
                  <a:lnTo>
                    <a:pt x="419" y="392"/>
                  </a:lnTo>
                  <a:lnTo>
                    <a:pt x="435" y="381"/>
                  </a:lnTo>
                  <a:lnTo>
                    <a:pt x="453" y="373"/>
                  </a:lnTo>
                  <a:lnTo>
                    <a:pt x="473" y="371"/>
                  </a:lnTo>
                  <a:lnTo>
                    <a:pt x="491" y="373"/>
                  </a:lnTo>
                  <a:lnTo>
                    <a:pt x="509" y="381"/>
                  </a:lnTo>
                  <a:lnTo>
                    <a:pt x="526" y="392"/>
                  </a:lnTo>
                  <a:lnTo>
                    <a:pt x="716" y="582"/>
                  </a:lnTo>
                  <a:lnTo>
                    <a:pt x="906" y="392"/>
                  </a:lnTo>
                  <a:lnTo>
                    <a:pt x="922" y="381"/>
                  </a:lnTo>
                  <a:lnTo>
                    <a:pt x="940" y="373"/>
                  </a:lnTo>
                  <a:lnTo>
                    <a:pt x="960" y="371"/>
                  </a:lnTo>
                  <a:lnTo>
                    <a:pt x="979" y="373"/>
                  </a:lnTo>
                  <a:lnTo>
                    <a:pt x="996" y="381"/>
                  </a:lnTo>
                  <a:lnTo>
                    <a:pt x="1013" y="392"/>
                  </a:lnTo>
                  <a:lnTo>
                    <a:pt x="1026" y="409"/>
                  </a:lnTo>
                  <a:lnTo>
                    <a:pt x="1033" y="427"/>
                  </a:lnTo>
                  <a:lnTo>
                    <a:pt x="1035" y="447"/>
                  </a:lnTo>
                  <a:lnTo>
                    <a:pt x="1032" y="466"/>
                  </a:lnTo>
                  <a:lnTo>
                    <a:pt x="1026" y="483"/>
                  </a:lnTo>
                  <a:lnTo>
                    <a:pt x="1013" y="500"/>
                  </a:lnTo>
                  <a:lnTo>
                    <a:pt x="824" y="689"/>
                  </a:lnTo>
                  <a:lnTo>
                    <a:pt x="1013" y="87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7"/>
            <p:cNvSpPr>
              <a:spLocks noEditPoints="1"/>
            </p:cNvSpPr>
            <p:nvPr/>
          </p:nvSpPr>
          <p:spPr bwMode="auto">
            <a:xfrm>
              <a:off x="592" y="2862"/>
              <a:ext cx="225" cy="291"/>
            </a:xfrm>
            <a:custGeom>
              <a:avLst/>
              <a:gdLst>
                <a:gd name="T0" fmla="*/ 1987 w 2473"/>
                <a:gd name="T1" fmla="*/ 2735 h 3197"/>
                <a:gd name="T2" fmla="*/ 2048 w 2473"/>
                <a:gd name="T3" fmla="*/ 2538 h 3197"/>
                <a:gd name="T4" fmla="*/ 2154 w 2473"/>
                <a:gd name="T5" fmla="*/ 2366 h 3197"/>
                <a:gd name="T6" fmla="*/ 2297 w 2473"/>
                <a:gd name="T7" fmla="*/ 2222 h 3197"/>
                <a:gd name="T8" fmla="*/ 2473 w 2473"/>
                <a:gd name="T9" fmla="*/ 2116 h 3197"/>
                <a:gd name="T10" fmla="*/ 2464 w 2473"/>
                <a:gd name="T11" fmla="*/ 2 h 3197"/>
                <a:gd name="T12" fmla="*/ 9 w 2473"/>
                <a:gd name="T13" fmla="*/ 2 h 3197"/>
                <a:gd name="T14" fmla="*/ 0 w 2473"/>
                <a:gd name="T15" fmla="*/ 3179 h 3197"/>
                <a:gd name="T16" fmla="*/ 19 w 2473"/>
                <a:gd name="T17" fmla="*/ 3197 h 3197"/>
                <a:gd name="T18" fmla="*/ 1999 w 2473"/>
                <a:gd name="T19" fmla="*/ 3074 h 3197"/>
                <a:gd name="T20" fmla="*/ 1974 w 2473"/>
                <a:gd name="T21" fmla="*/ 2876 h 3197"/>
                <a:gd name="T22" fmla="*/ 1933 w 2473"/>
                <a:gd name="T23" fmla="*/ 526 h 3197"/>
                <a:gd name="T24" fmla="*/ 1979 w 2473"/>
                <a:gd name="T25" fmla="*/ 562 h 3197"/>
                <a:gd name="T26" fmla="*/ 1986 w 2473"/>
                <a:gd name="T27" fmla="*/ 620 h 3197"/>
                <a:gd name="T28" fmla="*/ 1951 w 2473"/>
                <a:gd name="T29" fmla="*/ 665 h 3197"/>
                <a:gd name="T30" fmla="*/ 560 w 2473"/>
                <a:gd name="T31" fmla="*/ 675 h 3197"/>
                <a:gd name="T32" fmla="*/ 507 w 2473"/>
                <a:gd name="T33" fmla="*/ 654 h 3197"/>
                <a:gd name="T34" fmla="*/ 484 w 2473"/>
                <a:gd name="T35" fmla="*/ 599 h 3197"/>
                <a:gd name="T36" fmla="*/ 507 w 2473"/>
                <a:gd name="T37" fmla="*/ 546 h 3197"/>
                <a:gd name="T38" fmla="*/ 560 w 2473"/>
                <a:gd name="T39" fmla="*/ 524 h 3197"/>
                <a:gd name="T40" fmla="*/ 1933 w 2473"/>
                <a:gd name="T41" fmla="*/ 1026 h 3197"/>
                <a:gd name="T42" fmla="*/ 1979 w 2473"/>
                <a:gd name="T43" fmla="*/ 1060 h 3197"/>
                <a:gd name="T44" fmla="*/ 1986 w 2473"/>
                <a:gd name="T45" fmla="*/ 1119 h 3197"/>
                <a:gd name="T46" fmla="*/ 1951 w 2473"/>
                <a:gd name="T47" fmla="*/ 1164 h 3197"/>
                <a:gd name="T48" fmla="*/ 560 w 2473"/>
                <a:gd name="T49" fmla="*/ 1175 h 3197"/>
                <a:gd name="T50" fmla="*/ 507 w 2473"/>
                <a:gd name="T51" fmla="*/ 1152 h 3197"/>
                <a:gd name="T52" fmla="*/ 484 w 2473"/>
                <a:gd name="T53" fmla="*/ 1099 h 3197"/>
                <a:gd name="T54" fmla="*/ 507 w 2473"/>
                <a:gd name="T55" fmla="*/ 1045 h 3197"/>
                <a:gd name="T56" fmla="*/ 560 w 2473"/>
                <a:gd name="T57" fmla="*/ 1024 h 3197"/>
                <a:gd name="T58" fmla="*/ 1933 w 2473"/>
                <a:gd name="T59" fmla="*/ 1526 h 3197"/>
                <a:gd name="T60" fmla="*/ 1979 w 2473"/>
                <a:gd name="T61" fmla="*/ 1560 h 3197"/>
                <a:gd name="T62" fmla="*/ 1986 w 2473"/>
                <a:gd name="T63" fmla="*/ 1619 h 3197"/>
                <a:gd name="T64" fmla="*/ 1951 w 2473"/>
                <a:gd name="T65" fmla="*/ 1664 h 3197"/>
                <a:gd name="T66" fmla="*/ 560 w 2473"/>
                <a:gd name="T67" fmla="*/ 1675 h 3197"/>
                <a:gd name="T68" fmla="*/ 507 w 2473"/>
                <a:gd name="T69" fmla="*/ 1652 h 3197"/>
                <a:gd name="T70" fmla="*/ 484 w 2473"/>
                <a:gd name="T71" fmla="*/ 1598 h 3197"/>
                <a:gd name="T72" fmla="*/ 507 w 2473"/>
                <a:gd name="T73" fmla="*/ 1545 h 3197"/>
                <a:gd name="T74" fmla="*/ 560 w 2473"/>
                <a:gd name="T75" fmla="*/ 1522 h 3197"/>
                <a:gd name="T76" fmla="*/ 1933 w 2473"/>
                <a:gd name="T77" fmla="*/ 2025 h 3197"/>
                <a:gd name="T78" fmla="*/ 1979 w 2473"/>
                <a:gd name="T79" fmla="*/ 2060 h 3197"/>
                <a:gd name="T80" fmla="*/ 1986 w 2473"/>
                <a:gd name="T81" fmla="*/ 2118 h 3197"/>
                <a:gd name="T82" fmla="*/ 1951 w 2473"/>
                <a:gd name="T83" fmla="*/ 2164 h 3197"/>
                <a:gd name="T84" fmla="*/ 560 w 2473"/>
                <a:gd name="T85" fmla="*/ 2174 h 3197"/>
                <a:gd name="T86" fmla="*/ 507 w 2473"/>
                <a:gd name="T87" fmla="*/ 2152 h 3197"/>
                <a:gd name="T88" fmla="*/ 484 w 2473"/>
                <a:gd name="T89" fmla="*/ 2098 h 3197"/>
                <a:gd name="T90" fmla="*/ 507 w 2473"/>
                <a:gd name="T91" fmla="*/ 2045 h 3197"/>
                <a:gd name="T92" fmla="*/ 560 w 2473"/>
                <a:gd name="T93" fmla="*/ 2022 h 3197"/>
                <a:gd name="T94" fmla="*/ 540 w 2473"/>
                <a:gd name="T95" fmla="*/ 2670 h 3197"/>
                <a:gd name="T96" fmla="*/ 495 w 2473"/>
                <a:gd name="T97" fmla="*/ 2636 h 3197"/>
                <a:gd name="T98" fmla="*/ 487 w 2473"/>
                <a:gd name="T99" fmla="*/ 2577 h 3197"/>
                <a:gd name="T100" fmla="*/ 522 w 2473"/>
                <a:gd name="T101" fmla="*/ 2532 h 3197"/>
                <a:gd name="T102" fmla="*/ 1913 w 2473"/>
                <a:gd name="T103" fmla="*/ 2522 h 3197"/>
                <a:gd name="T104" fmla="*/ 1967 w 2473"/>
                <a:gd name="T105" fmla="*/ 2544 h 3197"/>
                <a:gd name="T106" fmla="*/ 1988 w 2473"/>
                <a:gd name="T107" fmla="*/ 2598 h 3197"/>
                <a:gd name="T108" fmla="*/ 1967 w 2473"/>
                <a:gd name="T109" fmla="*/ 2651 h 3197"/>
                <a:gd name="T110" fmla="*/ 1913 w 2473"/>
                <a:gd name="T111" fmla="*/ 2674 h 3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73" h="3197">
                  <a:moveTo>
                    <a:pt x="1974" y="2876"/>
                  </a:moveTo>
                  <a:lnTo>
                    <a:pt x="1978" y="2804"/>
                  </a:lnTo>
                  <a:lnTo>
                    <a:pt x="1987" y="2735"/>
                  </a:lnTo>
                  <a:lnTo>
                    <a:pt x="2001" y="2667"/>
                  </a:lnTo>
                  <a:lnTo>
                    <a:pt x="2022" y="2602"/>
                  </a:lnTo>
                  <a:lnTo>
                    <a:pt x="2048" y="2538"/>
                  </a:lnTo>
                  <a:lnTo>
                    <a:pt x="2078" y="2478"/>
                  </a:lnTo>
                  <a:lnTo>
                    <a:pt x="2114" y="2420"/>
                  </a:lnTo>
                  <a:lnTo>
                    <a:pt x="2154" y="2366"/>
                  </a:lnTo>
                  <a:lnTo>
                    <a:pt x="2198" y="2314"/>
                  </a:lnTo>
                  <a:lnTo>
                    <a:pt x="2245" y="2267"/>
                  </a:lnTo>
                  <a:lnTo>
                    <a:pt x="2297" y="2222"/>
                  </a:lnTo>
                  <a:lnTo>
                    <a:pt x="2352" y="2182"/>
                  </a:lnTo>
                  <a:lnTo>
                    <a:pt x="2412" y="2147"/>
                  </a:lnTo>
                  <a:lnTo>
                    <a:pt x="2473" y="2116"/>
                  </a:lnTo>
                  <a:lnTo>
                    <a:pt x="2473" y="18"/>
                  </a:lnTo>
                  <a:lnTo>
                    <a:pt x="2470" y="9"/>
                  </a:lnTo>
                  <a:lnTo>
                    <a:pt x="2464" y="2"/>
                  </a:lnTo>
                  <a:lnTo>
                    <a:pt x="2454" y="0"/>
                  </a:lnTo>
                  <a:lnTo>
                    <a:pt x="19" y="0"/>
                  </a:lnTo>
                  <a:lnTo>
                    <a:pt x="9" y="2"/>
                  </a:lnTo>
                  <a:lnTo>
                    <a:pt x="2" y="9"/>
                  </a:lnTo>
                  <a:lnTo>
                    <a:pt x="0" y="18"/>
                  </a:lnTo>
                  <a:lnTo>
                    <a:pt x="0" y="3179"/>
                  </a:lnTo>
                  <a:lnTo>
                    <a:pt x="2" y="3189"/>
                  </a:lnTo>
                  <a:lnTo>
                    <a:pt x="9" y="3195"/>
                  </a:lnTo>
                  <a:lnTo>
                    <a:pt x="19" y="3197"/>
                  </a:lnTo>
                  <a:lnTo>
                    <a:pt x="2041" y="3197"/>
                  </a:lnTo>
                  <a:lnTo>
                    <a:pt x="2018" y="3137"/>
                  </a:lnTo>
                  <a:lnTo>
                    <a:pt x="1999" y="3074"/>
                  </a:lnTo>
                  <a:lnTo>
                    <a:pt x="1986" y="3010"/>
                  </a:lnTo>
                  <a:lnTo>
                    <a:pt x="1978" y="2943"/>
                  </a:lnTo>
                  <a:lnTo>
                    <a:pt x="1974" y="2876"/>
                  </a:lnTo>
                  <a:close/>
                  <a:moveTo>
                    <a:pt x="560" y="524"/>
                  </a:moveTo>
                  <a:lnTo>
                    <a:pt x="1913" y="524"/>
                  </a:lnTo>
                  <a:lnTo>
                    <a:pt x="1933" y="526"/>
                  </a:lnTo>
                  <a:lnTo>
                    <a:pt x="1951" y="534"/>
                  </a:lnTo>
                  <a:lnTo>
                    <a:pt x="1967" y="545"/>
                  </a:lnTo>
                  <a:lnTo>
                    <a:pt x="1979" y="562"/>
                  </a:lnTo>
                  <a:lnTo>
                    <a:pt x="1986" y="579"/>
                  </a:lnTo>
                  <a:lnTo>
                    <a:pt x="1988" y="599"/>
                  </a:lnTo>
                  <a:lnTo>
                    <a:pt x="1986" y="620"/>
                  </a:lnTo>
                  <a:lnTo>
                    <a:pt x="1979" y="637"/>
                  </a:lnTo>
                  <a:lnTo>
                    <a:pt x="1967" y="654"/>
                  </a:lnTo>
                  <a:lnTo>
                    <a:pt x="1951" y="665"/>
                  </a:lnTo>
                  <a:lnTo>
                    <a:pt x="1933" y="673"/>
                  </a:lnTo>
                  <a:lnTo>
                    <a:pt x="1913" y="675"/>
                  </a:lnTo>
                  <a:lnTo>
                    <a:pt x="560" y="675"/>
                  </a:lnTo>
                  <a:lnTo>
                    <a:pt x="540" y="673"/>
                  </a:lnTo>
                  <a:lnTo>
                    <a:pt x="522" y="665"/>
                  </a:lnTo>
                  <a:lnTo>
                    <a:pt x="507" y="654"/>
                  </a:lnTo>
                  <a:lnTo>
                    <a:pt x="495" y="637"/>
                  </a:lnTo>
                  <a:lnTo>
                    <a:pt x="487" y="620"/>
                  </a:lnTo>
                  <a:lnTo>
                    <a:pt x="484" y="599"/>
                  </a:lnTo>
                  <a:lnTo>
                    <a:pt x="487" y="579"/>
                  </a:lnTo>
                  <a:lnTo>
                    <a:pt x="495" y="562"/>
                  </a:lnTo>
                  <a:lnTo>
                    <a:pt x="507" y="546"/>
                  </a:lnTo>
                  <a:lnTo>
                    <a:pt x="522" y="534"/>
                  </a:lnTo>
                  <a:lnTo>
                    <a:pt x="540" y="527"/>
                  </a:lnTo>
                  <a:lnTo>
                    <a:pt x="560" y="524"/>
                  </a:lnTo>
                  <a:close/>
                  <a:moveTo>
                    <a:pt x="560" y="1024"/>
                  </a:moveTo>
                  <a:lnTo>
                    <a:pt x="1913" y="1024"/>
                  </a:lnTo>
                  <a:lnTo>
                    <a:pt x="1933" y="1026"/>
                  </a:lnTo>
                  <a:lnTo>
                    <a:pt x="1951" y="1033"/>
                  </a:lnTo>
                  <a:lnTo>
                    <a:pt x="1967" y="1045"/>
                  </a:lnTo>
                  <a:lnTo>
                    <a:pt x="1979" y="1060"/>
                  </a:lnTo>
                  <a:lnTo>
                    <a:pt x="1986" y="1079"/>
                  </a:lnTo>
                  <a:lnTo>
                    <a:pt x="1988" y="1099"/>
                  </a:lnTo>
                  <a:lnTo>
                    <a:pt x="1986" y="1119"/>
                  </a:lnTo>
                  <a:lnTo>
                    <a:pt x="1979" y="1137"/>
                  </a:lnTo>
                  <a:lnTo>
                    <a:pt x="1967" y="1152"/>
                  </a:lnTo>
                  <a:lnTo>
                    <a:pt x="1951" y="1164"/>
                  </a:lnTo>
                  <a:lnTo>
                    <a:pt x="1933" y="1172"/>
                  </a:lnTo>
                  <a:lnTo>
                    <a:pt x="1913" y="1175"/>
                  </a:lnTo>
                  <a:lnTo>
                    <a:pt x="560" y="1175"/>
                  </a:lnTo>
                  <a:lnTo>
                    <a:pt x="540" y="1172"/>
                  </a:lnTo>
                  <a:lnTo>
                    <a:pt x="522" y="1164"/>
                  </a:lnTo>
                  <a:lnTo>
                    <a:pt x="507" y="1152"/>
                  </a:lnTo>
                  <a:lnTo>
                    <a:pt x="495" y="1137"/>
                  </a:lnTo>
                  <a:lnTo>
                    <a:pt x="487" y="1119"/>
                  </a:lnTo>
                  <a:lnTo>
                    <a:pt x="484" y="1099"/>
                  </a:lnTo>
                  <a:lnTo>
                    <a:pt x="487" y="1079"/>
                  </a:lnTo>
                  <a:lnTo>
                    <a:pt x="495" y="1060"/>
                  </a:lnTo>
                  <a:lnTo>
                    <a:pt x="507" y="1045"/>
                  </a:lnTo>
                  <a:lnTo>
                    <a:pt x="522" y="1033"/>
                  </a:lnTo>
                  <a:lnTo>
                    <a:pt x="540" y="1026"/>
                  </a:lnTo>
                  <a:lnTo>
                    <a:pt x="560" y="1024"/>
                  </a:lnTo>
                  <a:close/>
                  <a:moveTo>
                    <a:pt x="560" y="1522"/>
                  </a:moveTo>
                  <a:lnTo>
                    <a:pt x="1913" y="1522"/>
                  </a:lnTo>
                  <a:lnTo>
                    <a:pt x="1933" y="1526"/>
                  </a:lnTo>
                  <a:lnTo>
                    <a:pt x="1951" y="1533"/>
                  </a:lnTo>
                  <a:lnTo>
                    <a:pt x="1967" y="1545"/>
                  </a:lnTo>
                  <a:lnTo>
                    <a:pt x="1979" y="1560"/>
                  </a:lnTo>
                  <a:lnTo>
                    <a:pt x="1986" y="1579"/>
                  </a:lnTo>
                  <a:lnTo>
                    <a:pt x="1988" y="1598"/>
                  </a:lnTo>
                  <a:lnTo>
                    <a:pt x="1986" y="1619"/>
                  </a:lnTo>
                  <a:lnTo>
                    <a:pt x="1979" y="1637"/>
                  </a:lnTo>
                  <a:lnTo>
                    <a:pt x="1967" y="1652"/>
                  </a:lnTo>
                  <a:lnTo>
                    <a:pt x="1951" y="1664"/>
                  </a:lnTo>
                  <a:lnTo>
                    <a:pt x="1933" y="1672"/>
                  </a:lnTo>
                  <a:lnTo>
                    <a:pt x="1913" y="1675"/>
                  </a:lnTo>
                  <a:lnTo>
                    <a:pt x="560" y="1675"/>
                  </a:lnTo>
                  <a:lnTo>
                    <a:pt x="540" y="1672"/>
                  </a:lnTo>
                  <a:lnTo>
                    <a:pt x="522" y="1664"/>
                  </a:lnTo>
                  <a:lnTo>
                    <a:pt x="507" y="1652"/>
                  </a:lnTo>
                  <a:lnTo>
                    <a:pt x="495" y="1637"/>
                  </a:lnTo>
                  <a:lnTo>
                    <a:pt x="487" y="1619"/>
                  </a:lnTo>
                  <a:lnTo>
                    <a:pt x="484" y="1598"/>
                  </a:lnTo>
                  <a:lnTo>
                    <a:pt x="487" y="1579"/>
                  </a:lnTo>
                  <a:lnTo>
                    <a:pt x="495" y="1560"/>
                  </a:lnTo>
                  <a:lnTo>
                    <a:pt x="507" y="1545"/>
                  </a:lnTo>
                  <a:lnTo>
                    <a:pt x="522" y="1533"/>
                  </a:lnTo>
                  <a:lnTo>
                    <a:pt x="540" y="1526"/>
                  </a:lnTo>
                  <a:lnTo>
                    <a:pt x="560" y="1522"/>
                  </a:lnTo>
                  <a:close/>
                  <a:moveTo>
                    <a:pt x="560" y="2022"/>
                  </a:moveTo>
                  <a:lnTo>
                    <a:pt x="1913" y="2022"/>
                  </a:lnTo>
                  <a:lnTo>
                    <a:pt x="1933" y="2025"/>
                  </a:lnTo>
                  <a:lnTo>
                    <a:pt x="1951" y="2033"/>
                  </a:lnTo>
                  <a:lnTo>
                    <a:pt x="1967" y="2045"/>
                  </a:lnTo>
                  <a:lnTo>
                    <a:pt x="1979" y="2060"/>
                  </a:lnTo>
                  <a:lnTo>
                    <a:pt x="1986" y="2077"/>
                  </a:lnTo>
                  <a:lnTo>
                    <a:pt x="1988" y="2098"/>
                  </a:lnTo>
                  <a:lnTo>
                    <a:pt x="1986" y="2118"/>
                  </a:lnTo>
                  <a:lnTo>
                    <a:pt x="1979" y="2136"/>
                  </a:lnTo>
                  <a:lnTo>
                    <a:pt x="1967" y="2152"/>
                  </a:lnTo>
                  <a:lnTo>
                    <a:pt x="1951" y="2164"/>
                  </a:lnTo>
                  <a:lnTo>
                    <a:pt x="1933" y="2172"/>
                  </a:lnTo>
                  <a:lnTo>
                    <a:pt x="1913" y="2174"/>
                  </a:lnTo>
                  <a:lnTo>
                    <a:pt x="560" y="2174"/>
                  </a:lnTo>
                  <a:lnTo>
                    <a:pt x="540" y="2172"/>
                  </a:lnTo>
                  <a:lnTo>
                    <a:pt x="522" y="2164"/>
                  </a:lnTo>
                  <a:lnTo>
                    <a:pt x="507" y="2152"/>
                  </a:lnTo>
                  <a:lnTo>
                    <a:pt x="495" y="2136"/>
                  </a:lnTo>
                  <a:lnTo>
                    <a:pt x="487" y="2118"/>
                  </a:lnTo>
                  <a:lnTo>
                    <a:pt x="484" y="2098"/>
                  </a:lnTo>
                  <a:lnTo>
                    <a:pt x="487" y="2077"/>
                  </a:lnTo>
                  <a:lnTo>
                    <a:pt x="495" y="2060"/>
                  </a:lnTo>
                  <a:lnTo>
                    <a:pt x="507" y="2045"/>
                  </a:lnTo>
                  <a:lnTo>
                    <a:pt x="522" y="2033"/>
                  </a:lnTo>
                  <a:lnTo>
                    <a:pt x="540" y="2025"/>
                  </a:lnTo>
                  <a:lnTo>
                    <a:pt x="560" y="2022"/>
                  </a:lnTo>
                  <a:close/>
                  <a:moveTo>
                    <a:pt x="1913" y="2674"/>
                  </a:moveTo>
                  <a:lnTo>
                    <a:pt x="560" y="2674"/>
                  </a:lnTo>
                  <a:lnTo>
                    <a:pt x="540" y="2670"/>
                  </a:lnTo>
                  <a:lnTo>
                    <a:pt x="522" y="2663"/>
                  </a:lnTo>
                  <a:lnTo>
                    <a:pt x="507" y="2651"/>
                  </a:lnTo>
                  <a:lnTo>
                    <a:pt x="495" y="2636"/>
                  </a:lnTo>
                  <a:lnTo>
                    <a:pt x="487" y="2618"/>
                  </a:lnTo>
                  <a:lnTo>
                    <a:pt x="484" y="2598"/>
                  </a:lnTo>
                  <a:lnTo>
                    <a:pt x="487" y="2577"/>
                  </a:lnTo>
                  <a:lnTo>
                    <a:pt x="495" y="2560"/>
                  </a:lnTo>
                  <a:lnTo>
                    <a:pt x="507" y="2544"/>
                  </a:lnTo>
                  <a:lnTo>
                    <a:pt x="522" y="2532"/>
                  </a:lnTo>
                  <a:lnTo>
                    <a:pt x="540" y="2524"/>
                  </a:lnTo>
                  <a:lnTo>
                    <a:pt x="560" y="2522"/>
                  </a:lnTo>
                  <a:lnTo>
                    <a:pt x="1913" y="2522"/>
                  </a:lnTo>
                  <a:lnTo>
                    <a:pt x="1933" y="2524"/>
                  </a:lnTo>
                  <a:lnTo>
                    <a:pt x="1951" y="2532"/>
                  </a:lnTo>
                  <a:lnTo>
                    <a:pt x="1967" y="2544"/>
                  </a:lnTo>
                  <a:lnTo>
                    <a:pt x="1979" y="2560"/>
                  </a:lnTo>
                  <a:lnTo>
                    <a:pt x="1986" y="2577"/>
                  </a:lnTo>
                  <a:lnTo>
                    <a:pt x="1988" y="2598"/>
                  </a:lnTo>
                  <a:lnTo>
                    <a:pt x="1986" y="2618"/>
                  </a:lnTo>
                  <a:lnTo>
                    <a:pt x="1979" y="2636"/>
                  </a:lnTo>
                  <a:lnTo>
                    <a:pt x="1967" y="2651"/>
                  </a:lnTo>
                  <a:lnTo>
                    <a:pt x="1951" y="2663"/>
                  </a:lnTo>
                  <a:lnTo>
                    <a:pt x="1933" y="2670"/>
                  </a:lnTo>
                  <a:lnTo>
                    <a:pt x="1913" y="267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1" name="Group 4"/>
          <p:cNvGrpSpPr>
            <a:grpSpLocks noChangeAspect="1"/>
          </p:cNvGrpSpPr>
          <p:nvPr/>
        </p:nvGrpSpPr>
        <p:grpSpPr bwMode="auto">
          <a:xfrm>
            <a:off x="900537" y="3545603"/>
            <a:ext cx="517133" cy="476342"/>
            <a:chOff x="-413" y="1979"/>
            <a:chExt cx="393" cy="362"/>
          </a:xfrm>
          <a:solidFill>
            <a:schemeClr val="bg1"/>
          </a:solidFill>
        </p:grpSpPr>
        <p:sp>
          <p:nvSpPr>
            <p:cNvPr id="82" name="Rectangle 6"/>
            <p:cNvSpPr>
              <a:spLocks noChangeArrowheads="1"/>
            </p:cNvSpPr>
            <p:nvPr/>
          </p:nvSpPr>
          <p:spPr bwMode="auto">
            <a:xfrm>
              <a:off x="-389" y="2104"/>
              <a:ext cx="17" cy="4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Rectangle 7"/>
            <p:cNvSpPr>
              <a:spLocks noChangeArrowheads="1"/>
            </p:cNvSpPr>
            <p:nvPr/>
          </p:nvSpPr>
          <p:spPr bwMode="auto">
            <a:xfrm>
              <a:off x="-389" y="2176"/>
              <a:ext cx="17" cy="4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8"/>
            <p:cNvSpPr>
              <a:spLocks/>
            </p:cNvSpPr>
            <p:nvPr/>
          </p:nvSpPr>
          <p:spPr bwMode="auto">
            <a:xfrm>
              <a:off x="-389" y="1979"/>
              <a:ext cx="305" cy="153"/>
            </a:xfrm>
            <a:custGeom>
              <a:avLst/>
              <a:gdLst>
                <a:gd name="T0" fmla="*/ 2746 w 2746"/>
                <a:gd name="T1" fmla="*/ 942 h 1381"/>
                <a:gd name="T2" fmla="*/ 2746 w 2746"/>
                <a:gd name="T3" fmla="*/ 1225 h 1381"/>
                <a:gd name="T4" fmla="*/ 2589 w 2746"/>
                <a:gd name="T5" fmla="*/ 1381 h 1381"/>
                <a:gd name="T6" fmla="*/ 2589 w 2746"/>
                <a:gd name="T7" fmla="*/ 287 h 1381"/>
                <a:gd name="T8" fmla="*/ 2586 w 2746"/>
                <a:gd name="T9" fmla="*/ 260 h 1381"/>
                <a:gd name="T10" fmla="*/ 2579 w 2746"/>
                <a:gd name="T11" fmla="*/ 236 h 1381"/>
                <a:gd name="T12" fmla="*/ 2567 w 2746"/>
                <a:gd name="T13" fmla="*/ 214 h 1381"/>
                <a:gd name="T14" fmla="*/ 2551 w 2746"/>
                <a:gd name="T15" fmla="*/ 195 h 1381"/>
                <a:gd name="T16" fmla="*/ 2531 w 2746"/>
                <a:gd name="T17" fmla="*/ 179 h 1381"/>
                <a:gd name="T18" fmla="*/ 2509 w 2746"/>
                <a:gd name="T19" fmla="*/ 166 h 1381"/>
                <a:gd name="T20" fmla="*/ 2484 w 2746"/>
                <a:gd name="T21" fmla="*/ 159 h 1381"/>
                <a:gd name="T22" fmla="*/ 2458 w 2746"/>
                <a:gd name="T23" fmla="*/ 156 h 1381"/>
                <a:gd name="T24" fmla="*/ 287 w 2746"/>
                <a:gd name="T25" fmla="*/ 156 h 1381"/>
                <a:gd name="T26" fmla="*/ 261 w 2746"/>
                <a:gd name="T27" fmla="*/ 159 h 1381"/>
                <a:gd name="T28" fmla="*/ 236 w 2746"/>
                <a:gd name="T29" fmla="*/ 166 h 1381"/>
                <a:gd name="T30" fmla="*/ 214 w 2746"/>
                <a:gd name="T31" fmla="*/ 179 h 1381"/>
                <a:gd name="T32" fmla="*/ 194 w 2746"/>
                <a:gd name="T33" fmla="*/ 195 h 1381"/>
                <a:gd name="T34" fmla="*/ 178 w 2746"/>
                <a:gd name="T35" fmla="*/ 214 h 1381"/>
                <a:gd name="T36" fmla="*/ 166 w 2746"/>
                <a:gd name="T37" fmla="*/ 236 h 1381"/>
                <a:gd name="T38" fmla="*/ 159 w 2746"/>
                <a:gd name="T39" fmla="*/ 260 h 1381"/>
                <a:gd name="T40" fmla="*/ 156 w 2746"/>
                <a:gd name="T41" fmla="*/ 287 h 1381"/>
                <a:gd name="T42" fmla="*/ 156 w 2746"/>
                <a:gd name="T43" fmla="*/ 832 h 1381"/>
                <a:gd name="T44" fmla="*/ 0 w 2746"/>
                <a:gd name="T45" fmla="*/ 832 h 1381"/>
                <a:gd name="T46" fmla="*/ 0 w 2746"/>
                <a:gd name="T47" fmla="*/ 287 h 1381"/>
                <a:gd name="T48" fmla="*/ 3 w 2746"/>
                <a:gd name="T49" fmla="*/ 244 h 1381"/>
                <a:gd name="T50" fmla="*/ 12 w 2746"/>
                <a:gd name="T51" fmla="*/ 205 h 1381"/>
                <a:gd name="T52" fmla="*/ 27 w 2746"/>
                <a:gd name="T53" fmla="*/ 166 h 1381"/>
                <a:gd name="T54" fmla="*/ 46 w 2746"/>
                <a:gd name="T55" fmla="*/ 131 h 1381"/>
                <a:gd name="T56" fmla="*/ 70 w 2746"/>
                <a:gd name="T57" fmla="*/ 99 h 1381"/>
                <a:gd name="T58" fmla="*/ 99 w 2746"/>
                <a:gd name="T59" fmla="*/ 71 h 1381"/>
                <a:gd name="T60" fmla="*/ 131 w 2746"/>
                <a:gd name="T61" fmla="*/ 46 h 1381"/>
                <a:gd name="T62" fmla="*/ 165 w 2746"/>
                <a:gd name="T63" fmla="*/ 27 h 1381"/>
                <a:gd name="T64" fmla="*/ 204 w 2746"/>
                <a:gd name="T65" fmla="*/ 13 h 1381"/>
                <a:gd name="T66" fmla="*/ 245 w 2746"/>
                <a:gd name="T67" fmla="*/ 3 h 1381"/>
                <a:gd name="T68" fmla="*/ 287 w 2746"/>
                <a:gd name="T69" fmla="*/ 0 h 1381"/>
                <a:gd name="T70" fmla="*/ 2458 w 2746"/>
                <a:gd name="T71" fmla="*/ 0 h 1381"/>
                <a:gd name="T72" fmla="*/ 2500 w 2746"/>
                <a:gd name="T73" fmla="*/ 3 h 1381"/>
                <a:gd name="T74" fmla="*/ 2541 w 2746"/>
                <a:gd name="T75" fmla="*/ 13 h 1381"/>
                <a:gd name="T76" fmla="*/ 2579 w 2746"/>
                <a:gd name="T77" fmla="*/ 27 h 1381"/>
                <a:gd name="T78" fmla="*/ 2614 w 2746"/>
                <a:gd name="T79" fmla="*/ 46 h 1381"/>
                <a:gd name="T80" fmla="*/ 2646 w 2746"/>
                <a:gd name="T81" fmla="*/ 71 h 1381"/>
                <a:gd name="T82" fmla="*/ 2674 w 2746"/>
                <a:gd name="T83" fmla="*/ 99 h 1381"/>
                <a:gd name="T84" fmla="*/ 2699 w 2746"/>
                <a:gd name="T85" fmla="*/ 131 h 1381"/>
                <a:gd name="T86" fmla="*/ 2718 w 2746"/>
                <a:gd name="T87" fmla="*/ 166 h 1381"/>
                <a:gd name="T88" fmla="*/ 2733 w 2746"/>
                <a:gd name="T89" fmla="*/ 205 h 1381"/>
                <a:gd name="T90" fmla="*/ 2742 w 2746"/>
                <a:gd name="T91" fmla="*/ 244 h 1381"/>
                <a:gd name="T92" fmla="*/ 2745 w 2746"/>
                <a:gd name="T93" fmla="*/ 287 h 1381"/>
                <a:gd name="T94" fmla="*/ 2745 w 2746"/>
                <a:gd name="T95" fmla="*/ 942 h 1381"/>
                <a:gd name="T96" fmla="*/ 2746 w 2746"/>
                <a:gd name="T97" fmla="*/ 942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46" h="1381">
                  <a:moveTo>
                    <a:pt x="2746" y="942"/>
                  </a:moveTo>
                  <a:lnTo>
                    <a:pt x="2746" y="1225"/>
                  </a:lnTo>
                  <a:lnTo>
                    <a:pt x="2589" y="1381"/>
                  </a:lnTo>
                  <a:lnTo>
                    <a:pt x="2589" y="287"/>
                  </a:lnTo>
                  <a:lnTo>
                    <a:pt x="2586" y="260"/>
                  </a:lnTo>
                  <a:lnTo>
                    <a:pt x="2579" y="236"/>
                  </a:lnTo>
                  <a:lnTo>
                    <a:pt x="2567" y="214"/>
                  </a:lnTo>
                  <a:lnTo>
                    <a:pt x="2551" y="195"/>
                  </a:lnTo>
                  <a:lnTo>
                    <a:pt x="2531" y="179"/>
                  </a:lnTo>
                  <a:lnTo>
                    <a:pt x="2509" y="166"/>
                  </a:lnTo>
                  <a:lnTo>
                    <a:pt x="2484" y="159"/>
                  </a:lnTo>
                  <a:lnTo>
                    <a:pt x="2458" y="156"/>
                  </a:lnTo>
                  <a:lnTo>
                    <a:pt x="287" y="156"/>
                  </a:lnTo>
                  <a:lnTo>
                    <a:pt x="261" y="159"/>
                  </a:lnTo>
                  <a:lnTo>
                    <a:pt x="236" y="166"/>
                  </a:lnTo>
                  <a:lnTo>
                    <a:pt x="214" y="179"/>
                  </a:lnTo>
                  <a:lnTo>
                    <a:pt x="194" y="195"/>
                  </a:lnTo>
                  <a:lnTo>
                    <a:pt x="178" y="214"/>
                  </a:lnTo>
                  <a:lnTo>
                    <a:pt x="166" y="236"/>
                  </a:lnTo>
                  <a:lnTo>
                    <a:pt x="159" y="260"/>
                  </a:lnTo>
                  <a:lnTo>
                    <a:pt x="156" y="287"/>
                  </a:lnTo>
                  <a:lnTo>
                    <a:pt x="156" y="832"/>
                  </a:lnTo>
                  <a:lnTo>
                    <a:pt x="0" y="832"/>
                  </a:lnTo>
                  <a:lnTo>
                    <a:pt x="0" y="287"/>
                  </a:lnTo>
                  <a:lnTo>
                    <a:pt x="3" y="244"/>
                  </a:lnTo>
                  <a:lnTo>
                    <a:pt x="12" y="205"/>
                  </a:lnTo>
                  <a:lnTo>
                    <a:pt x="27" y="166"/>
                  </a:lnTo>
                  <a:lnTo>
                    <a:pt x="46" y="131"/>
                  </a:lnTo>
                  <a:lnTo>
                    <a:pt x="70" y="99"/>
                  </a:lnTo>
                  <a:lnTo>
                    <a:pt x="99" y="71"/>
                  </a:lnTo>
                  <a:lnTo>
                    <a:pt x="131" y="46"/>
                  </a:lnTo>
                  <a:lnTo>
                    <a:pt x="165" y="27"/>
                  </a:lnTo>
                  <a:lnTo>
                    <a:pt x="204" y="13"/>
                  </a:lnTo>
                  <a:lnTo>
                    <a:pt x="245" y="3"/>
                  </a:lnTo>
                  <a:lnTo>
                    <a:pt x="287" y="0"/>
                  </a:lnTo>
                  <a:lnTo>
                    <a:pt x="2458" y="0"/>
                  </a:lnTo>
                  <a:lnTo>
                    <a:pt x="2500" y="3"/>
                  </a:lnTo>
                  <a:lnTo>
                    <a:pt x="2541" y="13"/>
                  </a:lnTo>
                  <a:lnTo>
                    <a:pt x="2579" y="27"/>
                  </a:lnTo>
                  <a:lnTo>
                    <a:pt x="2614" y="46"/>
                  </a:lnTo>
                  <a:lnTo>
                    <a:pt x="2646" y="71"/>
                  </a:lnTo>
                  <a:lnTo>
                    <a:pt x="2674" y="99"/>
                  </a:lnTo>
                  <a:lnTo>
                    <a:pt x="2699" y="131"/>
                  </a:lnTo>
                  <a:lnTo>
                    <a:pt x="2718" y="166"/>
                  </a:lnTo>
                  <a:lnTo>
                    <a:pt x="2733" y="205"/>
                  </a:lnTo>
                  <a:lnTo>
                    <a:pt x="2742" y="244"/>
                  </a:lnTo>
                  <a:lnTo>
                    <a:pt x="2745" y="287"/>
                  </a:lnTo>
                  <a:lnTo>
                    <a:pt x="2745" y="942"/>
                  </a:lnTo>
                  <a:lnTo>
                    <a:pt x="2746" y="9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9"/>
            <p:cNvSpPr>
              <a:spLocks/>
            </p:cNvSpPr>
            <p:nvPr/>
          </p:nvSpPr>
          <p:spPr bwMode="auto">
            <a:xfrm>
              <a:off x="-389" y="2235"/>
              <a:ext cx="305" cy="106"/>
            </a:xfrm>
            <a:custGeom>
              <a:avLst/>
              <a:gdLst>
                <a:gd name="T0" fmla="*/ 2662 w 2746"/>
                <a:gd name="T1" fmla="*/ 53 h 954"/>
                <a:gd name="T2" fmla="*/ 2689 w 2746"/>
                <a:gd name="T3" fmla="*/ 66 h 954"/>
                <a:gd name="T4" fmla="*/ 2717 w 2746"/>
                <a:gd name="T5" fmla="*/ 74 h 954"/>
                <a:gd name="T6" fmla="*/ 2746 w 2746"/>
                <a:gd name="T7" fmla="*/ 78 h 954"/>
                <a:gd name="T8" fmla="*/ 2746 w 2746"/>
                <a:gd name="T9" fmla="*/ 667 h 954"/>
                <a:gd name="T10" fmla="*/ 2743 w 2746"/>
                <a:gd name="T11" fmla="*/ 710 h 954"/>
                <a:gd name="T12" fmla="*/ 2733 w 2746"/>
                <a:gd name="T13" fmla="*/ 749 h 954"/>
                <a:gd name="T14" fmla="*/ 2719 w 2746"/>
                <a:gd name="T15" fmla="*/ 788 h 954"/>
                <a:gd name="T16" fmla="*/ 2699 w 2746"/>
                <a:gd name="T17" fmla="*/ 823 h 954"/>
                <a:gd name="T18" fmla="*/ 2675 w 2746"/>
                <a:gd name="T19" fmla="*/ 854 h 954"/>
                <a:gd name="T20" fmla="*/ 2646 w 2746"/>
                <a:gd name="T21" fmla="*/ 883 h 954"/>
                <a:gd name="T22" fmla="*/ 2614 w 2746"/>
                <a:gd name="T23" fmla="*/ 907 h 954"/>
                <a:gd name="T24" fmla="*/ 2579 w 2746"/>
                <a:gd name="T25" fmla="*/ 927 h 954"/>
                <a:gd name="T26" fmla="*/ 2541 w 2746"/>
                <a:gd name="T27" fmla="*/ 941 h 954"/>
                <a:gd name="T28" fmla="*/ 2500 w 2746"/>
                <a:gd name="T29" fmla="*/ 951 h 954"/>
                <a:gd name="T30" fmla="*/ 2458 w 2746"/>
                <a:gd name="T31" fmla="*/ 954 h 954"/>
                <a:gd name="T32" fmla="*/ 287 w 2746"/>
                <a:gd name="T33" fmla="*/ 954 h 954"/>
                <a:gd name="T34" fmla="*/ 245 w 2746"/>
                <a:gd name="T35" fmla="*/ 951 h 954"/>
                <a:gd name="T36" fmla="*/ 204 w 2746"/>
                <a:gd name="T37" fmla="*/ 941 h 954"/>
                <a:gd name="T38" fmla="*/ 165 w 2746"/>
                <a:gd name="T39" fmla="*/ 927 h 954"/>
                <a:gd name="T40" fmla="*/ 131 w 2746"/>
                <a:gd name="T41" fmla="*/ 907 h 954"/>
                <a:gd name="T42" fmla="*/ 99 w 2746"/>
                <a:gd name="T43" fmla="*/ 883 h 954"/>
                <a:gd name="T44" fmla="*/ 70 w 2746"/>
                <a:gd name="T45" fmla="*/ 854 h 954"/>
                <a:gd name="T46" fmla="*/ 46 w 2746"/>
                <a:gd name="T47" fmla="*/ 823 h 954"/>
                <a:gd name="T48" fmla="*/ 27 w 2746"/>
                <a:gd name="T49" fmla="*/ 788 h 954"/>
                <a:gd name="T50" fmla="*/ 12 w 2746"/>
                <a:gd name="T51" fmla="*/ 749 h 954"/>
                <a:gd name="T52" fmla="*/ 3 w 2746"/>
                <a:gd name="T53" fmla="*/ 710 h 954"/>
                <a:gd name="T54" fmla="*/ 0 w 2746"/>
                <a:gd name="T55" fmla="*/ 667 h 954"/>
                <a:gd name="T56" fmla="*/ 0 w 2746"/>
                <a:gd name="T57" fmla="*/ 123 h 954"/>
                <a:gd name="T58" fmla="*/ 156 w 2746"/>
                <a:gd name="T59" fmla="*/ 123 h 954"/>
                <a:gd name="T60" fmla="*/ 156 w 2746"/>
                <a:gd name="T61" fmla="*/ 667 h 954"/>
                <a:gd name="T62" fmla="*/ 159 w 2746"/>
                <a:gd name="T63" fmla="*/ 694 h 954"/>
                <a:gd name="T64" fmla="*/ 166 w 2746"/>
                <a:gd name="T65" fmla="*/ 718 h 954"/>
                <a:gd name="T66" fmla="*/ 178 w 2746"/>
                <a:gd name="T67" fmla="*/ 740 h 954"/>
                <a:gd name="T68" fmla="*/ 194 w 2746"/>
                <a:gd name="T69" fmla="*/ 759 h 954"/>
                <a:gd name="T70" fmla="*/ 214 w 2746"/>
                <a:gd name="T71" fmla="*/ 775 h 954"/>
                <a:gd name="T72" fmla="*/ 236 w 2746"/>
                <a:gd name="T73" fmla="*/ 788 h 954"/>
                <a:gd name="T74" fmla="*/ 261 w 2746"/>
                <a:gd name="T75" fmla="*/ 795 h 954"/>
                <a:gd name="T76" fmla="*/ 287 w 2746"/>
                <a:gd name="T77" fmla="*/ 798 h 954"/>
                <a:gd name="T78" fmla="*/ 2458 w 2746"/>
                <a:gd name="T79" fmla="*/ 798 h 954"/>
                <a:gd name="T80" fmla="*/ 2484 w 2746"/>
                <a:gd name="T81" fmla="*/ 795 h 954"/>
                <a:gd name="T82" fmla="*/ 2509 w 2746"/>
                <a:gd name="T83" fmla="*/ 788 h 954"/>
                <a:gd name="T84" fmla="*/ 2531 w 2746"/>
                <a:gd name="T85" fmla="*/ 775 h 954"/>
                <a:gd name="T86" fmla="*/ 2551 w 2746"/>
                <a:gd name="T87" fmla="*/ 759 h 954"/>
                <a:gd name="T88" fmla="*/ 2567 w 2746"/>
                <a:gd name="T89" fmla="*/ 740 h 954"/>
                <a:gd name="T90" fmla="*/ 2579 w 2746"/>
                <a:gd name="T91" fmla="*/ 718 h 954"/>
                <a:gd name="T92" fmla="*/ 2587 w 2746"/>
                <a:gd name="T93" fmla="*/ 694 h 954"/>
                <a:gd name="T94" fmla="*/ 2589 w 2746"/>
                <a:gd name="T95" fmla="*/ 667 h 954"/>
                <a:gd name="T96" fmla="*/ 2589 w 2746"/>
                <a:gd name="T97" fmla="*/ 181 h 954"/>
                <a:gd name="T98" fmla="*/ 2589 w 2746"/>
                <a:gd name="T99" fmla="*/ 181 h 954"/>
                <a:gd name="T100" fmla="*/ 2589 w 2746"/>
                <a:gd name="T101" fmla="*/ 9 h 954"/>
                <a:gd name="T102" fmla="*/ 2599 w 2746"/>
                <a:gd name="T103" fmla="*/ 0 h 954"/>
                <a:gd name="T104" fmla="*/ 2617 w 2746"/>
                <a:gd name="T105" fmla="*/ 20 h 954"/>
                <a:gd name="T106" fmla="*/ 2639 w 2746"/>
                <a:gd name="T107" fmla="*/ 38 h 954"/>
                <a:gd name="T108" fmla="*/ 2662 w 2746"/>
                <a:gd name="T109" fmla="*/ 53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46" h="954">
                  <a:moveTo>
                    <a:pt x="2662" y="53"/>
                  </a:moveTo>
                  <a:lnTo>
                    <a:pt x="2689" y="66"/>
                  </a:lnTo>
                  <a:lnTo>
                    <a:pt x="2717" y="74"/>
                  </a:lnTo>
                  <a:lnTo>
                    <a:pt x="2746" y="78"/>
                  </a:lnTo>
                  <a:lnTo>
                    <a:pt x="2746" y="667"/>
                  </a:lnTo>
                  <a:lnTo>
                    <a:pt x="2743" y="710"/>
                  </a:lnTo>
                  <a:lnTo>
                    <a:pt x="2733" y="749"/>
                  </a:lnTo>
                  <a:lnTo>
                    <a:pt x="2719" y="788"/>
                  </a:lnTo>
                  <a:lnTo>
                    <a:pt x="2699" y="823"/>
                  </a:lnTo>
                  <a:lnTo>
                    <a:pt x="2675" y="854"/>
                  </a:lnTo>
                  <a:lnTo>
                    <a:pt x="2646" y="883"/>
                  </a:lnTo>
                  <a:lnTo>
                    <a:pt x="2614" y="907"/>
                  </a:lnTo>
                  <a:lnTo>
                    <a:pt x="2579" y="927"/>
                  </a:lnTo>
                  <a:lnTo>
                    <a:pt x="2541" y="941"/>
                  </a:lnTo>
                  <a:lnTo>
                    <a:pt x="2500" y="951"/>
                  </a:lnTo>
                  <a:lnTo>
                    <a:pt x="2458" y="954"/>
                  </a:lnTo>
                  <a:lnTo>
                    <a:pt x="287" y="954"/>
                  </a:lnTo>
                  <a:lnTo>
                    <a:pt x="245" y="951"/>
                  </a:lnTo>
                  <a:lnTo>
                    <a:pt x="204" y="941"/>
                  </a:lnTo>
                  <a:lnTo>
                    <a:pt x="165" y="927"/>
                  </a:lnTo>
                  <a:lnTo>
                    <a:pt x="131" y="907"/>
                  </a:lnTo>
                  <a:lnTo>
                    <a:pt x="99" y="883"/>
                  </a:lnTo>
                  <a:lnTo>
                    <a:pt x="70" y="854"/>
                  </a:lnTo>
                  <a:lnTo>
                    <a:pt x="46" y="823"/>
                  </a:lnTo>
                  <a:lnTo>
                    <a:pt x="27" y="788"/>
                  </a:lnTo>
                  <a:lnTo>
                    <a:pt x="12" y="749"/>
                  </a:lnTo>
                  <a:lnTo>
                    <a:pt x="3" y="710"/>
                  </a:lnTo>
                  <a:lnTo>
                    <a:pt x="0" y="667"/>
                  </a:lnTo>
                  <a:lnTo>
                    <a:pt x="0" y="123"/>
                  </a:lnTo>
                  <a:lnTo>
                    <a:pt x="156" y="123"/>
                  </a:lnTo>
                  <a:lnTo>
                    <a:pt x="156" y="667"/>
                  </a:lnTo>
                  <a:lnTo>
                    <a:pt x="159" y="694"/>
                  </a:lnTo>
                  <a:lnTo>
                    <a:pt x="166" y="718"/>
                  </a:lnTo>
                  <a:lnTo>
                    <a:pt x="178" y="740"/>
                  </a:lnTo>
                  <a:lnTo>
                    <a:pt x="194" y="759"/>
                  </a:lnTo>
                  <a:lnTo>
                    <a:pt x="214" y="775"/>
                  </a:lnTo>
                  <a:lnTo>
                    <a:pt x="236" y="788"/>
                  </a:lnTo>
                  <a:lnTo>
                    <a:pt x="261" y="795"/>
                  </a:lnTo>
                  <a:lnTo>
                    <a:pt x="287" y="798"/>
                  </a:lnTo>
                  <a:lnTo>
                    <a:pt x="2458" y="798"/>
                  </a:lnTo>
                  <a:lnTo>
                    <a:pt x="2484" y="795"/>
                  </a:lnTo>
                  <a:lnTo>
                    <a:pt x="2509" y="788"/>
                  </a:lnTo>
                  <a:lnTo>
                    <a:pt x="2531" y="775"/>
                  </a:lnTo>
                  <a:lnTo>
                    <a:pt x="2551" y="759"/>
                  </a:lnTo>
                  <a:lnTo>
                    <a:pt x="2567" y="740"/>
                  </a:lnTo>
                  <a:lnTo>
                    <a:pt x="2579" y="718"/>
                  </a:lnTo>
                  <a:lnTo>
                    <a:pt x="2587" y="694"/>
                  </a:lnTo>
                  <a:lnTo>
                    <a:pt x="2589" y="667"/>
                  </a:lnTo>
                  <a:lnTo>
                    <a:pt x="2589" y="181"/>
                  </a:lnTo>
                  <a:lnTo>
                    <a:pt x="2589" y="181"/>
                  </a:lnTo>
                  <a:lnTo>
                    <a:pt x="2589" y="9"/>
                  </a:lnTo>
                  <a:lnTo>
                    <a:pt x="2599" y="0"/>
                  </a:lnTo>
                  <a:lnTo>
                    <a:pt x="2617" y="20"/>
                  </a:lnTo>
                  <a:lnTo>
                    <a:pt x="2639" y="38"/>
                  </a:lnTo>
                  <a:lnTo>
                    <a:pt x="2662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0"/>
            <p:cNvSpPr>
              <a:spLocks/>
            </p:cNvSpPr>
            <p:nvPr/>
          </p:nvSpPr>
          <p:spPr bwMode="auto">
            <a:xfrm>
              <a:off x="-413" y="2218"/>
              <a:ext cx="72" cy="29"/>
            </a:xfrm>
            <a:custGeom>
              <a:avLst/>
              <a:gdLst>
                <a:gd name="T0" fmla="*/ 400 w 647"/>
                <a:gd name="T1" fmla="*/ 64 h 264"/>
                <a:gd name="T2" fmla="*/ 68 w 647"/>
                <a:gd name="T3" fmla="*/ 64 h 264"/>
                <a:gd name="T4" fmla="*/ 51 w 647"/>
                <a:gd name="T5" fmla="*/ 67 h 264"/>
                <a:gd name="T6" fmla="*/ 35 w 647"/>
                <a:gd name="T7" fmla="*/ 73 h 264"/>
                <a:gd name="T8" fmla="*/ 21 w 647"/>
                <a:gd name="T9" fmla="*/ 84 h 264"/>
                <a:gd name="T10" fmla="*/ 10 w 647"/>
                <a:gd name="T11" fmla="*/ 97 h 264"/>
                <a:gd name="T12" fmla="*/ 4 w 647"/>
                <a:gd name="T13" fmla="*/ 114 h 264"/>
                <a:gd name="T14" fmla="*/ 0 w 647"/>
                <a:gd name="T15" fmla="*/ 131 h 264"/>
                <a:gd name="T16" fmla="*/ 4 w 647"/>
                <a:gd name="T17" fmla="*/ 149 h 264"/>
                <a:gd name="T18" fmla="*/ 10 w 647"/>
                <a:gd name="T19" fmla="*/ 166 h 264"/>
                <a:gd name="T20" fmla="*/ 21 w 647"/>
                <a:gd name="T21" fmla="*/ 179 h 264"/>
                <a:gd name="T22" fmla="*/ 35 w 647"/>
                <a:gd name="T23" fmla="*/ 190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0 h 264"/>
                <a:gd name="T32" fmla="*/ 437 w 647"/>
                <a:gd name="T33" fmla="*/ 238 h 264"/>
                <a:gd name="T34" fmla="*/ 459 w 647"/>
                <a:gd name="T35" fmla="*/ 252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1 h 264"/>
                <a:gd name="T42" fmla="*/ 566 w 647"/>
                <a:gd name="T43" fmla="*/ 253 h 264"/>
                <a:gd name="T44" fmla="*/ 588 w 647"/>
                <a:gd name="T45" fmla="*/ 242 h 264"/>
                <a:gd name="T46" fmla="*/ 607 w 647"/>
                <a:gd name="T47" fmla="*/ 224 h 264"/>
                <a:gd name="T48" fmla="*/ 624 w 647"/>
                <a:gd name="T49" fmla="*/ 205 h 264"/>
                <a:gd name="T50" fmla="*/ 636 w 647"/>
                <a:gd name="T51" fmla="*/ 183 h 264"/>
                <a:gd name="T52" fmla="*/ 644 w 647"/>
                <a:gd name="T53" fmla="*/ 158 h 264"/>
                <a:gd name="T54" fmla="*/ 647 w 647"/>
                <a:gd name="T55" fmla="*/ 131 h 264"/>
                <a:gd name="T56" fmla="*/ 644 w 647"/>
                <a:gd name="T57" fmla="*/ 104 h 264"/>
                <a:gd name="T58" fmla="*/ 636 w 647"/>
                <a:gd name="T59" fmla="*/ 80 h 264"/>
                <a:gd name="T60" fmla="*/ 624 w 647"/>
                <a:gd name="T61" fmla="*/ 57 h 264"/>
                <a:gd name="T62" fmla="*/ 607 w 647"/>
                <a:gd name="T63" fmla="*/ 38 h 264"/>
                <a:gd name="T64" fmla="*/ 588 w 647"/>
                <a:gd name="T65" fmla="*/ 22 h 264"/>
                <a:gd name="T66" fmla="*/ 566 w 647"/>
                <a:gd name="T67" fmla="*/ 9 h 264"/>
                <a:gd name="T68" fmla="*/ 541 w 647"/>
                <a:gd name="T69" fmla="*/ 2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1 h 264"/>
                <a:gd name="T76" fmla="*/ 437 w 647"/>
                <a:gd name="T77" fmla="*/ 24 h 264"/>
                <a:gd name="T78" fmla="*/ 416 w 647"/>
                <a:gd name="T79" fmla="*/ 42 h 264"/>
                <a:gd name="T80" fmla="*/ 400 w 647"/>
                <a:gd name="T81" fmla="*/ 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4"/>
                  </a:moveTo>
                  <a:lnTo>
                    <a:pt x="68" y="64"/>
                  </a:lnTo>
                  <a:lnTo>
                    <a:pt x="51" y="67"/>
                  </a:lnTo>
                  <a:lnTo>
                    <a:pt x="35" y="73"/>
                  </a:lnTo>
                  <a:lnTo>
                    <a:pt x="21" y="84"/>
                  </a:lnTo>
                  <a:lnTo>
                    <a:pt x="10" y="97"/>
                  </a:lnTo>
                  <a:lnTo>
                    <a:pt x="4" y="114"/>
                  </a:lnTo>
                  <a:lnTo>
                    <a:pt x="0" y="131"/>
                  </a:lnTo>
                  <a:lnTo>
                    <a:pt x="4" y="149"/>
                  </a:lnTo>
                  <a:lnTo>
                    <a:pt x="10" y="166"/>
                  </a:lnTo>
                  <a:lnTo>
                    <a:pt x="21" y="179"/>
                  </a:lnTo>
                  <a:lnTo>
                    <a:pt x="35" y="190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0"/>
                  </a:lnTo>
                  <a:lnTo>
                    <a:pt x="437" y="238"/>
                  </a:lnTo>
                  <a:lnTo>
                    <a:pt x="459" y="252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1"/>
                  </a:lnTo>
                  <a:lnTo>
                    <a:pt x="566" y="253"/>
                  </a:lnTo>
                  <a:lnTo>
                    <a:pt x="588" y="242"/>
                  </a:lnTo>
                  <a:lnTo>
                    <a:pt x="607" y="224"/>
                  </a:lnTo>
                  <a:lnTo>
                    <a:pt x="624" y="205"/>
                  </a:lnTo>
                  <a:lnTo>
                    <a:pt x="636" y="183"/>
                  </a:lnTo>
                  <a:lnTo>
                    <a:pt x="644" y="158"/>
                  </a:lnTo>
                  <a:lnTo>
                    <a:pt x="647" y="131"/>
                  </a:lnTo>
                  <a:lnTo>
                    <a:pt x="644" y="104"/>
                  </a:lnTo>
                  <a:lnTo>
                    <a:pt x="636" y="80"/>
                  </a:lnTo>
                  <a:lnTo>
                    <a:pt x="624" y="57"/>
                  </a:lnTo>
                  <a:lnTo>
                    <a:pt x="607" y="38"/>
                  </a:lnTo>
                  <a:lnTo>
                    <a:pt x="588" y="22"/>
                  </a:lnTo>
                  <a:lnTo>
                    <a:pt x="566" y="9"/>
                  </a:lnTo>
                  <a:lnTo>
                    <a:pt x="541" y="2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1"/>
                  </a:lnTo>
                  <a:lnTo>
                    <a:pt x="437" y="24"/>
                  </a:lnTo>
                  <a:lnTo>
                    <a:pt x="416" y="42"/>
                  </a:lnTo>
                  <a:lnTo>
                    <a:pt x="400" y="6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11"/>
            <p:cNvSpPr>
              <a:spLocks/>
            </p:cNvSpPr>
            <p:nvPr/>
          </p:nvSpPr>
          <p:spPr bwMode="auto">
            <a:xfrm>
              <a:off x="-413" y="2145"/>
              <a:ext cx="72" cy="30"/>
            </a:xfrm>
            <a:custGeom>
              <a:avLst/>
              <a:gdLst>
                <a:gd name="T0" fmla="*/ 400 w 647"/>
                <a:gd name="T1" fmla="*/ 66 h 265"/>
                <a:gd name="T2" fmla="*/ 68 w 647"/>
                <a:gd name="T3" fmla="*/ 66 h 265"/>
                <a:gd name="T4" fmla="*/ 51 w 647"/>
                <a:gd name="T5" fmla="*/ 68 h 265"/>
                <a:gd name="T6" fmla="*/ 35 w 647"/>
                <a:gd name="T7" fmla="*/ 74 h 265"/>
                <a:gd name="T8" fmla="*/ 21 w 647"/>
                <a:gd name="T9" fmla="*/ 85 h 265"/>
                <a:gd name="T10" fmla="*/ 10 w 647"/>
                <a:gd name="T11" fmla="*/ 99 h 265"/>
                <a:gd name="T12" fmla="*/ 4 w 647"/>
                <a:gd name="T13" fmla="*/ 115 h 265"/>
                <a:gd name="T14" fmla="*/ 0 w 647"/>
                <a:gd name="T15" fmla="*/ 132 h 265"/>
                <a:gd name="T16" fmla="*/ 4 w 647"/>
                <a:gd name="T17" fmla="*/ 151 h 265"/>
                <a:gd name="T18" fmla="*/ 10 w 647"/>
                <a:gd name="T19" fmla="*/ 167 h 265"/>
                <a:gd name="T20" fmla="*/ 21 w 647"/>
                <a:gd name="T21" fmla="*/ 181 h 265"/>
                <a:gd name="T22" fmla="*/ 35 w 647"/>
                <a:gd name="T23" fmla="*/ 191 h 265"/>
                <a:gd name="T24" fmla="*/ 51 w 647"/>
                <a:gd name="T25" fmla="*/ 198 h 265"/>
                <a:gd name="T26" fmla="*/ 68 w 647"/>
                <a:gd name="T27" fmla="*/ 200 h 265"/>
                <a:gd name="T28" fmla="*/ 400 w 647"/>
                <a:gd name="T29" fmla="*/ 200 h 265"/>
                <a:gd name="T30" fmla="*/ 416 w 647"/>
                <a:gd name="T31" fmla="*/ 222 h 265"/>
                <a:gd name="T32" fmla="*/ 437 w 647"/>
                <a:gd name="T33" fmla="*/ 240 h 265"/>
                <a:gd name="T34" fmla="*/ 460 w 647"/>
                <a:gd name="T35" fmla="*/ 253 h 265"/>
                <a:gd name="T36" fmla="*/ 486 w 647"/>
                <a:gd name="T37" fmla="*/ 262 h 265"/>
                <a:gd name="T38" fmla="*/ 514 w 647"/>
                <a:gd name="T39" fmla="*/ 265 h 265"/>
                <a:gd name="T40" fmla="*/ 541 w 647"/>
                <a:gd name="T41" fmla="*/ 263 h 265"/>
                <a:gd name="T42" fmla="*/ 566 w 647"/>
                <a:gd name="T43" fmla="*/ 255 h 265"/>
                <a:gd name="T44" fmla="*/ 588 w 647"/>
                <a:gd name="T45" fmla="*/ 242 h 265"/>
                <a:gd name="T46" fmla="*/ 607 w 647"/>
                <a:gd name="T47" fmla="*/ 226 h 265"/>
                <a:gd name="T48" fmla="*/ 624 w 647"/>
                <a:gd name="T49" fmla="*/ 207 h 265"/>
                <a:gd name="T50" fmla="*/ 636 w 647"/>
                <a:gd name="T51" fmla="*/ 184 h 265"/>
                <a:gd name="T52" fmla="*/ 644 w 647"/>
                <a:gd name="T53" fmla="*/ 160 h 265"/>
                <a:gd name="T54" fmla="*/ 647 w 647"/>
                <a:gd name="T55" fmla="*/ 132 h 265"/>
                <a:gd name="T56" fmla="*/ 644 w 647"/>
                <a:gd name="T57" fmla="*/ 106 h 265"/>
                <a:gd name="T58" fmla="*/ 636 w 647"/>
                <a:gd name="T59" fmla="*/ 82 h 265"/>
                <a:gd name="T60" fmla="*/ 624 w 647"/>
                <a:gd name="T61" fmla="*/ 59 h 265"/>
                <a:gd name="T62" fmla="*/ 607 w 647"/>
                <a:gd name="T63" fmla="*/ 40 h 265"/>
                <a:gd name="T64" fmla="*/ 588 w 647"/>
                <a:gd name="T65" fmla="*/ 24 h 265"/>
                <a:gd name="T66" fmla="*/ 566 w 647"/>
                <a:gd name="T67" fmla="*/ 11 h 265"/>
                <a:gd name="T68" fmla="*/ 541 w 647"/>
                <a:gd name="T69" fmla="*/ 3 h 265"/>
                <a:gd name="T70" fmla="*/ 514 w 647"/>
                <a:gd name="T71" fmla="*/ 0 h 265"/>
                <a:gd name="T72" fmla="*/ 486 w 647"/>
                <a:gd name="T73" fmla="*/ 3 h 265"/>
                <a:gd name="T74" fmla="*/ 460 w 647"/>
                <a:gd name="T75" fmla="*/ 12 h 265"/>
                <a:gd name="T76" fmla="*/ 437 w 647"/>
                <a:gd name="T77" fmla="*/ 26 h 265"/>
                <a:gd name="T78" fmla="*/ 416 w 647"/>
                <a:gd name="T79" fmla="*/ 44 h 265"/>
                <a:gd name="T80" fmla="*/ 400 w 647"/>
                <a:gd name="T81" fmla="*/ 66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5">
                  <a:moveTo>
                    <a:pt x="400" y="66"/>
                  </a:moveTo>
                  <a:lnTo>
                    <a:pt x="68" y="66"/>
                  </a:lnTo>
                  <a:lnTo>
                    <a:pt x="51" y="68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9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1"/>
                  </a:lnTo>
                  <a:lnTo>
                    <a:pt x="10" y="167"/>
                  </a:lnTo>
                  <a:lnTo>
                    <a:pt x="21" y="181"/>
                  </a:lnTo>
                  <a:lnTo>
                    <a:pt x="35" y="191"/>
                  </a:lnTo>
                  <a:lnTo>
                    <a:pt x="51" y="198"/>
                  </a:lnTo>
                  <a:lnTo>
                    <a:pt x="68" y="200"/>
                  </a:lnTo>
                  <a:lnTo>
                    <a:pt x="400" y="200"/>
                  </a:lnTo>
                  <a:lnTo>
                    <a:pt x="416" y="222"/>
                  </a:lnTo>
                  <a:lnTo>
                    <a:pt x="437" y="240"/>
                  </a:lnTo>
                  <a:lnTo>
                    <a:pt x="460" y="253"/>
                  </a:lnTo>
                  <a:lnTo>
                    <a:pt x="486" y="262"/>
                  </a:lnTo>
                  <a:lnTo>
                    <a:pt x="514" y="265"/>
                  </a:lnTo>
                  <a:lnTo>
                    <a:pt x="541" y="263"/>
                  </a:lnTo>
                  <a:lnTo>
                    <a:pt x="566" y="255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2"/>
                  </a:lnTo>
                  <a:lnTo>
                    <a:pt x="644" y="106"/>
                  </a:lnTo>
                  <a:lnTo>
                    <a:pt x="636" y="82"/>
                  </a:lnTo>
                  <a:lnTo>
                    <a:pt x="624" y="59"/>
                  </a:lnTo>
                  <a:lnTo>
                    <a:pt x="607" y="40"/>
                  </a:lnTo>
                  <a:lnTo>
                    <a:pt x="588" y="24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60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12"/>
            <p:cNvSpPr>
              <a:spLocks/>
            </p:cNvSpPr>
            <p:nvPr/>
          </p:nvSpPr>
          <p:spPr bwMode="auto">
            <a:xfrm>
              <a:off x="-413" y="2073"/>
              <a:ext cx="72" cy="29"/>
            </a:xfrm>
            <a:custGeom>
              <a:avLst/>
              <a:gdLst>
                <a:gd name="T0" fmla="*/ 400 w 647"/>
                <a:gd name="T1" fmla="*/ 65 h 264"/>
                <a:gd name="T2" fmla="*/ 68 w 647"/>
                <a:gd name="T3" fmla="*/ 65 h 264"/>
                <a:gd name="T4" fmla="*/ 51 w 647"/>
                <a:gd name="T5" fmla="*/ 67 h 264"/>
                <a:gd name="T6" fmla="*/ 35 w 647"/>
                <a:gd name="T7" fmla="*/ 74 h 264"/>
                <a:gd name="T8" fmla="*/ 21 w 647"/>
                <a:gd name="T9" fmla="*/ 85 h 264"/>
                <a:gd name="T10" fmla="*/ 10 w 647"/>
                <a:gd name="T11" fmla="*/ 98 h 264"/>
                <a:gd name="T12" fmla="*/ 4 w 647"/>
                <a:gd name="T13" fmla="*/ 115 h 264"/>
                <a:gd name="T14" fmla="*/ 0 w 647"/>
                <a:gd name="T15" fmla="*/ 132 h 264"/>
                <a:gd name="T16" fmla="*/ 4 w 647"/>
                <a:gd name="T17" fmla="*/ 150 h 264"/>
                <a:gd name="T18" fmla="*/ 10 w 647"/>
                <a:gd name="T19" fmla="*/ 166 h 264"/>
                <a:gd name="T20" fmla="*/ 21 w 647"/>
                <a:gd name="T21" fmla="*/ 180 h 264"/>
                <a:gd name="T22" fmla="*/ 35 w 647"/>
                <a:gd name="T23" fmla="*/ 191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2 h 264"/>
                <a:gd name="T32" fmla="*/ 437 w 647"/>
                <a:gd name="T33" fmla="*/ 239 h 264"/>
                <a:gd name="T34" fmla="*/ 459 w 647"/>
                <a:gd name="T35" fmla="*/ 253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2 h 264"/>
                <a:gd name="T42" fmla="*/ 566 w 647"/>
                <a:gd name="T43" fmla="*/ 254 h 264"/>
                <a:gd name="T44" fmla="*/ 588 w 647"/>
                <a:gd name="T45" fmla="*/ 242 h 264"/>
                <a:gd name="T46" fmla="*/ 607 w 647"/>
                <a:gd name="T47" fmla="*/ 226 h 264"/>
                <a:gd name="T48" fmla="*/ 624 w 647"/>
                <a:gd name="T49" fmla="*/ 207 h 264"/>
                <a:gd name="T50" fmla="*/ 636 w 647"/>
                <a:gd name="T51" fmla="*/ 184 h 264"/>
                <a:gd name="T52" fmla="*/ 644 w 647"/>
                <a:gd name="T53" fmla="*/ 160 h 264"/>
                <a:gd name="T54" fmla="*/ 647 w 647"/>
                <a:gd name="T55" fmla="*/ 133 h 264"/>
                <a:gd name="T56" fmla="*/ 644 w 647"/>
                <a:gd name="T57" fmla="*/ 106 h 264"/>
                <a:gd name="T58" fmla="*/ 636 w 647"/>
                <a:gd name="T59" fmla="*/ 81 h 264"/>
                <a:gd name="T60" fmla="*/ 624 w 647"/>
                <a:gd name="T61" fmla="*/ 59 h 264"/>
                <a:gd name="T62" fmla="*/ 607 w 647"/>
                <a:gd name="T63" fmla="*/ 39 h 264"/>
                <a:gd name="T64" fmla="*/ 588 w 647"/>
                <a:gd name="T65" fmla="*/ 22 h 264"/>
                <a:gd name="T66" fmla="*/ 566 w 647"/>
                <a:gd name="T67" fmla="*/ 11 h 264"/>
                <a:gd name="T68" fmla="*/ 541 w 647"/>
                <a:gd name="T69" fmla="*/ 3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2 h 264"/>
                <a:gd name="T76" fmla="*/ 437 w 647"/>
                <a:gd name="T77" fmla="*/ 26 h 264"/>
                <a:gd name="T78" fmla="*/ 416 w 647"/>
                <a:gd name="T79" fmla="*/ 44 h 264"/>
                <a:gd name="T80" fmla="*/ 400 w 647"/>
                <a:gd name="T81" fmla="*/ 65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5"/>
                  </a:moveTo>
                  <a:lnTo>
                    <a:pt x="68" y="65"/>
                  </a:lnTo>
                  <a:lnTo>
                    <a:pt x="51" y="67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8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0"/>
                  </a:lnTo>
                  <a:lnTo>
                    <a:pt x="10" y="166"/>
                  </a:lnTo>
                  <a:lnTo>
                    <a:pt x="21" y="180"/>
                  </a:lnTo>
                  <a:lnTo>
                    <a:pt x="35" y="191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2"/>
                  </a:lnTo>
                  <a:lnTo>
                    <a:pt x="437" y="239"/>
                  </a:lnTo>
                  <a:lnTo>
                    <a:pt x="459" y="253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2"/>
                  </a:lnTo>
                  <a:lnTo>
                    <a:pt x="566" y="254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3"/>
                  </a:lnTo>
                  <a:lnTo>
                    <a:pt x="644" y="106"/>
                  </a:lnTo>
                  <a:lnTo>
                    <a:pt x="636" y="81"/>
                  </a:lnTo>
                  <a:lnTo>
                    <a:pt x="624" y="59"/>
                  </a:lnTo>
                  <a:lnTo>
                    <a:pt x="607" y="39"/>
                  </a:lnTo>
                  <a:lnTo>
                    <a:pt x="588" y="22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13"/>
            <p:cNvSpPr>
              <a:spLocks/>
            </p:cNvSpPr>
            <p:nvPr/>
          </p:nvSpPr>
          <p:spPr bwMode="auto">
            <a:xfrm>
              <a:off x="-118" y="2110"/>
              <a:ext cx="91" cy="90"/>
            </a:xfrm>
            <a:custGeom>
              <a:avLst/>
              <a:gdLst>
                <a:gd name="T0" fmla="*/ 537 w 816"/>
                <a:gd name="T1" fmla="*/ 547 h 805"/>
                <a:gd name="T2" fmla="*/ 497 w 816"/>
                <a:gd name="T3" fmla="*/ 587 h 805"/>
                <a:gd name="T4" fmla="*/ 468 w 816"/>
                <a:gd name="T5" fmla="*/ 616 h 805"/>
                <a:gd name="T6" fmla="*/ 447 w 816"/>
                <a:gd name="T7" fmla="*/ 636 h 805"/>
                <a:gd name="T8" fmla="*/ 433 w 816"/>
                <a:gd name="T9" fmla="*/ 650 h 805"/>
                <a:gd name="T10" fmla="*/ 421 w 816"/>
                <a:gd name="T11" fmla="*/ 662 h 805"/>
                <a:gd name="T12" fmla="*/ 410 w 816"/>
                <a:gd name="T13" fmla="*/ 673 h 805"/>
                <a:gd name="T14" fmla="*/ 395 w 816"/>
                <a:gd name="T15" fmla="*/ 688 h 805"/>
                <a:gd name="T16" fmla="*/ 374 w 816"/>
                <a:gd name="T17" fmla="*/ 708 h 805"/>
                <a:gd name="T18" fmla="*/ 345 w 816"/>
                <a:gd name="T19" fmla="*/ 737 h 805"/>
                <a:gd name="T20" fmla="*/ 303 w 816"/>
                <a:gd name="T21" fmla="*/ 779 h 805"/>
                <a:gd name="T22" fmla="*/ 208 w 816"/>
                <a:gd name="T23" fmla="*/ 736 h 805"/>
                <a:gd name="T24" fmla="*/ 68 w 816"/>
                <a:gd name="T25" fmla="*/ 607 h 805"/>
                <a:gd name="T26" fmla="*/ 0 w 816"/>
                <a:gd name="T27" fmla="*/ 538 h 805"/>
                <a:gd name="T28" fmla="*/ 2 w 816"/>
                <a:gd name="T29" fmla="*/ 535 h 805"/>
                <a:gd name="T30" fmla="*/ 37 w 816"/>
                <a:gd name="T31" fmla="*/ 499 h 805"/>
                <a:gd name="T32" fmla="*/ 92 w 816"/>
                <a:gd name="T33" fmla="*/ 446 h 805"/>
                <a:gd name="T34" fmla="*/ 135 w 816"/>
                <a:gd name="T35" fmla="*/ 403 h 805"/>
                <a:gd name="T36" fmla="*/ 169 w 816"/>
                <a:gd name="T37" fmla="*/ 369 h 805"/>
                <a:gd name="T38" fmla="*/ 197 w 816"/>
                <a:gd name="T39" fmla="*/ 341 h 805"/>
                <a:gd name="T40" fmla="*/ 223 w 816"/>
                <a:gd name="T41" fmla="*/ 315 h 805"/>
                <a:gd name="T42" fmla="*/ 248 w 816"/>
                <a:gd name="T43" fmla="*/ 291 h 805"/>
                <a:gd name="T44" fmla="*/ 277 w 816"/>
                <a:gd name="T45" fmla="*/ 263 h 805"/>
                <a:gd name="T46" fmla="*/ 312 w 816"/>
                <a:gd name="T47" fmla="*/ 228 h 805"/>
                <a:gd name="T48" fmla="*/ 356 w 816"/>
                <a:gd name="T49" fmla="*/ 187 h 805"/>
                <a:gd name="T50" fmla="*/ 411 w 816"/>
                <a:gd name="T51" fmla="*/ 133 h 805"/>
                <a:gd name="T52" fmla="*/ 473 w 816"/>
                <a:gd name="T53" fmla="*/ 75 h 805"/>
                <a:gd name="T54" fmla="*/ 540 w 816"/>
                <a:gd name="T55" fmla="*/ 31 h 805"/>
                <a:gd name="T56" fmla="*/ 602 w 816"/>
                <a:gd name="T57" fmla="*/ 4 h 805"/>
                <a:gd name="T58" fmla="*/ 657 w 816"/>
                <a:gd name="T59" fmla="*/ 1 h 805"/>
                <a:gd name="T60" fmla="*/ 709 w 816"/>
                <a:gd name="T61" fmla="*/ 22 h 805"/>
                <a:gd name="T62" fmla="*/ 759 w 816"/>
                <a:gd name="T63" fmla="*/ 60 h 805"/>
                <a:gd name="T64" fmla="*/ 796 w 816"/>
                <a:gd name="T65" fmla="*/ 108 h 805"/>
                <a:gd name="T66" fmla="*/ 815 w 816"/>
                <a:gd name="T67" fmla="*/ 161 h 805"/>
                <a:gd name="T68" fmla="*/ 810 w 816"/>
                <a:gd name="T69" fmla="*/ 217 h 805"/>
                <a:gd name="T70" fmla="*/ 773 w 816"/>
                <a:gd name="T71" fmla="*/ 283 h 805"/>
                <a:gd name="T72" fmla="*/ 717 w 816"/>
                <a:gd name="T73" fmla="*/ 354 h 805"/>
                <a:gd name="T74" fmla="*/ 681 w 816"/>
                <a:gd name="T75" fmla="*/ 398 h 805"/>
                <a:gd name="T76" fmla="*/ 656 w 816"/>
                <a:gd name="T77" fmla="*/ 424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6" h="805">
                  <a:moveTo>
                    <a:pt x="563" y="521"/>
                  </a:moveTo>
                  <a:lnTo>
                    <a:pt x="537" y="547"/>
                  </a:lnTo>
                  <a:lnTo>
                    <a:pt x="516" y="569"/>
                  </a:lnTo>
                  <a:lnTo>
                    <a:pt x="497" y="587"/>
                  </a:lnTo>
                  <a:lnTo>
                    <a:pt x="482" y="603"/>
                  </a:lnTo>
                  <a:lnTo>
                    <a:pt x="468" y="616"/>
                  </a:lnTo>
                  <a:lnTo>
                    <a:pt x="457" y="627"/>
                  </a:lnTo>
                  <a:lnTo>
                    <a:pt x="447" y="636"/>
                  </a:lnTo>
                  <a:lnTo>
                    <a:pt x="440" y="644"/>
                  </a:lnTo>
                  <a:lnTo>
                    <a:pt x="433" y="650"/>
                  </a:lnTo>
                  <a:lnTo>
                    <a:pt x="427" y="657"/>
                  </a:lnTo>
                  <a:lnTo>
                    <a:pt x="421" y="662"/>
                  </a:lnTo>
                  <a:lnTo>
                    <a:pt x="416" y="668"/>
                  </a:lnTo>
                  <a:lnTo>
                    <a:pt x="410" y="673"/>
                  </a:lnTo>
                  <a:lnTo>
                    <a:pt x="403" y="679"/>
                  </a:lnTo>
                  <a:lnTo>
                    <a:pt x="395" y="688"/>
                  </a:lnTo>
                  <a:lnTo>
                    <a:pt x="386" y="696"/>
                  </a:lnTo>
                  <a:lnTo>
                    <a:pt x="374" y="708"/>
                  </a:lnTo>
                  <a:lnTo>
                    <a:pt x="361" y="721"/>
                  </a:lnTo>
                  <a:lnTo>
                    <a:pt x="345" y="737"/>
                  </a:lnTo>
                  <a:lnTo>
                    <a:pt x="326" y="756"/>
                  </a:lnTo>
                  <a:lnTo>
                    <a:pt x="303" y="779"/>
                  </a:lnTo>
                  <a:lnTo>
                    <a:pt x="277" y="805"/>
                  </a:lnTo>
                  <a:lnTo>
                    <a:pt x="208" y="736"/>
                  </a:lnTo>
                  <a:lnTo>
                    <a:pt x="138" y="671"/>
                  </a:lnTo>
                  <a:lnTo>
                    <a:pt x="68" y="607"/>
                  </a:lnTo>
                  <a:lnTo>
                    <a:pt x="0" y="539"/>
                  </a:lnTo>
                  <a:lnTo>
                    <a:pt x="0" y="538"/>
                  </a:lnTo>
                  <a:lnTo>
                    <a:pt x="1" y="537"/>
                  </a:lnTo>
                  <a:lnTo>
                    <a:pt x="2" y="535"/>
                  </a:lnTo>
                  <a:lnTo>
                    <a:pt x="3" y="533"/>
                  </a:lnTo>
                  <a:lnTo>
                    <a:pt x="37" y="499"/>
                  </a:lnTo>
                  <a:lnTo>
                    <a:pt x="66" y="472"/>
                  </a:lnTo>
                  <a:lnTo>
                    <a:pt x="92" y="446"/>
                  </a:lnTo>
                  <a:lnTo>
                    <a:pt x="114" y="423"/>
                  </a:lnTo>
                  <a:lnTo>
                    <a:pt x="135" y="403"/>
                  </a:lnTo>
                  <a:lnTo>
                    <a:pt x="152" y="385"/>
                  </a:lnTo>
                  <a:lnTo>
                    <a:pt x="169" y="369"/>
                  </a:lnTo>
                  <a:lnTo>
                    <a:pt x="183" y="355"/>
                  </a:lnTo>
                  <a:lnTo>
                    <a:pt x="197" y="341"/>
                  </a:lnTo>
                  <a:lnTo>
                    <a:pt x="210" y="328"/>
                  </a:lnTo>
                  <a:lnTo>
                    <a:pt x="223" y="315"/>
                  </a:lnTo>
                  <a:lnTo>
                    <a:pt x="236" y="303"/>
                  </a:lnTo>
                  <a:lnTo>
                    <a:pt x="248" y="291"/>
                  </a:lnTo>
                  <a:lnTo>
                    <a:pt x="262" y="277"/>
                  </a:lnTo>
                  <a:lnTo>
                    <a:pt x="277" y="263"/>
                  </a:lnTo>
                  <a:lnTo>
                    <a:pt x="294" y="247"/>
                  </a:lnTo>
                  <a:lnTo>
                    <a:pt x="312" y="228"/>
                  </a:lnTo>
                  <a:lnTo>
                    <a:pt x="332" y="209"/>
                  </a:lnTo>
                  <a:lnTo>
                    <a:pt x="356" y="187"/>
                  </a:lnTo>
                  <a:lnTo>
                    <a:pt x="382" y="161"/>
                  </a:lnTo>
                  <a:lnTo>
                    <a:pt x="411" y="133"/>
                  </a:lnTo>
                  <a:lnTo>
                    <a:pt x="443" y="101"/>
                  </a:lnTo>
                  <a:lnTo>
                    <a:pt x="473" y="75"/>
                  </a:lnTo>
                  <a:lnTo>
                    <a:pt x="505" y="52"/>
                  </a:lnTo>
                  <a:lnTo>
                    <a:pt x="540" y="31"/>
                  </a:lnTo>
                  <a:lnTo>
                    <a:pt x="574" y="14"/>
                  </a:lnTo>
                  <a:lnTo>
                    <a:pt x="602" y="4"/>
                  </a:lnTo>
                  <a:lnTo>
                    <a:pt x="630" y="0"/>
                  </a:lnTo>
                  <a:lnTo>
                    <a:pt x="657" y="1"/>
                  </a:lnTo>
                  <a:lnTo>
                    <a:pt x="684" y="9"/>
                  </a:lnTo>
                  <a:lnTo>
                    <a:pt x="709" y="22"/>
                  </a:lnTo>
                  <a:lnTo>
                    <a:pt x="734" y="39"/>
                  </a:lnTo>
                  <a:lnTo>
                    <a:pt x="759" y="60"/>
                  </a:lnTo>
                  <a:lnTo>
                    <a:pt x="780" y="84"/>
                  </a:lnTo>
                  <a:lnTo>
                    <a:pt x="796" y="108"/>
                  </a:lnTo>
                  <a:lnTo>
                    <a:pt x="808" y="134"/>
                  </a:lnTo>
                  <a:lnTo>
                    <a:pt x="815" y="161"/>
                  </a:lnTo>
                  <a:lnTo>
                    <a:pt x="816" y="188"/>
                  </a:lnTo>
                  <a:lnTo>
                    <a:pt x="810" y="217"/>
                  </a:lnTo>
                  <a:lnTo>
                    <a:pt x="798" y="246"/>
                  </a:lnTo>
                  <a:lnTo>
                    <a:pt x="773" y="283"/>
                  </a:lnTo>
                  <a:lnTo>
                    <a:pt x="746" y="319"/>
                  </a:lnTo>
                  <a:lnTo>
                    <a:pt x="717" y="354"/>
                  </a:lnTo>
                  <a:lnTo>
                    <a:pt x="689" y="389"/>
                  </a:lnTo>
                  <a:lnTo>
                    <a:pt x="681" y="398"/>
                  </a:lnTo>
                  <a:lnTo>
                    <a:pt x="674" y="407"/>
                  </a:lnTo>
                  <a:lnTo>
                    <a:pt x="656" y="424"/>
                  </a:lnTo>
                  <a:lnTo>
                    <a:pt x="563" y="5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0" name="Freeform 14"/>
            <p:cNvSpPr>
              <a:spLocks/>
            </p:cNvSpPr>
            <p:nvPr/>
          </p:nvSpPr>
          <p:spPr bwMode="auto">
            <a:xfrm>
              <a:off x="-89" y="2158"/>
              <a:ext cx="69" cy="70"/>
            </a:xfrm>
            <a:custGeom>
              <a:avLst/>
              <a:gdLst>
                <a:gd name="T0" fmla="*/ 606 w 629"/>
                <a:gd name="T1" fmla="*/ 105 h 630"/>
                <a:gd name="T2" fmla="*/ 517 w 629"/>
                <a:gd name="T3" fmla="*/ 196 h 630"/>
                <a:gd name="T4" fmla="*/ 427 w 629"/>
                <a:gd name="T5" fmla="*/ 286 h 630"/>
                <a:gd name="T6" fmla="*/ 106 w 629"/>
                <a:gd name="T7" fmla="*/ 605 h 630"/>
                <a:gd name="T8" fmla="*/ 94 w 629"/>
                <a:gd name="T9" fmla="*/ 618 h 630"/>
                <a:gd name="T10" fmla="*/ 78 w 629"/>
                <a:gd name="T11" fmla="*/ 625 h 630"/>
                <a:gd name="T12" fmla="*/ 63 w 629"/>
                <a:gd name="T13" fmla="*/ 630 h 630"/>
                <a:gd name="T14" fmla="*/ 47 w 629"/>
                <a:gd name="T15" fmla="*/ 630 h 630"/>
                <a:gd name="T16" fmla="*/ 30 w 629"/>
                <a:gd name="T17" fmla="*/ 622 h 630"/>
                <a:gd name="T18" fmla="*/ 16 w 629"/>
                <a:gd name="T19" fmla="*/ 613 h 630"/>
                <a:gd name="T20" fmla="*/ 6 w 629"/>
                <a:gd name="T21" fmla="*/ 601 h 630"/>
                <a:gd name="T22" fmla="*/ 1 w 629"/>
                <a:gd name="T23" fmla="*/ 588 h 630"/>
                <a:gd name="T24" fmla="*/ 0 w 629"/>
                <a:gd name="T25" fmla="*/ 573 h 630"/>
                <a:gd name="T26" fmla="*/ 3 w 629"/>
                <a:gd name="T27" fmla="*/ 557 h 630"/>
                <a:gd name="T28" fmla="*/ 10 w 629"/>
                <a:gd name="T29" fmla="*/ 543 h 630"/>
                <a:gd name="T30" fmla="*/ 20 w 629"/>
                <a:gd name="T31" fmla="*/ 530 h 630"/>
                <a:gd name="T32" fmla="*/ 32 w 629"/>
                <a:gd name="T33" fmla="*/ 517 h 630"/>
                <a:gd name="T34" fmla="*/ 48 w 629"/>
                <a:gd name="T35" fmla="*/ 501 h 630"/>
                <a:gd name="T36" fmla="*/ 68 w 629"/>
                <a:gd name="T37" fmla="*/ 482 h 630"/>
                <a:gd name="T38" fmla="*/ 88 w 629"/>
                <a:gd name="T39" fmla="*/ 461 h 630"/>
                <a:gd name="T40" fmla="*/ 112 w 629"/>
                <a:gd name="T41" fmla="*/ 438 h 630"/>
                <a:gd name="T42" fmla="*/ 136 w 629"/>
                <a:gd name="T43" fmla="*/ 413 h 630"/>
                <a:gd name="T44" fmla="*/ 162 w 629"/>
                <a:gd name="T45" fmla="*/ 387 h 630"/>
                <a:gd name="T46" fmla="*/ 189 w 629"/>
                <a:gd name="T47" fmla="*/ 360 h 630"/>
                <a:gd name="T48" fmla="*/ 217 w 629"/>
                <a:gd name="T49" fmla="*/ 332 h 630"/>
                <a:gd name="T50" fmla="*/ 246 w 629"/>
                <a:gd name="T51" fmla="*/ 303 h 630"/>
                <a:gd name="T52" fmla="*/ 275 w 629"/>
                <a:gd name="T53" fmla="*/ 274 h 630"/>
                <a:gd name="T54" fmla="*/ 303 w 629"/>
                <a:gd name="T55" fmla="*/ 246 h 630"/>
                <a:gd name="T56" fmla="*/ 331 w 629"/>
                <a:gd name="T57" fmla="*/ 217 h 630"/>
                <a:gd name="T58" fmla="*/ 359 w 629"/>
                <a:gd name="T59" fmla="*/ 191 h 630"/>
                <a:gd name="T60" fmla="*/ 385 w 629"/>
                <a:gd name="T61" fmla="*/ 164 h 630"/>
                <a:gd name="T62" fmla="*/ 409 w 629"/>
                <a:gd name="T63" fmla="*/ 139 h 630"/>
                <a:gd name="T64" fmla="*/ 433 w 629"/>
                <a:gd name="T65" fmla="*/ 116 h 630"/>
                <a:gd name="T66" fmla="*/ 455 w 629"/>
                <a:gd name="T67" fmla="*/ 94 h 630"/>
                <a:gd name="T68" fmla="*/ 474 w 629"/>
                <a:gd name="T69" fmla="*/ 75 h 630"/>
                <a:gd name="T70" fmla="*/ 491 w 629"/>
                <a:gd name="T71" fmla="*/ 59 h 630"/>
                <a:gd name="T72" fmla="*/ 505 w 629"/>
                <a:gd name="T73" fmla="*/ 45 h 630"/>
                <a:gd name="T74" fmla="*/ 516 w 629"/>
                <a:gd name="T75" fmla="*/ 34 h 630"/>
                <a:gd name="T76" fmla="*/ 523 w 629"/>
                <a:gd name="T77" fmla="*/ 27 h 630"/>
                <a:gd name="T78" fmla="*/ 527 w 629"/>
                <a:gd name="T79" fmla="*/ 22 h 630"/>
                <a:gd name="T80" fmla="*/ 546 w 629"/>
                <a:gd name="T81" fmla="*/ 9 h 630"/>
                <a:gd name="T82" fmla="*/ 564 w 629"/>
                <a:gd name="T83" fmla="*/ 1 h 630"/>
                <a:gd name="T84" fmla="*/ 581 w 629"/>
                <a:gd name="T85" fmla="*/ 0 h 630"/>
                <a:gd name="T86" fmla="*/ 599 w 629"/>
                <a:gd name="T87" fmla="*/ 6 h 630"/>
                <a:gd name="T88" fmla="*/ 615 w 629"/>
                <a:gd name="T89" fmla="*/ 19 h 630"/>
                <a:gd name="T90" fmla="*/ 623 w 629"/>
                <a:gd name="T91" fmla="*/ 31 h 630"/>
                <a:gd name="T92" fmla="*/ 629 w 629"/>
                <a:gd name="T93" fmla="*/ 45 h 630"/>
                <a:gd name="T94" fmla="*/ 629 w 629"/>
                <a:gd name="T95" fmla="*/ 60 h 630"/>
                <a:gd name="T96" fmla="*/ 625 w 629"/>
                <a:gd name="T97" fmla="*/ 75 h 630"/>
                <a:gd name="T98" fmla="*/ 618 w 629"/>
                <a:gd name="T99" fmla="*/ 90 h 630"/>
                <a:gd name="T100" fmla="*/ 606 w 629"/>
                <a:gd name="T101" fmla="*/ 105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9" h="630">
                  <a:moveTo>
                    <a:pt x="606" y="105"/>
                  </a:moveTo>
                  <a:lnTo>
                    <a:pt x="517" y="196"/>
                  </a:lnTo>
                  <a:lnTo>
                    <a:pt x="427" y="286"/>
                  </a:lnTo>
                  <a:lnTo>
                    <a:pt x="106" y="605"/>
                  </a:lnTo>
                  <a:lnTo>
                    <a:pt x="94" y="618"/>
                  </a:lnTo>
                  <a:lnTo>
                    <a:pt x="78" y="625"/>
                  </a:lnTo>
                  <a:lnTo>
                    <a:pt x="63" y="630"/>
                  </a:lnTo>
                  <a:lnTo>
                    <a:pt x="47" y="630"/>
                  </a:lnTo>
                  <a:lnTo>
                    <a:pt x="30" y="622"/>
                  </a:lnTo>
                  <a:lnTo>
                    <a:pt x="16" y="613"/>
                  </a:lnTo>
                  <a:lnTo>
                    <a:pt x="6" y="601"/>
                  </a:lnTo>
                  <a:lnTo>
                    <a:pt x="1" y="588"/>
                  </a:lnTo>
                  <a:lnTo>
                    <a:pt x="0" y="573"/>
                  </a:lnTo>
                  <a:lnTo>
                    <a:pt x="3" y="557"/>
                  </a:lnTo>
                  <a:lnTo>
                    <a:pt x="10" y="543"/>
                  </a:lnTo>
                  <a:lnTo>
                    <a:pt x="20" y="530"/>
                  </a:lnTo>
                  <a:lnTo>
                    <a:pt x="32" y="517"/>
                  </a:lnTo>
                  <a:lnTo>
                    <a:pt x="48" y="501"/>
                  </a:lnTo>
                  <a:lnTo>
                    <a:pt x="68" y="482"/>
                  </a:lnTo>
                  <a:lnTo>
                    <a:pt x="88" y="461"/>
                  </a:lnTo>
                  <a:lnTo>
                    <a:pt x="112" y="438"/>
                  </a:lnTo>
                  <a:lnTo>
                    <a:pt x="136" y="413"/>
                  </a:lnTo>
                  <a:lnTo>
                    <a:pt x="162" y="387"/>
                  </a:lnTo>
                  <a:lnTo>
                    <a:pt x="189" y="360"/>
                  </a:lnTo>
                  <a:lnTo>
                    <a:pt x="217" y="332"/>
                  </a:lnTo>
                  <a:lnTo>
                    <a:pt x="246" y="303"/>
                  </a:lnTo>
                  <a:lnTo>
                    <a:pt x="275" y="274"/>
                  </a:lnTo>
                  <a:lnTo>
                    <a:pt x="303" y="246"/>
                  </a:lnTo>
                  <a:lnTo>
                    <a:pt x="331" y="217"/>
                  </a:lnTo>
                  <a:lnTo>
                    <a:pt x="359" y="191"/>
                  </a:lnTo>
                  <a:lnTo>
                    <a:pt x="385" y="164"/>
                  </a:lnTo>
                  <a:lnTo>
                    <a:pt x="409" y="139"/>
                  </a:lnTo>
                  <a:lnTo>
                    <a:pt x="433" y="116"/>
                  </a:lnTo>
                  <a:lnTo>
                    <a:pt x="455" y="94"/>
                  </a:lnTo>
                  <a:lnTo>
                    <a:pt x="474" y="75"/>
                  </a:lnTo>
                  <a:lnTo>
                    <a:pt x="491" y="59"/>
                  </a:lnTo>
                  <a:lnTo>
                    <a:pt x="505" y="45"/>
                  </a:lnTo>
                  <a:lnTo>
                    <a:pt x="516" y="34"/>
                  </a:lnTo>
                  <a:lnTo>
                    <a:pt x="523" y="27"/>
                  </a:lnTo>
                  <a:lnTo>
                    <a:pt x="527" y="22"/>
                  </a:lnTo>
                  <a:lnTo>
                    <a:pt x="546" y="9"/>
                  </a:lnTo>
                  <a:lnTo>
                    <a:pt x="564" y="1"/>
                  </a:lnTo>
                  <a:lnTo>
                    <a:pt x="581" y="0"/>
                  </a:lnTo>
                  <a:lnTo>
                    <a:pt x="599" y="6"/>
                  </a:lnTo>
                  <a:lnTo>
                    <a:pt x="615" y="19"/>
                  </a:lnTo>
                  <a:lnTo>
                    <a:pt x="623" y="31"/>
                  </a:lnTo>
                  <a:lnTo>
                    <a:pt x="629" y="45"/>
                  </a:lnTo>
                  <a:lnTo>
                    <a:pt x="629" y="60"/>
                  </a:lnTo>
                  <a:lnTo>
                    <a:pt x="625" y="75"/>
                  </a:lnTo>
                  <a:lnTo>
                    <a:pt x="618" y="90"/>
                  </a:lnTo>
                  <a:lnTo>
                    <a:pt x="606" y="1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1" name="Freeform 15"/>
            <p:cNvSpPr>
              <a:spLocks/>
            </p:cNvSpPr>
            <p:nvPr/>
          </p:nvSpPr>
          <p:spPr bwMode="auto">
            <a:xfrm>
              <a:off x="-312" y="2031"/>
              <a:ext cx="180" cy="13"/>
            </a:xfrm>
            <a:custGeom>
              <a:avLst/>
              <a:gdLst>
                <a:gd name="T0" fmla="*/ 1615 w 1615"/>
                <a:gd name="T1" fmla="*/ 61 h 123"/>
                <a:gd name="T2" fmla="*/ 1612 w 1615"/>
                <a:gd name="T3" fmla="*/ 81 h 123"/>
                <a:gd name="T4" fmla="*/ 1603 w 1615"/>
                <a:gd name="T5" fmla="*/ 98 h 123"/>
                <a:gd name="T6" fmla="*/ 1590 w 1615"/>
                <a:gd name="T7" fmla="*/ 111 h 123"/>
                <a:gd name="T8" fmla="*/ 1573 w 1615"/>
                <a:gd name="T9" fmla="*/ 120 h 123"/>
                <a:gd name="T10" fmla="*/ 1554 w 1615"/>
                <a:gd name="T11" fmla="*/ 123 h 123"/>
                <a:gd name="T12" fmla="*/ 61 w 1615"/>
                <a:gd name="T13" fmla="*/ 123 h 123"/>
                <a:gd name="T14" fmla="*/ 42 w 1615"/>
                <a:gd name="T15" fmla="*/ 120 h 123"/>
                <a:gd name="T16" fmla="*/ 25 w 1615"/>
                <a:gd name="T17" fmla="*/ 111 h 123"/>
                <a:gd name="T18" fmla="*/ 12 w 1615"/>
                <a:gd name="T19" fmla="*/ 98 h 123"/>
                <a:gd name="T20" fmla="*/ 3 w 1615"/>
                <a:gd name="T21" fmla="*/ 81 h 123"/>
                <a:gd name="T22" fmla="*/ 0 w 1615"/>
                <a:gd name="T23" fmla="*/ 61 h 123"/>
                <a:gd name="T24" fmla="*/ 3 w 1615"/>
                <a:gd name="T25" fmla="*/ 42 h 123"/>
                <a:gd name="T26" fmla="*/ 12 w 1615"/>
                <a:gd name="T27" fmla="*/ 25 h 123"/>
                <a:gd name="T28" fmla="*/ 25 w 1615"/>
                <a:gd name="T29" fmla="*/ 12 h 123"/>
                <a:gd name="T30" fmla="*/ 42 w 1615"/>
                <a:gd name="T31" fmla="*/ 3 h 123"/>
                <a:gd name="T32" fmla="*/ 61 w 1615"/>
                <a:gd name="T33" fmla="*/ 0 h 123"/>
                <a:gd name="T34" fmla="*/ 1554 w 1615"/>
                <a:gd name="T35" fmla="*/ 0 h 123"/>
                <a:gd name="T36" fmla="*/ 1573 w 1615"/>
                <a:gd name="T37" fmla="*/ 3 h 123"/>
                <a:gd name="T38" fmla="*/ 1590 w 1615"/>
                <a:gd name="T39" fmla="*/ 12 h 123"/>
                <a:gd name="T40" fmla="*/ 1603 w 1615"/>
                <a:gd name="T41" fmla="*/ 25 h 123"/>
                <a:gd name="T42" fmla="*/ 1612 w 1615"/>
                <a:gd name="T43" fmla="*/ 42 h 123"/>
                <a:gd name="T44" fmla="*/ 1615 w 1615"/>
                <a:gd name="T45" fmla="*/ 6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3">
                  <a:moveTo>
                    <a:pt x="1615" y="61"/>
                  </a:moveTo>
                  <a:lnTo>
                    <a:pt x="1612" y="81"/>
                  </a:lnTo>
                  <a:lnTo>
                    <a:pt x="1603" y="98"/>
                  </a:lnTo>
                  <a:lnTo>
                    <a:pt x="1590" y="111"/>
                  </a:lnTo>
                  <a:lnTo>
                    <a:pt x="1573" y="120"/>
                  </a:lnTo>
                  <a:lnTo>
                    <a:pt x="1554" y="123"/>
                  </a:lnTo>
                  <a:lnTo>
                    <a:pt x="61" y="123"/>
                  </a:lnTo>
                  <a:lnTo>
                    <a:pt x="42" y="120"/>
                  </a:lnTo>
                  <a:lnTo>
                    <a:pt x="25" y="111"/>
                  </a:lnTo>
                  <a:lnTo>
                    <a:pt x="12" y="98"/>
                  </a:lnTo>
                  <a:lnTo>
                    <a:pt x="3" y="81"/>
                  </a:lnTo>
                  <a:lnTo>
                    <a:pt x="0" y="61"/>
                  </a:lnTo>
                  <a:lnTo>
                    <a:pt x="3" y="42"/>
                  </a:lnTo>
                  <a:lnTo>
                    <a:pt x="12" y="25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3"/>
                  </a:lnTo>
                  <a:lnTo>
                    <a:pt x="1590" y="12"/>
                  </a:lnTo>
                  <a:lnTo>
                    <a:pt x="1603" y="25"/>
                  </a:lnTo>
                  <a:lnTo>
                    <a:pt x="1612" y="42"/>
                  </a:lnTo>
                  <a:lnTo>
                    <a:pt x="161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16"/>
            <p:cNvSpPr>
              <a:spLocks/>
            </p:cNvSpPr>
            <p:nvPr/>
          </p:nvSpPr>
          <p:spPr bwMode="auto">
            <a:xfrm>
              <a:off x="-312" y="2092"/>
              <a:ext cx="180" cy="14"/>
            </a:xfrm>
            <a:custGeom>
              <a:avLst/>
              <a:gdLst>
                <a:gd name="T0" fmla="*/ 1615 w 1615"/>
                <a:gd name="T1" fmla="*/ 63 h 124"/>
                <a:gd name="T2" fmla="*/ 1612 w 1615"/>
                <a:gd name="T3" fmla="*/ 82 h 124"/>
                <a:gd name="T4" fmla="*/ 1603 w 1615"/>
                <a:gd name="T5" fmla="*/ 99 h 124"/>
                <a:gd name="T6" fmla="*/ 1590 w 1615"/>
                <a:gd name="T7" fmla="*/ 112 h 124"/>
                <a:gd name="T8" fmla="*/ 1573 w 1615"/>
                <a:gd name="T9" fmla="*/ 120 h 124"/>
                <a:gd name="T10" fmla="*/ 1554 w 1615"/>
                <a:gd name="T11" fmla="*/ 124 h 124"/>
                <a:gd name="T12" fmla="*/ 61 w 1615"/>
                <a:gd name="T13" fmla="*/ 124 h 124"/>
                <a:gd name="T14" fmla="*/ 42 w 1615"/>
                <a:gd name="T15" fmla="*/ 120 h 124"/>
                <a:gd name="T16" fmla="*/ 25 w 1615"/>
                <a:gd name="T17" fmla="*/ 112 h 124"/>
                <a:gd name="T18" fmla="*/ 12 w 1615"/>
                <a:gd name="T19" fmla="*/ 99 h 124"/>
                <a:gd name="T20" fmla="*/ 3 w 1615"/>
                <a:gd name="T21" fmla="*/ 82 h 124"/>
                <a:gd name="T22" fmla="*/ 0 w 1615"/>
                <a:gd name="T23" fmla="*/ 63 h 124"/>
                <a:gd name="T24" fmla="*/ 3 w 1615"/>
                <a:gd name="T25" fmla="*/ 43 h 124"/>
                <a:gd name="T26" fmla="*/ 12 w 1615"/>
                <a:gd name="T27" fmla="*/ 26 h 124"/>
                <a:gd name="T28" fmla="*/ 25 w 1615"/>
                <a:gd name="T29" fmla="*/ 12 h 124"/>
                <a:gd name="T30" fmla="*/ 42 w 1615"/>
                <a:gd name="T31" fmla="*/ 4 h 124"/>
                <a:gd name="T32" fmla="*/ 61 w 1615"/>
                <a:gd name="T33" fmla="*/ 0 h 124"/>
                <a:gd name="T34" fmla="*/ 1554 w 1615"/>
                <a:gd name="T35" fmla="*/ 0 h 124"/>
                <a:gd name="T36" fmla="*/ 1573 w 1615"/>
                <a:gd name="T37" fmla="*/ 4 h 124"/>
                <a:gd name="T38" fmla="*/ 1590 w 1615"/>
                <a:gd name="T39" fmla="*/ 12 h 124"/>
                <a:gd name="T40" fmla="*/ 1603 w 1615"/>
                <a:gd name="T41" fmla="*/ 26 h 124"/>
                <a:gd name="T42" fmla="*/ 1612 w 1615"/>
                <a:gd name="T43" fmla="*/ 43 h 124"/>
                <a:gd name="T44" fmla="*/ 1615 w 1615"/>
                <a:gd name="T45" fmla="*/ 6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4">
                  <a:moveTo>
                    <a:pt x="1615" y="63"/>
                  </a:moveTo>
                  <a:lnTo>
                    <a:pt x="1612" y="82"/>
                  </a:lnTo>
                  <a:lnTo>
                    <a:pt x="1603" y="99"/>
                  </a:lnTo>
                  <a:lnTo>
                    <a:pt x="1590" y="112"/>
                  </a:lnTo>
                  <a:lnTo>
                    <a:pt x="1573" y="120"/>
                  </a:lnTo>
                  <a:lnTo>
                    <a:pt x="1554" y="124"/>
                  </a:lnTo>
                  <a:lnTo>
                    <a:pt x="61" y="124"/>
                  </a:lnTo>
                  <a:lnTo>
                    <a:pt x="42" y="120"/>
                  </a:lnTo>
                  <a:lnTo>
                    <a:pt x="25" y="112"/>
                  </a:lnTo>
                  <a:lnTo>
                    <a:pt x="12" y="99"/>
                  </a:lnTo>
                  <a:lnTo>
                    <a:pt x="3" y="82"/>
                  </a:lnTo>
                  <a:lnTo>
                    <a:pt x="0" y="63"/>
                  </a:lnTo>
                  <a:lnTo>
                    <a:pt x="3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4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4"/>
                  </a:lnTo>
                  <a:lnTo>
                    <a:pt x="1590" y="12"/>
                  </a:lnTo>
                  <a:lnTo>
                    <a:pt x="1603" y="26"/>
                  </a:lnTo>
                  <a:lnTo>
                    <a:pt x="1612" y="43"/>
                  </a:lnTo>
                  <a:lnTo>
                    <a:pt x="1615" y="6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3" name="Freeform 17"/>
            <p:cNvSpPr>
              <a:spLocks/>
            </p:cNvSpPr>
            <p:nvPr/>
          </p:nvSpPr>
          <p:spPr bwMode="auto">
            <a:xfrm>
              <a:off x="-312" y="2153"/>
              <a:ext cx="179" cy="14"/>
            </a:xfrm>
            <a:custGeom>
              <a:avLst/>
              <a:gdLst>
                <a:gd name="T0" fmla="*/ 1614 w 1614"/>
                <a:gd name="T1" fmla="*/ 49 h 124"/>
                <a:gd name="T2" fmla="*/ 1540 w 1614"/>
                <a:gd name="T3" fmla="*/ 124 h 124"/>
                <a:gd name="T4" fmla="*/ 61 w 1614"/>
                <a:gd name="T5" fmla="*/ 124 h 124"/>
                <a:gd name="T6" fmla="*/ 42 w 1614"/>
                <a:gd name="T7" fmla="*/ 121 h 124"/>
                <a:gd name="T8" fmla="*/ 25 w 1614"/>
                <a:gd name="T9" fmla="*/ 112 h 124"/>
                <a:gd name="T10" fmla="*/ 12 w 1614"/>
                <a:gd name="T11" fmla="*/ 98 h 124"/>
                <a:gd name="T12" fmla="*/ 2 w 1614"/>
                <a:gd name="T13" fmla="*/ 81 h 124"/>
                <a:gd name="T14" fmla="*/ 0 w 1614"/>
                <a:gd name="T15" fmla="*/ 62 h 124"/>
                <a:gd name="T16" fmla="*/ 2 w 1614"/>
                <a:gd name="T17" fmla="*/ 43 h 124"/>
                <a:gd name="T18" fmla="*/ 12 w 1614"/>
                <a:gd name="T19" fmla="*/ 26 h 124"/>
                <a:gd name="T20" fmla="*/ 25 w 1614"/>
                <a:gd name="T21" fmla="*/ 12 h 124"/>
                <a:gd name="T22" fmla="*/ 42 w 1614"/>
                <a:gd name="T23" fmla="*/ 3 h 124"/>
                <a:gd name="T24" fmla="*/ 61 w 1614"/>
                <a:gd name="T25" fmla="*/ 0 h 124"/>
                <a:gd name="T26" fmla="*/ 1554 w 1614"/>
                <a:gd name="T27" fmla="*/ 0 h 124"/>
                <a:gd name="T28" fmla="*/ 1571 w 1614"/>
                <a:gd name="T29" fmla="*/ 3 h 124"/>
                <a:gd name="T30" fmla="*/ 1586 w 1614"/>
                <a:gd name="T31" fmla="*/ 10 h 124"/>
                <a:gd name="T32" fmla="*/ 1599 w 1614"/>
                <a:gd name="T33" fmla="*/ 20 h 124"/>
                <a:gd name="T34" fmla="*/ 1609 w 1614"/>
                <a:gd name="T35" fmla="*/ 33 h 124"/>
                <a:gd name="T36" fmla="*/ 1614 w 1614"/>
                <a:gd name="T37" fmla="*/ 49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14" h="124">
                  <a:moveTo>
                    <a:pt x="1614" y="49"/>
                  </a:moveTo>
                  <a:lnTo>
                    <a:pt x="1540" y="124"/>
                  </a:lnTo>
                  <a:lnTo>
                    <a:pt x="61" y="124"/>
                  </a:lnTo>
                  <a:lnTo>
                    <a:pt x="42" y="121"/>
                  </a:lnTo>
                  <a:lnTo>
                    <a:pt x="25" y="112"/>
                  </a:lnTo>
                  <a:lnTo>
                    <a:pt x="12" y="98"/>
                  </a:lnTo>
                  <a:lnTo>
                    <a:pt x="2" y="81"/>
                  </a:lnTo>
                  <a:lnTo>
                    <a:pt x="0" y="62"/>
                  </a:lnTo>
                  <a:lnTo>
                    <a:pt x="2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1" y="3"/>
                  </a:lnTo>
                  <a:lnTo>
                    <a:pt x="1586" y="10"/>
                  </a:lnTo>
                  <a:lnTo>
                    <a:pt x="1599" y="20"/>
                  </a:lnTo>
                  <a:lnTo>
                    <a:pt x="1609" y="33"/>
                  </a:lnTo>
                  <a:lnTo>
                    <a:pt x="1614" y="4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4" name="Freeform 18"/>
            <p:cNvSpPr>
              <a:spLocks/>
            </p:cNvSpPr>
            <p:nvPr/>
          </p:nvSpPr>
          <p:spPr bwMode="auto">
            <a:xfrm>
              <a:off x="-224" y="2177"/>
              <a:ext cx="129" cy="132"/>
            </a:xfrm>
            <a:custGeom>
              <a:avLst/>
              <a:gdLst>
                <a:gd name="T0" fmla="*/ 1155 w 1157"/>
                <a:gd name="T1" fmla="*/ 280 h 1183"/>
                <a:gd name="T2" fmla="*/ 1140 w 1157"/>
                <a:gd name="T3" fmla="*/ 296 h 1183"/>
                <a:gd name="T4" fmla="*/ 1111 w 1157"/>
                <a:gd name="T5" fmla="*/ 325 h 1183"/>
                <a:gd name="T6" fmla="*/ 1070 w 1157"/>
                <a:gd name="T7" fmla="*/ 367 h 1183"/>
                <a:gd name="T8" fmla="*/ 1020 w 1157"/>
                <a:gd name="T9" fmla="*/ 417 h 1183"/>
                <a:gd name="T10" fmla="*/ 963 w 1157"/>
                <a:gd name="T11" fmla="*/ 475 h 1183"/>
                <a:gd name="T12" fmla="*/ 899 w 1157"/>
                <a:gd name="T13" fmla="*/ 537 h 1183"/>
                <a:gd name="T14" fmla="*/ 833 w 1157"/>
                <a:gd name="T15" fmla="*/ 603 h 1183"/>
                <a:gd name="T16" fmla="*/ 765 w 1157"/>
                <a:gd name="T17" fmla="*/ 670 h 1183"/>
                <a:gd name="T18" fmla="*/ 697 w 1157"/>
                <a:gd name="T19" fmla="*/ 736 h 1183"/>
                <a:gd name="T20" fmla="*/ 633 w 1157"/>
                <a:gd name="T21" fmla="*/ 798 h 1183"/>
                <a:gd name="T22" fmla="*/ 573 w 1157"/>
                <a:gd name="T23" fmla="*/ 855 h 1183"/>
                <a:gd name="T24" fmla="*/ 520 w 1157"/>
                <a:gd name="T25" fmla="*/ 904 h 1183"/>
                <a:gd name="T26" fmla="*/ 475 w 1157"/>
                <a:gd name="T27" fmla="*/ 945 h 1183"/>
                <a:gd name="T28" fmla="*/ 442 w 1157"/>
                <a:gd name="T29" fmla="*/ 973 h 1183"/>
                <a:gd name="T30" fmla="*/ 427 w 1157"/>
                <a:gd name="T31" fmla="*/ 983 h 1183"/>
                <a:gd name="T32" fmla="*/ 409 w 1157"/>
                <a:gd name="T33" fmla="*/ 995 h 1183"/>
                <a:gd name="T34" fmla="*/ 378 w 1157"/>
                <a:gd name="T35" fmla="*/ 1017 h 1183"/>
                <a:gd name="T36" fmla="*/ 336 w 1157"/>
                <a:gd name="T37" fmla="*/ 1042 h 1183"/>
                <a:gd name="T38" fmla="*/ 287 w 1157"/>
                <a:gd name="T39" fmla="*/ 1071 h 1183"/>
                <a:gd name="T40" fmla="*/ 234 w 1157"/>
                <a:gd name="T41" fmla="*/ 1099 h 1183"/>
                <a:gd name="T42" fmla="*/ 181 w 1157"/>
                <a:gd name="T43" fmla="*/ 1123 h 1183"/>
                <a:gd name="T44" fmla="*/ 129 w 1157"/>
                <a:gd name="T45" fmla="*/ 1139 h 1183"/>
                <a:gd name="T46" fmla="*/ 84 w 1157"/>
                <a:gd name="T47" fmla="*/ 1143 h 1183"/>
                <a:gd name="T48" fmla="*/ 78 w 1157"/>
                <a:gd name="T49" fmla="*/ 1144 h 1183"/>
                <a:gd name="T50" fmla="*/ 47 w 1157"/>
                <a:gd name="T51" fmla="*/ 1174 h 1183"/>
                <a:gd name="T52" fmla="*/ 27 w 1157"/>
                <a:gd name="T53" fmla="*/ 1183 h 1183"/>
                <a:gd name="T54" fmla="*/ 9 w 1157"/>
                <a:gd name="T55" fmla="*/ 1176 h 1183"/>
                <a:gd name="T56" fmla="*/ 0 w 1157"/>
                <a:gd name="T57" fmla="*/ 1157 h 1183"/>
                <a:gd name="T58" fmla="*/ 6 w 1157"/>
                <a:gd name="T59" fmla="*/ 1137 h 1183"/>
                <a:gd name="T60" fmla="*/ 29 w 1157"/>
                <a:gd name="T61" fmla="*/ 1091 h 1183"/>
                <a:gd name="T62" fmla="*/ 32 w 1157"/>
                <a:gd name="T63" fmla="*/ 1046 h 1183"/>
                <a:gd name="T64" fmla="*/ 46 w 1157"/>
                <a:gd name="T65" fmla="*/ 994 h 1183"/>
                <a:gd name="T66" fmla="*/ 68 w 1157"/>
                <a:gd name="T67" fmla="*/ 941 h 1183"/>
                <a:gd name="T68" fmla="*/ 93 w 1157"/>
                <a:gd name="T69" fmla="*/ 886 h 1183"/>
                <a:gd name="T70" fmla="*/ 120 w 1157"/>
                <a:gd name="T71" fmla="*/ 837 h 1183"/>
                <a:gd name="T72" fmla="*/ 146 w 1157"/>
                <a:gd name="T73" fmla="*/ 794 h 1183"/>
                <a:gd name="T74" fmla="*/ 167 w 1157"/>
                <a:gd name="T75" fmla="*/ 762 h 1183"/>
                <a:gd name="T76" fmla="*/ 177 w 1157"/>
                <a:gd name="T77" fmla="*/ 745 h 1183"/>
                <a:gd name="T78" fmla="*/ 188 w 1157"/>
                <a:gd name="T79" fmla="*/ 730 h 1183"/>
                <a:gd name="T80" fmla="*/ 215 w 1157"/>
                <a:gd name="T81" fmla="*/ 695 h 1183"/>
                <a:gd name="T82" fmla="*/ 254 w 1157"/>
                <a:gd name="T83" fmla="*/ 650 h 1183"/>
                <a:gd name="T84" fmla="*/ 302 w 1157"/>
                <a:gd name="T85" fmla="*/ 596 h 1183"/>
                <a:gd name="T86" fmla="*/ 358 w 1157"/>
                <a:gd name="T87" fmla="*/ 535 h 1183"/>
                <a:gd name="T88" fmla="*/ 419 w 1157"/>
                <a:gd name="T89" fmla="*/ 469 h 1183"/>
                <a:gd name="T90" fmla="*/ 484 w 1157"/>
                <a:gd name="T91" fmla="*/ 400 h 1183"/>
                <a:gd name="T92" fmla="*/ 549 w 1157"/>
                <a:gd name="T93" fmla="*/ 331 h 1183"/>
                <a:gd name="T94" fmla="*/ 614 w 1157"/>
                <a:gd name="T95" fmla="*/ 264 h 1183"/>
                <a:gd name="T96" fmla="*/ 675 w 1157"/>
                <a:gd name="T97" fmla="*/ 199 h 1183"/>
                <a:gd name="T98" fmla="*/ 732 w 1157"/>
                <a:gd name="T99" fmla="*/ 141 h 1183"/>
                <a:gd name="T100" fmla="*/ 781 w 1157"/>
                <a:gd name="T101" fmla="*/ 89 h 1183"/>
                <a:gd name="T102" fmla="*/ 821 w 1157"/>
                <a:gd name="T103" fmla="*/ 47 h 1183"/>
                <a:gd name="T104" fmla="*/ 850 w 1157"/>
                <a:gd name="T105" fmla="*/ 18 h 1183"/>
                <a:gd name="T106" fmla="*/ 865 w 1157"/>
                <a:gd name="T107" fmla="*/ 2 h 1183"/>
                <a:gd name="T108" fmla="*/ 1012 w 1157"/>
                <a:gd name="T109" fmla="*/ 137 h 1183"/>
                <a:gd name="T110" fmla="*/ 1020 w 1157"/>
                <a:gd name="T111" fmla="*/ 145 h 1183"/>
                <a:gd name="T112" fmla="*/ 1039 w 1157"/>
                <a:gd name="T113" fmla="*/ 162 h 1183"/>
                <a:gd name="T114" fmla="*/ 1064 w 1157"/>
                <a:gd name="T115" fmla="*/ 187 h 1183"/>
                <a:gd name="T116" fmla="*/ 1093 w 1157"/>
                <a:gd name="T117" fmla="*/ 214 h 1183"/>
                <a:gd name="T118" fmla="*/ 1121 w 1157"/>
                <a:gd name="T119" fmla="*/ 241 h 1183"/>
                <a:gd name="T120" fmla="*/ 1142 w 1157"/>
                <a:gd name="T121" fmla="*/ 264 h 1183"/>
                <a:gd name="T122" fmla="*/ 1155 w 1157"/>
                <a:gd name="T123" fmla="*/ 277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57" h="1183">
                  <a:moveTo>
                    <a:pt x="1157" y="278"/>
                  </a:moveTo>
                  <a:lnTo>
                    <a:pt x="1155" y="280"/>
                  </a:lnTo>
                  <a:lnTo>
                    <a:pt x="1150" y="286"/>
                  </a:lnTo>
                  <a:lnTo>
                    <a:pt x="1140" y="296"/>
                  </a:lnTo>
                  <a:lnTo>
                    <a:pt x="1127" y="309"/>
                  </a:lnTo>
                  <a:lnTo>
                    <a:pt x="1111" y="325"/>
                  </a:lnTo>
                  <a:lnTo>
                    <a:pt x="1092" y="344"/>
                  </a:lnTo>
                  <a:lnTo>
                    <a:pt x="1070" y="367"/>
                  </a:lnTo>
                  <a:lnTo>
                    <a:pt x="1047" y="390"/>
                  </a:lnTo>
                  <a:lnTo>
                    <a:pt x="1020" y="417"/>
                  </a:lnTo>
                  <a:lnTo>
                    <a:pt x="992" y="445"/>
                  </a:lnTo>
                  <a:lnTo>
                    <a:pt x="963" y="475"/>
                  </a:lnTo>
                  <a:lnTo>
                    <a:pt x="932" y="505"/>
                  </a:lnTo>
                  <a:lnTo>
                    <a:pt x="899" y="537"/>
                  </a:lnTo>
                  <a:lnTo>
                    <a:pt x="866" y="570"/>
                  </a:lnTo>
                  <a:lnTo>
                    <a:pt x="833" y="603"/>
                  </a:lnTo>
                  <a:lnTo>
                    <a:pt x="799" y="636"/>
                  </a:lnTo>
                  <a:lnTo>
                    <a:pt x="765" y="670"/>
                  </a:lnTo>
                  <a:lnTo>
                    <a:pt x="731" y="703"/>
                  </a:lnTo>
                  <a:lnTo>
                    <a:pt x="697" y="736"/>
                  </a:lnTo>
                  <a:lnTo>
                    <a:pt x="665" y="767"/>
                  </a:lnTo>
                  <a:lnTo>
                    <a:pt x="633" y="798"/>
                  </a:lnTo>
                  <a:lnTo>
                    <a:pt x="603" y="827"/>
                  </a:lnTo>
                  <a:lnTo>
                    <a:pt x="573" y="855"/>
                  </a:lnTo>
                  <a:lnTo>
                    <a:pt x="546" y="881"/>
                  </a:lnTo>
                  <a:lnTo>
                    <a:pt x="520" y="904"/>
                  </a:lnTo>
                  <a:lnTo>
                    <a:pt x="496" y="926"/>
                  </a:lnTo>
                  <a:lnTo>
                    <a:pt x="475" y="945"/>
                  </a:lnTo>
                  <a:lnTo>
                    <a:pt x="457" y="960"/>
                  </a:lnTo>
                  <a:lnTo>
                    <a:pt x="442" y="973"/>
                  </a:lnTo>
                  <a:lnTo>
                    <a:pt x="429" y="981"/>
                  </a:lnTo>
                  <a:lnTo>
                    <a:pt x="427" y="983"/>
                  </a:lnTo>
                  <a:lnTo>
                    <a:pt x="420" y="988"/>
                  </a:lnTo>
                  <a:lnTo>
                    <a:pt x="409" y="995"/>
                  </a:lnTo>
                  <a:lnTo>
                    <a:pt x="395" y="1005"/>
                  </a:lnTo>
                  <a:lnTo>
                    <a:pt x="378" y="1017"/>
                  </a:lnTo>
                  <a:lnTo>
                    <a:pt x="359" y="1029"/>
                  </a:lnTo>
                  <a:lnTo>
                    <a:pt x="336" y="1042"/>
                  </a:lnTo>
                  <a:lnTo>
                    <a:pt x="313" y="1057"/>
                  </a:lnTo>
                  <a:lnTo>
                    <a:pt x="287" y="1071"/>
                  </a:lnTo>
                  <a:lnTo>
                    <a:pt x="261" y="1086"/>
                  </a:lnTo>
                  <a:lnTo>
                    <a:pt x="234" y="1099"/>
                  </a:lnTo>
                  <a:lnTo>
                    <a:pt x="207" y="1112"/>
                  </a:lnTo>
                  <a:lnTo>
                    <a:pt x="181" y="1123"/>
                  </a:lnTo>
                  <a:lnTo>
                    <a:pt x="155" y="1131"/>
                  </a:lnTo>
                  <a:lnTo>
                    <a:pt x="129" y="1139"/>
                  </a:lnTo>
                  <a:lnTo>
                    <a:pt x="105" y="1142"/>
                  </a:lnTo>
                  <a:lnTo>
                    <a:pt x="84" y="1143"/>
                  </a:lnTo>
                  <a:lnTo>
                    <a:pt x="82" y="1144"/>
                  </a:lnTo>
                  <a:lnTo>
                    <a:pt x="78" y="1144"/>
                  </a:lnTo>
                  <a:lnTo>
                    <a:pt x="76" y="1144"/>
                  </a:lnTo>
                  <a:lnTo>
                    <a:pt x="47" y="1174"/>
                  </a:lnTo>
                  <a:lnTo>
                    <a:pt x="38" y="1180"/>
                  </a:lnTo>
                  <a:lnTo>
                    <a:pt x="27" y="1183"/>
                  </a:lnTo>
                  <a:lnTo>
                    <a:pt x="17" y="1182"/>
                  </a:lnTo>
                  <a:lnTo>
                    <a:pt x="9" y="1176"/>
                  </a:lnTo>
                  <a:lnTo>
                    <a:pt x="2" y="1167"/>
                  </a:lnTo>
                  <a:lnTo>
                    <a:pt x="0" y="1157"/>
                  </a:lnTo>
                  <a:lnTo>
                    <a:pt x="1" y="1146"/>
                  </a:lnTo>
                  <a:lnTo>
                    <a:pt x="6" y="1137"/>
                  </a:lnTo>
                  <a:lnTo>
                    <a:pt x="33" y="1109"/>
                  </a:lnTo>
                  <a:lnTo>
                    <a:pt x="29" y="1091"/>
                  </a:lnTo>
                  <a:lnTo>
                    <a:pt x="29" y="1069"/>
                  </a:lnTo>
                  <a:lnTo>
                    <a:pt x="32" y="1046"/>
                  </a:lnTo>
                  <a:lnTo>
                    <a:pt x="38" y="1021"/>
                  </a:lnTo>
                  <a:lnTo>
                    <a:pt x="46" y="994"/>
                  </a:lnTo>
                  <a:lnTo>
                    <a:pt x="56" y="967"/>
                  </a:lnTo>
                  <a:lnTo>
                    <a:pt x="68" y="941"/>
                  </a:lnTo>
                  <a:lnTo>
                    <a:pt x="81" y="913"/>
                  </a:lnTo>
                  <a:lnTo>
                    <a:pt x="93" y="886"/>
                  </a:lnTo>
                  <a:lnTo>
                    <a:pt x="107" y="860"/>
                  </a:lnTo>
                  <a:lnTo>
                    <a:pt x="120" y="837"/>
                  </a:lnTo>
                  <a:lnTo>
                    <a:pt x="134" y="814"/>
                  </a:lnTo>
                  <a:lnTo>
                    <a:pt x="146" y="794"/>
                  </a:lnTo>
                  <a:lnTo>
                    <a:pt x="157" y="777"/>
                  </a:lnTo>
                  <a:lnTo>
                    <a:pt x="167" y="762"/>
                  </a:lnTo>
                  <a:lnTo>
                    <a:pt x="173" y="751"/>
                  </a:lnTo>
                  <a:lnTo>
                    <a:pt x="177" y="745"/>
                  </a:lnTo>
                  <a:lnTo>
                    <a:pt x="179" y="742"/>
                  </a:lnTo>
                  <a:lnTo>
                    <a:pt x="188" y="730"/>
                  </a:lnTo>
                  <a:lnTo>
                    <a:pt x="200" y="715"/>
                  </a:lnTo>
                  <a:lnTo>
                    <a:pt x="215" y="695"/>
                  </a:lnTo>
                  <a:lnTo>
                    <a:pt x="233" y="674"/>
                  </a:lnTo>
                  <a:lnTo>
                    <a:pt x="254" y="650"/>
                  </a:lnTo>
                  <a:lnTo>
                    <a:pt x="277" y="624"/>
                  </a:lnTo>
                  <a:lnTo>
                    <a:pt x="302" y="596"/>
                  </a:lnTo>
                  <a:lnTo>
                    <a:pt x="329" y="566"/>
                  </a:lnTo>
                  <a:lnTo>
                    <a:pt x="358" y="535"/>
                  </a:lnTo>
                  <a:lnTo>
                    <a:pt x="388" y="503"/>
                  </a:lnTo>
                  <a:lnTo>
                    <a:pt x="419" y="469"/>
                  </a:lnTo>
                  <a:lnTo>
                    <a:pt x="451" y="435"/>
                  </a:lnTo>
                  <a:lnTo>
                    <a:pt x="484" y="400"/>
                  </a:lnTo>
                  <a:lnTo>
                    <a:pt x="516" y="365"/>
                  </a:lnTo>
                  <a:lnTo>
                    <a:pt x="549" y="331"/>
                  </a:lnTo>
                  <a:lnTo>
                    <a:pt x="581" y="297"/>
                  </a:lnTo>
                  <a:lnTo>
                    <a:pt x="614" y="264"/>
                  </a:lnTo>
                  <a:lnTo>
                    <a:pt x="645" y="230"/>
                  </a:lnTo>
                  <a:lnTo>
                    <a:pt x="675" y="199"/>
                  </a:lnTo>
                  <a:lnTo>
                    <a:pt x="704" y="168"/>
                  </a:lnTo>
                  <a:lnTo>
                    <a:pt x="732" y="141"/>
                  </a:lnTo>
                  <a:lnTo>
                    <a:pt x="758" y="114"/>
                  </a:lnTo>
                  <a:lnTo>
                    <a:pt x="781" y="89"/>
                  </a:lnTo>
                  <a:lnTo>
                    <a:pt x="803" y="68"/>
                  </a:lnTo>
                  <a:lnTo>
                    <a:pt x="821" y="47"/>
                  </a:lnTo>
                  <a:lnTo>
                    <a:pt x="837" y="31"/>
                  </a:lnTo>
                  <a:lnTo>
                    <a:pt x="850" y="18"/>
                  </a:lnTo>
                  <a:lnTo>
                    <a:pt x="860" y="9"/>
                  </a:lnTo>
                  <a:lnTo>
                    <a:pt x="865" y="2"/>
                  </a:lnTo>
                  <a:lnTo>
                    <a:pt x="867" y="0"/>
                  </a:lnTo>
                  <a:lnTo>
                    <a:pt x="1012" y="137"/>
                  </a:lnTo>
                  <a:lnTo>
                    <a:pt x="1014" y="139"/>
                  </a:lnTo>
                  <a:lnTo>
                    <a:pt x="1020" y="145"/>
                  </a:lnTo>
                  <a:lnTo>
                    <a:pt x="1028" y="152"/>
                  </a:lnTo>
                  <a:lnTo>
                    <a:pt x="1039" y="162"/>
                  </a:lnTo>
                  <a:lnTo>
                    <a:pt x="1051" y="174"/>
                  </a:lnTo>
                  <a:lnTo>
                    <a:pt x="1064" y="187"/>
                  </a:lnTo>
                  <a:lnTo>
                    <a:pt x="1079" y="201"/>
                  </a:lnTo>
                  <a:lnTo>
                    <a:pt x="1093" y="214"/>
                  </a:lnTo>
                  <a:lnTo>
                    <a:pt x="1107" y="228"/>
                  </a:lnTo>
                  <a:lnTo>
                    <a:pt x="1121" y="241"/>
                  </a:lnTo>
                  <a:lnTo>
                    <a:pt x="1133" y="253"/>
                  </a:lnTo>
                  <a:lnTo>
                    <a:pt x="1142" y="264"/>
                  </a:lnTo>
                  <a:lnTo>
                    <a:pt x="1151" y="271"/>
                  </a:lnTo>
                  <a:lnTo>
                    <a:pt x="1155" y="277"/>
                  </a:lnTo>
                  <a:lnTo>
                    <a:pt x="1157" y="2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5" name="Group 21"/>
          <p:cNvGrpSpPr>
            <a:grpSpLocks noChangeAspect="1"/>
          </p:cNvGrpSpPr>
          <p:nvPr/>
        </p:nvGrpSpPr>
        <p:grpSpPr bwMode="auto">
          <a:xfrm>
            <a:off x="957911" y="2589488"/>
            <a:ext cx="463820" cy="462283"/>
            <a:chOff x="-425" y="2418"/>
            <a:chExt cx="302" cy="301"/>
          </a:xfrm>
          <a:solidFill>
            <a:schemeClr val="bg1"/>
          </a:solidFill>
        </p:grpSpPr>
        <p:sp>
          <p:nvSpPr>
            <p:cNvPr id="96" name="Freeform 23"/>
            <p:cNvSpPr>
              <a:spLocks/>
            </p:cNvSpPr>
            <p:nvPr/>
          </p:nvSpPr>
          <p:spPr bwMode="auto">
            <a:xfrm>
              <a:off x="-373" y="2472"/>
              <a:ext cx="130" cy="27"/>
            </a:xfrm>
            <a:custGeom>
              <a:avLst/>
              <a:gdLst>
                <a:gd name="T0" fmla="*/ 151 w 1438"/>
                <a:gd name="T1" fmla="*/ 0 h 302"/>
                <a:gd name="T2" fmla="*/ 1287 w 1438"/>
                <a:gd name="T3" fmla="*/ 0 h 302"/>
                <a:gd name="T4" fmla="*/ 1318 w 1438"/>
                <a:gd name="T5" fmla="*/ 3 h 302"/>
                <a:gd name="T6" fmla="*/ 1346 w 1438"/>
                <a:gd name="T7" fmla="*/ 12 h 302"/>
                <a:gd name="T8" fmla="*/ 1372 w 1438"/>
                <a:gd name="T9" fmla="*/ 26 h 302"/>
                <a:gd name="T10" fmla="*/ 1394 w 1438"/>
                <a:gd name="T11" fmla="*/ 45 h 302"/>
                <a:gd name="T12" fmla="*/ 1413 w 1438"/>
                <a:gd name="T13" fmla="*/ 67 h 302"/>
                <a:gd name="T14" fmla="*/ 1426 w 1438"/>
                <a:gd name="T15" fmla="*/ 93 h 302"/>
                <a:gd name="T16" fmla="*/ 1435 w 1438"/>
                <a:gd name="T17" fmla="*/ 121 h 302"/>
                <a:gd name="T18" fmla="*/ 1438 w 1438"/>
                <a:gd name="T19" fmla="*/ 151 h 302"/>
                <a:gd name="T20" fmla="*/ 1435 w 1438"/>
                <a:gd name="T21" fmla="*/ 181 h 302"/>
                <a:gd name="T22" fmla="*/ 1426 w 1438"/>
                <a:gd name="T23" fmla="*/ 209 h 302"/>
                <a:gd name="T24" fmla="*/ 1413 w 1438"/>
                <a:gd name="T25" fmla="*/ 235 h 302"/>
                <a:gd name="T26" fmla="*/ 1394 w 1438"/>
                <a:gd name="T27" fmla="*/ 257 h 302"/>
                <a:gd name="T28" fmla="*/ 1372 w 1438"/>
                <a:gd name="T29" fmla="*/ 276 h 302"/>
                <a:gd name="T30" fmla="*/ 1346 w 1438"/>
                <a:gd name="T31" fmla="*/ 289 h 302"/>
                <a:gd name="T32" fmla="*/ 1318 w 1438"/>
                <a:gd name="T33" fmla="*/ 298 h 302"/>
                <a:gd name="T34" fmla="*/ 1287 w 1438"/>
                <a:gd name="T35" fmla="*/ 302 h 302"/>
                <a:gd name="T36" fmla="*/ 151 w 1438"/>
                <a:gd name="T37" fmla="*/ 302 h 302"/>
                <a:gd name="T38" fmla="*/ 121 w 1438"/>
                <a:gd name="T39" fmla="*/ 298 h 302"/>
                <a:gd name="T40" fmla="*/ 93 w 1438"/>
                <a:gd name="T41" fmla="*/ 289 h 302"/>
                <a:gd name="T42" fmla="*/ 66 w 1438"/>
                <a:gd name="T43" fmla="*/ 276 h 302"/>
                <a:gd name="T44" fmla="*/ 44 w 1438"/>
                <a:gd name="T45" fmla="*/ 257 h 302"/>
                <a:gd name="T46" fmla="*/ 26 w 1438"/>
                <a:gd name="T47" fmla="*/ 235 h 302"/>
                <a:gd name="T48" fmla="*/ 12 w 1438"/>
                <a:gd name="T49" fmla="*/ 209 h 302"/>
                <a:gd name="T50" fmla="*/ 4 w 1438"/>
                <a:gd name="T51" fmla="*/ 181 h 302"/>
                <a:gd name="T52" fmla="*/ 0 w 1438"/>
                <a:gd name="T53" fmla="*/ 151 h 302"/>
                <a:gd name="T54" fmla="*/ 4 w 1438"/>
                <a:gd name="T55" fmla="*/ 121 h 302"/>
                <a:gd name="T56" fmla="*/ 12 w 1438"/>
                <a:gd name="T57" fmla="*/ 93 h 302"/>
                <a:gd name="T58" fmla="*/ 26 w 1438"/>
                <a:gd name="T59" fmla="*/ 67 h 302"/>
                <a:gd name="T60" fmla="*/ 44 w 1438"/>
                <a:gd name="T61" fmla="*/ 45 h 302"/>
                <a:gd name="T62" fmla="*/ 66 w 1438"/>
                <a:gd name="T63" fmla="*/ 26 h 302"/>
                <a:gd name="T64" fmla="*/ 93 w 1438"/>
                <a:gd name="T65" fmla="*/ 12 h 302"/>
                <a:gd name="T66" fmla="*/ 121 w 1438"/>
                <a:gd name="T67" fmla="*/ 3 h 302"/>
                <a:gd name="T68" fmla="*/ 151 w 1438"/>
                <a:gd name="T6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8" h="302">
                  <a:moveTo>
                    <a:pt x="151" y="0"/>
                  </a:moveTo>
                  <a:lnTo>
                    <a:pt x="1287" y="0"/>
                  </a:lnTo>
                  <a:lnTo>
                    <a:pt x="1318" y="3"/>
                  </a:lnTo>
                  <a:lnTo>
                    <a:pt x="1346" y="12"/>
                  </a:lnTo>
                  <a:lnTo>
                    <a:pt x="1372" y="26"/>
                  </a:lnTo>
                  <a:lnTo>
                    <a:pt x="1394" y="45"/>
                  </a:lnTo>
                  <a:lnTo>
                    <a:pt x="1413" y="67"/>
                  </a:lnTo>
                  <a:lnTo>
                    <a:pt x="1426" y="93"/>
                  </a:lnTo>
                  <a:lnTo>
                    <a:pt x="1435" y="121"/>
                  </a:lnTo>
                  <a:lnTo>
                    <a:pt x="1438" y="151"/>
                  </a:lnTo>
                  <a:lnTo>
                    <a:pt x="1435" y="181"/>
                  </a:lnTo>
                  <a:lnTo>
                    <a:pt x="1426" y="209"/>
                  </a:lnTo>
                  <a:lnTo>
                    <a:pt x="1413" y="235"/>
                  </a:lnTo>
                  <a:lnTo>
                    <a:pt x="1394" y="257"/>
                  </a:lnTo>
                  <a:lnTo>
                    <a:pt x="1372" y="276"/>
                  </a:lnTo>
                  <a:lnTo>
                    <a:pt x="1346" y="289"/>
                  </a:lnTo>
                  <a:lnTo>
                    <a:pt x="1318" y="298"/>
                  </a:lnTo>
                  <a:lnTo>
                    <a:pt x="1287" y="302"/>
                  </a:lnTo>
                  <a:lnTo>
                    <a:pt x="151" y="302"/>
                  </a:lnTo>
                  <a:lnTo>
                    <a:pt x="121" y="298"/>
                  </a:lnTo>
                  <a:lnTo>
                    <a:pt x="93" y="289"/>
                  </a:lnTo>
                  <a:lnTo>
                    <a:pt x="66" y="276"/>
                  </a:lnTo>
                  <a:lnTo>
                    <a:pt x="44" y="257"/>
                  </a:lnTo>
                  <a:lnTo>
                    <a:pt x="26" y="235"/>
                  </a:lnTo>
                  <a:lnTo>
                    <a:pt x="12" y="209"/>
                  </a:lnTo>
                  <a:lnTo>
                    <a:pt x="4" y="181"/>
                  </a:lnTo>
                  <a:lnTo>
                    <a:pt x="0" y="151"/>
                  </a:lnTo>
                  <a:lnTo>
                    <a:pt x="4" y="121"/>
                  </a:lnTo>
                  <a:lnTo>
                    <a:pt x="12" y="93"/>
                  </a:lnTo>
                  <a:lnTo>
                    <a:pt x="26" y="67"/>
                  </a:lnTo>
                  <a:lnTo>
                    <a:pt x="44" y="45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24"/>
            <p:cNvSpPr>
              <a:spLocks/>
            </p:cNvSpPr>
            <p:nvPr/>
          </p:nvSpPr>
          <p:spPr bwMode="auto">
            <a:xfrm>
              <a:off x="-373" y="2523"/>
              <a:ext cx="130" cy="27"/>
            </a:xfrm>
            <a:custGeom>
              <a:avLst/>
              <a:gdLst>
                <a:gd name="T0" fmla="*/ 151 w 1438"/>
                <a:gd name="T1" fmla="*/ 0 h 301"/>
                <a:gd name="T2" fmla="*/ 1287 w 1438"/>
                <a:gd name="T3" fmla="*/ 0 h 301"/>
                <a:gd name="T4" fmla="*/ 1318 w 1438"/>
                <a:gd name="T5" fmla="*/ 3 h 301"/>
                <a:gd name="T6" fmla="*/ 1346 w 1438"/>
                <a:gd name="T7" fmla="*/ 12 h 301"/>
                <a:gd name="T8" fmla="*/ 1372 w 1438"/>
                <a:gd name="T9" fmla="*/ 26 h 301"/>
                <a:gd name="T10" fmla="*/ 1394 w 1438"/>
                <a:gd name="T11" fmla="*/ 44 h 301"/>
                <a:gd name="T12" fmla="*/ 1413 w 1438"/>
                <a:gd name="T13" fmla="*/ 66 h 301"/>
                <a:gd name="T14" fmla="*/ 1426 w 1438"/>
                <a:gd name="T15" fmla="*/ 92 h 301"/>
                <a:gd name="T16" fmla="*/ 1435 w 1438"/>
                <a:gd name="T17" fmla="*/ 120 h 301"/>
                <a:gd name="T18" fmla="*/ 1438 w 1438"/>
                <a:gd name="T19" fmla="*/ 150 h 301"/>
                <a:gd name="T20" fmla="*/ 1435 w 1438"/>
                <a:gd name="T21" fmla="*/ 181 h 301"/>
                <a:gd name="T22" fmla="*/ 1426 w 1438"/>
                <a:gd name="T23" fmla="*/ 210 h 301"/>
                <a:gd name="T24" fmla="*/ 1413 w 1438"/>
                <a:gd name="T25" fmla="*/ 235 h 301"/>
                <a:gd name="T26" fmla="*/ 1394 w 1438"/>
                <a:gd name="T27" fmla="*/ 258 h 301"/>
                <a:gd name="T28" fmla="*/ 1372 w 1438"/>
                <a:gd name="T29" fmla="*/ 275 h 301"/>
                <a:gd name="T30" fmla="*/ 1346 w 1438"/>
                <a:gd name="T31" fmla="*/ 290 h 301"/>
                <a:gd name="T32" fmla="*/ 1318 w 1438"/>
                <a:gd name="T33" fmla="*/ 298 h 301"/>
                <a:gd name="T34" fmla="*/ 1287 w 1438"/>
                <a:gd name="T35" fmla="*/ 301 h 301"/>
                <a:gd name="T36" fmla="*/ 151 w 1438"/>
                <a:gd name="T37" fmla="*/ 301 h 301"/>
                <a:gd name="T38" fmla="*/ 121 w 1438"/>
                <a:gd name="T39" fmla="*/ 298 h 301"/>
                <a:gd name="T40" fmla="*/ 93 w 1438"/>
                <a:gd name="T41" fmla="*/ 290 h 301"/>
                <a:gd name="T42" fmla="*/ 66 w 1438"/>
                <a:gd name="T43" fmla="*/ 275 h 301"/>
                <a:gd name="T44" fmla="*/ 44 w 1438"/>
                <a:gd name="T45" fmla="*/ 258 h 301"/>
                <a:gd name="T46" fmla="*/ 26 w 1438"/>
                <a:gd name="T47" fmla="*/ 235 h 301"/>
                <a:gd name="T48" fmla="*/ 12 w 1438"/>
                <a:gd name="T49" fmla="*/ 210 h 301"/>
                <a:gd name="T50" fmla="*/ 4 w 1438"/>
                <a:gd name="T51" fmla="*/ 181 h 301"/>
                <a:gd name="T52" fmla="*/ 0 w 1438"/>
                <a:gd name="T53" fmla="*/ 150 h 301"/>
                <a:gd name="T54" fmla="*/ 4 w 1438"/>
                <a:gd name="T55" fmla="*/ 120 h 301"/>
                <a:gd name="T56" fmla="*/ 12 w 1438"/>
                <a:gd name="T57" fmla="*/ 92 h 301"/>
                <a:gd name="T58" fmla="*/ 26 w 1438"/>
                <a:gd name="T59" fmla="*/ 66 h 301"/>
                <a:gd name="T60" fmla="*/ 44 w 1438"/>
                <a:gd name="T61" fmla="*/ 44 h 301"/>
                <a:gd name="T62" fmla="*/ 66 w 1438"/>
                <a:gd name="T63" fmla="*/ 26 h 301"/>
                <a:gd name="T64" fmla="*/ 93 w 1438"/>
                <a:gd name="T65" fmla="*/ 12 h 301"/>
                <a:gd name="T66" fmla="*/ 121 w 1438"/>
                <a:gd name="T67" fmla="*/ 3 h 301"/>
                <a:gd name="T68" fmla="*/ 151 w 1438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8" h="301">
                  <a:moveTo>
                    <a:pt x="151" y="0"/>
                  </a:moveTo>
                  <a:lnTo>
                    <a:pt x="1287" y="0"/>
                  </a:lnTo>
                  <a:lnTo>
                    <a:pt x="1318" y="3"/>
                  </a:lnTo>
                  <a:lnTo>
                    <a:pt x="1346" y="12"/>
                  </a:lnTo>
                  <a:lnTo>
                    <a:pt x="1372" y="26"/>
                  </a:lnTo>
                  <a:lnTo>
                    <a:pt x="1394" y="44"/>
                  </a:lnTo>
                  <a:lnTo>
                    <a:pt x="1413" y="66"/>
                  </a:lnTo>
                  <a:lnTo>
                    <a:pt x="1426" y="92"/>
                  </a:lnTo>
                  <a:lnTo>
                    <a:pt x="1435" y="120"/>
                  </a:lnTo>
                  <a:lnTo>
                    <a:pt x="1438" y="150"/>
                  </a:lnTo>
                  <a:lnTo>
                    <a:pt x="1435" y="181"/>
                  </a:lnTo>
                  <a:lnTo>
                    <a:pt x="1426" y="210"/>
                  </a:lnTo>
                  <a:lnTo>
                    <a:pt x="1413" y="235"/>
                  </a:lnTo>
                  <a:lnTo>
                    <a:pt x="1394" y="258"/>
                  </a:lnTo>
                  <a:lnTo>
                    <a:pt x="1372" y="275"/>
                  </a:lnTo>
                  <a:lnTo>
                    <a:pt x="1346" y="290"/>
                  </a:lnTo>
                  <a:lnTo>
                    <a:pt x="1318" y="298"/>
                  </a:lnTo>
                  <a:lnTo>
                    <a:pt x="1287" y="301"/>
                  </a:lnTo>
                  <a:lnTo>
                    <a:pt x="151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6" y="275"/>
                  </a:lnTo>
                  <a:lnTo>
                    <a:pt x="44" y="258"/>
                  </a:lnTo>
                  <a:lnTo>
                    <a:pt x="26" y="235"/>
                  </a:lnTo>
                  <a:lnTo>
                    <a:pt x="12" y="210"/>
                  </a:lnTo>
                  <a:lnTo>
                    <a:pt x="4" y="181"/>
                  </a:lnTo>
                  <a:lnTo>
                    <a:pt x="0" y="150"/>
                  </a:lnTo>
                  <a:lnTo>
                    <a:pt x="4" y="120"/>
                  </a:lnTo>
                  <a:lnTo>
                    <a:pt x="12" y="92"/>
                  </a:lnTo>
                  <a:lnTo>
                    <a:pt x="26" y="66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Freeform 25"/>
            <p:cNvSpPr>
              <a:spLocks/>
            </p:cNvSpPr>
            <p:nvPr/>
          </p:nvSpPr>
          <p:spPr bwMode="auto">
            <a:xfrm>
              <a:off x="-373" y="2574"/>
              <a:ext cx="79" cy="28"/>
            </a:xfrm>
            <a:custGeom>
              <a:avLst/>
              <a:gdLst>
                <a:gd name="T0" fmla="*/ 151 w 870"/>
                <a:gd name="T1" fmla="*/ 0 h 301"/>
                <a:gd name="T2" fmla="*/ 720 w 870"/>
                <a:gd name="T3" fmla="*/ 0 h 301"/>
                <a:gd name="T4" fmla="*/ 750 w 870"/>
                <a:gd name="T5" fmla="*/ 4 h 301"/>
                <a:gd name="T6" fmla="*/ 778 w 870"/>
                <a:gd name="T7" fmla="*/ 12 h 301"/>
                <a:gd name="T8" fmla="*/ 805 w 870"/>
                <a:gd name="T9" fmla="*/ 26 h 301"/>
                <a:gd name="T10" fmla="*/ 827 w 870"/>
                <a:gd name="T11" fmla="*/ 44 h 301"/>
                <a:gd name="T12" fmla="*/ 845 w 870"/>
                <a:gd name="T13" fmla="*/ 67 h 301"/>
                <a:gd name="T14" fmla="*/ 859 w 870"/>
                <a:gd name="T15" fmla="*/ 92 h 301"/>
                <a:gd name="T16" fmla="*/ 867 w 870"/>
                <a:gd name="T17" fmla="*/ 120 h 301"/>
                <a:gd name="T18" fmla="*/ 870 w 870"/>
                <a:gd name="T19" fmla="*/ 151 h 301"/>
                <a:gd name="T20" fmla="*/ 867 w 870"/>
                <a:gd name="T21" fmla="*/ 181 h 301"/>
                <a:gd name="T22" fmla="*/ 859 w 870"/>
                <a:gd name="T23" fmla="*/ 209 h 301"/>
                <a:gd name="T24" fmla="*/ 845 w 870"/>
                <a:gd name="T25" fmla="*/ 234 h 301"/>
                <a:gd name="T26" fmla="*/ 827 w 870"/>
                <a:gd name="T27" fmla="*/ 257 h 301"/>
                <a:gd name="T28" fmla="*/ 805 w 870"/>
                <a:gd name="T29" fmla="*/ 275 h 301"/>
                <a:gd name="T30" fmla="*/ 778 w 870"/>
                <a:gd name="T31" fmla="*/ 290 h 301"/>
                <a:gd name="T32" fmla="*/ 750 w 870"/>
                <a:gd name="T33" fmla="*/ 298 h 301"/>
                <a:gd name="T34" fmla="*/ 720 w 870"/>
                <a:gd name="T35" fmla="*/ 301 h 301"/>
                <a:gd name="T36" fmla="*/ 151 w 870"/>
                <a:gd name="T37" fmla="*/ 301 h 301"/>
                <a:gd name="T38" fmla="*/ 121 w 870"/>
                <a:gd name="T39" fmla="*/ 298 h 301"/>
                <a:gd name="T40" fmla="*/ 93 w 870"/>
                <a:gd name="T41" fmla="*/ 290 h 301"/>
                <a:gd name="T42" fmla="*/ 66 w 870"/>
                <a:gd name="T43" fmla="*/ 275 h 301"/>
                <a:gd name="T44" fmla="*/ 44 w 870"/>
                <a:gd name="T45" fmla="*/ 257 h 301"/>
                <a:gd name="T46" fmla="*/ 26 w 870"/>
                <a:gd name="T47" fmla="*/ 234 h 301"/>
                <a:gd name="T48" fmla="*/ 12 w 870"/>
                <a:gd name="T49" fmla="*/ 209 h 301"/>
                <a:gd name="T50" fmla="*/ 4 w 870"/>
                <a:gd name="T51" fmla="*/ 181 h 301"/>
                <a:gd name="T52" fmla="*/ 0 w 870"/>
                <a:gd name="T53" fmla="*/ 151 h 301"/>
                <a:gd name="T54" fmla="*/ 4 w 870"/>
                <a:gd name="T55" fmla="*/ 120 h 301"/>
                <a:gd name="T56" fmla="*/ 12 w 870"/>
                <a:gd name="T57" fmla="*/ 92 h 301"/>
                <a:gd name="T58" fmla="*/ 26 w 870"/>
                <a:gd name="T59" fmla="*/ 67 h 301"/>
                <a:gd name="T60" fmla="*/ 44 w 870"/>
                <a:gd name="T61" fmla="*/ 44 h 301"/>
                <a:gd name="T62" fmla="*/ 66 w 870"/>
                <a:gd name="T63" fmla="*/ 26 h 301"/>
                <a:gd name="T64" fmla="*/ 93 w 870"/>
                <a:gd name="T65" fmla="*/ 12 h 301"/>
                <a:gd name="T66" fmla="*/ 121 w 870"/>
                <a:gd name="T67" fmla="*/ 4 h 301"/>
                <a:gd name="T68" fmla="*/ 151 w 870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0" h="301">
                  <a:moveTo>
                    <a:pt x="151" y="0"/>
                  </a:moveTo>
                  <a:lnTo>
                    <a:pt x="720" y="0"/>
                  </a:lnTo>
                  <a:lnTo>
                    <a:pt x="750" y="4"/>
                  </a:lnTo>
                  <a:lnTo>
                    <a:pt x="778" y="12"/>
                  </a:lnTo>
                  <a:lnTo>
                    <a:pt x="805" y="26"/>
                  </a:lnTo>
                  <a:lnTo>
                    <a:pt x="827" y="44"/>
                  </a:lnTo>
                  <a:lnTo>
                    <a:pt x="845" y="67"/>
                  </a:lnTo>
                  <a:lnTo>
                    <a:pt x="859" y="92"/>
                  </a:lnTo>
                  <a:lnTo>
                    <a:pt x="867" y="120"/>
                  </a:lnTo>
                  <a:lnTo>
                    <a:pt x="870" y="151"/>
                  </a:lnTo>
                  <a:lnTo>
                    <a:pt x="867" y="181"/>
                  </a:lnTo>
                  <a:lnTo>
                    <a:pt x="859" y="209"/>
                  </a:lnTo>
                  <a:lnTo>
                    <a:pt x="845" y="234"/>
                  </a:lnTo>
                  <a:lnTo>
                    <a:pt x="827" y="257"/>
                  </a:lnTo>
                  <a:lnTo>
                    <a:pt x="805" y="275"/>
                  </a:lnTo>
                  <a:lnTo>
                    <a:pt x="778" y="290"/>
                  </a:lnTo>
                  <a:lnTo>
                    <a:pt x="750" y="298"/>
                  </a:lnTo>
                  <a:lnTo>
                    <a:pt x="720" y="301"/>
                  </a:lnTo>
                  <a:lnTo>
                    <a:pt x="151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6" y="275"/>
                  </a:lnTo>
                  <a:lnTo>
                    <a:pt x="44" y="257"/>
                  </a:lnTo>
                  <a:lnTo>
                    <a:pt x="26" y="234"/>
                  </a:lnTo>
                  <a:lnTo>
                    <a:pt x="12" y="209"/>
                  </a:lnTo>
                  <a:lnTo>
                    <a:pt x="4" y="181"/>
                  </a:lnTo>
                  <a:lnTo>
                    <a:pt x="0" y="151"/>
                  </a:lnTo>
                  <a:lnTo>
                    <a:pt x="4" y="120"/>
                  </a:lnTo>
                  <a:lnTo>
                    <a:pt x="12" y="92"/>
                  </a:lnTo>
                  <a:lnTo>
                    <a:pt x="26" y="67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4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9" name="Freeform 26"/>
            <p:cNvSpPr>
              <a:spLocks/>
            </p:cNvSpPr>
            <p:nvPr/>
          </p:nvSpPr>
          <p:spPr bwMode="auto">
            <a:xfrm>
              <a:off x="-425" y="2418"/>
              <a:ext cx="234" cy="301"/>
            </a:xfrm>
            <a:custGeom>
              <a:avLst/>
              <a:gdLst>
                <a:gd name="T0" fmla="*/ 152 w 2574"/>
                <a:gd name="T1" fmla="*/ 0 h 3310"/>
                <a:gd name="T2" fmla="*/ 2423 w 2574"/>
                <a:gd name="T3" fmla="*/ 0 h 3310"/>
                <a:gd name="T4" fmla="*/ 2453 w 2574"/>
                <a:gd name="T5" fmla="*/ 3 h 3310"/>
                <a:gd name="T6" fmla="*/ 2481 w 2574"/>
                <a:gd name="T7" fmla="*/ 12 h 3310"/>
                <a:gd name="T8" fmla="*/ 2507 w 2574"/>
                <a:gd name="T9" fmla="*/ 26 h 3310"/>
                <a:gd name="T10" fmla="*/ 2529 w 2574"/>
                <a:gd name="T11" fmla="*/ 44 h 3310"/>
                <a:gd name="T12" fmla="*/ 2548 w 2574"/>
                <a:gd name="T13" fmla="*/ 67 h 3310"/>
                <a:gd name="T14" fmla="*/ 2562 w 2574"/>
                <a:gd name="T15" fmla="*/ 92 h 3310"/>
                <a:gd name="T16" fmla="*/ 2571 w 2574"/>
                <a:gd name="T17" fmla="*/ 120 h 3310"/>
                <a:gd name="T18" fmla="*/ 2574 w 2574"/>
                <a:gd name="T19" fmla="*/ 150 h 3310"/>
                <a:gd name="T20" fmla="*/ 2574 w 2574"/>
                <a:gd name="T21" fmla="*/ 374 h 3310"/>
                <a:gd name="T22" fmla="*/ 2272 w 2574"/>
                <a:gd name="T23" fmla="*/ 896 h 3310"/>
                <a:gd name="T24" fmla="*/ 2272 w 2574"/>
                <a:gd name="T25" fmla="*/ 301 h 3310"/>
                <a:gd name="T26" fmla="*/ 304 w 2574"/>
                <a:gd name="T27" fmla="*/ 301 h 3310"/>
                <a:gd name="T28" fmla="*/ 304 w 2574"/>
                <a:gd name="T29" fmla="*/ 3008 h 3310"/>
                <a:gd name="T30" fmla="*/ 2272 w 2574"/>
                <a:gd name="T31" fmla="*/ 3008 h 3310"/>
                <a:gd name="T32" fmla="*/ 2272 w 2574"/>
                <a:gd name="T33" fmla="*/ 2634 h 3310"/>
                <a:gd name="T34" fmla="*/ 2430 w 2574"/>
                <a:gd name="T35" fmla="*/ 2530 h 3310"/>
                <a:gd name="T36" fmla="*/ 2458 w 2574"/>
                <a:gd name="T37" fmla="*/ 2508 h 3310"/>
                <a:gd name="T38" fmla="*/ 2482 w 2574"/>
                <a:gd name="T39" fmla="*/ 2483 h 3310"/>
                <a:gd name="T40" fmla="*/ 2502 w 2574"/>
                <a:gd name="T41" fmla="*/ 2454 h 3310"/>
                <a:gd name="T42" fmla="*/ 2574 w 2574"/>
                <a:gd name="T43" fmla="*/ 2330 h 3310"/>
                <a:gd name="T44" fmla="*/ 2574 w 2574"/>
                <a:gd name="T45" fmla="*/ 3159 h 3310"/>
                <a:gd name="T46" fmla="*/ 2571 w 2574"/>
                <a:gd name="T47" fmla="*/ 3189 h 3310"/>
                <a:gd name="T48" fmla="*/ 2562 w 2574"/>
                <a:gd name="T49" fmla="*/ 3217 h 3310"/>
                <a:gd name="T50" fmla="*/ 2548 w 2574"/>
                <a:gd name="T51" fmla="*/ 3243 h 3310"/>
                <a:gd name="T52" fmla="*/ 2529 w 2574"/>
                <a:gd name="T53" fmla="*/ 3265 h 3310"/>
                <a:gd name="T54" fmla="*/ 2507 w 2574"/>
                <a:gd name="T55" fmla="*/ 3284 h 3310"/>
                <a:gd name="T56" fmla="*/ 2481 w 2574"/>
                <a:gd name="T57" fmla="*/ 3297 h 3310"/>
                <a:gd name="T58" fmla="*/ 2453 w 2574"/>
                <a:gd name="T59" fmla="*/ 3307 h 3310"/>
                <a:gd name="T60" fmla="*/ 2423 w 2574"/>
                <a:gd name="T61" fmla="*/ 3310 h 3310"/>
                <a:gd name="T62" fmla="*/ 152 w 2574"/>
                <a:gd name="T63" fmla="*/ 3310 h 3310"/>
                <a:gd name="T64" fmla="*/ 121 w 2574"/>
                <a:gd name="T65" fmla="*/ 3307 h 3310"/>
                <a:gd name="T66" fmla="*/ 93 w 2574"/>
                <a:gd name="T67" fmla="*/ 3297 h 3310"/>
                <a:gd name="T68" fmla="*/ 67 w 2574"/>
                <a:gd name="T69" fmla="*/ 3284 h 3310"/>
                <a:gd name="T70" fmla="*/ 45 w 2574"/>
                <a:gd name="T71" fmla="*/ 3265 h 3310"/>
                <a:gd name="T72" fmla="*/ 26 w 2574"/>
                <a:gd name="T73" fmla="*/ 3243 h 3310"/>
                <a:gd name="T74" fmla="*/ 13 w 2574"/>
                <a:gd name="T75" fmla="*/ 3217 h 3310"/>
                <a:gd name="T76" fmla="*/ 3 w 2574"/>
                <a:gd name="T77" fmla="*/ 3189 h 3310"/>
                <a:gd name="T78" fmla="*/ 0 w 2574"/>
                <a:gd name="T79" fmla="*/ 3159 h 3310"/>
                <a:gd name="T80" fmla="*/ 0 w 2574"/>
                <a:gd name="T81" fmla="*/ 150 h 3310"/>
                <a:gd name="T82" fmla="*/ 3 w 2574"/>
                <a:gd name="T83" fmla="*/ 120 h 3310"/>
                <a:gd name="T84" fmla="*/ 13 w 2574"/>
                <a:gd name="T85" fmla="*/ 92 h 3310"/>
                <a:gd name="T86" fmla="*/ 26 w 2574"/>
                <a:gd name="T87" fmla="*/ 67 h 3310"/>
                <a:gd name="T88" fmla="*/ 45 w 2574"/>
                <a:gd name="T89" fmla="*/ 44 h 3310"/>
                <a:gd name="T90" fmla="*/ 67 w 2574"/>
                <a:gd name="T91" fmla="*/ 26 h 3310"/>
                <a:gd name="T92" fmla="*/ 93 w 2574"/>
                <a:gd name="T93" fmla="*/ 12 h 3310"/>
                <a:gd name="T94" fmla="*/ 121 w 2574"/>
                <a:gd name="T95" fmla="*/ 3 h 3310"/>
                <a:gd name="T96" fmla="*/ 152 w 2574"/>
                <a:gd name="T97" fmla="*/ 0 h 3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74" h="3310">
                  <a:moveTo>
                    <a:pt x="152" y="0"/>
                  </a:moveTo>
                  <a:lnTo>
                    <a:pt x="2423" y="0"/>
                  </a:lnTo>
                  <a:lnTo>
                    <a:pt x="2453" y="3"/>
                  </a:lnTo>
                  <a:lnTo>
                    <a:pt x="2481" y="12"/>
                  </a:lnTo>
                  <a:lnTo>
                    <a:pt x="2507" y="26"/>
                  </a:lnTo>
                  <a:lnTo>
                    <a:pt x="2529" y="44"/>
                  </a:lnTo>
                  <a:lnTo>
                    <a:pt x="2548" y="67"/>
                  </a:lnTo>
                  <a:lnTo>
                    <a:pt x="2562" y="92"/>
                  </a:lnTo>
                  <a:lnTo>
                    <a:pt x="2571" y="120"/>
                  </a:lnTo>
                  <a:lnTo>
                    <a:pt x="2574" y="150"/>
                  </a:lnTo>
                  <a:lnTo>
                    <a:pt x="2574" y="374"/>
                  </a:lnTo>
                  <a:lnTo>
                    <a:pt x="2272" y="896"/>
                  </a:lnTo>
                  <a:lnTo>
                    <a:pt x="2272" y="301"/>
                  </a:lnTo>
                  <a:lnTo>
                    <a:pt x="304" y="301"/>
                  </a:lnTo>
                  <a:lnTo>
                    <a:pt x="304" y="3008"/>
                  </a:lnTo>
                  <a:lnTo>
                    <a:pt x="2272" y="3008"/>
                  </a:lnTo>
                  <a:lnTo>
                    <a:pt x="2272" y="2634"/>
                  </a:lnTo>
                  <a:lnTo>
                    <a:pt x="2430" y="2530"/>
                  </a:lnTo>
                  <a:lnTo>
                    <a:pt x="2458" y="2508"/>
                  </a:lnTo>
                  <a:lnTo>
                    <a:pt x="2482" y="2483"/>
                  </a:lnTo>
                  <a:lnTo>
                    <a:pt x="2502" y="2454"/>
                  </a:lnTo>
                  <a:lnTo>
                    <a:pt x="2574" y="2330"/>
                  </a:lnTo>
                  <a:lnTo>
                    <a:pt x="2574" y="3159"/>
                  </a:lnTo>
                  <a:lnTo>
                    <a:pt x="2571" y="3189"/>
                  </a:lnTo>
                  <a:lnTo>
                    <a:pt x="2562" y="3217"/>
                  </a:lnTo>
                  <a:lnTo>
                    <a:pt x="2548" y="3243"/>
                  </a:lnTo>
                  <a:lnTo>
                    <a:pt x="2529" y="3265"/>
                  </a:lnTo>
                  <a:lnTo>
                    <a:pt x="2507" y="3284"/>
                  </a:lnTo>
                  <a:lnTo>
                    <a:pt x="2481" y="3297"/>
                  </a:lnTo>
                  <a:lnTo>
                    <a:pt x="2453" y="3307"/>
                  </a:lnTo>
                  <a:lnTo>
                    <a:pt x="2423" y="3310"/>
                  </a:lnTo>
                  <a:lnTo>
                    <a:pt x="152" y="3310"/>
                  </a:lnTo>
                  <a:lnTo>
                    <a:pt x="121" y="3307"/>
                  </a:lnTo>
                  <a:lnTo>
                    <a:pt x="93" y="3297"/>
                  </a:lnTo>
                  <a:lnTo>
                    <a:pt x="67" y="3284"/>
                  </a:lnTo>
                  <a:lnTo>
                    <a:pt x="45" y="3265"/>
                  </a:lnTo>
                  <a:lnTo>
                    <a:pt x="26" y="3243"/>
                  </a:lnTo>
                  <a:lnTo>
                    <a:pt x="13" y="3217"/>
                  </a:lnTo>
                  <a:lnTo>
                    <a:pt x="3" y="3189"/>
                  </a:lnTo>
                  <a:lnTo>
                    <a:pt x="0" y="3159"/>
                  </a:lnTo>
                  <a:lnTo>
                    <a:pt x="0" y="150"/>
                  </a:lnTo>
                  <a:lnTo>
                    <a:pt x="3" y="120"/>
                  </a:lnTo>
                  <a:lnTo>
                    <a:pt x="13" y="92"/>
                  </a:lnTo>
                  <a:lnTo>
                    <a:pt x="26" y="67"/>
                  </a:lnTo>
                  <a:lnTo>
                    <a:pt x="45" y="44"/>
                  </a:lnTo>
                  <a:lnTo>
                    <a:pt x="67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27"/>
            <p:cNvSpPr>
              <a:spLocks noEditPoints="1"/>
            </p:cNvSpPr>
            <p:nvPr/>
          </p:nvSpPr>
          <p:spPr bwMode="auto">
            <a:xfrm>
              <a:off x="-267" y="2452"/>
              <a:ext cx="144" cy="215"/>
            </a:xfrm>
            <a:custGeom>
              <a:avLst/>
              <a:gdLst>
                <a:gd name="T0" fmla="*/ 131 w 1591"/>
                <a:gd name="T1" fmla="*/ 1996 h 2370"/>
                <a:gd name="T2" fmla="*/ 223 w 1591"/>
                <a:gd name="T3" fmla="*/ 2040 h 2370"/>
                <a:gd name="T4" fmla="*/ 308 w 1591"/>
                <a:gd name="T5" fmla="*/ 2097 h 2370"/>
                <a:gd name="T6" fmla="*/ 439 w 1591"/>
                <a:gd name="T7" fmla="*/ 1980 h 2370"/>
                <a:gd name="T8" fmla="*/ 389 w 1591"/>
                <a:gd name="T9" fmla="*/ 1934 h 2370"/>
                <a:gd name="T10" fmla="*/ 314 w 1591"/>
                <a:gd name="T11" fmla="*/ 1883 h 2370"/>
                <a:gd name="T12" fmla="*/ 245 w 1591"/>
                <a:gd name="T13" fmla="*/ 1849 h 2370"/>
                <a:gd name="T14" fmla="*/ 187 w 1591"/>
                <a:gd name="T15" fmla="*/ 1829 h 2370"/>
                <a:gd name="T16" fmla="*/ 141 w 1591"/>
                <a:gd name="T17" fmla="*/ 1820 h 2370"/>
                <a:gd name="T18" fmla="*/ 1118 w 1591"/>
                <a:gd name="T19" fmla="*/ 0 h 2370"/>
                <a:gd name="T20" fmla="*/ 1173 w 1591"/>
                <a:gd name="T21" fmla="*/ 7 h 2370"/>
                <a:gd name="T22" fmla="*/ 1240 w 1591"/>
                <a:gd name="T23" fmla="*/ 25 h 2370"/>
                <a:gd name="T24" fmla="*/ 1319 w 1591"/>
                <a:gd name="T25" fmla="*/ 57 h 2370"/>
                <a:gd name="T26" fmla="*/ 1407 w 1591"/>
                <a:gd name="T27" fmla="*/ 108 h 2370"/>
                <a:gd name="T28" fmla="*/ 1478 w 1591"/>
                <a:gd name="T29" fmla="*/ 163 h 2370"/>
                <a:gd name="T30" fmla="*/ 1528 w 1591"/>
                <a:gd name="T31" fmla="*/ 215 h 2370"/>
                <a:gd name="T32" fmla="*/ 1561 w 1591"/>
                <a:gd name="T33" fmla="*/ 261 h 2370"/>
                <a:gd name="T34" fmla="*/ 1580 w 1591"/>
                <a:gd name="T35" fmla="*/ 297 h 2370"/>
                <a:gd name="T36" fmla="*/ 1588 w 1591"/>
                <a:gd name="T37" fmla="*/ 320 h 2370"/>
                <a:gd name="T38" fmla="*/ 1591 w 1591"/>
                <a:gd name="T39" fmla="*/ 344 h 2370"/>
                <a:gd name="T40" fmla="*/ 1581 w 1591"/>
                <a:gd name="T41" fmla="*/ 379 h 2370"/>
                <a:gd name="T42" fmla="*/ 625 w 1591"/>
                <a:gd name="T43" fmla="*/ 2021 h 2370"/>
                <a:gd name="T44" fmla="*/ 116 w 1591"/>
                <a:gd name="T45" fmla="*/ 2357 h 2370"/>
                <a:gd name="T46" fmla="*/ 77 w 1591"/>
                <a:gd name="T47" fmla="*/ 2370 h 2370"/>
                <a:gd name="T48" fmla="*/ 36 w 1591"/>
                <a:gd name="T49" fmla="*/ 2359 h 2370"/>
                <a:gd name="T50" fmla="*/ 12 w 1591"/>
                <a:gd name="T51" fmla="*/ 2338 h 2370"/>
                <a:gd name="T52" fmla="*/ 0 w 1591"/>
                <a:gd name="T53" fmla="*/ 2306 h 2370"/>
                <a:gd name="T54" fmla="*/ 34 w 1591"/>
                <a:gd name="T55" fmla="*/ 1702 h 2370"/>
                <a:gd name="T56" fmla="*/ 45 w 1591"/>
                <a:gd name="T57" fmla="*/ 1670 h 2370"/>
                <a:gd name="T58" fmla="*/ 1002 w 1591"/>
                <a:gd name="T59" fmla="*/ 27 h 2370"/>
                <a:gd name="T60" fmla="*/ 1034 w 1591"/>
                <a:gd name="T61" fmla="*/ 7 h 2370"/>
                <a:gd name="T62" fmla="*/ 1048 w 1591"/>
                <a:gd name="T63" fmla="*/ 4 h 2370"/>
                <a:gd name="T64" fmla="*/ 1076 w 1591"/>
                <a:gd name="T65" fmla="*/ 0 h 2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91" h="2370">
                  <a:moveTo>
                    <a:pt x="141" y="1820"/>
                  </a:moveTo>
                  <a:lnTo>
                    <a:pt x="131" y="1996"/>
                  </a:lnTo>
                  <a:lnTo>
                    <a:pt x="177" y="2016"/>
                  </a:lnTo>
                  <a:lnTo>
                    <a:pt x="223" y="2040"/>
                  </a:lnTo>
                  <a:lnTo>
                    <a:pt x="267" y="2067"/>
                  </a:lnTo>
                  <a:lnTo>
                    <a:pt x="308" y="2097"/>
                  </a:lnTo>
                  <a:lnTo>
                    <a:pt x="455" y="2000"/>
                  </a:lnTo>
                  <a:lnTo>
                    <a:pt x="439" y="1980"/>
                  </a:lnTo>
                  <a:lnTo>
                    <a:pt x="417" y="1958"/>
                  </a:lnTo>
                  <a:lnTo>
                    <a:pt x="389" y="1934"/>
                  </a:lnTo>
                  <a:lnTo>
                    <a:pt x="355" y="1909"/>
                  </a:lnTo>
                  <a:lnTo>
                    <a:pt x="314" y="1883"/>
                  </a:lnTo>
                  <a:lnTo>
                    <a:pt x="278" y="1864"/>
                  </a:lnTo>
                  <a:lnTo>
                    <a:pt x="245" y="1849"/>
                  </a:lnTo>
                  <a:lnTo>
                    <a:pt x="214" y="1837"/>
                  </a:lnTo>
                  <a:lnTo>
                    <a:pt x="187" y="1829"/>
                  </a:lnTo>
                  <a:lnTo>
                    <a:pt x="163" y="1824"/>
                  </a:lnTo>
                  <a:lnTo>
                    <a:pt x="141" y="1820"/>
                  </a:lnTo>
                  <a:close/>
                  <a:moveTo>
                    <a:pt x="1095" y="0"/>
                  </a:moveTo>
                  <a:lnTo>
                    <a:pt x="1118" y="0"/>
                  </a:lnTo>
                  <a:lnTo>
                    <a:pt x="1144" y="2"/>
                  </a:lnTo>
                  <a:lnTo>
                    <a:pt x="1173" y="7"/>
                  </a:lnTo>
                  <a:lnTo>
                    <a:pt x="1205" y="14"/>
                  </a:lnTo>
                  <a:lnTo>
                    <a:pt x="1240" y="25"/>
                  </a:lnTo>
                  <a:lnTo>
                    <a:pt x="1278" y="39"/>
                  </a:lnTo>
                  <a:lnTo>
                    <a:pt x="1319" y="57"/>
                  </a:lnTo>
                  <a:lnTo>
                    <a:pt x="1362" y="81"/>
                  </a:lnTo>
                  <a:lnTo>
                    <a:pt x="1407" y="108"/>
                  </a:lnTo>
                  <a:lnTo>
                    <a:pt x="1446" y="136"/>
                  </a:lnTo>
                  <a:lnTo>
                    <a:pt x="1478" y="163"/>
                  </a:lnTo>
                  <a:lnTo>
                    <a:pt x="1505" y="190"/>
                  </a:lnTo>
                  <a:lnTo>
                    <a:pt x="1528" y="215"/>
                  </a:lnTo>
                  <a:lnTo>
                    <a:pt x="1546" y="239"/>
                  </a:lnTo>
                  <a:lnTo>
                    <a:pt x="1561" y="261"/>
                  </a:lnTo>
                  <a:lnTo>
                    <a:pt x="1571" y="280"/>
                  </a:lnTo>
                  <a:lnTo>
                    <a:pt x="1580" y="297"/>
                  </a:lnTo>
                  <a:lnTo>
                    <a:pt x="1585" y="311"/>
                  </a:lnTo>
                  <a:lnTo>
                    <a:pt x="1588" y="320"/>
                  </a:lnTo>
                  <a:lnTo>
                    <a:pt x="1589" y="325"/>
                  </a:lnTo>
                  <a:lnTo>
                    <a:pt x="1591" y="344"/>
                  </a:lnTo>
                  <a:lnTo>
                    <a:pt x="1588" y="363"/>
                  </a:lnTo>
                  <a:lnTo>
                    <a:pt x="1581" y="379"/>
                  </a:lnTo>
                  <a:lnTo>
                    <a:pt x="634" y="2008"/>
                  </a:lnTo>
                  <a:lnTo>
                    <a:pt x="625" y="2021"/>
                  </a:lnTo>
                  <a:lnTo>
                    <a:pt x="611" y="2033"/>
                  </a:lnTo>
                  <a:lnTo>
                    <a:pt x="116" y="2357"/>
                  </a:lnTo>
                  <a:lnTo>
                    <a:pt x="97" y="2367"/>
                  </a:lnTo>
                  <a:lnTo>
                    <a:pt x="77" y="2370"/>
                  </a:lnTo>
                  <a:lnTo>
                    <a:pt x="56" y="2368"/>
                  </a:lnTo>
                  <a:lnTo>
                    <a:pt x="36" y="2359"/>
                  </a:lnTo>
                  <a:lnTo>
                    <a:pt x="23" y="2350"/>
                  </a:lnTo>
                  <a:lnTo>
                    <a:pt x="12" y="2338"/>
                  </a:lnTo>
                  <a:lnTo>
                    <a:pt x="5" y="2323"/>
                  </a:lnTo>
                  <a:lnTo>
                    <a:pt x="0" y="2306"/>
                  </a:lnTo>
                  <a:lnTo>
                    <a:pt x="0" y="2290"/>
                  </a:lnTo>
                  <a:lnTo>
                    <a:pt x="34" y="1702"/>
                  </a:lnTo>
                  <a:lnTo>
                    <a:pt x="38" y="1685"/>
                  </a:lnTo>
                  <a:lnTo>
                    <a:pt x="45" y="1670"/>
                  </a:lnTo>
                  <a:lnTo>
                    <a:pt x="991" y="41"/>
                  </a:lnTo>
                  <a:lnTo>
                    <a:pt x="1002" y="27"/>
                  </a:lnTo>
                  <a:lnTo>
                    <a:pt x="1016" y="15"/>
                  </a:lnTo>
                  <a:lnTo>
                    <a:pt x="1034" y="7"/>
                  </a:lnTo>
                  <a:lnTo>
                    <a:pt x="1038" y="6"/>
                  </a:lnTo>
                  <a:lnTo>
                    <a:pt x="1048" y="4"/>
                  </a:lnTo>
                  <a:lnTo>
                    <a:pt x="1060" y="2"/>
                  </a:lnTo>
                  <a:lnTo>
                    <a:pt x="1076" y="0"/>
                  </a:lnTo>
                  <a:lnTo>
                    <a:pt x="10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28"/>
            <p:cNvSpPr>
              <a:spLocks/>
            </p:cNvSpPr>
            <p:nvPr/>
          </p:nvSpPr>
          <p:spPr bwMode="auto">
            <a:xfrm>
              <a:off x="-381" y="2625"/>
              <a:ext cx="105" cy="53"/>
            </a:xfrm>
            <a:custGeom>
              <a:avLst/>
              <a:gdLst>
                <a:gd name="T0" fmla="*/ 557 w 1155"/>
                <a:gd name="T1" fmla="*/ 5 h 591"/>
                <a:gd name="T2" fmla="*/ 583 w 1155"/>
                <a:gd name="T3" fmla="*/ 28 h 591"/>
                <a:gd name="T4" fmla="*/ 591 w 1155"/>
                <a:gd name="T5" fmla="*/ 111 h 591"/>
                <a:gd name="T6" fmla="*/ 560 w 1155"/>
                <a:gd name="T7" fmla="*/ 199 h 591"/>
                <a:gd name="T8" fmla="*/ 569 w 1155"/>
                <a:gd name="T9" fmla="*/ 242 h 591"/>
                <a:gd name="T10" fmla="*/ 587 w 1155"/>
                <a:gd name="T11" fmla="*/ 270 h 591"/>
                <a:gd name="T12" fmla="*/ 637 w 1155"/>
                <a:gd name="T13" fmla="*/ 278 h 591"/>
                <a:gd name="T14" fmla="*/ 681 w 1155"/>
                <a:gd name="T15" fmla="*/ 323 h 591"/>
                <a:gd name="T16" fmla="*/ 693 w 1155"/>
                <a:gd name="T17" fmla="*/ 357 h 591"/>
                <a:gd name="T18" fmla="*/ 847 w 1155"/>
                <a:gd name="T19" fmla="*/ 351 h 591"/>
                <a:gd name="T20" fmla="*/ 996 w 1155"/>
                <a:gd name="T21" fmla="*/ 366 h 591"/>
                <a:gd name="T22" fmla="*/ 1118 w 1155"/>
                <a:gd name="T23" fmla="*/ 373 h 591"/>
                <a:gd name="T24" fmla="*/ 1149 w 1155"/>
                <a:gd name="T25" fmla="*/ 400 h 591"/>
                <a:gd name="T26" fmla="*/ 1154 w 1155"/>
                <a:gd name="T27" fmla="*/ 441 h 591"/>
                <a:gd name="T28" fmla="*/ 1131 w 1155"/>
                <a:gd name="T29" fmla="*/ 475 h 591"/>
                <a:gd name="T30" fmla="*/ 1066 w 1155"/>
                <a:gd name="T31" fmla="*/ 482 h 591"/>
                <a:gd name="T32" fmla="*/ 957 w 1155"/>
                <a:gd name="T33" fmla="*/ 467 h 591"/>
                <a:gd name="T34" fmla="*/ 843 w 1155"/>
                <a:gd name="T35" fmla="*/ 452 h 591"/>
                <a:gd name="T36" fmla="*/ 738 w 1155"/>
                <a:gd name="T37" fmla="*/ 461 h 591"/>
                <a:gd name="T38" fmla="*/ 679 w 1155"/>
                <a:gd name="T39" fmla="*/ 486 h 591"/>
                <a:gd name="T40" fmla="*/ 636 w 1155"/>
                <a:gd name="T41" fmla="*/ 492 h 591"/>
                <a:gd name="T42" fmla="*/ 603 w 1155"/>
                <a:gd name="T43" fmla="*/ 477 h 591"/>
                <a:gd name="T44" fmla="*/ 576 w 1155"/>
                <a:gd name="T45" fmla="*/ 454 h 591"/>
                <a:gd name="T46" fmla="*/ 571 w 1155"/>
                <a:gd name="T47" fmla="*/ 407 h 591"/>
                <a:gd name="T48" fmla="*/ 537 w 1155"/>
                <a:gd name="T49" fmla="*/ 457 h 591"/>
                <a:gd name="T50" fmla="*/ 495 w 1155"/>
                <a:gd name="T51" fmla="*/ 471 h 591"/>
                <a:gd name="T52" fmla="*/ 455 w 1155"/>
                <a:gd name="T53" fmla="*/ 456 h 591"/>
                <a:gd name="T54" fmla="*/ 439 w 1155"/>
                <a:gd name="T55" fmla="*/ 419 h 591"/>
                <a:gd name="T56" fmla="*/ 450 w 1155"/>
                <a:gd name="T57" fmla="*/ 390 h 591"/>
                <a:gd name="T58" fmla="*/ 458 w 1155"/>
                <a:gd name="T59" fmla="*/ 369 h 591"/>
                <a:gd name="T60" fmla="*/ 422 w 1155"/>
                <a:gd name="T61" fmla="*/ 404 h 591"/>
                <a:gd name="T62" fmla="*/ 379 w 1155"/>
                <a:gd name="T63" fmla="*/ 428 h 591"/>
                <a:gd name="T64" fmla="*/ 335 w 1155"/>
                <a:gd name="T65" fmla="*/ 417 h 591"/>
                <a:gd name="T66" fmla="*/ 314 w 1155"/>
                <a:gd name="T67" fmla="*/ 379 h 591"/>
                <a:gd name="T68" fmla="*/ 364 w 1155"/>
                <a:gd name="T69" fmla="*/ 288 h 591"/>
                <a:gd name="T70" fmla="*/ 252 w 1155"/>
                <a:gd name="T71" fmla="*/ 393 h 591"/>
                <a:gd name="T72" fmla="*/ 96 w 1155"/>
                <a:gd name="T73" fmla="*/ 581 h 591"/>
                <a:gd name="T74" fmla="*/ 49 w 1155"/>
                <a:gd name="T75" fmla="*/ 590 h 591"/>
                <a:gd name="T76" fmla="*/ 9 w 1155"/>
                <a:gd name="T77" fmla="*/ 569 h 591"/>
                <a:gd name="T78" fmla="*/ 2 w 1155"/>
                <a:gd name="T79" fmla="*/ 527 h 591"/>
                <a:gd name="T80" fmla="*/ 138 w 1155"/>
                <a:gd name="T81" fmla="*/ 351 h 591"/>
                <a:gd name="T82" fmla="*/ 344 w 1155"/>
                <a:gd name="T83" fmla="*/ 123 h 591"/>
                <a:gd name="T84" fmla="*/ 398 w 1155"/>
                <a:gd name="T85" fmla="*/ 70 h 591"/>
                <a:gd name="T86" fmla="*/ 462 w 1155"/>
                <a:gd name="T87" fmla="*/ 20 h 591"/>
                <a:gd name="T88" fmla="*/ 534 w 1155"/>
                <a:gd name="T89" fmla="*/ 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55" h="591">
                  <a:moveTo>
                    <a:pt x="534" y="0"/>
                  </a:moveTo>
                  <a:lnTo>
                    <a:pt x="545" y="2"/>
                  </a:lnTo>
                  <a:lnTo>
                    <a:pt x="557" y="5"/>
                  </a:lnTo>
                  <a:lnTo>
                    <a:pt x="567" y="10"/>
                  </a:lnTo>
                  <a:lnTo>
                    <a:pt x="576" y="18"/>
                  </a:lnTo>
                  <a:lnTo>
                    <a:pt x="583" y="28"/>
                  </a:lnTo>
                  <a:lnTo>
                    <a:pt x="591" y="54"/>
                  </a:lnTo>
                  <a:lnTo>
                    <a:pt x="593" y="82"/>
                  </a:lnTo>
                  <a:lnTo>
                    <a:pt x="591" y="111"/>
                  </a:lnTo>
                  <a:lnTo>
                    <a:pt x="584" y="140"/>
                  </a:lnTo>
                  <a:lnTo>
                    <a:pt x="573" y="170"/>
                  </a:lnTo>
                  <a:lnTo>
                    <a:pt x="560" y="199"/>
                  </a:lnTo>
                  <a:lnTo>
                    <a:pt x="543" y="230"/>
                  </a:lnTo>
                  <a:lnTo>
                    <a:pt x="557" y="235"/>
                  </a:lnTo>
                  <a:lnTo>
                    <a:pt x="569" y="242"/>
                  </a:lnTo>
                  <a:lnTo>
                    <a:pt x="579" y="254"/>
                  </a:lnTo>
                  <a:lnTo>
                    <a:pt x="583" y="263"/>
                  </a:lnTo>
                  <a:lnTo>
                    <a:pt x="587" y="270"/>
                  </a:lnTo>
                  <a:lnTo>
                    <a:pt x="604" y="269"/>
                  </a:lnTo>
                  <a:lnTo>
                    <a:pt x="620" y="272"/>
                  </a:lnTo>
                  <a:lnTo>
                    <a:pt x="637" y="278"/>
                  </a:lnTo>
                  <a:lnTo>
                    <a:pt x="653" y="289"/>
                  </a:lnTo>
                  <a:lnTo>
                    <a:pt x="668" y="303"/>
                  </a:lnTo>
                  <a:lnTo>
                    <a:pt x="681" y="323"/>
                  </a:lnTo>
                  <a:lnTo>
                    <a:pt x="689" y="338"/>
                  </a:lnTo>
                  <a:lnTo>
                    <a:pt x="692" y="349"/>
                  </a:lnTo>
                  <a:lnTo>
                    <a:pt x="693" y="357"/>
                  </a:lnTo>
                  <a:lnTo>
                    <a:pt x="746" y="351"/>
                  </a:lnTo>
                  <a:lnTo>
                    <a:pt x="797" y="350"/>
                  </a:lnTo>
                  <a:lnTo>
                    <a:pt x="847" y="351"/>
                  </a:lnTo>
                  <a:lnTo>
                    <a:pt x="897" y="355"/>
                  </a:lnTo>
                  <a:lnTo>
                    <a:pt x="946" y="361"/>
                  </a:lnTo>
                  <a:lnTo>
                    <a:pt x="996" y="366"/>
                  </a:lnTo>
                  <a:lnTo>
                    <a:pt x="1048" y="369"/>
                  </a:lnTo>
                  <a:lnTo>
                    <a:pt x="1101" y="371"/>
                  </a:lnTo>
                  <a:lnTo>
                    <a:pt x="1118" y="373"/>
                  </a:lnTo>
                  <a:lnTo>
                    <a:pt x="1131" y="379"/>
                  </a:lnTo>
                  <a:lnTo>
                    <a:pt x="1142" y="389"/>
                  </a:lnTo>
                  <a:lnTo>
                    <a:pt x="1149" y="400"/>
                  </a:lnTo>
                  <a:lnTo>
                    <a:pt x="1154" y="413"/>
                  </a:lnTo>
                  <a:lnTo>
                    <a:pt x="1155" y="427"/>
                  </a:lnTo>
                  <a:lnTo>
                    <a:pt x="1154" y="441"/>
                  </a:lnTo>
                  <a:lnTo>
                    <a:pt x="1149" y="454"/>
                  </a:lnTo>
                  <a:lnTo>
                    <a:pt x="1142" y="466"/>
                  </a:lnTo>
                  <a:lnTo>
                    <a:pt x="1131" y="475"/>
                  </a:lnTo>
                  <a:lnTo>
                    <a:pt x="1118" y="481"/>
                  </a:lnTo>
                  <a:lnTo>
                    <a:pt x="1101" y="483"/>
                  </a:lnTo>
                  <a:lnTo>
                    <a:pt x="1066" y="482"/>
                  </a:lnTo>
                  <a:lnTo>
                    <a:pt x="1031" y="478"/>
                  </a:lnTo>
                  <a:lnTo>
                    <a:pt x="993" y="473"/>
                  </a:lnTo>
                  <a:lnTo>
                    <a:pt x="957" y="467"/>
                  </a:lnTo>
                  <a:lnTo>
                    <a:pt x="919" y="460"/>
                  </a:lnTo>
                  <a:lnTo>
                    <a:pt x="881" y="455"/>
                  </a:lnTo>
                  <a:lnTo>
                    <a:pt x="843" y="452"/>
                  </a:lnTo>
                  <a:lnTo>
                    <a:pt x="807" y="451"/>
                  </a:lnTo>
                  <a:lnTo>
                    <a:pt x="771" y="454"/>
                  </a:lnTo>
                  <a:lnTo>
                    <a:pt x="738" y="461"/>
                  </a:lnTo>
                  <a:lnTo>
                    <a:pt x="705" y="474"/>
                  </a:lnTo>
                  <a:lnTo>
                    <a:pt x="693" y="480"/>
                  </a:lnTo>
                  <a:lnTo>
                    <a:pt x="679" y="486"/>
                  </a:lnTo>
                  <a:lnTo>
                    <a:pt x="664" y="492"/>
                  </a:lnTo>
                  <a:lnTo>
                    <a:pt x="651" y="494"/>
                  </a:lnTo>
                  <a:lnTo>
                    <a:pt x="636" y="492"/>
                  </a:lnTo>
                  <a:lnTo>
                    <a:pt x="626" y="487"/>
                  </a:lnTo>
                  <a:lnTo>
                    <a:pt x="614" y="482"/>
                  </a:lnTo>
                  <a:lnTo>
                    <a:pt x="603" y="477"/>
                  </a:lnTo>
                  <a:lnTo>
                    <a:pt x="592" y="471"/>
                  </a:lnTo>
                  <a:lnTo>
                    <a:pt x="584" y="464"/>
                  </a:lnTo>
                  <a:lnTo>
                    <a:pt x="576" y="454"/>
                  </a:lnTo>
                  <a:lnTo>
                    <a:pt x="572" y="442"/>
                  </a:lnTo>
                  <a:lnTo>
                    <a:pt x="571" y="423"/>
                  </a:lnTo>
                  <a:lnTo>
                    <a:pt x="571" y="407"/>
                  </a:lnTo>
                  <a:lnTo>
                    <a:pt x="560" y="427"/>
                  </a:lnTo>
                  <a:lnTo>
                    <a:pt x="547" y="446"/>
                  </a:lnTo>
                  <a:lnTo>
                    <a:pt x="537" y="457"/>
                  </a:lnTo>
                  <a:lnTo>
                    <a:pt x="524" y="466"/>
                  </a:lnTo>
                  <a:lnTo>
                    <a:pt x="509" y="470"/>
                  </a:lnTo>
                  <a:lnTo>
                    <a:pt x="495" y="471"/>
                  </a:lnTo>
                  <a:lnTo>
                    <a:pt x="480" y="469"/>
                  </a:lnTo>
                  <a:lnTo>
                    <a:pt x="467" y="464"/>
                  </a:lnTo>
                  <a:lnTo>
                    <a:pt x="455" y="456"/>
                  </a:lnTo>
                  <a:lnTo>
                    <a:pt x="446" y="446"/>
                  </a:lnTo>
                  <a:lnTo>
                    <a:pt x="440" y="433"/>
                  </a:lnTo>
                  <a:lnTo>
                    <a:pt x="439" y="419"/>
                  </a:lnTo>
                  <a:lnTo>
                    <a:pt x="444" y="402"/>
                  </a:lnTo>
                  <a:lnTo>
                    <a:pt x="447" y="396"/>
                  </a:lnTo>
                  <a:lnTo>
                    <a:pt x="450" y="390"/>
                  </a:lnTo>
                  <a:lnTo>
                    <a:pt x="450" y="390"/>
                  </a:lnTo>
                  <a:lnTo>
                    <a:pt x="449" y="390"/>
                  </a:lnTo>
                  <a:lnTo>
                    <a:pt x="458" y="369"/>
                  </a:lnTo>
                  <a:lnTo>
                    <a:pt x="445" y="378"/>
                  </a:lnTo>
                  <a:lnTo>
                    <a:pt x="432" y="390"/>
                  </a:lnTo>
                  <a:lnTo>
                    <a:pt x="422" y="404"/>
                  </a:lnTo>
                  <a:lnTo>
                    <a:pt x="409" y="417"/>
                  </a:lnTo>
                  <a:lnTo>
                    <a:pt x="394" y="425"/>
                  </a:lnTo>
                  <a:lnTo>
                    <a:pt x="379" y="428"/>
                  </a:lnTo>
                  <a:lnTo>
                    <a:pt x="363" y="428"/>
                  </a:lnTo>
                  <a:lnTo>
                    <a:pt x="348" y="424"/>
                  </a:lnTo>
                  <a:lnTo>
                    <a:pt x="335" y="417"/>
                  </a:lnTo>
                  <a:lnTo>
                    <a:pt x="324" y="406"/>
                  </a:lnTo>
                  <a:lnTo>
                    <a:pt x="317" y="394"/>
                  </a:lnTo>
                  <a:lnTo>
                    <a:pt x="314" y="379"/>
                  </a:lnTo>
                  <a:lnTo>
                    <a:pt x="316" y="364"/>
                  </a:lnTo>
                  <a:lnTo>
                    <a:pt x="323" y="347"/>
                  </a:lnTo>
                  <a:lnTo>
                    <a:pt x="364" y="288"/>
                  </a:lnTo>
                  <a:lnTo>
                    <a:pt x="404" y="226"/>
                  </a:lnTo>
                  <a:lnTo>
                    <a:pt x="326" y="309"/>
                  </a:lnTo>
                  <a:lnTo>
                    <a:pt x="252" y="393"/>
                  </a:lnTo>
                  <a:lnTo>
                    <a:pt x="179" y="480"/>
                  </a:lnTo>
                  <a:lnTo>
                    <a:pt x="108" y="569"/>
                  </a:lnTo>
                  <a:lnTo>
                    <a:pt x="96" y="581"/>
                  </a:lnTo>
                  <a:lnTo>
                    <a:pt x="80" y="588"/>
                  </a:lnTo>
                  <a:lnTo>
                    <a:pt x="65" y="591"/>
                  </a:lnTo>
                  <a:lnTo>
                    <a:pt x="49" y="590"/>
                  </a:lnTo>
                  <a:lnTo>
                    <a:pt x="33" y="586"/>
                  </a:lnTo>
                  <a:lnTo>
                    <a:pt x="21" y="579"/>
                  </a:lnTo>
                  <a:lnTo>
                    <a:pt x="9" y="569"/>
                  </a:lnTo>
                  <a:lnTo>
                    <a:pt x="2" y="556"/>
                  </a:lnTo>
                  <a:lnTo>
                    <a:pt x="0" y="542"/>
                  </a:lnTo>
                  <a:lnTo>
                    <a:pt x="2" y="527"/>
                  </a:lnTo>
                  <a:lnTo>
                    <a:pt x="11" y="511"/>
                  </a:lnTo>
                  <a:lnTo>
                    <a:pt x="74" y="431"/>
                  </a:lnTo>
                  <a:lnTo>
                    <a:pt x="138" y="351"/>
                  </a:lnTo>
                  <a:lnTo>
                    <a:pt x="204" y="273"/>
                  </a:lnTo>
                  <a:lnTo>
                    <a:pt x="273" y="196"/>
                  </a:lnTo>
                  <a:lnTo>
                    <a:pt x="344" y="123"/>
                  </a:lnTo>
                  <a:lnTo>
                    <a:pt x="361" y="107"/>
                  </a:lnTo>
                  <a:lnTo>
                    <a:pt x="380" y="89"/>
                  </a:lnTo>
                  <a:lnTo>
                    <a:pt x="398" y="70"/>
                  </a:lnTo>
                  <a:lnTo>
                    <a:pt x="418" y="52"/>
                  </a:lnTo>
                  <a:lnTo>
                    <a:pt x="439" y="35"/>
                  </a:lnTo>
                  <a:lnTo>
                    <a:pt x="462" y="20"/>
                  </a:lnTo>
                  <a:lnTo>
                    <a:pt x="485" y="9"/>
                  </a:lnTo>
                  <a:lnTo>
                    <a:pt x="509" y="2"/>
                  </a:lnTo>
                  <a:lnTo>
                    <a:pt x="5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1" name="Group 50"/>
          <p:cNvGrpSpPr>
            <a:grpSpLocks noChangeAspect="1"/>
          </p:cNvGrpSpPr>
          <p:nvPr/>
        </p:nvGrpSpPr>
        <p:grpSpPr bwMode="auto">
          <a:xfrm>
            <a:off x="998826" y="5483999"/>
            <a:ext cx="387409" cy="553443"/>
            <a:chOff x="-776" y="2272"/>
            <a:chExt cx="448" cy="640"/>
          </a:xfrm>
          <a:solidFill>
            <a:schemeClr val="bg1"/>
          </a:solidFill>
        </p:grpSpPr>
        <p:sp>
          <p:nvSpPr>
            <p:cNvPr id="52" name="Freeform 6"/>
            <p:cNvSpPr>
              <a:spLocks/>
            </p:cNvSpPr>
            <p:nvPr/>
          </p:nvSpPr>
          <p:spPr bwMode="auto">
            <a:xfrm>
              <a:off x="-776" y="2336"/>
              <a:ext cx="448" cy="576"/>
            </a:xfrm>
            <a:custGeom>
              <a:avLst/>
              <a:gdLst>
                <a:gd name="T0" fmla="*/ 2444 w 2684"/>
                <a:gd name="T1" fmla="*/ 0 h 3456"/>
                <a:gd name="T2" fmla="*/ 2171 w 2684"/>
                <a:gd name="T3" fmla="*/ 0 h 3456"/>
                <a:gd name="T4" fmla="*/ 2171 w 2684"/>
                <a:gd name="T5" fmla="*/ 88 h 3456"/>
                <a:gd name="T6" fmla="*/ 2169 w 2684"/>
                <a:gd name="T7" fmla="*/ 128 h 3456"/>
                <a:gd name="T8" fmla="*/ 2161 w 2684"/>
                <a:gd name="T9" fmla="*/ 166 h 3456"/>
                <a:gd name="T10" fmla="*/ 2148 w 2684"/>
                <a:gd name="T11" fmla="*/ 200 h 3456"/>
                <a:gd name="T12" fmla="*/ 2131 w 2684"/>
                <a:gd name="T13" fmla="*/ 232 h 3456"/>
                <a:gd name="T14" fmla="*/ 2444 w 2684"/>
                <a:gd name="T15" fmla="*/ 232 h 3456"/>
                <a:gd name="T16" fmla="*/ 2444 w 2684"/>
                <a:gd name="T17" fmla="*/ 3224 h 3456"/>
                <a:gd name="T18" fmla="*/ 233 w 2684"/>
                <a:gd name="T19" fmla="*/ 3224 h 3456"/>
                <a:gd name="T20" fmla="*/ 233 w 2684"/>
                <a:gd name="T21" fmla="*/ 232 h 3456"/>
                <a:gd name="T22" fmla="*/ 546 w 2684"/>
                <a:gd name="T23" fmla="*/ 232 h 3456"/>
                <a:gd name="T24" fmla="*/ 529 w 2684"/>
                <a:gd name="T25" fmla="*/ 199 h 3456"/>
                <a:gd name="T26" fmla="*/ 516 w 2684"/>
                <a:gd name="T27" fmla="*/ 163 h 3456"/>
                <a:gd name="T28" fmla="*/ 508 w 2684"/>
                <a:gd name="T29" fmla="*/ 126 h 3456"/>
                <a:gd name="T30" fmla="*/ 505 w 2684"/>
                <a:gd name="T31" fmla="*/ 88 h 3456"/>
                <a:gd name="T32" fmla="*/ 505 w 2684"/>
                <a:gd name="T33" fmla="*/ 0 h 3456"/>
                <a:gd name="T34" fmla="*/ 233 w 2684"/>
                <a:gd name="T35" fmla="*/ 0 h 3456"/>
                <a:gd name="T36" fmla="*/ 195 w 2684"/>
                <a:gd name="T37" fmla="*/ 3 h 3456"/>
                <a:gd name="T38" fmla="*/ 160 w 2684"/>
                <a:gd name="T39" fmla="*/ 12 h 3456"/>
                <a:gd name="T40" fmla="*/ 126 w 2684"/>
                <a:gd name="T41" fmla="*/ 26 h 3456"/>
                <a:gd name="T42" fmla="*/ 96 w 2684"/>
                <a:gd name="T43" fmla="*/ 45 h 3456"/>
                <a:gd name="T44" fmla="*/ 69 w 2684"/>
                <a:gd name="T45" fmla="*/ 67 h 3456"/>
                <a:gd name="T46" fmla="*/ 46 w 2684"/>
                <a:gd name="T47" fmla="*/ 95 h 3456"/>
                <a:gd name="T48" fmla="*/ 26 w 2684"/>
                <a:gd name="T49" fmla="*/ 126 h 3456"/>
                <a:gd name="T50" fmla="*/ 12 w 2684"/>
                <a:gd name="T51" fmla="*/ 158 h 3456"/>
                <a:gd name="T52" fmla="*/ 4 w 2684"/>
                <a:gd name="T53" fmla="*/ 194 h 3456"/>
                <a:gd name="T54" fmla="*/ 0 w 2684"/>
                <a:gd name="T55" fmla="*/ 232 h 3456"/>
                <a:gd name="T56" fmla="*/ 0 w 2684"/>
                <a:gd name="T57" fmla="*/ 3224 h 3456"/>
                <a:gd name="T58" fmla="*/ 4 w 2684"/>
                <a:gd name="T59" fmla="*/ 3262 h 3456"/>
                <a:gd name="T60" fmla="*/ 12 w 2684"/>
                <a:gd name="T61" fmla="*/ 3298 h 3456"/>
                <a:gd name="T62" fmla="*/ 26 w 2684"/>
                <a:gd name="T63" fmla="*/ 3330 h 3456"/>
                <a:gd name="T64" fmla="*/ 46 w 2684"/>
                <a:gd name="T65" fmla="*/ 3361 h 3456"/>
                <a:gd name="T66" fmla="*/ 69 w 2684"/>
                <a:gd name="T67" fmla="*/ 3389 h 3456"/>
                <a:gd name="T68" fmla="*/ 96 w 2684"/>
                <a:gd name="T69" fmla="*/ 3411 h 3456"/>
                <a:gd name="T70" fmla="*/ 126 w 2684"/>
                <a:gd name="T71" fmla="*/ 3430 h 3456"/>
                <a:gd name="T72" fmla="*/ 160 w 2684"/>
                <a:gd name="T73" fmla="*/ 3444 h 3456"/>
                <a:gd name="T74" fmla="*/ 195 w 2684"/>
                <a:gd name="T75" fmla="*/ 3453 h 3456"/>
                <a:gd name="T76" fmla="*/ 233 w 2684"/>
                <a:gd name="T77" fmla="*/ 3456 h 3456"/>
                <a:gd name="T78" fmla="*/ 2452 w 2684"/>
                <a:gd name="T79" fmla="*/ 3456 h 3456"/>
                <a:gd name="T80" fmla="*/ 2489 w 2684"/>
                <a:gd name="T81" fmla="*/ 3453 h 3456"/>
                <a:gd name="T82" fmla="*/ 2525 w 2684"/>
                <a:gd name="T83" fmla="*/ 3444 h 3456"/>
                <a:gd name="T84" fmla="*/ 2559 w 2684"/>
                <a:gd name="T85" fmla="*/ 3430 h 3456"/>
                <a:gd name="T86" fmla="*/ 2589 w 2684"/>
                <a:gd name="T87" fmla="*/ 3411 h 3456"/>
                <a:gd name="T88" fmla="*/ 2616 w 2684"/>
                <a:gd name="T89" fmla="*/ 3389 h 3456"/>
                <a:gd name="T90" fmla="*/ 2639 w 2684"/>
                <a:gd name="T91" fmla="*/ 3361 h 3456"/>
                <a:gd name="T92" fmla="*/ 2658 w 2684"/>
                <a:gd name="T93" fmla="*/ 3330 h 3456"/>
                <a:gd name="T94" fmla="*/ 2672 w 2684"/>
                <a:gd name="T95" fmla="*/ 3298 h 3456"/>
                <a:gd name="T96" fmla="*/ 2681 w 2684"/>
                <a:gd name="T97" fmla="*/ 3262 h 3456"/>
                <a:gd name="T98" fmla="*/ 2684 w 2684"/>
                <a:gd name="T99" fmla="*/ 3224 h 3456"/>
                <a:gd name="T100" fmla="*/ 2684 w 2684"/>
                <a:gd name="T101" fmla="*/ 232 h 3456"/>
                <a:gd name="T102" fmla="*/ 2679 w 2684"/>
                <a:gd name="T103" fmla="*/ 194 h 3456"/>
                <a:gd name="T104" fmla="*/ 2669 w 2684"/>
                <a:gd name="T105" fmla="*/ 158 h 3456"/>
                <a:gd name="T106" fmla="*/ 2653 w 2684"/>
                <a:gd name="T107" fmla="*/ 126 h 3456"/>
                <a:gd name="T108" fmla="*/ 2632 w 2684"/>
                <a:gd name="T109" fmla="*/ 95 h 3456"/>
                <a:gd name="T110" fmla="*/ 2609 w 2684"/>
                <a:gd name="T111" fmla="*/ 67 h 3456"/>
                <a:gd name="T112" fmla="*/ 2581 w 2684"/>
                <a:gd name="T113" fmla="*/ 45 h 3456"/>
                <a:gd name="T114" fmla="*/ 2551 w 2684"/>
                <a:gd name="T115" fmla="*/ 26 h 3456"/>
                <a:gd name="T116" fmla="*/ 2517 w 2684"/>
                <a:gd name="T117" fmla="*/ 12 h 3456"/>
                <a:gd name="T118" fmla="*/ 2481 w 2684"/>
                <a:gd name="T119" fmla="*/ 3 h 3456"/>
                <a:gd name="T120" fmla="*/ 2444 w 2684"/>
                <a:gd name="T121" fmla="*/ 0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84" h="3456">
                  <a:moveTo>
                    <a:pt x="2444" y="0"/>
                  </a:moveTo>
                  <a:lnTo>
                    <a:pt x="2171" y="0"/>
                  </a:lnTo>
                  <a:lnTo>
                    <a:pt x="2171" y="88"/>
                  </a:lnTo>
                  <a:lnTo>
                    <a:pt x="2169" y="128"/>
                  </a:lnTo>
                  <a:lnTo>
                    <a:pt x="2161" y="166"/>
                  </a:lnTo>
                  <a:lnTo>
                    <a:pt x="2148" y="200"/>
                  </a:lnTo>
                  <a:lnTo>
                    <a:pt x="2131" y="232"/>
                  </a:lnTo>
                  <a:lnTo>
                    <a:pt x="2444" y="232"/>
                  </a:lnTo>
                  <a:lnTo>
                    <a:pt x="2444" y="3224"/>
                  </a:lnTo>
                  <a:lnTo>
                    <a:pt x="233" y="3224"/>
                  </a:lnTo>
                  <a:lnTo>
                    <a:pt x="233" y="232"/>
                  </a:lnTo>
                  <a:lnTo>
                    <a:pt x="546" y="232"/>
                  </a:lnTo>
                  <a:lnTo>
                    <a:pt x="529" y="199"/>
                  </a:lnTo>
                  <a:lnTo>
                    <a:pt x="516" y="163"/>
                  </a:lnTo>
                  <a:lnTo>
                    <a:pt x="508" y="126"/>
                  </a:lnTo>
                  <a:lnTo>
                    <a:pt x="505" y="88"/>
                  </a:lnTo>
                  <a:lnTo>
                    <a:pt x="505" y="0"/>
                  </a:lnTo>
                  <a:lnTo>
                    <a:pt x="233" y="0"/>
                  </a:lnTo>
                  <a:lnTo>
                    <a:pt x="195" y="3"/>
                  </a:lnTo>
                  <a:lnTo>
                    <a:pt x="160" y="12"/>
                  </a:lnTo>
                  <a:lnTo>
                    <a:pt x="126" y="26"/>
                  </a:lnTo>
                  <a:lnTo>
                    <a:pt x="96" y="45"/>
                  </a:lnTo>
                  <a:lnTo>
                    <a:pt x="69" y="67"/>
                  </a:lnTo>
                  <a:lnTo>
                    <a:pt x="46" y="95"/>
                  </a:lnTo>
                  <a:lnTo>
                    <a:pt x="26" y="126"/>
                  </a:lnTo>
                  <a:lnTo>
                    <a:pt x="12" y="158"/>
                  </a:lnTo>
                  <a:lnTo>
                    <a:pt x="4" y="194"/>
                  </a:lnTo>
                  <a:lnTo>
                    <a:pt x="0" y="232"/>
                  </a:lnTo>
                  <a:lnTo>
                    <a:pt x="0" y="3224"/>
                  </a:lnTo>
                  <a:lnTo>
                    <a:pt x="4" y="3262"/>
                  </a:lnTo>
                  <a:lnTo>
                    <a:pt x="12" y="3298"/>
                  </a:lnTo>
                  <a:lnTo>
                    <a:pt x="26" y="3330"/>
                  </a:lnTo>
                  <a:lnTo>
                    <a:pt x="46" y="3361"/>
                  </a:lnTo>
                  <a:lnTo>
                    <a:pt x="69" y="3389"/>
                  </a:lnTo>
                  <a:lnTo>
                    <a:pt x="96" y="3411"/>
                  </a:lnTo>
                  <a:lnTo>
                    <a:pt x="126" y="3430"/>
                  </a:lnTo>
                  <a:lnTo>
                    <a:pt x="160" y="3444"/>
                  </a:lnTo>
                  <a:lnTo>
                    <a:pt x="195" y="3453"/>
                  </a:lnTo>
                  <a:lnTo>
                    <a:pt x="233" y="3456"/>
                  </a:lnTo>
                  <a:lnTo>
                    <a:pt x="2452" y="3456"/>
                  </a:lnTo>
                  <a:lnTo>
                    <a:pt x="2489" y="3453"/>
                  </a:lnTo>
                  <a:lnTo>
                    <a:pt x="2525" y="3444"/>
                  </a:lnTo>
                  <a:lnTo>
                    <a:pt x="2559" y="3430"/>
                  </a:lnTo>
                  <a:lnTo>
                    <a:pt x="2589" y="3411"/>
                  </a:lnTo>
                  <a:lnTo>
                    <a:pt x="2616" y="3389"/>
                  </a:lnTo>
                  <a:lnTo>
                    <a:pt x="2639" y="3361"/>
                  </a:lnTo>
                  <a:lnTo>
                    <a:pt x="2658" y="3330"/>
                  </a:lnTo>
                  <a:lnTo>
                    <a:pt x="2672" y="3298"/>
                  </a:lnTo>
                  <a:lnTo>
                    <a:pt x="2681" y="3262"/>
                  </a:lnTo>
                  <a:lnTo>
                    <a:pt x="2684" y="3224"/>
                  </a:lnTo>
                  <a:lnTo>
                    <a:pt x="2684" y="232"/>
                  </a:lnTo>
                  <a:lnTo>
                    <a:pt x="2679" y="194"/>
                  </a:lnTo>
                  <a:lnTo>
                    <a:pt x="2669" y="158"/>
                  </a:lnTo>
                  <a:lnTo>
                    <a:pt x="2653" y="126"/>
                  </a:lnTo>
                  <a:lnTo>
                    <a:pt x="2632" y="95"/>
                  </a:lnTo>
                  <a:lnTo>
                    <a:pt x="2609" y="67"/>
                  </a:lnTo>
                  <a:lnTo>
                    <a:pt x="2581" y="45"/>
                  </a:lnTo>
                  <a:lnTo>
                    <a:pt x="2551" y="26"/>
                  </a:lnTo>
                  <a:lnTo>
                    <a:pt x="2517" y="12"/>
                  </a:lnTo>
                  <a:lnTo>
                    <a:pt x="2481" y="3"/>
                  </a:lnTo>
                  <a:lnTo>
                    <a:pt x="244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7"/>
            <p:cNvSpPr>
              <a:spLocks/>
            </p:cNvSpPr>
            <p:nvPr/>
          </p:nvSpPr>
          <p:spPr bwMode="auto">
            <a:xfrm>
              <a:off x="-666" y="2272"/>
              <a:ext cx="227" cy="104"/>
            </a:xfrm>
            <a:custGeom>
              <a:avLst/>
              <a:gdLst>
                <a:gd name="T0" fmla="*/ 160 w 1363"/>
                <a:gd name="T1" fmla="*/ 624 h 624"/>
                <a:gd name="T2" fmla="*/ 1210 w 1363"/>
                <a:gd name="T3" fmla="*/ 624 h 624"/>
                <a:gd name="T4" fmla="*/ 1241 w 1363"/>
                <a:gd name="T5" fmla="*/ 620 h 624"/>
                <a:gd name="T6" fmla="*/ 1270 w 1363"/>
                <a:gd name="T7" fmla="*/ 612 h 624"/>
                <a:gd name="T8" fmla="*/ 1297 w 1363"/>
                <a:gd name="T9" fmla="*/ 597 h 624"/>
                <a:gd name="T10" fmla="*/ 1319 w 1363"/>
                <a:gd name="T11" fmla="*/ 578 h 624"/>
                <a:gd name="T12" fmla="*/ 1337 w 1363"/>
                <a:gd name="T13" fmla="*/ 555 h 624"/>
                <a:gd name="T14" fmla="*/ 1351 w 1363"/>
                <a:gd name="T15" fmla="*/ 529 h 624"/>
                <a:gd name="T16" fmla="*/ 1359 w 1363"/>
                <a:gd name="T17" fmla="*/ 502 h 624"/>
                <a:gd name="T18" fmla="*/ 1363 w 1363"/>
                <a:gd name="T19" fmla="*/ 472 h 624"/>
                <a:gd name="T20" fmla="*/ 1363 w 1363"/>
                <a:gd name="T21" fmla="*/ 296 h 624"/>
                <a:gd name="T22" fmla="*/ 1359 w 1363"/>
                <a:gd name="T23" fmla="*/ 264 h 624"/>
                <a:gd name="T24" fmla="*/ 1350 w 1363"/>
                <a:gd name="T25" fmla="*/ 235 h 624"/>
                <a:gd name="T26" fmla="*/ 1335 w 1363"/>
                <a:gd name="T27" fmla="*/ 209 h 624"/>
                <a:gd name="T28" fmla="*/ 1316 w 1363"/>
                <a:gd name="T29" fmla="*/ 187 h 624"/>
                <a:gd name="T30" fmla="*/ 1294 w 1363"/>
                <a:gd name="T31" fmla="*/ 169 h 624"/>
                <a:gd name="T32" fmla="*/ 1267 w 1363"/>
                <a:gd name="T33" fmla="*/ 156 h 624"/>
                <a:gd name="T34" fmla="*/ 1239 w 1363"/>
                <a:gd name="T35" fmla="*/ 147 h 624"/>
                <a:gd name="T36" fmla="*/ 1210 w 1363"/>
                <a:gd name="T37" fmla="*/ 144 h 624"/>
                <a:gd name="T38" fmla="*/ 1018 w 1363"/>
                <a:gd name="T39" fmla="*/ 144 h 624"/>
                <a:gd name="T40" fmla="*/ 970 w 1363"/>
                <a:gd name="T41" fmla="*/ 80 h 624"/>
                <a:gd name="T42" fmla="*/ 955 w 1363"/>
                <a:gd name="T43" fmla="*/ 57 h 624"/>
                <a:gd name="T44" fmla="*/ 936 w 1363"/>
                <a:gd name="T45" fmla="*/ 38 h 624"/>
                <a:gd name="T46" fmla="*/ 914 w 1363"/>
                <a:gd name="T47" fmla="*/ 22 h 624"/>
                <a:gd name="T48" fmla="*/ 888 w 1363"/>
                <a:gd name="T49" fmla="*/ 10 h 624"/>
                <a:gd name="T50" fmla="*/ 862 w 1363"/>
                <a:gd name="T51" fmla="*/ 2 h 624"/>
                <a:gd name="T52" fmla="*/ 834 w 1363"/>
                <a:gd name="T53" fmla="*/ 0 h 624"/>
                <a:gd name="T54" fmla="*/ 521 w 1363"/>
                <a:gd name="T55" fmla="*/ 0 h 624"/>
                <a:gd name="T56" fmla="*/ 493 w 1363"/>
                <a:gd name="T57" fmla="*/ 2 h 624"/>
                <a:gd name="T58" fmla="*/ 468 w 1363"/>
                <a:gd name="T59" fmla="*/ 10 h 624"/>
                <a:gd name="T60" fmla="*/ 444 w 1363"/>
                <a:gd name="T61" fmla="*/ 22 h 624"/>
                <a:gd name="T62" fmla="*/ 422 w 1363"/>
                <a:gd name="T63" fmla="*/ 38 h 624"/>
                <a:gd name="T64" fmla="*/ 402 w 1363"/>
                <a:gd name="T65" fmla="*/ 57 h 624"/>
                <a:gd name="T66" fmla="*/ 385 w 1363"/>
                <a:gd name="T67" fmla="*/ 80 h 624"/>
                <a:gd name="T68" fmla="*/ 345 w 1363"/>
                <a:gd name="T69" fmla="*/ 144 h 624"/>
                <a:gd name="T70" fmla="*/ 153 w 1363"/>
                <a:gd name="T71" fmla="*/ 144 h 624"/>
                <a:gd name="T72" fmla="*/ 120 w 1363"/>
                <a:gd name="T73" fmla="*/ 148 h 624"/>
                <a:gd name="T74" fmla="*/ 91 w 1363"/>
                <a:gd name="T75" fmla="*/ 156 h 624"/>
                <a:gd name="T76" fmla="*/ 66 w 1363"/>
                <a:gd name="T77" fmla="*/ 171 h 624"/>
                <a:gd name="T78" fmla="*/ 44 w 1363"/>
                <a:gd name="T79" fmla="*/ 190 h 624"/>
                <a:gd name="T80" fmla="*/ 25 w 1363"/>
                <a:gd name="T81" fmla="*/ 213 h 624"/>
                <a:gd name="T82" fmla="*/ 12 w 1363"/>
                <a:gd name="T83" fmla="*/ 239 h 624"/>
                <a:gd name="T84" fmla="*/ 3 w 1363"/>
                <a:gd name="T85" fmla="*/ 266 h 624"/>
                <a:gd name="T86" fmla="*/ 0 w 1363"/>
                <a:gd name="T87" fmla="*/ 296 h 624"/>
                <a:gd name="T88" fmla="*/ 0 w 1363"/>
                <a:gd name="T89" fmla="*/ 464 h 624"/>
                <a:gd name="T90" fmla="*/ 4 w 1363"/>
                <a:gd name="T91" fmla="*/ 496 h 624"/>
                <a:gd name="T92" fmla="*/ 13 w 1363"/>
                <a:gd name="T93" fmla="*/ 526 h 624"/>
                <a:gd name="T94" fmla="*/ 27 w 1363"/>
                <a:gd name="T95" fmla="*/ 553 h 624"/>
                <a:gd name="T96" fmla="*/ 47 w 1363"/>
                <a:gd name="T97" fmla="*/ 577 h 624"/>
                <a:gd name="T98" fmla="*/ 72 w 1363"/>
                <a:gd name="T99" fmla="*/ 597 h 624"/>
                <a:gd name="T100" fmla="*/ 98 w 1363"/>
                <a:gd name="T101" fmla="*/ 611 h 624"/>
                <a:gd name="T102" fmla="*/ 129 w 1363"/>
                <a:gd name="T103" fmla="*/ 620 h 624"/>
                <a:gd name="T104" fmla="*/ 160 w 1363"/>
                <a:gd name="T105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3" h="624">
                  <a:moveTo>
                    <a:pt x="160" y="624"/>
                  </a:moveTo>
                  <a:lnTo>
                    <a:pt x="1210" y="624"/>
                  </a:lnTo>
                  <a:lnTo>
                    <a:pt x="1241" y="620"/>
                  </a:lnTo>
                  <a:lnTo>
                    <a:pt x="1270" y="612"/>
                  </a:lnTo>
                  <a:lnTo>
                    <a:pt x="1297" y="597"/>
                  </a:lnTo>
                  <a:lnTo>
                    <a:pt x="1319" y="578"/>
                  </a:lnTo>
                  <a:lnTo>
                    <a:pt x="1337" y="555"/>
                  </a:lnTo>
                  <a:lnTo>
                    <a:pt x="1351" y="529"/>
                  </a:lnTo>
                  <a:lnTo>
                    <a:pt x="1359" y="502"/>
                  </a:lnTo>
                  <a:lnTo>
                    <a:pt x="1363" y="472"/>
                  </a:lnTo>
                  <a:lnTo>
                    <a:pt x="1363" y="296"/>
                  </a:lnTo>
                  <a:lnTo>
                    <a:pt x="1359" y="264"/>
                  </a:lnTo>
                  <a:lnTo>
                    <a:pt x="1350" y="235"/>
                  </a:lnTo>
                  <a:lnTo>
                    <a:pt x="1335" y="209"/>
                  </a:lnTo>
                  <a:lnTo>
                    <a:pt x="1316" y="187"/>
                  </a:lnTo>
                  <a:lnTo>
                    <a:pt x="1294" y="169"/>
                  </a:lnTo>
                  <a:lnTo>
                    <a:pt x="1267" y="156"/>
                  </a:lnTo>
                  <a:lnTo>
                    <a:pt x="1239" y="147"/>
                  </a:lnTo>
                  <a:lnTo>
                    <a:pt x="1210" y="144"/>
                  </a:lnTo>
                  <a:lnTo>
                    <a:pt x="1018" y="144"/>
                  </a:lnTo>
                  <a:lnTo>
                    <a:pt x="970" y="80"/>
                  </a:lnTo>
                  <a:lnTo>
                    <a:pt x="955" y="57"/>
                  </a:lnTo>
                  <a:lnTo>
                    <a:pt x="936" y="38"/>
                  </a:lnTo>
                  <a:lnTo>
                    <a:pt x="914" y="22"/>
                  </a:lnTo>
                  <a:lnTo>
                    <a:pt x="888" y="10"/>
                  </a:lnTo>
                  <a:lnTo>
                    <a:pt x="862" y="2"/>
                  </a:lnTo>
                  <a:lnTo>
                    <a:pt x="834" y="0"/>
                  </a:lnTo>
                  <a:lnTo>
                    <a:pt x="521" y="0"/>
                  </a:lnTo>
                  <a:lnTo>
                    <a:pt x="493" y="2"/>
                  </a:lnTo>
                  <a:lnTo>
                    <a:pt x="468" y="10"/>
                  </a:lnTo>
                  <a:lnTo>
                    <a:pt x="444" y="22"/>
                  </a:lnTo>
                  <a:lnTo>
                    <a:pt x="422" y="38"/>
                  </a:lnTo>
                  <a:lnTo>
                    <a:pt x="402" y="57"/>
                  </a:lnTo>
                  <a:lnTo>
                    <a:pt x="385" y="80"/>
                  </a:lnTo>
                  <a:lnTo>
                    <a:pt x="345" y="144"/>
                  </a:lnTo>
                  <a:lnTo>
                    <a:pt x="153" y="144"/>
                  </a:lnTo>
                  <a:lnTo>
                    <a:pt x="120" y="148"/>
                  </a:lnTo>
                  <a:lnTo>
                    <a:pt x="91" y="156"/>
                  </a:lnTo>
                  <a:lnTo>
                    <a:pt x="66" y="171"/>
                  </a:lnTo>
                  <a:lnTo>
                    <a:pt x="44" y="190"/>
                  </a:lnTo>
                  <a:lnTo>
                    <a:pt x="25" y="213"/>
                  </a:lnTo>
                  <a:lnTo>
                    <a:pt x="12" y="239"/>
                  </a:lnTo>
                  <a:lnTo>
                    <a:pt x="3" y="266"/>
                  </a:lnTo>
                  <a:lnTo>
                    <a:pt x="0" y="296"/>
                  </a:lnTo>
                  <a:lnTo>
                    <a:pt x="0" y="464"/>
                  </a:lnTo>
                  <a:lnTo>
                    <a:pt x="4" y="496"/>
                  </a:lnTo>
                  <a:lnTo>
                    <a:pt x="13" y="526"/>
                  </a:lnTo>
                  <a:lnTo>
                    <a:pt x="27" y="553"/>
                  </a:lnTo>
                  <a:lnTo>
                    <a:pt x="47" y="577"/>
                  </a:lnTo>
                  <a:lnTo>
                    <a:pt x="72" y="597"/>
                  </a:lnTo>
                  <a:lnTo>
                    <a:pt x="98" y="611"/>
                  </a:lnTo>
                  <a:lnTo>
                    <a:pt x="129" y="620"/>
                  </a:lnTo>
                  <a:lnTo>
                    <a:pt x="160" y="62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Rectangle 8"/>
            <p:cNvSpPr>
              <a:spLocks noChangeArrowheads="1"/>
            </p:cNvSpPr>
            <p:nvPr/>
          </p:nvSpPr>
          <p:spPr bwMode="auto">
            <a:xfrm>
              <a:off x="-702" y="2441"/>
              <a:ext cx="184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Rectangle 9"/>
            <p:cNvSpPr>
              <a:spLocks noChangeArrowheads="1"/>
            </p:cNvSpPr>
            <p:nvPr/>
          </p:nvSpPr>
          <p:spPr bwMode="auto">
            <a:xfrm>
              <a:off x="-702" y="2512"/>
              <a:ext cx="184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Rectangle 10"/>
            <p:cNvSpPr>
              <a:spLocks noChangeArrowheads="1"/>
            </p:cNvSpPr>
            <p:nvPr/>
          </p:nvSpPr>
          <p:spPr bwMode="auto">
            <a:xfrm>
              <a:off x="-702" y="2583"/>
              <a:ext cx="299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Rectangle 11"/>
            <p:cNvSpPr>
              <a:spLocks noChangeArrowheads="1"/>
            </p:cNvSpPr>
            <p:nvPr/>
          </p:nvSpPr>
          <p:spPr bwMode="auto">
            <a:xfrm>
              <a:off x="-702" y="2653"/>
              <a:ext cx="299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Rectangle 12"/>
            <p:cNvSpPr>
              <a:spLocks noChangeArrowheads="1"/>
            </p:cNvSpPr>
            <p:nvPr/>
          </p:nvSpPr>
          <p:spPr bwMode="auto">
            <a:xfrm>
              <a:off x="-574" y="2725"/>
              <a:ext cx="171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Rectangle 13"/>
            <p:cNvSpPr>
              <a:spLocks noChangeArrowheads="1"/>
            </p:cNvSpPr>
            <p:nvPr/>
          </p:nvSpPr>
          <p:spPr bwMode="auto">
            <a:xfrm>
              <a:off x="-574" y="2796"/>
              <a:ext cx="171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14"/>
            <p:cNvSpPr>
              <a:spLocks noEditPoints="1"/>
            </p:cNvSpPr>
            <p:nvPr/>
          </p:nvSpPr>
          <p:spPr bwMode="auto">
            <a:xfrm>
              <a:off x="-695" y="2715"/>
              <a:ext cx="72" cy="112"/>
            </a:xfrm>
            <a:custGeom>
              <a:avLst/>
              <a:gdLst>
                <a:gd name="T0" fmla="*/ 248 w 432"/>
                <a:gd name="T1" fmla="*/ 617 h 673"/>
                <a:gd name="T2" fmla="*/ 311 w 432"/>
                <a:gd name="T3" fmla="*/ 609 h 673"/>
                <a:gd name="T4" fmla="*/ 363 w 432"/>
                <a:gd name="T5" fmla="*/ 586 h 673"/>
                <a:gd name="T6" fmla="*/ 405 w 432"/>
                <a:gd name="T7" fmla="*/ 544 h 673"/>
                <a:gd name="T8" fmla="*/ 428 w 432"/>
                <a:gd name="T9" fmla="*/ 483 h 673"/>
                <a:gd name="T10" fmla="*/ 429 w 432"/>
                <a:gd name="T11" fmla="*/ 422 h 673"/>
                <a:gd name="T12" fmla="*/ 414 w 432"/>
                <a:gd name="T13" fmla="*/ 376 h 673"/>
                <a:gd name="T14" fmla="*/ 384 w 432"/>
                <a:gd name="T15" fmla="*/ 337 h 673"/>
                <a:gd name="T16" fmla="*/ 348 w 432"/>
                <a:gd name="T17" fmla="*/ 313 h 673"/>
                <a:gd name="T18" fmla="*/ 304 w 432"/>
                <a:gd name="T19" fmla="*/ 294 h 673"/>
                <a:gd name="T20" fmla="*/ 248 w 432"/>
                <a:gd name="T21" fmla="*/ 281 h 673"/>
                <a:gd name="T22" fmla="*/ 287 w 432"/>
                <a:gd name="T23" fmla="*/ 140 h 673"/>
                <a:gd name="T24" fmla="*/ 368 w 432"/>
                <a:gd name="T25" fmla="*/ 177 h 673"/>
                <a:gd name="T26" fmla="*/ 382 w 432"/>
                <a:gd name="T27" fmla="*/ 80 h 673"/>
                <a:gd name="T28" fmla="*/ 298 w 432"/>
                <a:gd name="T29" fmla="*/ 49 h 673"/>
                <a:gd name="T30" fmla="*/ 256 w 432"/>
                <a:gd name="T31" fmla="*/ 0 h 673"/>
                <a:gd name="T32" fmla="*/ 200 w 432"/>
                <a:gd name="T33" fmla="*/ 41 h 673"/>
                <a:gd name="T34" fmla="*/ 139 w 432"/>
                <a:gd name="T35" fmla="*/ 48 h 673"/>
                <a:gd name="T36" fmla="*/ 92 w 432"/>
                <a:gd name="T37" fmla="*/ 71 h 673"/>
                <a:gd name="T38" fmla="*/ 51 w 432"/>
                <a:gd name="T39" fmla="*/ 114 h 673"/>
                <a:gd name="T40" fmla="*/ 26 w 432"/>
                <a:gd name="T41" fmla="*/ 171 h 673"/>
                <a:gd name="T42" fmla="*/ 25 w 432"/>
                <a:gd name="T43" fmla="*/ 228 h 673"/>
                <a:gd name="T44" fmla="*/ 39 w 432"/>
                <a:gd name="T45" fmla="*/ 272 h 673"/>
                <a:gd name="T46" fmla="*/ 64 w 432"/>
                <a:gd name="T47" fmla="*/ 305 h 673"/>
                <a:gd name="T48" fmla="*/ 120 w 432"/>
                <a:gd name="T49" fmla="*/ 336 h 673"/>
                <a:gd name="T50" fmla="*/ 200 w 432"/>
                <a:gd name="T51" fmla="*/ 361 h 673"/>
                <a:gd name="T52" fmla="*/ 164 w 432"/>
                <a:gd name="T53" fmla="*/ 512 h 673"/>
                <a:gd name="T54" fmla="*/ 92 w 432"/>
                <a:gd name="T55" fmla="*/ 476 h 673"/>
                <a:gd name="T56" fmla="*/ 0 w 432"/>
                <a:gd name="T57" fmla="*/ 521 h 673"/>
                <a:gd name="T58" fmla="*/ 73 w 432"/>
                <a:gd name="T59" fmla="*/ 571 h 673"/>
                <a:gd name="T60" fmla="*/ 157 w 432"/>
                <a:gd name="T61" fmla="*/ 601 h 673"/>
                <a:gd name="T62" fmla="*/ 200 w 432"/>
                <a:gd name="T63" fmla="*/ 665 h 673"/>
                <a:gd name="T64" fmla="*/ 248 w 432"/>
                <a:gd name="T65" fmla="*/ 673 h 673"/>
                <a:gd name="T66" fmla="*/ 270 w 432"/>
                <a:gd name="T67" fmla="*/ 393 h 673"/>
                <a:gd name="T68" fmla="*/ 302 w 432"/>
                <a:gd name="T69" fmla="*/ 410 h 673"/>
                <a:gd name="T70" fmla="*/ 318 w 432"/>
                <a:gd name="T71" fmla="*/ 424 h 673"/>
                <a:gd name="T72" fmla="*/ 326 w 432"/>
                <a:gd name="T73" fmla="*/ 448 h 673"/>
                <a:gd name="T74" fmla="*/ 325 w 432"/>
                <a:gd name="T75" fmla="*/ 481 h 673"/>
                <a:gd name="T76" fmla="*/ 304 w 432"/>
                <a:gd name="T77" fmla="*/ 514 h 673"/>
                <a:gd name="T78" fmla="*/ 278 w 432"/>
                <a:gd name="T79" fmla="*/ 531 h 673"/>
                <a:gd name="T80" fmla="*/ 240 w 432"/>
                <a:gd name="T81" fmla="*/ 537 h 673"/>
                <a:gd name="T82" fmla="*/ 248 w 432"/>
                <a:gd name="T83" fmla="*/ 386 h 673"/>
                <a:gd name="T84" fmla="*/ 128 w 432"/>
                <a:gd name="T85" fmla="*/ 231 h 673"/>
                <a:gd name="T86" fmla="*/ 120 w 432"/>
                <a:gd name="T87" fmla="*/ 201 h 673"/>
                <a:gd name="T88" fmla="*/ 130 w 432"/>
                <a:gd name="T89" fmla="*/ 169 h 673"/>
                <a:gd name="T90" fmla="*/ 156 w 432"/>
                <a:gd name="T91" fmla="*/ 144 h 673"/>
                <a:gd name="T92" fmla="*/ 182 w 432"/>
                <a:gd name="T93" fmla="*/ 134 h 673"/>
                <a:gd name="T94" fmla="*/ 200 w 432"/>
                <a:gd name="T95" fmla="*/ 273 h 673"/>
                <a:gd name="T96" fmla="*/ 158 w 432"/>
                <a:gd name="T97" fmla="*/ 254 h 673"/>
                <a:gd name="T98" fmla="*/ 136 w 432"/>
                <a:gd name="T99" fmla="*/ 241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2" h="673">
                  <a:moveTo>
                    <a:pt x="248" y="673"/>
                  </a:moveTo>
                  <a:lnTo>
                    <a:pt x="248" y="617"/>
                  </a:lnTo>
                  <a:lnTo>
                    <a:pt x="280" y="615"/>
                  </a:lnTo>
                  <a:lnTo>
                    <a:pt x="311" y="609"/>
                  </a:lnTo>
                  <a:lnTo>
                    <a:pt x="339" y="600"/>
                  </a:lnTo>
                  <a:lnTo>
                    <a:pt x="363" y="586"/>
                  </a:lnTo>
                  <a:lnTo>
                    <a:pt x="384" y="569"/>
                  </a:lnTo>
                  <a:lnTo>
                    <a:pt x="405" y="544"/>
                  </a:lnTo>
                  <a:lnTo>
                    <a:pt x="420" y="515"/>
                  </a:lnTo>
                  <a:lnTo>
                    <a:pt x="428" y="483"/>
                  </a:lnTo>
                  <a:lnTo>
                    <a:pt x="432" y="450"/>
                  </a:lnTo>
                  <a:lnTo>
                    <a:pt x="429" y="422"/>
                  </a:lnTo>
                  <a:lnTo>
                    <a:pt x="424" y="398"/>
                  </a:lnTo>
                  <a:lnTo>
                    <a:pt x="414" y="376"/>
                  </a:lnTo>
                  <a:lnTo>
                    <a:pt x="402" y="356"/>
                  </a:lnTo>
                  <a:lnTo>
                    <a:pt x="384" y="337"/>
                  </a:lnTo>
                  <a:lnTo>
                    <a:pt x="367" y="325"/>
                  </a:lnTo>
                  <a:lnTo>
                    <a:pt x="348" y="313"/>
                  </a:lnTo>
                  <a:lnTo>
                    <a:pt x="328" y="303"/>
                  </a:lnTo>
                  <a:lnTo>
                    <a:pt x="304" y="294"/>
                  </a:lnTo>
                  <a:lnTo>
                    <a:pt x="278" y="287"/>
                  </a:lnTo>
                  <a:lnTo>
                    <a:pt x="248" y="281"/>
                  </a:lnTo>
                  <a:lnTo>
                    <a:pt x="248" y="130"/>
                  </a:lnTo>
                  <a:lnTo>
                    <a:pt x="287" y="140"/>
                  </a:lnTo>
                  <a:lnTo>
                    <a:pt x="328" y="155"/>
                  </a:lnTo>
                  <a:lnTo>
                    <a:pt x="368" y="177"/>
                  </a:lnTo>
                  <a:lnTo>
                    <a:pt x="424" y="105"/>
                  </a:lnTo>
                  <a:lnTo>
                    <a:pt x="382" y="80"/>
                  </a:lnTo>
                  <a:lnTo>
                    <a:pt x="340" y="61"/>
                  </a:lnTo>
                  <a:lnTo>
                    <a:pt x="298" y="49"/>
                  </a:lnTo>
                  <a:lnTo>
                    <a:pt x="256" y="41"/>
                  </a:lnTo>
                  <a:lnTo>
                    <a:pt x="256" y="0"/>
                  </a:lnTo>
                  <a:lnTo>
                    <a:pt x="200" y="0"/>
                  </a:lnTo>
                  <a:lnTo>
                    <a:pt x="200" y="41"/>
                  </a:lnTo>
                  <a:lnTo>
                    <a:pt x="167" y="43"/>
                  </a:lnTo>
                  <a:lnTo>
                    <a:pt x="139" y="48"/>
                  </a:lnTo>
                  <a:lnTo>
                    <a:pt x="114" y="59"/>
                  </a:lnTo>
                  <a:lnTo>
                    <a:pt x="92" y="71"/>
                  </a:lnTo>
                  <a:lnTo>
                    <a:pt x="72" y="89"/>
                  </a:lnTo>
                  <a:lnTo>
                    <a:pt x="51" y="114"/>
                  </a:lnTo>
                  <a:lnTo>
                    <a:pt x="36" y="142"/>
                  </a:lnTo>
                  <a:lnTo>
                    <a:pt x="26" y="171"/>
                  </a:lnTo>
                  <a:lnTo>
                    <a:pt x="23" y="201"/>
                  </a:lnTo>
                  <a:lnTo>
                    <a:pt x="25" y="228"/>
                  </a:lnTo>
                  <a:lnTo>
                    <a:pt x="30" y="252"/>
                  </a:lnTo>
                  <a:lnTo>
                    <a:pt x="39" y="272"/>
                  </a:lnTo>
                  <a:lnTo>
                    <a:pt x="50" y="289"/>
                  </a:lnTo>
                  <a:lnTo>
                    <a:pt x="64" y="305"/>
                  </a:lnTo>
                  <a:lnTo>
                    <a:pt x="89" y="322"/>
                  </a:lnTo>
                  <a:lnTo>
                    <a:pt x="120" y="336"/>
                  </a:lnTo>
                  <a:lnTo>
                    <a:pt x="156" y="348"/>
                  </a:lnTo>
                  <a:lnTo>
                    <a:pt x="200" y="361"/>
                  </a:lnTo>
                  <a:lnTo>
                    <a:pt x="200" y="521"/>
                  </a:lnTo>
                  <a:lnTo>
                    <a:pt x="164" y="512"/>
                  </a:lnTo>
                  <a:lnTo>
                    <a:pt x="128" y="497"/>
                  </a:lnTo>
                  <a:lnTo>
                    <a:pt x="92" y="476"/>
                  </a:lnTo>
                  <a:lnTo>
                    <a:pt x="55" y="450"/>
                  </a:lnTo>
                  <a:lnTo>
                    <a:pt x="0" y="521"/>
                  </a:lnTo>
                  <a:lnTo>
                    <a:pt x="34" y="547"/>
                  </a:lnTo>
                  <a:lnTo>
                    <a:pt x="73" y="571"/>
                  </a:lnTo>
                  <a:lnTo>
                    <a:pt x="114" y="588"/>
                  </a:lnTo>
                  <a:lnTo>
                    <a:pt x="157" y="601"/>
                  </a:lnTo>
                  <a:lnTo>
                    <a:pt x="200" y="609"/>
                  </a:lnTo>
                  <a:lnTo>
                    <a:pt x="200" y="665"/>
                  </a:lnTo>
                  <a:lnTo>
                    <a:pt x="248" y="665"/>
                  </a:lnTo>
                  <a:lnTo>
                    <a:pt x="248" y="673"/>
                  </a:lnTo>
                  <a:close/>
                  <a:moveTo>
                    <a:pt x="248" y="386"/>
                  </a:moveTo>
                  <a:lnTo>
                    <a:pt x="270" y="393"/>
                  </a:lnTo>
                  <a:lnTo>
                    <a:pt x="288" y="401"/>
                  </a:lnTo>
                  <a:lnTo>
                    <a:pt x="302" y="410"/>
                  </a:lnTo>
                  <a:lnTo>
                    <a:pt x="312" y="417"/>
                  </a:lnTo>
                  <a:lnTo>
                    <a:pt x="318" y="424"/>
                  </a:lnTo>
                  <a:lnTo>
                    <a:pt x="322" y="434"/>
                  </a:lnTo>
                  <a:lnTo>
                    <a:pt x="326" y="448"/>
                  </a:lnTo>
                  <a:lnTo>
                    <a:pt x="328" y="465"/>
                  </a:lnTo>
                  <a:lnTo>
                    <a:pt x="325" y="481"/>
                  </a:lnTo>
                  <a:lnTo>
                    <a:pt x="316" y="497"/>
                  </a:lnTo>
                  <a:lnTo>
                    <a:pt x="304" y="514"/>
                  </a:lnTo>
                  <a:lnTo>
                    <a:pt x="291" y="524"/>
                  </a:lnTo>
                  <a:lnTo>
                    <a:pt x="278" y="531"/>
                  </a:lnTo>
                  <a:lnTo>
                    <a:pt x="261" y="536"/>
                  </a:lnTo>
                  <a:lnTo>
                    <a:pt x="240" y="537"/>
                  </a:lnTo>
                  <a:lnTo>
                    <a:pt x="240" y="386"/>
                  </a:lnTo>
                  <a:lnTo>
                    <a:pt x="248" y="386"/>
                  </a:lnTo>
                  <a:close/>
                  <a:moveTo>
                    <a:pt x="136" y="241"/>
                  </a:moveTo>
                  <a:lnTo>
                    <a:pt x="128" y="231"/>
                  </a:lnTo>
                  <a:lnTo>
                    <a:pt x="122" y="217"/>
                  </a:lnTo>
                  <a:lnTo>
                    <a:pt x="120" y="201"/>
                  </a:lnTo>
                  <a:lnTo>
                    <a:pt x="122" y="185"/>
                  </a:lnTo>
                  <a:lnTo>
                    <a:pt x="130" y="169"/>
                  </a:lnTo>
                  <a:lnTo>
                    <a:pt x="143" y="153"/>
                  </a:lnTo>
                  <a:lnTo>
                    <a:pt x="156" y="144"/>
                  </a:lnTo>
                  <a:lnTo>
                    <a:pt x="168" y="138"/>
                  </a:lnTo>
                  <a:lnTo>
                    <a:pt x="182" y="134"/>
                  </a:lnTo>
                  <a:lnTo>
                    <a:pt x="200" y="130"/>
                  </a:lnTo>
                  <a:lnTo>
                    <a:pt x="200" y="273"/>
                  </a:lnTo>
                  <a:lnTo>
                    <a:pt x="177" y="262"/>
                  </a:lnTo>
                  <a:lnTo>
                    <a:pt x="158" y="254"/>
                  </a:lnTo>
                  <a:lnTo>
                    <a:pt x="144" y="247"/>
                  </a:lnTo>
                  <a:lnTo>
                    <a:pt x="136" y="24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5"/>
            <p:cNvSpPr>
              <a:spLocks noEditPoints="1"/>
            </p:cNvSpPr>
            <p:nvPr/>
          </p:nvSpPr>
          <p:spPr bwMode="auto">
            <a:xfrm>
              <a:off x="-475" y="2441"/>
              <a:ext cx="73" cy="111"/>
            </a:xfrm>
            <a:custGeom>
              <a:avLst/>
              <a:gdLst>
                <a:gd name="T0" fmla="*/ 200 w 440"/>
                <a:gd name="T1" fmla="*/ 39 h 664"/>
                <a:gd name="T2" fmla="*/ 140 w 440"/>
                <a:gd name="T3" fmla="*/ 48 h 664"/>
                <a:gd name="T4" fmla="*/ 92 w 440"/>
                <a:gd name="T5" fmla="*/ 71 h 664"/>
                <a:gd name="T6" fmla="*/ 51 w 440"/>
                <a:gd name="T7" fmla="*/ 114 h 664"/>
                <a:gd name="T8" fmla="*/ 27 w 440"/>
                <a:gd name="T9" fmla="*/ 170 h 664"/>
                <a:gd name="T10" fmla="*/ 25 w 440"/>
                <a:gd name="T11" fmla="*/ 227 h 664"/>
                <a:gd name="T12" fmla="*/ 39 w 440"/>
                <a:gd name="T13" fmla="*/ 271 h 664"/>
                <a:gd name="T14" fmla="*/ 64 w 440"/>
                <a:gd name="T15" fmla="*/ 304 h 664"/>
                <a:gd name="T16" fmla="*/ 120 w 440"/>
                <a:gd name="T17" fmla="*/ 335 h 664"/>
                <a:gd name="T18" fmla="*/ 200 w 440"/>
                <a:gd name="T19" fmla="*/ 359 h 664"/>
                <a:gd name="T20" fmla="*/ 164 w 440"/>
                <a:gd name="T21" fmla="*/ 511 h 664"/>
                <a:gd name="T22" fmla="*/ 92 w 440"/>
                <a:gd name="T23" fmla="*/ 475 h 664"/>
                <a:gd name="T24" fmla="*/ 0 w 440"/>
                <a:gd name="T25" fmla="*/ 520 h 664"/>
                <a:gd name="T26" fmla="*/ 74 w 440"/>
                <a:gd name="T27" fmla="*/ 569 h 664"/>
                <a:gd name="T28" fmla="*/ 157 w 440"/>
                <a:gd name="T29" fmla="*/ 600 h 664"/>
                <a:gd name="T30" fmla="*/ 200 w 440"/>
                <a:gd name="T31" fmla="*/ 664 h 664"/>
                <a:gd name="T32" fmla="*/ 256 w 440"/>
                <a:gd name="T33" fmla="*/ 608 h 664"/>
                <a:gd name="T34" fmla="*/ 319 w 440"/>
                <a:gd name="T35" fmla="*/ 600 h 664"/>
                <a:gd name="T36" fmla="*/ 371 w 440"/>
                <a:gd name="T37" fmla="*/ 577 h 664"/>
                <a:gd name="T38" fmla="*/ 413 w 440"/>
                <a:gd name="T39" fmla="*/ 534 h 664"/>
                <a:gd name="T40" fmla="*/ 438 w 440"/>
                <a:gd name="T41" fmla="*/ 475 h 664"/>
                <a:gd name="T42" fmla="*/ 439 w 440"/>
                <a:gd name="T43" fmla="*/ 413 h 664"/>
                <a:gd name="T44" fmla="*/ 423 w 440"/>
                <a:gd name="T45" fmla="*/ 368 h 664"/>
                <a:gd name="T46" fmla="*/ 392 w 440"/>
                <a:gd name="T47" fmla="*/ 328 h 664"/>
                <a:gd name="T48" fmla="*/ 358 w 440"/>
                <a:gd name="T49" fmla="*/ 305 h 664"/>
                <a:gd name="T50" fmla="*/ 313 w 440"/>
                <a:gd name="T51" fmla="*/ 285 h 664"/>
                <a:gd name="T52" fmla="*/ 256 w 440"/>
                <a:gd name="T53" fmla="*/ 272 h 664"/>
                <a:gd name="T54" fmla="*/ 296 w 440"/>
                <a:gd name="T55" fmla="*/ 130 h 664"/>
                <a:gd name="T56" fmla="*/ 376 w 440"/>
                <a:gd name="T57" fmla="*/ 169 h 664"/>
                <a:gd name="T58" fmla="*/ 374 w 440"/>
                <a:gd name="T59" fmla="*/ 78 h 664"/>
                <a:gd name="T60" fmla="*/ 290 w 440"/>
                <a:gd name="T61" fmla="*/ 48 h 664"/>
                <a:gd name="T62" fmla="*/ 248 w 440"/>
                <a:gd name="T63" fmla="*/ 0 h 664"/>
                <a:gd name="T64" fmla="*/ 200 w 440"/>
                <a:gd name="T65" fmla="*/ 272 h 664"/>
                <a:gd name="T66" fmla="*/ 162 w 440"/>
                <a:gd name="T67" fmla="*/ 259 h 664"/>
                <a:gd name="T68" fmla="*/ 136 w 440"/>
                <a:gd name="T69" fmla="*/ 240 h 664"/>
                <a:gd name="T70" fmla="*/ 122 w 440"/>
                <a:gd name="T71" fmla="*/ 215 h 664"/>
                <a:gd name="T72" fmla="*/ 122 w 440"/>
                <a:gd name="T73" fmla="*/ 184 h 664"/>
                <a:gd name="T74" fmla="*/ 144 w 440"/>
                <a:gd name="T75" fmla="*/ 152 h 664"/>
                <a:gd name="T76" fmla="*/ 169 w 440"/>
                <a:gd name="T77" fmla="*/ 137 h 664"/>
                <a:gd name="T78" fmla="*/ 200 w 440"/>
                <a:gd name="T79" fmla="*/ 128 h 664"/>
                <a:gd name="T80" fmla="*/ 312 w 440"/>
                <a:gd name="T81" fmla="*/ 416 h 664"/>
                <a:gd name="T82" fmla="*/ 324 w 440"/>
                <a:gd name="T83" fmla="*/ 434 h 664"/>
                <a:gd name="T84" fmla="*/ 328 w 440"/>
                <a:gd name="T85" fmla="*/ 464 h 664"/>
                <a:gd name="T86" fmla="*/ 318 w 440"/>
                <a:gd name="T87" fmla="*/ 496 h 664"/>
                <a:gd name="T88" fmla="*/ 292 w 440"/>
                <a:gd name="T89" fmla="*/ 522 h 664"/>
                <a:gd name="T90" fmla="*/ 262 w 440"/>
                <a:gd name="T91" fmla="*/ 534 h 664"/>
                <a:gd name="T92" fmla="*/ 240 w 440"/>
                <a:gd name="T93" fmla="*/ 392 h 664"/>
                <a:gd name="T94" fmla="*/ 289 w 440"/>
                <a:gd name="T95" fmla="*/ 404 h 664"/>
                <a:gd name="T96" fmla="*/ 312 w 440"/>
                <a:gd name="T97" fmla="*/ 41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40" h="664">
                  <a:moveTo>
                    <a:pt x="200" y="0"/>
                  </a:moveTo>
                  <a:lnTo>
                    <a:pt x="200" y="39"/>
                  </a:lnTo>
                  <a:lnTo>
                    <a:pt x="169" y="42"/>
                  </a:lnTo>
                  <a:lnTo>
                    <a:pt x="140" y="48"/>
                  </a:lnTo>
                  <a:lnTo>
                    <a:pt x="115" y="57"/>
                  </a:lnTo>
                  <a:lnTo>
                    <a:pt x="92" y="71"/>
                  </a:lnTo>
                  <a:lnTo>
                    <a:pt x="72" y="88"/>
                  </a:lnTo>
                  <a:lnTo>
                    <a:pt x="51" y="114"/>
                  </a:lnTo>
                  <a:lnTo>
                    <a:pt x="36" y="141"/>
                  </a:lnTo>
                  <a:lnTo>
                    <a:pt x="27" y="170"/>
                  </a:lnTo>
                  <a:lnTo>
                    <a:pt x="24" y="200"/>
                  </a:lnTo>
                  <a:lnTo>
                    <a:pt x="25" y="227"/>
                  </a:lnTo>
                  <a:lnTo>
                    <a:pt x="31" y="250"/>
                  </a:lnTo>
                  <a:lnTo>
                    <a:pt x="39" y="271"/>
                  </a:lnTo>
                  <a:lnTo>
                    <a:pt x="51" y="288"/>
                  </a:lnTo>
                  <a:lnTo>
                    <a:pt x="64" y="304"/>
                  </a:lnTo>
                  <a:lnTo>
                    <a:pt x="90" y="321"/>
                  </a:lnTo>
                  <a:lnTo>
                    <a:pt x="120" y="335"/>
                  </a:lnTo>
                  <a:lnTo>
                    <a:pt x="156" y="348"/>
                  </a:lnTo>
                  <a:lnTo>
                    <a:pt x="200" y="359"/>
                  </a:lnTo>
                  <a:lnTo>
                    <a:pt x="200" y="520"/>
                  </a:lnTo>
                  <a:lnTo>
                    <a:pt x="164" y="511"/>
                  </a:lnTo>
                  <a:lnTo>
                    <a:pt x="128" y="496"/>
                  </a:lnTo>
                  <a:lnTo>
                    <a:pt x="92" y="475"/>
                  </a:lnTo>
                  <a:lnTo>
                    <a:pt x="56" y="448"/>
                  </a:lnTo>
                  <a:lnTo>
                    <a:pt x="0" y="520"/>
                  </a:lnTo>
                  <a:lnTo>
                    <a:pt x="35" y="547"/>
                  </a:lnTo>
                  <a:lnTo>
                    <a:pt x="74" y="569"/>
                  </a:lnTo>
                  <a:lnTo>
                    <a:pt x="115" y="587"/>
                  </a:lnTo>
                  <a:lnTo>
                    <a:pt x="157" y="600"/>
                  </a:lnTo>
                  <a:lnTo>
                    <a:pt x="200" y="608"/>
                  </a:lnTo>
                  <a:lnTo>
                    <a:pt x="200" y="664"/>
                  </a:lnTo>
                  <a:lnTo>
                    <a:pt x="256" y="664"/>
                  </a:lnTo>
                  <a:lnTo>
                    <a:pt x="256" y="608"/>
                  </a:lnTo>
                  <a:lnTo>
                    <a:pt x="289" y="606"/>
                  </a:lnTo>
                  <a:lnTo>
                    <a:pt x="319" y="600"/>
                  </a:lnTo>
                  <a:lnTo>
                    <a:pt x="347" y="591"/>
                  </a:lnTo>
                  <a:lnTo>
                    <a:pt x="371" y="577"/>
                  </a:lnTo>
                  <a:lnTo>
                    <a:pt x="392" y="560"/>
                  </a:lnTo>
                  <a:lnTo>
                    <a:pt x="413" y="534"/>
                  </a:lnTo>
                  <a:lnTo>
                    <a:pt x="429" y="506"/>
                  </a:lnTo>
                  <a:lnTo>
                    <a:pt x="438" y="475"/>
                  </a:lnTo>
                  <a:lnTo>
                    <a:pt x="440" y="440"/>
                  </a:lnTo>
                  <a:lnTo>
                    <a:pt x="439" y="413"/>
                  </a:lnTo>
                  <a:lnTo>
                    <a:pt x="433" y="389"/>
                  </a:lnTo>
                  <a:lnTo>
                    <a:pt x="423" y="368"/>
                  </a:lnTo>
                  <a:lnTo>
                    <a:pt x="410" y="348"/>
                  </a:lnTo>
                  <a:lnTo>
                    <a:pt x="392" y="328"/>
                  </a:lnTo>
                  <a:lnTo>
                    <a:pt x="376" y="316"/>
                  </a:lnTo>
                  <a:lnTo>
                    <a:pt x="358" y="305"/>
                  </a:lnTo>
                  <a:lnTo>
                    <a:pt x="337" y="294"/>
                  </a:lnTo>
                  <a:lnTo>
                    <a:pt x="313" y="285"/>
                  </a:lnTo>
                  <a:lnTo>
                    <a:pt x="286" y="277"/>
                  </a:lnTo>
                  <a:lnTo>
                    <a:pt x="256" y="272"/>
                  </a:lnTo>
                  <a:lnTo>
                    <a:pt x="256" y="120"/>
                  </a:lnTo>
                  <a:lnTo>
                    <a:pt x="296" y="130"/>
                  </a:lnTo>
                  <a:lnTo>
                    <a:pt x="337" y="146"/>
                  </a:lnTo>
                  <a:lnTo>
                    <a:pt x="376" y="169"/>
                  </a:lnTo>
                  <a:lnTo>
                    <a:pt x="417" y="103"/>
                  </a:lnTo>
                  <a:lnTo>
                    <a:pt x="374" y="78"/>
                  </a:lnTo>
                  <a:lnTo>
                    <a:pt x="332" y="60"/>
                  </a:lnTo>
                  <a:lnTo>
                    <a:pt x="290" y="48"/>
                  </a:lnTo>
                  <a:lnTo>
                    <a:pt x="248" y="39"/>
                  </a:lnTo>
                  <a:lnTo>
                    <a:pt x="248" y="0"/>
                  </a:lnTo>
                  <a:lnTo>
                    <a:pt x="200" y="0"/>
                  </a:lnTo>
                  <a:close/>
                  <a:moveTo>
                    <a:pt x="200" y="272"/>
                  </a:moveTo>
                  <a:lnTo>
                    <a:pt x="179" y="266"/>
                  </a:lnTo>
                  <a:lnTo>
                    <a:pt x="162" y="259"/>
                  </a:lnTo>
                  <a:lnTo>
                    <a:pt x="148" y="251"/>
                  </a:lnTo>
                  <a:lnTo>
                    <a:pt x="136" y="240"/>
                  </a:lnTo>
                  <a:lnTo>
                    <a:pt x="128" y="229"/>
                  </a:lnTo>
                  <a:lnTo>
                    <a:pt x="122" y="215"/>
                  </a:lnTo>
                  <a:lnTo>
                    <a:pt x="120" y="200"/>
                  </a:lnTo>
                  <a:lnTo>
                    <a:pt x="122" y="184"/>
                  </a:lnTo>
                  <a:lnTo>
                    <a:pt x="130" y="169"/>
                  </a:lnTo>
                  <a:lnTo>
                    <a:pt x="144" y="152"/>
                  </a:lnTo>
                  <a:lnTo>
                    <a:pt x="156" y="143"/>
                  </a:lnTo>
                  <a:lnTo>
                    <a:pt x="169" y="137"/>
                  </a:lnTo>
                  <a:lnTo>
                    <a:pt x="184" y="133"/>
                  </a:lnTo>
                  <a:lnTo>
                    <a:pt x="200" y="128"/>
                  </a:lnTo>
                  <a:lnTo>
                    <a:pt x="200" y="272"/>
                  </a:lnTo>
                  <a:close/>
                  <a:moveTo>
                    <a:pt x="312" y="416"/>
                  </a:moveTo>
                  <a:lnTo>
                    <a:pt x="318" y="423"/>
                  </a:lnTo>
                  <a:lnTo>
                    <a:pt x="324" y="434"/>
                  </a:lnTo>
                  <a:lnTo>
                    <a:pt x="327" y="448"/>
                  </a:lnTo>
                  <a:lnTo>
                    <a:pt x="328" y="464"/>
                  </a:lnTo>
                  <a:lnTo>
                    <a:pt x="326" y="480"/>
                  </a:lnTo>
                  <a:lnTo>
                    <a:pt x="318" y="496"/>
                  </a:lnTo>
                  <a:lnTo>
                    <a:pt x="304" y="512"/>
                  </a:lnTo>
                  <a:lnTo>
                    <a:pt x="292" y="522"/>
                  </a:lnTo>
                  <a:lnTo>
                    <a:pt x="278" y="530"/>
                  </a:lnTo>
                  <a:lnTo>
                    <a:pt x="262" y="534"/>
                  </a:lnTo>
                  <a:lnTo>
                    <a:pt x="240" y="536"/>
                  </a:lnTo>
                  <a:lnTo>
                    <a:pt x="240" y="392"/>
                  </a:lnTo>
                  <a:lnTo>
                    <a:pt x="268" y="398"/>
                  </a:lnTo>
                  <a:lnTo>
                    <a:pt x="289" y="404"/>
                  </a:lnTo>
                  <a:lnTo>
                    <a:pt x="303" y="409"/>
                  </a:lnTo>
                  <a:lnTo>
                    <a:pt x="312" y="41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3854621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DRAFTING AN EFFECTIVE MARITAL AGREEMENT (CHOICE OF LAW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14</a:t>
            </a:fld>
            <a:endParaRPr lang="en-US"/>
          </a:p>
        </p:txBody>
      </p:sp>
      <p:grpSp>
        <p:nvGrpSpPr>
          <p:cNvPr id="5" name="Group 4"/>
          <p:cNvGrpSpPr/>
          <p:nvPr/>
        </p:nvGrpSpPr>
        <p:grpSpPr>
          <a:xfrm>
            <a:off x="842357" y="1761607"/>
            <a:ext cx="1979227" cy="1826312"/>
            <a:chOff x="4012187" y="3481172"/>
            <a:chExt cx="1979227" cy="1826312"/>
          </a:xfrm>
        </p:grpSpPr>
        <p:grpSp>
          <p:nvGrpSpPr>
            <p:cNvPr id="6" name="Group 5"/>
            <p:cNvGrpSpPr/>
            <p:nvPr/>
          </p:nvGrpSpPr>
          <p:grpSpPr>
            <a:xfrm rot="11008482" flipV="1">
              <a:off x="4153069" y="3481172"/>
              <a:ext cx="1697463" cy="1697467"/>
              <a:chOff x="5213731" y="1167461"/>
              <a:chExt cx="1268446" cy="1268446"/>
            </a:xfrm>
            <a:effectLst>
              <a:outerShdw blurRad="139700" dist="76200" dir="21540000" algn="t" rotWithShape="0">
                <a:prstClr val="black">
                  <a:alpha val="35000"/>
                </a:prstClr>
              </a:outerShdw>
            </a:effectLst>
          </p:grpSpPr>
          <p:sp>
            <p:nvSpPr>
              <p:cNvPr id="9" name="Oval 8"/>
              <p:cNvSpPr/>
              <p:nvPr/>
            </p:nvSpPr>
            <p:spPr>
              <a:xfrm rot="11008482">
                <a:off x="5213731" y="1167461"/>
                <a:ext cx="1268446" cy="126844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1" name="Oval 10"/>
              <p:cNvSpPr/>
              <p:nvPr/>
            </p:nvSpPr>
            <p:spPr>
              <a:xfrm rot="11008482">
                <a:off x="5318066" y="1271797"/>
                <a:ext cx="1059776" cy="1059776"/>
              </a:xfrm>
              <a:prstGeom prst="ellipse">
                <a:avLst/>
              </a:prstGeom>
              <a:solidFill>
                <a:srgbClr val="00569B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218" t="38000" r="12694" b="37524"/>
            <a:stretch/>
          </p:blipFill>
          <p:spPr>
            <a:xfrm>
              <a:off x="4034640" y="4782251"/>
              <a:ext cx="1934321" cy="142121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4012187" y="4818884"/>
              <a:ext cx="1979227" cy="488600"/>
            </a:xfrm>
            <a:prstGeom prst="rect">
              <a:avLst/>
            </a:prstGeom>
            <a:solidFill>
              <a:srgbClr val="F4F4F4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8875116" y="1761607"/>
            <a:ext cx="1979227" cy="1826312"/>
            <a:chOff x="4012187" y="3481172"/>
            <a:chExt cx="1979227" cy="1826312"/>
          </a:xfrm>
        </p:grpSpPr>
        <p:grpSp>
          <p:nvGrpSpPr>
            <p:cNvPr id="14" name="Group 13"/>
            <p:cNvGrpSpPr/>
            <p:nvPr/>
          </p:nvGrpSpPr>
          <p:grpSpPr>
            <a:xfrm rot="11008482" flipV="1">
              <a:off x="4153069" y="3481172"/>
              <a:ext cx="1697463" cy="1697467"/>
              <a:chOff x="5213731" y="1167461"/>
              <a:chExt cx="1268446" cy="1268446"/>
            </a:xfrm>
            <a:effectLst>
              <a:outerShdw blurRad="139700" dist="76200" dir="21540000" algn="t" rotWithShape="0">
                <a:prstClr val="black">
                  <a:alpha val="35000"/>
                </a:prstClr>
              </a:outerShdw>
            </a:effectLst>
          </p:grpSpPr>
          <p:sp>
            <p:nvSpPr>
              <p:cNvPr id="17" name="Oval 16"/>
              <p:cNvSpPr/>
              <p:nvPr/>
            </p:nvSpPr>
            <p:spPr>
              <a:xfrm rot="11008482">
                <a:off x="5213731" y="1167461"/>
                <a:ext cx="1268446" cy="126844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Oval 18"/>
              <p:cNvSpPr/>
              <p:nvPr/>
            </p:nvSpPr>
            <p:spPr>
              <a:xfrm rot="11008482">
                <a:off x="5318066" y="1271797"/>
                <a:ext cx="1059776" cy="1059776"/>
              </a:xfrm>
              <a:prstGeom prst="ellipse">
                <a:avLst/>
              </a:prstGeom>
              <a:solidFill>
                <a:srgbClr val="00569B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15" name="Picture 14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218" t="38000" r="12694" b="37524"/>
            <a:stretch/>
          </p:blipFill>
          <p:spPr>
            <a:xfrm>
              <a:off x="4034640" y="4782251"/>
              <a:ext cx="1934321" cy="142121"/>
            </a:xfrm>
            <a:prstGeom prst="rect">
              <a:avLst/>
            </a:prstGeom>
          </p:spPr>
        </p:pic>
        <p:sp>
          <p:nvSpPr>
            <p:cNvPr id="16" name="Rectangle 15"/>
            <p:cNvSpPr/>
            <p:nvPr/>
          </p:nvSpPr>
          <p:spPr>
            <a:xfrm>
              <a:off x="4012187" y="4818884"/>
              <a:ext cx="1979227" cy="488600"/>
            </a:xfrm>
            <a:prstGeom prst="rect">
              <a:avLst/>
            </a:prstGeom>
            <a:solidFill>
              <a:srgbClr val="E8E8E8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858736" y="1761607"/>
            <a:ext cx="1979227" cy="1826312"/>
            <a:chOff x="4012187" y="3481172"/>
            <a:chExt cx="1979227" cy="1826312"/>
          </a:xfrm>
        </p:grpSpPr>
        <p:grpSp>
          <p:nvGrpSpPr>
            <p:cNvPr id="22" name="Group 21"/>
            <p:cNvGrpSpPr/>
            <p:nvPr/>
          </p:nvGrpSpPr>
          <p:grpSpPr>
            <a:xfrm rot="11008482" flipV="1">
              <a:off x="4153069" y="3481172"/>
              <a:ext cx="1697463" cy="1697467"/>
              <a:chOff x="5213731" y="1167461"/>
              <a:chExt cx="1268446" cy="1268446"/>
            </a:xfrm>
            <a:effectLst>
              <a:outerShdw blurRad="139700" dist="76200" dir="21540000" algn="t" rotWithShape="0">
                <a:prstClr val="black">
                  <a:alpha val="35000"/>
                </a:prstClr>
              </a:outerShdw>
            </a:effectLst>
          </p:grpSpPr>
          <p:sp>
            <p:nvSpPr>
              <p:cNvPr id="25" name="Oval 24"/>
              <p:cNvSpPr/>
              <p:nvPr/>
            </p:nvSpPr>
            <p:spPr>
              <a:xfrm rot="11008482">
                <a:off x="5213731" y="1167461"/>
                <a:ext cx="1268446" cy="1268446"/>
              </a:xfrm>
              <a:prstGeom prst="ellipse">
                <a:avLst/>
              </a:prstGeom>
              <a:solidFill>
                <a:sysClr val="window" lastClr="FFFFFF">
                  <a:lumMod val="95000"/>
                </a:sys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Oval 26"/>
              <p:cNvSpPr/>
              <p:nvPr/>
            </p:nvSpPr>
            <p:spPr>
              <a:xfrm rot="11008482">
                <a:off x="5318066" y="1271797"/>
                <a:ext cx="1059776" cy="1059776"/>
              </a:xfrm>
              <a:prstGeom prst="ellipse">
                <a:avLst/>
              </a:prstGeom>
              <a:solidFill>
                <a:srgbClr val="26867C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0" cap="none" spc="0" normalizeH="0" baseline="0" noProof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23" name="Picture 22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2218" t="38000" r="12694" b="37524"/>
            <a:stretch/>
          </p:blipFill>
          <p:spPr>
            <a:xfrm>
              <a:off x="4034640" y="4782251"/>
              <a:ext cx="1934321" cy="142121"/>
            </a:xfrm>
            <a:prstGeom prst="rect">
              <a:avLst/>
            </a:prstGeom>
          </p:spPr>
        </p:pic>
        <p:sp>
          <p:nvSpPr>
            <p:cNvPr id="24" name="Rectangle 23"/>
            <p:cNvSpPr/>
            <p:nvPr/>
          </p:nvSpPr>
          <p:spPr>
            <a:xfrm>
              <a:off x="4012187" y="4818884"/>
              <a:ext cx="1979227" cy="488600"/>
            </a:xfrm>
            <a:prstGeom prst="rect">
              <a:avLst/>
            </a:prstGeom>
            <a:gradFill flip="none" rotWithShape="1">
              <a:gsLst>
                <a:gs pos="0">
                  <a:srgbClr val="F2F2F2"/>
                </a:gs>
                <a:gs pos="100000">
                  <a:srgbClr val="FFFFFF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29" name="Straight Connector 28"/>
          <p:cNvCxnSpPr/>
          <p:nvPr/>
        </p:nvCxnSpPr>
        <p:spPr>
          <a:xfrm>
            <a:off x="7856539" y="1739898"/>
            <a:ext cx="0" cy="2876598"/>
          </a:xfrm>
          <a:prstGeom prst="line">
            <a:avLst/>
          </a:prstGeom>
          <a:noFill/>
          <a:ln w="6350" cap="flat" cmpd="sng" algn="ctr">
            <a:gradFill>
              <a:gsLst>
                <a:gs pos="0">
                  <a:sysClr val="window" lastClr="FFFFFF"/>
                </a:gs>
                <a:gs pos="50000">
                  <a:sysClr val="window" lastClr="FFFFFF">
                    <a:lumMod val="65000"/>
                  </a:sysClr>
                </a:gs>
                <a:gs pos="100000">
                  <a:sysClr val="window" lastClr="FFFFFF"/>
                </a:gs>
              </a:gsLst>
              <a:lin ang="5400000" scaled="1"/>
            </a:gradFill>
            <a:prstDash val="sysDash"/>
            <a:miter lim="800000"/>
          </a:ln>
          <a:effectLst/>
        </p:spPr>
      </p:cxnSp>
      <p:cxnSp>
        <p:nvCxnSpPr>
          <p:cNvPr id="30" name="Straight Connector 29"/>
          <p:cNvCxnSpPr/>
          <p:nvPr/>
        </p:nvCxnSpPr>
        <p:spPr>
          <a:xfrm>
            <a:off x="3840160" y="1739898"/>
            <a:ext cx="0" cy="2876598"/>
          </a:xfrm>
          <a:prstGeom prst="line">
            <a:avLst/>
          </a:prstGeom>
          <a:noFill/>
          <a:ln w="6350" cap="flat" cmpd="sng" algn="ctr">
            <a:gradFill>
              <a:gsLst>
                <a:gs pos="0">
                  <a:sysClr val="window" lastClr="FFFFFF"/>
                </a:gs>
                <a:gs pos="50000">
                  <a:sysClr val="window" lastClr="FFFFFF">
                    <a:lumMod val="65000"/>
                  </a:sysClr>
                </a:gs>
                <a:gs pos="100000">
                  <a:sysClr val="window" lastClr="FFFFFF"/>
                </a:gs>
              </a:gsLst>
              <a:lin ang="5400000" scaled="1"/>
            </a:gradFill>
            <a:prstDash val="sysDash"/>
            <a:miter lim="800000"/>
          </a:ln>
          <a:effectLst/>
        </p:spPr>
      </p:cxnSp>
      <p:sp>
        <p:nvSpPr>
          <p:cNvPr id="32" name="Rectangle 31"/>
          <p:cNvSpPr/>
          <p:nvPr/>
        </p:nvSpPr>
        <p:spPr>
          <a:xfrm>
            <a:off x="559302" y="3135907"/>
            <a:ext cx="25273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/>
              <a:t>Absence of a uniform analytical approach</a:t>
            </a:r>
          </a:p>
        </p:txBody>
      </p:sp>
      <p:sp>
        <p:nvSpPr>
          <p:cNvPr id="33" name="Rectangle 32"/>
          <p:cNvSpPr/>
          <p:nvPr/>
        </p:nvSpPr>
        <p:spPr>
          <a:xfrm>
            <a:off x="4025739" y="3135907"/>
            <a:ext cx="368925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/>
              <a:t>Challenge with uncertainty as to which jurisdiction in which divorce or death will occur</a:t>
            </a:r>
          </a:p>
        </p:txBody>
      </p:sp>
      <p:sp>
        <p:nvSpPr>
          <p:cNvPr id="34" name="Rectangle 33"/>
          <p:cNvSpPr/>
          <p:nvPr/>
        </p:nvSpPr>
        <p:spPr>
          <a:xfrm>
            <a:off x="8026877" y="3135907"/>
            <a:ext cx="368925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/>
              <a:t>Uniform Premarital act. Contains an express choice of law provision permitting parties to choose law to govern but silent as to matters of validity &amp; enforceability</a:t>
            </a:r>
          </a:p>
        </p:txBody>
      </p:sp>
      <p:sp>
        <p:nvSpPr>
          <p:cNvPr id="35" name="Rectangle 34"/>
          <p:cNvSpPr/>
          <p:nvPr/>
        </p:nvSpPr>
        <p:spPr>
          <a:xfrm>
            <a:off x="2195734" y="5777950"/>
            <a:ext cx="7800533" cy="52322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pPr algn="ctr"/>
            <a:r>
              <a:rPr lang="en-US" sz="2800" b="1" dirty="0">
                <a:solidFill>
                  <a:srgbClr val="00569B"/>
                </a:solidFill>
              </a:rPr>
              <a:t>CONSTRUCTION</a:t>
            </a:r>
            <a:r>
              <a:rPr lang="en-US" sz="2800" b="1" dirty="0"/>
              <a:t>-</a:t>
            </a:r>
            <a:r>
              <a:rPr lang="en-US" sz="2800" b="1" dirty="0">
                <a:solidFill>
                  <a:srgbClr val="26867C"/>
                </a:solidFill>
              </a:rPr>
              <a:t>VALIDITY</a:t>
            </a:r>
            <a:r>
              <a:rPr lang="en-US" sz="2800" b="1" dirty="0"/>
              <a:t>-</a:t>
            </a:r>
            <a:r>
              <a:rPr lang="en-US" sz="2800" b="1" dirty="0">
                <a:solidFill>
                  <a:srgbClr val="00569B"/>
                </a:solidFill>
              </a:rPr>
              <a:t>ENFORCEMENT</a:t>
            </a:r>
          </a:p>
        </p:txBody>
      </p:sp>
      <p:grpSp>
        <p:nvGrpSpPr>
          <p:cNvPr id="37" name="Group 4"/>
          <p:cNvGrpSpPr>
            <a:grpSpLocks noChangeAspect="1"/>
          </p:cNvGrpSpPr>
          <p:nvPr/>
        </p:nvGrpSpPr>
        <p:grpSpPr bwMode="auto">
          <a:xfrm>
            <a:off x="1494791" y="2244234"/>
            <a:ext cx="674359" cy="675671"/>
            <a:chOff x="1111" y="1369"/>
            <a:chExt cx="514" cy="515"/>
          </a:xfrm>
          <a:solidFill>
            <a:schemeClr val="bg1"/>
          </a:solidFill>
        </p:grpSpPr>
        <p:sp>
          <p:nvSpPr>
            <p:cNvPr id="40" name="Freeform 6"/>
            <p:cNvSpPr>
              <a:spLocks noEditPoints="1"/>
            </p:cNvSpPr>
            <p:nvPr/>
          </p:nvSpPr>
          <p:spPr bwMode="auto">
            <a:xfrm>
              <a:off x="1418" y="1685"/>
              <a:ext cx="207" cy="199"/>
            </a:xfrm>
            <a:custGeom>
              <a:avLst/>
              <a:gdLst>
                <a:gd name="T0" fmla="*/ 656 w 1449"/>
                <a:gd name="T1" fmla="*/ 3 h 1393"/>
                <a:gd name="T2" fmla="*/ 521 w 1449"/>
                <a:gd name="T3" fmla="*/ 27 h 1393"/>
                <a:gd name="T4" fmla="*/ 398 w 1449"/>
                <a:gd name="T5" fmla="*/ 74 h 1393"/>
                <a:gd name="T6" fmla="*/ 286 w 1449"/>
                <a:gd name="T7" fmla="*/ 142 h 1393"/>
                <a:gd name="T8" fmla="*/ 190 w 1449"/>
                <a:gd name="T9" fmla="*/ 226 h 1393"/>
                <a:gd name="T10" fmla="*/ 110 w 1449"/>
                <a:gd name="T11" fmla="*/ 327 h 1393"/>
                <a:gd name="T12" fmla="*/ 51 w 1449"/>
                <a:gd name="T13" fmla="*/ 440 h 1393"/>
                <a:gd name="T14" fmla="*/ 13 w 1449"/>
                <a:gd name="T15" fmla="*/ 565 h 1393"/>
                <a:gd name="T16" fmla="*/ 0 w 1449"/>
                <a:gd name="T17" fmla="*/ 696 h 1393"/>
                <a:gd name="T18" fmla="*/ 13 w 1449"/>
                <a:gd name="T19" fmla="*/ 828 h 1393"/>
                <a:gd name="T20" fmla="*/ 51 w 1449"/>
                <a:gd name="T21" fmla="*/ 953 h 1393"/>
                <a:gd name="T22" fmla="*/ 110 w 1449"/>
                <a:gd name="T23" fmla="*/ 1066 h 1393"/>
                <a:gd name="T24" fmla="*/ 190 w 1449"/>
                <a:gd name="T25" fmla="*/ 1166 h 1393"/>
                <a:gd name="T26" fmla="*/ 286 w 1449"/>
                <a:gd name="T27" fmla="*/ 1251 h 1393"/>
                <a:gd name="T28" fmla="*/ 398 w 1449"/>
                <a:gd name="T29" fmla="*/ 1319 h 1393"/>
                <a:gd name="T30" fmla="*/ 521 w 1449"/>
                <a:gd name="T31" fmla="*/ 1366 h 1393"/>
                <a:gd name="T32" fmla="*/ 656 w 1449"/>
                <a:gd name="T33" fmla="*/ 1390 h 1393"/>
                <a:gd name="T34" fmla="*/ 794 w 1449"/>
                <a:gd name="T35" fmla="*/ 1390 h 1393"/>
                <a:gd name="T36" fmla="*/ 928 w 1449"/>
                <a:gd name="T37" fmla="*/ 1366 h 1393"/>
                <a:gd name="T38" fmla="*/ 1051 w 1449"/>
                <a:gd name="T39" fmla="*/ 1319 h 1393"/>
                <a:gd name="T40" fmla="*/ 1162 w 1449"/>
                <a:gd name="T41" fmla="*/ 1251 h 1393"/>
                <a:gd name="T42" fmla="*/ 1260 w 1449"/>
                <a:gd name="T43" fmla="*/ 1166 h 1393"/>
                <a:gd name="T44" fmla="*/ 1338 w 1449"/>
                <a:gd name="T45" fmla="*/ 1066 h 1393"/>
                <a:gd name="T46" fmla="*/ 1398 w 1449"/>
                <a:gd name="T47" fmla="*/ 953 h 1393"/>
                <a:gd name="T48" fmla="*/ 1436 w 1449"/>
                <a:gd name="T49" fmla="*/ 828 h 1393"/>
                <a:gd name="T50" fmla="*/ 1449 w 1449"/>
                <a:gd name="T51" fmla="*/ 697 h 1393"/>
                <a:gd name="T52" fmla="*/ 1436 w 1449"/>
                <a:gd name="T53" fmla="*/ 565 h 1393"/>
                <a:gd name="T54" fmla="*/ 1398 w 1449"/>
                <a:gd name="T55" fmla="*/ 441 h 1393"/>
                <a:gd name="T56" fmla="*/ 1338 w 1449"/>
                <a:gd name="T57" fmla="*/ 327 h 1393"/>
                <a:gd name="T58" fmla="*/ 1260 w 1449"/>
                <a:gd name="T59" fmla="*/ 226 h 1393"/>
                <a:gd name="T60" fmla="*/ 1162 w 1449"/>
                <a:gd name="T61" fmla="*/ 142 h 1393"/>
                <a:gd name="T62" fmla="*/ 1051 w 1449"/>
                <a:gd name="T63" fmla="*/ 74 h 1393"/>
                <a:gd name="T64" fmla="*/ 928 w 1449"/>
                <a:gd name="T65" fmla="*/ 27 h 1393"/>
                <a:gd name="T66" fmla="*/ 794 w 1449"/>
                <a:gd name="T67" fmla="*/ 3 h 1393"/>
                <a:gd name="T68" fmla="*/ 1025 w 1449"/>
                <a:gd name="T69" fmla="*/ 887 h 1393"/>
                <a:gd name="T70" fmla="*/ 1046 w 1449"/>
                <a:gd name="T71" fmla="*/ 922 h 1393"/>
                <a:gd name="T72" fmla="*/ 1046 w 1449"/>
                <a:gd name="T73" fmla="*/ 961 h 1393"/>
                <a:gd name="T74" fmla="*/ 1026 w 1449"/>
                <a:gd name="T75" fmla="*/ 996 h 1393"/>
                <a:gd name="T76" fmla="*/ 991 w 1449"/>
                <a:gd name="T77" fmla="*/ 1015 h 1393"/>
                <a:gd name="T78" fmla="*/ 952 w 1449"/>
                <a:gd name="T79" fmla="*/ 1015 h 1393"/>
                <a:gd name="T80" fmla="*/ 917 w 1449"/>
                <a:gd name="T81" fmla="*/ 996 h 1393"/>
                <a:gd name="T82" fmla="*/ 532 w 1449"/>
                <a:gd name="T83" fmla="*/ 996 h 1393"/>
                <a:gd name="T84" fmla="*/ 498 w 1449"/>
                <a:gd name="T85" fmla="*/ 1015 h 1393"/>
                <a:gd name="T86" fmla="*/ 459 w 1449"/>
                <a:gd name="T87" fmla="*/ 1015 h 1393"/>
                <a:gd name="T88" fmla="*/ 424 w 1449"/>
                <a:gd name="T89" fmla="*/ 996 h 1393"/>
                <a:gd name="T90" fmla="*/ 404 w 1449"/>
                <a:gd name="T91" fmla="*/ 961 h 1393"/>
                <a:gd name="T92" fmla="*/ 404 w 1449"/>
                <a:gd name="T93" fmla="*/ 922 h 1393"/>
                <a:gd name="T94" fmla="*/ 424 w 1449"/>
                <a:gd name="T95" fmla="*/ 887 h 1393"/>
                <a:gd name="T96" fmla="*/ 424 w 1449"/>
                <a:gd name="T97" fmla="*/ 505 h 1393"/>
                <a:gd name="T98" fmla="*/ 404 w 1449"/>
                <a:gd name="T99" fmla="*/ 472 h 1393"/>
                <a:gd name="T100" fmla="*/ 404 w 1449"/>
                <a:gd name="T101" fmla="*/ 432 h 1393"/>
                <a:gd name="T102" fmla="*/ 424 w 1449"/>
                <a:gd name="T103" fmla="*/ 397 h 1393"/>
                <a:gd name="T104" fmla="*/ 459 w 1449"/>
                <a:gd name="T105" fmla="*/ 377 h 1393"/>
                <a:gd name="T106" fmla="*/ 497 w 1449"/>
                <a:gd name="T107" fmla="*/ 377 h 1393"/>
                <a:gd name="T108" fmla="*/ 532 w 1449"/>
                <a:gd name="T109" fmla="*/ 397 h 1393"/>
                <a:gd name="T110" fmla="*/ 917 w 1449"/>
                <a:gd name="T111" fmla="*/ 397 h 1393"/>
                <a:gd name="T112" fmla="*/ 952 w 1449"/>
                <a:gd name="T113" fmla="*/ 377 h 1393"/>
                <a:gd name="T114" fmla="*/ 991 w 1449"/>
                <a:gd name="T115" fmla="*/ 377 h 1393"/>
                <a:gd name="T116" fmla="*/ 1025 w 1449"/>
                <a:gd name="T117" fmla="*/ 397 h 1393"/>
                <a:gd name="T118" fmla="*/ 1046 w 1449"/>
                <a:gd name="T119" fmla="*/ 432 h 1393"/>
                <a:gd name="T120" fmla="*/ 1044 w 1449"/>
                <a:gd name="T121" fmla="*/ 472 h 1393"/>
                <a:gd name="T122" fmla="*/ 1025 w 1449"/>
                <a:gd name="T123" fmla="*/ 505 h 1393"/>
                <a:gd name="T124" fmla="*/ 1025 w 1449"/>
                <a:gd name="T125" fmla="*/ 887 h 1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49" h="1393">
                  <a:moveTo>
                    <a:pt x="724" y="0"/>
                  </a:moveTo>
                  <a:lnTo>
                    <a:pt x="656" y="3"/>
                  </a:lnTo>
                  <a:lnTo>
                    <a:pt x="588" y="12"/>
                  </a:lnTo>
                  <a:lnTo>
                    <a:pt x="521" y="27"/>
                  </a:lnTo>
                  <a:lnTo>
                    <a:pt x="459" y="49"/>
                  </a:lnTo>
                  <a:lnTo>
                    <a:pt x="398" y="74"/>
                  </a:lnTo>
                  <a:lnTo>
                    <a:pt x="341" y="106"/>
                  </a:lnTo>
                  <a:lnTo>
                    <a:pt x="286" y="142"/>
                  </a:lnTo>
                  <a:lnTo>
                    <a:pt x="236" y="183"/>
                  </a:lnTo>
                  <a:lnTo>
                    <a:pt x="190" y="226"/>
                  </a:lnTo>
                  <a:lnTo>
                    <a:pt x="149" y="276"/>
                  </a:lnTo>
                  <a:lnTo>
                    <a:pt x="110" y="327"/>
                  </a:lnTo>
                  <a:lnTo>
                    <a:pt x="79" y="382"/>
                  </a:lnTo>
                  <a:lnTo>
                    <a:pt x="51" y="440"/>
                  </a:lnTo>
                  <a:lnTo>
                    <a:pt x="30" y="501"/>
                  </a:lnTo>
                  <a:lnTo>
                    <a:pt x="13" y="565"/>
                  </a:lnTo>
                  <a:lnTo>
                    <a:pt x="3" y="629"/>
                  </a:lnTo>
                  <a:lnTo>
                    <a:pt x="0" y="696"/>
                  </a:lnTo>
                  <a:lnTo>
                    <a:pt x="3" y="764"/>
                  </a:lnTo>
                  <a:lnTo>
                    <a:pt x="13" y="828"/>
                  </a:lnTo>
                  <a:lnTo>
                    <a:pt x="30" y="892"/>
                  </a:lnTo>
                  <a:lnTo>
                    <a:pt x="51" y="953"/>
                  </a:lnTo>
                  <a:lnTo>
                    <a:pt x="79" y="1011"/>
                  </a:lnTo>
                  <a:lnTo>
                    <a:pt x="110" y="1066"/>
                  </a:lnTo>
                  <a:lnTo>
                    <a:pt x="149" y="1118"/>
                  </a:lnTo>
                  <a:lnTo>
                    <a:pt x="190" y="1166"/>
                  </a:lnTo>
                  <a:lnTo>
                    <a:pt x="236" y="1210"/>
                  </a:lnTo>
                  <a:lnTo>
                    <a:pt x="286" y="1251"/>
                  </a:lnTo>
                  <a:lnTo>
                    <a:pt x="341" y="1287"/>
                  </a:lnTo>
                  <a:lnTo>
                    <a:pt x="398" y="1319"/>
                  </a:lnTo>
                  <a:lnTo>
                    <a:pt x="459" y="1345"/>
                  </a:lnTo>
                  <a:lnTo>
                    <a:pt x="521" y="1366"/>
                  </a:lnTo>
                  <a:lnTo>
                    <a:pt x="588" y="1381"/>
                  </a:lnTo>
                  <a:lnTo>
                    <a:pt x="656" y="1390"/>
                  </a:lnTo>
                  <a:lnTo>
                    <a:pt x="724" y="1393"/>
                  </a:lnTo>
                  <a:lnTo>
                    <a:pt x="794" y="1390"/>
                  </a:lnTo>
                  <a:lnTo>
                    <a:pt x="862" y="1381"/>
                  </a:lnTo>
                  <a:lnTo>
                    <a:pt x="928" y="1366"/>
                  </a:lnTo>
                  <a:lnTo>
                    <a:pt x="991" y="1345"/>
                  </a:lnTo>
                  <a:lnTo>
                    <a:pt x="1051" y="1319"/>
                  </a:lnTo>
                  <a:lnTo>
                    <a:pt x="1109" y="1287"/>
                  </a:lnTo>
                  <a:lnTo>
                    <a:pt x="1162" y="1251"/>
                  </a:lnTo>
                  <a:lnTo>
                    <a:pt x="1213" y="1210"/>
                  </a:lnTo>
                  <a:lnTo>
                    <a:pt x="1260" y="1166"/>
                  </a:lnTo>
                  <a:lnTo>
                    <a:pt x="1301" y="1118"/>
                  </a:lnTo>
                  <a:lnTo>
                    <a:pt x="1338" y="1066"/>
                  </a:lnTo>
                  <a:lnTo>
                    <a:pt x="1371" y="1011"/>
                  </a:lnTo>
                  <a:lnTo>
                    <a:pt x="1398" y="953"/>
                  </a:lnTo>
                  <a:lnTo>
                    <a:pt x="1420" y="892"/>
                  </a:lnTo>
                  <a:lnTo>
                    <a:pt x="1436" y="828"/>
                  </a:lnTo>
                  <a:lnTo>
                    <a:pt x="1445" y="764"/>
                  </a:lnTo>
                  <a:lnTo>
                    <a:pt x="1449" y="697"/>
                  </a:lnTo>
                  <a:lnTo>
                    <a:pt x="1445" y="629"/>
                  </a:lnTo>
                  <a:lnTo>
                    <a:pt x="1436" y="565"/>
                  </a:lnTo>
                  <a:lnTo>
                    <a:pt x="1420" y="501"/>
                  </a:lnTo>
                  <a:lnTo>
                    <a:pt x="1398" y="441"/>
                  </a:lnTo>
                  <a:lnTo>
                    <a:pt x="1371" y="382"/>
                  </a:lnTo>
                  <a:lnTo>
                    <a:pt x="1338" y="327"/>
                  </a:lnTo>
                  <a:lnTo>
                    <a:pt x="1301" y="276"/>
                  </a:lnTo>
                  <a:lnTo>
                    <a:pt x="1260" y="226"/>
                  </a:lnTo>
                  <a:lnTo>
                    <a:pt x="1213" y="183"/>
                  </a:lnTo>
                  <a:lnTo>
                    <a:pt x="1162" y="142"/>
                  </a:lnTo>
                  <a:lnTo>
                    <a:pt x="1109" y="106"/>
                  </a:lnTo>
                  <a:lnTo>
                    <a:pt x="1051" y="74"/>
                  </a:lnTo>
                  <a:lnTo>
                    <a:pt x="991" y="49"/>
                  </a:lnTo>
                  <a:lnTo>
                    <a:pt x="928" y="27"/>
                  </a:lnTo>
                  <a:lnTo>
                    <a:pt x="862" y="12"/>
                  </a:lnTo>
                  <a:lnTo>
                    <a:pt x="794" y="3"/>
                  </a:lnTo>
                  <a:lnTo>
                    <a:pt x="724" y="0"/>
                  </a:lnTo>
                  <a:close/>
                  <a:moveTo>
                    <a:pt x="1025" y="887"/>
                  </a:moveTo>
                  <a:lnTo>
                    <a:pt x="1038" y="904"/>
                  </a:lnTo>
                  <a:lnTo>
                    <a:pt x="1046" y="922"/>
                  </a:lnTo>
                  <a:lnTo>
                    <a:pt x="1048" y="941"/>
                  </a:lnTo>
                  <a:lnTo>
                    <a:pt x="1046" y="961"/>
                  </a:lnTo>
                  <a:lnTo>
                    <a:pt x="1038" y="979"/>
                  </a:lnTo>
                  <a:lnTo>
                    <a:pt x="1026" y="996"/>
                  </a:lnTo>
                  <a:lnTo>
                    <a:pt x="1009" y="1008"/>
                  </a:lnTo>
                  <a:lnTo>
                    <a:pt x="991" y="1015"/>
                  </a:lnTo>
                  <a:lnTo>
                    <a:pt x="971" y="1019"/>
                  </a:lnTo>
                  <a:lnTo>
                    <a:pt x="952" y="1015"/>
                  </a:lnTo>
                  <a:lnTo>
                    <a:pt x="933" y="1009"/>
                  </a:lnTo>
                  <a:lnTo>
                    <a:pt x="917" y="996"/>
                  </a:lnTo>
                  <a:lnTo>
                    <a:pt x="724" y="804"/>
                  </a:lnTo>
                  <a:lnTo>
                    <a:pt x="532" y="996"/>
                  </a:lnTo>
                  <a:lnTo>
                    <a:pt x="516" y="1009"/>
                  </a:lnTo>
                  <a:lnTo>
                    <a:pt x="498" y="1015"/>
                  </a:lnTo>
                  <a:lnTo>
                    <a:pt x="479" y="1019"/>
                  </a:lnTo>
                  <a:lnTo>
                    <a:pt x="459" y="1015"/>
                  </a:lnTo>
                  <a:lnTo>
                    <a:pt x="440" y="1008"/>
                  </a:lnTo>
                  <a:lnTo>
                    <a:pt x="424" y="996"/>
                  </a:lnTo>
                  <a:lnTo>
                    <a:pt x="412" y="979"/>
                  </a:lnTo>
                  <a:lnTo>
                    <a:pt x="404" y="961"/>
                  </a:lnTo>
                  <a:lnTo>
                    <a:pt x="402" y="941"/>
                  </a:lnTo>
                  <a:lnTo>
                    <a:pt x="404" y="922"/>
                  </a:lnTo>
                  <a:lnTo>
                    <a:pt x="412" y="904"/>
                  </a:lnTo>
                  <a:lnTo>
                    <a:pt x="424" y="887"/>
                  </a:lnTo>
                  <a:lnTo>
                    <a:pt x="616" y="697"/>
                  </a:lnTo>
                  <a:lnTo>
                    <a:pt x="424" y="505"/>
                  </a:lnTo>
                  <a:lnTo>
                    <a:pt x="412" y="489"/>
                  </a:lnTo>
                  <a:lnTo>
                    <a:pt x="404" y="472"/>
                  </a:lnTo>
                  <a:lnTo>
                    <a:pt x="402" y="452"/>
                  </a:lnTo>
                  <a:lnTo>
                    <a:pt x="404" y="432"/>
                  </a:lnTo>
                  <a:lnTo>
                    <a:pt x="412" y="413"/>
                  </a:lnTo>
                  <a:lnTo>
                    <a:pt x="424" y="397"/>
                  </a:lnTo>
                  <a:lnTo>
                    <a:pt x="440" y="385"/>
                  </a:lnTo>
                  <a:lnTo>
                    <a:pt x="459" y="377"/>
                  </a:lnTo>
                  <a:lnTo>
                    <a:pt x="479" y="375"/>
                  </a:lnTo>
                  <a:lnTo>
                    <a:pt x="497" y="377"/>
                  </a:lnTo>
                  <a:lnTo>
                    <a:pt x="516" y="385"/>
                  </a:lnTo>
                  <a:lnTo>
                    <a:pt x="532" y="397"/>
                  </a:lnTo>
                  <a:lnTo>
                    <a:pt x="724" y="589"/>
                  </a:lnTo>
                  <a:lnTo>
                    <a:pt x="917" y="397"/>
                  </a:lnTo>
                  <a:lnTo>
                    <a:pt x="933" y="385"/>
                  </a:lnTo>
                  <a:lnTo>
                    <a:pt x="952" y="377"/>
                  </a:lnTo>
                  <a:lnTo>
                    <a:pt x="971" y="375"/>
                  </a:lnTo>
                  <a:lnTo>
                    <a:pt x="991" y="377"/>
                  </a:lnTo>
                  <a:lnTo>
                    <a:pt x="1008" y="385"/>
                  </a:lnTo>
                  <a:lnTo>
                    <a:pt x="1025" y="397"/>
                  </a:lnTo>
                  <a:lnTo>
                    <a:pt x="1038" y="413"/>
                  </a:lnTo>
                  <a:lnTo>
                    <a:pt x="1046" y="432"/>
                  </a:lnTo>
                  <a:lnTo>
                    <a:pt x="1048" y="452"/>
                  </a:lnTo>
                  <a:lnTo>
                    <a:pt x="1044" y="472"/>
                  </a:lnTo>
                  <a:lnTo>
                    <a:pt x="1038" y="489"/>
                  </a:lnTo>
                  <a:lnTo>
                    <a:pt x="1025" y="505"/>
                  </a:lnTo>
                  <a:lnTo>
                    <a:pt x="834" y="697"/>
                  </a:lnTo>
                  <a:lnTo>
                    <a:pt x="1025" y="8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7"/>
            <p:cNvSpPr>
              <a:spLocks noEditPoints="1"/>
            </p:cNvSpPr>
            <p:nvPr/>
          </p:nvSpPr>
          <p:spPr bwMode="auto">
            <a:xfrm>
              <a:off x="1111" y="1369"/>
              <a:ext cx="358" cy="462"/>
            </a:xfrm>
            <a:custGeom>
              <a:avLst/>
              <a:gdLst>
                <a:gd name="T0" fmla="*/ 2010 w 2502"/>
                <a:gd name="T1" fmla="*/ 2767 h 3234"/>
                <a:gd name="T2" fmla="*/ 2071 w 2502"/>
                <a:gd name="T3" fmla="*/ 2567 h 3234"/>
                <a:gd name="T4" fmla="*/ 2178 w 2502"/>
                <a:gd name="T5" fmla="*/ 2393 h 3234"/>
                <a:gd name="T6" fmla="*/ 2324 w 2502"/>
                <a:gd name="T7" fmla="*/ 2248 h 3234"/>
                <a:gd name="T8" fmla="*/ 2502 w 2502"/>
                <a:gd name="T9" fmla="*/ 2141 h 3234"/>
                <a:gd name="T10" fmla="*/ 2492 w 2502"/>
                <a:gd name="T11" fmla="*/ 2 h 3234"/>
                <a:gd name="T12" fmla="*/ 9 w 2502"/>
                <a:gd name="T13" fmla="*/ 2 h 3234"/>
                <a:gd name="T14" fmla="*/ 0 w 2502"/>
                <a:gd name="T15" fmla="*/ 3215 h 3234"/>
                <a:gd name="T16" fmla="*/ 19 w 2502"/>
                <a:gd name="T17" fmla="*/ 3234 h 3234"/>
                <a:gd name="T18" fmla="*/ 2022 w 2502"/>
                <a:gd name="T19" fmla="*/ 3109 h 3234"/>
                <a:gd name="T20" fmla="*/ 1997 w 2502"/>
                <a:gd name="T21" fmla="*/ 2909 h 3234"/>
                <a:gd name="T22" fmla="*/ 1956 w 2502"/>
                <a:gd name="T23" fmla="*/ 532 h 3234"/>
                <a:gd name="T24" fmla="*/ 2002 w 2502"/>
                <a:gd name="T25" fmla="*/ 568 h 3234"/>
                <a:gd name="T26" fmla="*/ 2009 w 2502"/>
                <a:gd name="T27" fmla="*/ 627 h 3234"/>
                <a:gd name="T28" fmla="*/ 1973 w 2502"/>
                <a:gd name="T29" fmla="*/ 673 h 3234"/>
                <a:gd name="T30" fmla="*/ 566 w 2502"/>
                <a:gd name="T31" fmla="*/ 683 h 3234"/>
                <a:gd name="T32" fmla="*/ 513 w 2502"/>
                <a:gd name="T33" fmla="*/ 661 h 3234"/>
                <a:gd name="T34" fmla="*/ 490 w 2502"/>
                <a:gd name="T35" fmla="*/ 606 h 3234"/>
                <a:gd name="T36" fmla="*/ 513 w 2502"/>
                <a:gd name="T37" fmla="*/ 553 h 3234"/>
                <a:gd name="T38" fmla="*/ 566 w 2502"/>
                <a:gd name="T39" fmla="*/ 530 h 3234"/>
                <a:gd name="T40" fmla="*/ 1956 w 2502"/>
                <a:gd name="T41" fmla="*/ 1038 h 3234"/>
                <a:gd name="T42" fmla="*/ 2002 w 2502"/>
                <a:gd name="T43" fmla="*/ 1073 h 3234"/>
                <a:gd name="T44" fmla="*/ 2009 w 2502"/>
                <a:gd name="T45" fmla="*/ 1132 h 3234"/>
                <a:gd name="T46" fmla="*/ 1973 w 2502"/>
                <a:gd name="T47" fmla="*/ 1178 h 3234"/>
                <a:gd name="T48" fmla="*/ 566 w 2502"/>
                <a:gd name="T49" fmla="*/ 1189 h 3234"/>
                <a:gd name="T50" fmla="*/ 513 w 2502"/>
                <a:gd name="T51" fmla="*/ 1166 h 3234"/>
                <a:gd name="T52" fmla="*/ 490 w 2502"/>
                <a:gd name="T53" fmla="*/ 1112 h 3234"/>
                <a:gd name="T54" fmla="*/ 513 w 2502"/>
                <a:gd name="T55" fmla="*/ 1057 h 3234"/>
                <a:gd name="T56" fmla="*/ 566 w 2502"/>
                <a:gd name="T57" fmla="*/ 1035 h 3234"/>
                <a:gd name="T58" fmla="*/ 1956 w 2502"/>
                <a:gd name="T59" fmla="*/ 1543 h 3234"/>
                <a:gd name="T60" fmla="*/ 2002 w 2502"/>
                <a:gd name="T61" fmla="*/ 1578 h 3234"/>
                <a:gd name="T62" fmla="*/ 2009 w 2502"/>
                <a:gd name="T63" fmla="*/ 1637 h 3234"/>
                <a:gd name="T64" fmla="*/ 1973 w 2502"/>
                <a:gd name="T65" fmla="*/ 1683 h 3234"/>
                <a:gd name="T66" fmla="*/ 566 w 2502"/>
                <a:gd name="T67" fmla="*/ 1694 h 3234"/>
                <a:gd name="T68" fmla="*/ 513 w 2502"/>
                <a:gd name="T69" fmla="*/ 1671 h 3234"/>
                <a:gd name="T70" fmla="*/ 490 w 2502"/>
                <a:gd name="T71" fmla="*/ 1616 h 3234"/>
                <a:gd name="T72" fmla="*/ 513 w 2502"/>
                <a:gd name="T73" fmla="*/ 1563 h 3234"/>
                <a:gd name="T74" fmla="*/ 566 w 2502"/>
                <a:gd name="T75" fmla="*/ 1540 h 3234"/>
                <a:gd name="T76" fmla="*/ 1956 w 2502"/>
                <a:gd name="T77" fmla="*/ 2049 h 3234"/>
                <a:gd name="T78" fmla="*/ 2002 w 2502"/>
                <a:gd name="T79" fmla="*/ 2084 h 3234"/>
                <a:gd name="T80" fmla="*/ 2009 w 2502"/>
                <a:gd name="T81" fmla="*/ 2143 h 3234"/>
                <a:gd name="T82" fmla="*/ 1973 w 2502"/>
                <a:gd name="T83" fmla="*/ 2189 h 3234"/>
                <a:gd name="T84" fmla="*/ 566 w 2502"/>
                <a:gd name="T85" fmla="*/ 2199 h 3234"/>
                <a:gd name="T86" fmla="*/ 513 w 2502"/>
                <a:gd name="T87" fmla="*/ 2177 h 3234"/>
                <a:gd name="T88" fmla="*/ 490 w 2502"/>
                <a:gd name="T89" fmla="*/ 2122 h 3234"/>
                <a:gd name="T90" fmla="*/ 513 w 2502"/>
                <a:gd name="T91" fmla="*/ 2068 h 3234"/>
                <a:gd name="T92" fmla="*/ 566 w 2502"/>
                <a:gd name="T93" fmla="*/ 2045 h 3234"/>
                <a:gd name="T94" fmla="*/ 546 w 2502"/>
                <a:gd name="T95" fmla="*/ 2701 h 3234"/>
                <a:gd name="T96" fmla="*/ 501 w 2502"/>
                <a:gd name="T97" fmla="*/ 2666 h 3234"/>
                <a:gd name="T98" fmla="*/ 493 w 2502"/>
                <a:gd name="T99" fmla="*/ 2607 h 3234"/>
                <a:gd name="T100" fmla="*/ 528 w 2502"/>
                <a:gd name="T101" fmla="*/ 2561 h 3234"/>
                <a:gd name="T102" fmla="*/ 1935 w 2502"/>
                <a:gd name="T103" fmla="*/ 2551 h 3234"/>
                <a:gd name="T104" fmla="*/ 1989 w 2502"/>
                <a:gd name="T105" fmla="*/ 2573 h 3234"/>
                <a:gd name="T106" fmla="*/ 2011 w 2502"/>
                <a:gd name="T107" fmla="*/ 2628 h 3234"/>
                <a:gd name="T108" fmla="*/ 1989 w 2502"/>
                <a:gd name="T109" fmla="*/ 2681 h 3234"/>
                <a:gd name="T110" fmla="*/ 1935 w 2502"/>
                <a:gd name="T111" fmla="*/ 2704 h 3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02" h="3234">
                  <a:moveTo>
                    <a:pt x="1997" y="2909"/>
                  </a:moveTo>
                  <a:lnTo>
                    <a:pt x="2000" y="2837"/>
                  </a:lnTo>
                  <a:lnTo>
                    <a:pt x="2010" y="2767"/>
                  </a:lnTo>
                  <a:lnTo>
                    <a:pt x="2024" y="2698"/>
                  </a:lnTo>
                  <a:lnTo>
                    <a:pt x="2045" y="2632"/>
                  </a:lnTo>
                  <a:lnTo>
                    <a:pt x="2071" y="2567"/>
                  </a:lnTo>
                  <a:lnTo>
                    <a:pt x="2102" y="2506"/>
                  </a:lnTo>
                  <a:lnTo>
                    <a:pt x="2138" y="2448"/>
                  </a:lnTo>
                  <a:lnTo>
                    <a:pt x="2178" y="2393"/>
                  </a:lnTo>
                  <a:lnTo>
                    <a:pt x="2223" y="2341"/>
                  </a:lnTo>
                  <a:lnTo>
                    <a:pt x="2271" y="2293"/>
                  </a:lnTo>
                  <a:lnTo>
                    <a:pt x="2324" y="2248"/>
                  </a:lnTo>
                  <a:lnTo>
                    <a:pt x="2379" y="2207"/>
                  </a:lnTo>
                  <a:lnTo>
                    <a:pt x="2440" y="2171"/>
                  </a:lnTo>
                  <a:lnTo>
                    <a:pt x="2502" y="2141"/>
                  </a:lnTo>
                  <a:lnTo>
                    <a:pt x="2502" y="19"/>
                  </a:lnTo>
                  <a:lnTo>
                    <a:pt x="2499" y="9"/>
                  </a:lnTo>
                  <a:lnTo>
                    <a:pt x="2492" y="2"/>
                  </a:lnTo>
                  <a:lnTo>
                    <a:pt x="2482" y="0"/>
                  </a:lnTo>
                  <a:lnTo>
                    <a:pt x="19" y="0"/>
                  </a:lnTo>
                  <a:lnTo>
                    <a:pt x="9" y="2"/>
                  </a:lnTo>
                  <a:lnTo>
                    <a:pt x="2" y="9"/>
                  </a:lnTo>
                  <a:lnTo>
                    <a:pt x="0" y="19"/>
                  </a:lnTo>
                  <a:lnTo>
                    <a:pt x="0" y="3215"/>
                  </a:lnTo>
                  <a:lnTo>
                    <a:pt x="2" y="3225"/>
                  </a:lnTo>
                  <a:lnTo>
                    <a:pt x="9" y="3232"/>
                  </a:lnTo>
                  <a:lnTo>
                    <a:pt x="19" y="3234"/>
                  </a:lnTo>
                  <a:lnTo>
                    <a:pt x="2065" y="3234"/>
                  </a:lnTo>
                  <a:lnTo>
                    <a:pt x="2041" y="3173"/>
                  </a:lnTo>
                  <a:lnTo>
                    <a:pt x="2022" y="3109"/>
                  </a:lnTo>
                  <a:lnTo>
                    <a:pt x="2009" y="3045"/>
                  </a:lnTo>
                  <a:lnTo>
                    <a:pt x="2000" y="2977"/>
                  </a:lnTo>
                  <a:lnTo>
                    <a:pt x="1997" y="2909"/>
                  </a:lnTo>
                  <a:close/>
                  <a:moveTo>
                    <a:pt x="566" y="530"/>
                  </a:moveTo>
                  <a:lnTo>
                    <a:pt x="1935" y="530"/>
                  </a:lnTo>
                  <a:lnTo>
                    <a:pt x="1956" y="532"/>
                  </a:lnTo>
                  <a:lnTo>
                    <a:pt x="1973" y="541"/>
                  </a:lnTo>
                  <a:lnTo>
                    <a:pt x="1989" y="552"/>
                  </a:lnTo>
                  <a:lnTo>
                    <a:pt x="2002" y="568"/>
                  </a:lnTo>
                  <a:lnTo>
                    <a:pt x="2009" y="586"/>
                  </a:lnTo>
                  <a:lnTo>
                    <a:pt x="2011" y="606"/>
                  </a:lnTo>
                  <a:lnTo>
                    <a:pt x="2009" y="627"/>
                  </a:lnTo>
                  <a:lnTo>
                    <a:pt x="2002" y="645"/>
                  </a:lnTo>
                  <a:lnTo>
                    <a:pt x="1989" y="661"/>
                  </a:lnTo>
                  <a:lnTo>
                    <a:pt x="1973" y="673"/>
                  </a:lnTo>
                  <a:lnTo>
                    <a:pt x="1956" y="681"/>
                  </a:lnTo>
                  <a:lnTo>
                    <a:pt x="1935" y="683"/>
                  </a:lnTo>
                  <a:lnTo>
                    <a:pt x="566" y="683"/>
                  </a:lnTo>
                  <a:lnTo>
                    <a:pt x="546" y="681"/>
                  </a:lnTo>
                  <a:lnTo>
                    <a:pt x="528" y="673"/>
                  </a:lnTo>
                  <a:lnTo>
                    <a:pt x="513" y="661"/>
                  </a:lnTo>
                  <a:lnTo>
                    <a:pt x="501" y="645"/>
                  </a:lnTo>
                  <a:lnTo>
                    <a:pt x="493" y="627"/>
                  </a:lnTo>
                  <a:lnTo>
                    <a:pt x="490" y="606"/>
                  </a:lnTo>
                  <a:lnTo>
                    <a:pt x="493" y="586"/>
                  </a:lnTo>
                  <a:lnTo>
                    <a:pt x="501" y="568"/>
                  </a:lnTo>
                  <a:lnTo>
                    <a:pt x="513" y="553"/>
                  </a:lnTo>
                  <a:lnTo>
                    <a:pt x="528" y="541"/>
                  </a:lnTo>
                  <a:lnTo>
                    <a:pt x="546" y="533"/>
                  </a:lnTo>
                  <a:lnTo>
                    <a:pt x="566" y="530"/>
                  </a:lnTo>
                  <a:close/>
                  <a:moveTo>
                    <a:pt x="566" y="1035"/>
                  </a:moveTo>
                  <a:lnTo>
                    <a:pt x="1935" y="1035"/>
                  </a:lnTo>
                  <a:lnTo>
                    <a:pt x="1956" y="1038"/>
                  </a:lnTo>
                  <a:lnTo>
                    <a:pt x="1973" y="1045"/>
                  </a:lnTo>
                  <a:lnTo>
                    <a:pt x="1989" y="1057"/>
                  </a:lnTo>
                  <a:lnTo>
                    <a:pt x="2002" y="1073"/>
                  </a:lnTo>
                  <a:lnTo>
                    <a:pt x="2009" y="1091"/>
                  </a:lnTo>
                  <a:lnTo>
                    <a:pt x="2011" y="1112"/>
                  </a:lnTo>
                  <a:lnTo>
                    <a:pt x="2009" y="1132"/>
                  </a:lnTo>
                  <a:lnTo>
                    <a:pt x="2002" y="1150"/>
                  </a:lnTo>
                  <a:lnTo>
                    <a:pt x="1989" y="1166"/>
                  </a:lnTo>
                  <a:lnTo>
                    <a:pt x="1973" y="1178"/>
                  </a:lnTo>
                  <a:lnTo>
                    <a:pt x="1956" y="1185"/>
                  </a:lnTo>
                  <a:lnTo>
                    <a:pt x="1935" y="1189"/>
                  </a:lnTo>
                  <a:lnTo>
                    <a:pt x="566" y="1189"/>
                  </a:lnTo>
                  <a:lnTo>
                    <a:pt x="546" y="1185"/>
                  </a:lnTo>
                  <a:lnTo>
                    <a:pt x="528" y="1178"/>
                  </a:lnTo>
                  <a:lnTo>
                    <a:pt x="513" y="1166"/>
                  </a:lnTo>
                  <a:lnTo>
                    <a:pt x="501" y="1150"/>
                  </a:lnTo>
                  <a:lnTo>
                    <a:pt x="493" y="1132"/>
                  </a:lnTo>
                  <a:lnTo>
                    <a:pt x="490" y="1112"/>
                  </a:lnTo>
                  <a:lnTo>
                    <a:pt x="493" y="1091"/>
                  </a:lnTo>
                  <a:lnTo>
                    <a:pt x="501" y="1073"/>
                  </a:lnTo>
                  <a:lnTo>
                    <a:pt x="513" y="1057"/>
                  </a:lnTo>
                  <a:lnTo>
                    <a:pt x="528" y="1045"/>
                  </a:lnTo>
                  <a:lnTo>
                    <a:pt x="546" y="1038"/>
                  </a:lnTo>
                  <a:lnTo>
                    <a:pt x="566" y="1035"/>
                  </a:lnTo>
                  <a:close/>
                  <a:moveTo>
                    <a:pt x="566" y="1540"/>
                  </a:moveTo>
                  <a:lnTo>
                    <a:pt x="1935" y="1540"/>
                  </a:lnTo>
                  <a:lnTo>
                    <a:pt x="1956" y="1543"/>
                  </a:lnTo>
                  <a:lnTo>
                    <a:pt x="1973" y="1551"/>
                  </a:lnTo>
                  <a:lnTo>
                    <a:pt x="1989" y="1563"/>
                  </a:lnTo>
                  <a:lnTo>
                    <a:pt x="2002" y="1578"/>
                  </a:lnTo>
                  <a:lnTo>
                    <a:pt x="2009" y="1597"/>
                  </a:lnTo>
                  <a:lnTo>
                    <a:pt x="2011" y="1616"/>
                  </a:lnTo>
                  <a:lnTo>
                    <a:pt x="2009" y="1637"/>
                  </a:lnTo>
                  <a:lnTo>
                    <a:pt x="2002" y="1656"/>
                  </a:lnTo>
                  <a:lnTo>
                    <a:pt x="1989" y="1671"/>
                  </a:lnTo>
                  <a:lnTo>
                    <a:pt x="1973" y="1683"/>
                  </a:lnTo>
                  <a:lnTo>
                    <a:pt x="1956" y="1691"/>
                  </a:lnTo>
                  <a:lnTo>
                    <a:pt x="1935" y="1694"/>
                  </a:lnTo>
                  <a:lnTo>
                    <a:pt x="566" y="1694"/>
                  </a:lnTo>
                  <a:lnTo>
                    <a:pt x="546" y="1691"/>
                  </a:lnTo>
                  <a:lnTo>
                    <a:pt x="528" y="1683"/>
                  </a:lnTo>
                  <a:lnTo>
                    <a:pt x="513" y="1671"/>
                  </a:lnTo>
                  <a:lnTo>
                    <a:pt x="501" y="1656"/>
                  </a:lnTo>
                  <a:lnTo>
                    <a:pt x="493" y="1637"/>
                  </a:lnTo>
                  <a:lnTo>
                    <a:pt x="490" y="1616"/>
                  </a:lnTo>
                  <a:lnTo>
                    <a:pt x="493" y="1597"/>
                  </a:lnTo>
                  <a:lnTo>
                    <a:pt x="501" y="1578"/>
                  </a:lnTo>
                  <a:lnTo>
                    <a:pt x="513" y="1563"/>
                  </a:lnTo>
                  <a:lnTo>
                    <a:pt x="528" y="1551"/>
                  </a:lnTo>
                  <a:lnTo>
                    <a:pt x="546" y="1543"/>
                  </a:lnTo>
                  <a:lnTo>
                    <a:pt x="566" y="1540"/>
                  </a:lnTo>
                  <a:close/>
                  <a:moveTo>
                    <a:pt x="566" y="2045"/>
                  </a:moveTo>
                  <a:lnTo>
                    <a:pt x="1935" y="2045"/>
                  </a:lnTo>
                  <a:lnTo>
                    <a:pt x="1956" y="2049"/>
                  </a:lnTo>
                  <a:lnTo>
                    <a:pt x="1973" y="2056"/>
                  </a:lnTo>
                  <a:lnTo>
                    <a:pt x="1989" y="2068"/>
                  </a:lnTo>
                  <a:lnTo>
                    <a:pt x="2002" y="2084"/>
                  </a:lnTo>
                  <a:lnTo>
                    <a:pt x="2009" y="2101"/>
                  </a:lnTo>
                  <a:lnTo>
                    <a:pt x="2011" y="2122"/>
                  </a:lnTo>
                  <a:lnTo>
                    <a:pt x="2009" y="2143"/>
                  </a:lnTo>
                  <a:lnTo>
                    <a:pt x="2002" y="2160"/>
                  </a:lnTo>
                  <a:lnTo>
                    <a:pt x="1989" y="2177"/>
                  </a:lnTo>
                  <a:lnTo>
                    <a:pt x="1973" y="2189"/>
                  </a:lnTo>
                  <a:lnTo>
                    <a:pt x="1956" y="2196"/>
                  </a:lnTo>
                  <a:lnTo>
                    <a:pt x="1935" y="2199"/>
                  </a:lnTo>
                  <a:lnTo>
                    <a:pt x="566" y="2199"/>
                  </a:lnTo>
                  <a:lnTo>
                    <a:pt x="546" y="2196"/>
                  </a:lnTo>
                  <a:lnTo>
                    <a:pt x="528" y="2189"/>
                  </a:lnTo>
                  <a:lnTo>
                    <a:pt x="513" y="2177"/>
                  </a:lnTo>
                  <a:lnTo>
                    <a:pt x="501" y="2160"/>
                  </a:lnTo>
                  <a:lnTo>
                    <a:pt x="493" y="2143"/>
                  </a:lnTo>
                  <a:lnTo>
                    <a:pt x="490" y="2122"/>
                  </a:lnTo>
                  <a:lnTo>
                    <a:pt x="493" y="2101"/>
                  </a:lnTo>
                  <a:lnTo>
                    <a:pt x="501" y="2084"/>
                  </a:lnTo>
                  <a:lnTo>
                    <a:pt x="513" y="2068"/>
                  </a:lnTo>
                  <a:lnTo>
                    <a:pt x="528" y="2056"/>
                  </a:lnTo>
                  <a:lnTo>
                    <a:pt x="546" y="2049"/>
                  </a:lnTo>
                  <a:lnTo>
                    <a:pt x="566" y="2045"/>
                  </a:lnTo>
                  <a:close/>
                  <a:moveTo>
                    <a:pt x="1935" y="2704"/>
                  </a:moveTo>
                  <a:lnTo>
                    <a:pt x="566" y="2704"/>
                  </a:lnTo>
                  <a:lnTo>
                    <a:pt x="546" y="2701"/>
                  </a:lnTo>
                  <a:lnTo>
                    <a:pt x="528" y="2693"/>
                  </a:lnTo>
                  <a:lnTo>
                    <a:pt x="513" y="2681"/>
                  </a:lnTo>
                  <a:lnTo>
                    <a:pt x="501" y="2666"/>
                  </a:lnTo>
                  <a:lnTo>
                    <a:pt x="493" y="2648"/>
                  </a:lnTo>
                  <a:lnTo>
                    <a:pt x="490" y="2628"/>
                  </a:lnTo>
                  <a:lnTo>
                    <a:pt x="493" y="2607"/>
                  </a:lnTo>
                  <a:lnTo>
                    <a:pt x="501" y="2589"/>
                  </a:lnTo>
                  <a:lnTo>
                    <a:pt x="513" y="2573"/>
                  </a:lnTo>
                  <a:lnTo>
                    <a:pt x="528" y="2561"/>
                  </a:lnTo>
                  <a:lnTo>
                    <a:pt x="546" y="2553"/>
                  </a:lnTo>
                  <a:lnTo>
                    <a:pt x="566" y="2551"/>
                  </a:lnTo>
                  <a:lnTo>
                    <a:pt x="1935" y="2551"/>
                  </a:lnTo>
                  <a:lnTo>
                    <a:pt x="1956" y="2553"/>
                  </a:lnTo>
                  <a:lnTo>
                    <a:pt x="1973" y="2561"/>
                  </a:lnTo>
                  <a:lnTo>
                    <a:pt x="1989" y="2573"/>
                  </a:lnTo>
                  <a:lnTo>
                    <a:pt x="2002" y="2589"/>
                  </a:lnTo>
                  <a:lnTo>
                    <a:pt x="2009" y="2607"/>
                  </a:lnTo>
                  <a:lnTo>
                    <a:pt x="2011" y="2628"/>
                  </a:lnTo>
                  <a:lnTo>
                    <a:pt x="2009" y="2648"/>
                  </a:lnTo>
                  <a:lnTo>
                    <a:pt x="2002" y="2666"/>
                  </a:lnTo>
                  <a:lnTo>
                    <a:pt x="1989" y="2681"/>
                  </a:lnTo>
                  <a:lnTo>
                    <a:pt x="1973" y="2693"/>
                  </a:lnTo>
                  <a:lnTo>
                    <a:pt x="1956" y="2701"/>
                  </a:lnTo>
                  <a:lnTo>
                    <a:pt x="1935" y="270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2" name="Freeform 6"/>
          <p:cNvSpPr>
            <a:spLocks noEditPoints="1"/>
          </p:cNvSpPr>
          <p:nvPr/>
        </p:nvSpPr>
        <p:spPr bwMode="auto">
          <a:xfrm>
            <a:off x="5516614" y="2259616"/>
            <a:ext cx="663471" cy="701504"/>
          </a:xfrm>
          <a:custGeom>
            <a:avLst/>
            <a:gdLst>
              <a:gd name="T0" fmla="*/ 972 w 3141"/>
              <a:gd name="T1" fmla="*/ 757 h 3320"/>
              <a:gd name="T2" fmla="*/ 1137 w 3141"/>
              <a:gd name="T3" fmla="*/ 1038 h 3320"/>
              <a:gd name="T4" fmla="*/ 1258 w 3141"/>
              <a:gd name="T5" fmla="*/ 1458 h 3320"/>
              <a:gd name="T6" fmla="*/ 1301 w 3141"/>
              <a:gd name="T7" fmla="*/ 1607 h 3320"/>
              <a:gd name="T8" fmla="*/ 1279 w 3141"/>
              <a:gd name="T9" fmla="*/ 1708 h 3320"/>
              <a:gd name="T10" fmla="*/ 1162 w 3141"/>
              <a:gd name="T11" fmla="*/ 1716 h 3320"/>
              <a:gd name="T12" fmla="*/ 1118 w 3141"/>
              <a:gd name="T13" fmla="*/ 1623 h 3320"/>
              <a:gd name="T14" fmla="*/ 1029 w 3141"/>
              <a:gd name="T15" fmla="*/ 1322 h 3320"/>
              <a:gd name="T16" fmla="*/ 887 w 3141"/>
              <a:gd name="T17" fmla="*/ 1030 h 3320"/>
              <a:gd name="T18" fmla="*/ 892 w 3141"/>
              <a:gd name="T19" fmla="*/ 2956 h 3320"/>
              <a:gd name="T20" fmla="*/ 792 w 3141"/>
              <a:gd name="T21" fmla="*/ 3012 h 3320"/>
              <a:gd name="T22" fmla="*/ 692 w 3141"/>
              <a:gd name="T23" fmla="*/ 2948 h 3320"/>
              <a:gd name="T24" fmla="*/ 628 w 3141"/>
              <a:gd name="T25" fmla="*/ 2928 h 3320"/>
              <a:gd name="T26" fmla="*/ 546 w 3141"/>
              <a:gd name="T27" fmla="*/ 3010 h 3320"/>
              <a:gd name="T28" fmla="*/ 432 w 3141"/>
              <a:gd name="T29" fmla="*/ 2970 h 3320"/>
              <a:gd name="T30" fmla="*/ 107 w 3141"/>
              <a:gd name="T31" fmla="*/ 2096 h 3320"/>
              <a:gd name="T32" fmla="*/ 297 w 3141"/>
              <a:gd name="T33" fmla="*/ 1274 h 3320"/>
              <a:gd name="T34" fmla="*/ 198 w 3141"/>
              <a:gd name="T35" fmla="*/ 1600 h 3320"/>
              <a:gd name="T36" fmla="*/ 160 w 3141"/>
              <a:gd name="T37" fmla="*/ 1703 h 3320"/>
              <a:gd name="T38" fmla="*/ 45 w 3141"/>
              <a:gd name="T39" fmla="*/ 1718 h 3320"/>
              <a:gd name="T40" fmla="*/ 1 w 3141"/>
              <a:gd name="T41" fmla="*/ 1627 h 3320"/>
              <a:gd name="T42" fmla="*/ 29 w 3141"/>
              <a:gd name="T43" fmla="*/ 1533 h 3320"/>
              <a:gd name="T44" fmla="*/ 119 w 3141"/>
              <a:gd name="T45" fmla="*/ 1227 h 3320"/>
              <a:gd name="T46" fmla="*/ 236 w 3141"/>
              <a:gd name="T47" fmla="*/ 866 h 3320"/>
              <a:gd name="T48" fmla="*/ 403 w 3141"/>
              <a:gd name="T49" fmla="*/ 725 h 3320"/>
              <a:gd name="T50" fmla="*/ 2922 w 3141"/>
              <a:gd name="T51" fmla="*/ 719 h 3320"/>
              <a:gd name="T52" fmla="*/ 3103 w 3141"/>
              <a:gd name="T53" fmla="*/ 861 h 3320"/>
              <a:gd name="T54" fmla="*/ 3139 w 3141"/>
              <a:gd name="T55" fmla="*/ 1754 h 3320"/>
              <a:gd name="T56" fmla="*/ 3062 w 3141"/>
              <a:gd name="T57" fmla="*/ 1831 h 3320"/>
              <a:gd name="T58" fmla="*/ 2954 w 3141"/>
              <a:gd name="T59" fmla="*/ 1789 h 3320"/>
              <a:gd name="T60" fmla="*/ 2884 w 3141"/>
              <a:gd name="T61" fmla="*/ 2881 h 3320"/>
              <a:gd name="T62" fmla="*/ 2804 w 3141"/>
              <a:gd name="T63" fmla="*/ 3003 h 3320"/>
              <a:gd name="T64" fmla="*/ 2671 w 3141"/>
              <a:gd name="T65" fmla="*/ 2988 h 3320"/>
              <a:gd name="T66" fmla="*/ 2616 w 3141"/>
              <a:gd name="T67" fmla="*/ 1839 h 3320"/>
              <a:gd name="T68" fmla="*/ 2532 w 3141"/>
              <a:gd name="T69" fmla="*/ 2957 h 3320"/>
              <a:gd name="T70" fmla="*/ 2421 w 3141"/>
              <a:gd name="T71" fmla="*/ 3012 h 3320"/>
              <a:gd name="T72" fmla="*/ 2294 w 3141"/>
              <a:gd name="T73" fmla="*/ 2931 h 3320"/>
              <a:gd name="T74" fmla="*/ 2228 w 3141"/>
              <a:gd name="T75" fmla="*/ 1754 h 3320"/>
              <a:gd name="T76" fmla="*/ 2151 w 3141"/>
              <a:gd name="T77" fmla="*/ 1831 h 3320"/>
              <a:gd name="T78" fmla="*/ 2044 w 3141"/>
              <a:gd name="T79" fmla="*/ 1789 h 3320"/>
              <a:gd name="T80" fmla="*/ 2037 w 3141"/>
              <a:gd name="T81" fmla="*/ 932 h 3320"/>
              <a:gd name="T82" fmla="*/ 2179 w 3141"/>
              <a:gd name="T83" fmla="*/ 749 h 3320"/>
              <a:gd name="T84" fmla="*/ 2623 w 3141"/>
              <a:gd name="T85" fmla="*/ 189 h 3320"/>
              <a:gd name="T86" fmla="*/ 2793 w 3141"/>
              <a:gd name="T87" fmla="*/ 314 h 3320"/>
              <a:gd name="T88" fmla="*/ 2801 w 3141"/>
              <a:gd name="T89" fmla="*/ 510 h 3320"/>
              <a:gd name="T90" fmla="*/ 2658 w 3141"/>
              <a:gd name="T91" fmla="*/ 639 h 3320"/>
              <a:gd name="T92" fmla="*/ 2468 w 3141"/>
              <a:gd name="T93" fmla="*/ 621 h 3320"/>
              <a:gd name="T94" fmla="*/ 2362 w 3141"/>
              <a:gd name="T95" fmla="*/ 481 h 3320"/>
              <a:gd name="T96" fmla="*/ 2396 w 3141"/>
              <a:gd name="T97" fmla="*/ 284 h 3320"/>
              <a:gd name="T98" fmla="*/ 2553 w 3141"/>
              <a:gd name="T99" fmla="*/ 188 h 3320"/>
              <a:gd name="T100" fmla="*/ 775 w 3141"/>
              <a:gd name="T101" fmla="*/ 216 h 3320"/>
              <a:gd name="T102" fmla="*/ 884 w 3141"/>
              <a:gd name="T103" fmla="*/ 381 h 3320"/>
              <a:gd name="T104" fmla="*/ 841 w 3141"/>
              <a:gd name="T105" fmla="*/ 561 h 3320"/>
              <a:gd name="T106" fmla="*/ 660 w 3141"/>
              <a:gd name="T107" fmla="*/ 650 h 3320"/>
              <a:gd name="T108" fmla="*/ 470 w 3141"/>
              <a:gd name="T109" fmla="*/ 561 h 3320"/>
              <a:gd name="T110" fmla="*/ 426 w 3141"/>
              <a:gd name="T111" fmla="*/ 381 h 3320"/>
              <a:gd name="T112" fmla="*/ 540 w 3141"/>
              <a:gd name="T113" fmla="*/ 216 h 3320"/>
              <a:gd name="T114" fmla="*/ 1781 w 3141"/>
              <a:gd name="T115" fmla="*/ 0 h 3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141" h="3320">
                <a:moveTo>
                  <a:pt x="469" y="715"/>
                </a:moveTo>
                <a:lnTo>
                  <a:pt x="840" y="715"/>
                </a:lnTo>
                <a:lnTo>
                  <a:pt x="874" y="718"/>
                </a:lnTo>
                <a:lnTo>
                  <a:pt x="907" y="725"/>
                </a:lnTo>
                <a:lnTo>
                  <a:pt x="941" y="738"/>
                </a:lnTo>
                <a:lnTo>
                  <a:pt x="972" y="757"/>
                </a:lnTo>
                <a:lnTo>
                  <a:pt x="1003" y="782"/>
                </a:lnTo>
                <a:lnTo>
                  <a:pt x="1037" y="815"/>
                </a:lnTo>
                <a:lnTo>
                  <a:pt x="1065" y="851"/>
                </a:lnTo>
                <a:lnTo>
                  <a:pt x="1089" y="889"/>
                </a:lnTo>
                <a:lnTo>
                  <a:pt x="1106" y="930"/>
                </a:lnTo>
                <a:lnTo>
                  <a:pt x="1137" y="1038"/>
                </a:lnTo>
                <a:lnTo>
                  <a:pt x="1169" y="1152"/>
                </a:lnTo>
                <a:lnTo>
                  <a:pt x="1190" y="1227"/>
                </a:lnTo>
                <a:lnTo>
                  <a:pt x="1211" y="1299"/>
                </a:lnTo>
                <a:lnTo>
                  <a:pt x="1230" y="1367"/>
                </a:lnTo>
                <a:lnTo>
                  <a:pt x="1244" y="1415"/>
                </a:lnTo>
                <a:lnTo>
                  <a:pt x="1258" y="1458"/>
                </a:lnTo>
                <a:lnTo>
                  <a:pt x="1270" y="1498"/>
                </a:lnTo>
                <a:lnTo>
                  <a:pt x="1280" y="1533"/>
                </a:lnTo>
                <a:lnTo>
                  <a:pt x="1286" y="1558"/>
                </a:lnTo>
                <a:lnTo>
                  <a:pt x="1292" y="1580"/>
                </a:lnTo>
                <a:lnTo>
                  <a:pt x="1297" y="1596"/>
                </a:lnTo>
                <a:lnTo>
                  <a:pt x="1301" y="1607"/>
                </a:lnTo>
                <a:lnTo>
                  <a:pt x="1304" y="1614"/>
                </a:lnTo>
                <a:lnTo>
                  <a:pt x="1309" y="1637"/>
                </a:lnTo>
                <a:lnTo>
                  <a:pt x="1307" y="1659"/>
                </a:lnTo>
                <a:lnTo>
                  <a:pt x="1301" y="1679"/>
                </a:lnTo>
                <a:lnTo>
                  <a:pt x="1292" y="1695"/>
                </a:lnTo>
                <a:lnTo>
                  <a:pt x="1279" y="1708"/>
                </a:lnTo>
                <a:lnTo>
                  <a:pt x="1263" y="1719"/>
                </a:lnTo>
                <a:lnTo>
                  <a:pt x="1242" y="1727"/>
                </a:lnTo>
                <a:lnTo>
                  <a:pt x="1220" y="1733"/>
                </a:lnTo>
                <a:lnTo>
                  <a:pt x="1198" y="1731"/>
                </a:lnTo>
                <a:lnTo>
                  <a:pt x="1178" y="1726"/>
                </a:lnTo>
                <a:lnTo>
                  <a:pt x="1162" y="1716"/>
                </a:lnTo>
                <a:lnTo>
                  <a:pt x="1148" y="1703"/>
                </a:lnTo>
                <a:lnTo>
                  <a:pt x="1138" y="1687"/>
                </a:lnTo>
                <a:lnTo>
                  <a:pt x="1131" y="1666"/>
                </a:lnTo>
                <a:lnTo>
                  <a:pt x="1128" y="1657"/>
                </a:lnTo>
                <a:lnTo>
                  <a:pt x="1124" y="1642"/>
                </a:lnTo>
                <a:lnTo>
                  <a:pt x="1118" y="1623"/>
                </a:lnTo>
                <a:lnTo>
                  <a:pt x="1111" y="1600"/>
                </a:lnTo>
                <a:lnTo>
                  <a:pt x="1104" y="1571"/>
                </a:lnTo>
                <a:lnTo>
                  <a:pt x="1095" y="1539"/>
                </a:lnTo>
                <a:lnTo>
                  <a:pt x="1073" y="1469"/>
                </a:lnTo>
                <a:lnTo>
                  <a:pt x="1052" y="1396"/>
                </a:lnTo>
                <a:lnTo>
                  <a:pt x="1029" y="1322"/>
                </a:lnTo>
                <a:lnTo>
                  <a:pt x="1013" y="1274"/>
                </a:lnTo>
                <a:lnTo>
                  <a:pt x="997" y="1221"/>
                </a:lnTo>
                <a:lnTo>
                  <a:pt x="980" y="1163"/>
                </a:lnTo>
                <a:lnTo>
                  <a:pt x="961" y="1099"/>
                </a:lnTo>
                <a:lnTo>
                  <a:pt x="942" y="1030"/>
                </a:lnTo>
                <a:lnTo>
                  <a:pt x="887" y="1030"/>
                </a:lnTo>
                <a:lnTo>
                  <a:pt x="1202" y="2096"/>
                </a:lnTo>
                <a:lnTo>
                  <a:pt x="903" y="2096"/>
                </a:lnTo>
                <a:lnTo>
                  <a:pt x="903" y="2906"/>
                </a:lnTo>
                <a:lnTo>
                  <a:pt x="902" y="2924"/>
                </a:lnTo>
                <a:lnTo>
                  <a:pt x="898" y="2941"/>
                </a:lnTo>
                <a:lnTo>
                  <a:pt x="892" y="2956"/>
                </a:lnTo>
                <a:lnTo>
                  <a:pt x="883" y="2970"/>
                </a:lnTo>
                <a:lnTo>
                  <a:pt x="870" y="2982"/>
                </a:lnTo>
                <a:lnTo>
                  <a:pt x="853" y="2995"/>
                </a:lnTo>
                <a:lnTo>
                  <a:pt x="835" y="3005"/>
                </a:lnTo>
                <a:lnTo>
                  <a:pt x="815" y="3010"/>
                </a:lnTo>
                <a:lnTo>
                  <a:pt x="792" y="3012"/>
                </a:lnTo>
                <a:lnTo>
                  <a:pt x="769" y="3010"/>
                </a:lnTo>
                <a:lnTo>
                  <a:pt x="749" y="3005"/>
                </a:lnTo>
                <a:lnTo>
                  <a:pt x="730" y="2995"/>
                </a:lnTo>
                <a:lnTo>
                  <a:pt x="713" y="2982"/>
                </a:lnTo>
                <a:lnTo>
                  <a:pt x="700" y="2966"/>
                </a:lnTo>
                <a:lnTo>
                  <a:pt x="692" y="2948"/>
                </a:lnTo>
                <a:lnTo>
                  <a:pt x="687" y="2928"/>
                </a:lnTo>
                <a:lnTo>
                  <a:pt x="685" y="2906"/>
                </a:lnTo>
                <a:lnTo>
                  <a:pt x="685" y="2096"/>
                </a:lnTo>
                <a:lnTo>
                  <a:pt x="630" y="2096"/>
                </a:lnTo>
                <a:lnTo>
                  <a:pt x="630" y="2906"/>
                </a:lnTo>
                <a:lnTo>
                  <a:pt x="628" y="2928"/>
                </a:lnTo>
                <a:lnTo>
                  <a:pt x="623" y="2948"/>
                </a:lnTo>
                <a:lnTo>
                  <a:pt x="614" y="2966"/>
                </a:lnTo>
                <a:lnTo>
                  <a:pt x="601" y="2982"/>
                </a:lnTo>
                <a:lnTo>
                  <a:pt x="585" y="2995"/>
                </a:lnTo>
                <a:lnTo>
                  <a:pt x="566" y="3005"/>
                </a:lnTo>
                <a:lnTo>
                  <a:pt x="546" y="3010"/>
                </a:lnTo>
                <a:lnTo>
                  <a:pt x="523" y="3012"/>
                </a:lnTo>
                <a:lnTo>
                  <a:pt x="500" y="3010"/>
                </a:lnTo>
                <a:lnTo>
                  <a:pt x="480" y="3005"/>
                </a:lnTo>
                <a:lnTo>
                  <a:pt x="461" y="2995"/>
                </a:lnTo>
                <a:lnTo>
                  <a:pt x="444" y="2982"/>
                </a:lnTo>
                <a:lnTo>
                  <a:pt x="432" y="2970"/>
                </a:lnTo>
                <a:lnTo>
                  <a:pt x="422" y="2956"/>
                </a:lnTo>
                <a:lnTo>
                  <a:pt x="416" y="2941"/>
                </a:lnTo>
                <a:lnTo>
                  <a:pt x="411" y="2924"/>
                </a:lnTo>
                <a:lnTo>
                  <a:pt x="410" y="2906"/>
                </a:lnTo>
                <a:lnTo>
                  <a:pt x="410" y="2096"/>
                </a:lnTo>
                <a:lnTo>
                  <a:pt x="107" y="2096"/>
                </a:lnTo>
                <a:lnTo>
                  <a:pt x="423" y="1031"/>
                </a:lnTo>
                <a:lnTo>
                  <a:pt x="368" y="1031"/>
                </a:lnTo>
                <a:lnTo>
                  <a:pt x="348" y="1100"/>
                </a:lnTo>
                <a:lnTo>
                  <a:pt x="330" y="1163"/>
                </a:lnTo>
                <a:lnTo>
                  <a:pt x="313" y="1221"/>
                </a:lnTo>
                <a:lnTo>
                  <a:pt x="297" y="1274"/>
                </a:lnTo>
                <a:lnTo>
                  <a:pt x="282" y="1322"/>
                </a:lnTo>
                <a:lnTo>
                  <a:pt x="261" y="1396"/>
                </a:lnTo>
                <a:lnTo>
                  <a:pt x="239" y="1469"/>
                </a:lnTo>
                <a:lnTo>
                  <a:pt x="218" y="1539"/>
                </a:lnTo>
                <a:lnTo>
                  <a:pt x="207" y="1571"/>
                </a:lnTo>
                <a:lnTo>
                  <a:pt x="198" y="1600"/>
                </a:lnTo>
                <a:lnTo>
                  <a:pt x="191" y="1623"/>
                </a:lnTo>
                <a:lnTo>
                  <a:pt x="185" y="1642"/>
                </a:lnTo>
                <a:lnTo>
                  <a:pt x="181" y="1657"/>
                </a:lnTo>
                <a:lnTo>
                  <a:pt x="179" y="1666"/>
                </a:lnTo>
                <a:lnTo>
                  <a:pt x="171" y="1687"/>
                </a:lnTo>
                <a:lnTo>
                  <a:pt x="160" y="1703"/>
                </a:lnTo>
                <a:lnTo>
                  <a:pt x="147" y="1716"/>
                </a:lnTo>
                <a:lnTo>
                  <a:pt x="130" y="1726"/>
                </a:lnTo>
                <a:lnTo>
                  <a:pt x="111" y="1731"/>
                </a:lnTo>
                <a:lnTo>
                  <a:pt x="89" y="1733"/>
                </a:lnTo>
                <a:lnTo>
                  <a:pt x="64" y="1727"/>
                </a:lnTo>
                <a:lnTo>
                  <a:pt x="45" y="1718"/>
                </a:lnTo>
                <a:lnTo>
                  <a:pt x="29" y="1707"/>
                </a:lnTo>
                <a:lnTo>
                  <a:pt x="16" y="1694"/>
                </a:lnTo>
                <a:lnTo>
                  <a:pt x="7" y="1679"/>
                </a:lnTo>
                <a:lnTo>
                  <a:pt x="2" y="1662"/>
                </a:lnTo>
                <a:lnTo>
                  <a:pt x="0" y="1643"/>
                </a:lnTo>
                <a:lnTo>
                  <a:pt x="1" y="1627"/>
                </a:lnTo>
                <a:lnTo>
                  <a:pt x="6" y="1614"/>
                </a:lnTo>
                <a:lnTo>
                  <a:pt x="8" y="1607"/>
                </a:lnTo>
                <a:lnTo>
                  <a:pt x="12" y="1596"/>
                </a:lnTo>
                <a:lnTo>
                  <a:pt x="17" y="1580"/>
                </a:lnTo>
                <a:lnTo>
                  <a:pt x="23" y="1558"/>
                </a:lnTo>
                <a:lnTo>
                  <a:pt x="29" y="1533"/>
                </a:lnTo>
                <a:lnTo>
                  <a:pt x="39" y="1498"/>
                </a:lnTo>
                <a:lnTo>
                  <a:pt x="50" y="1458"/>
                </a:lnTo>
                <a:lnTo>
                  <a:pt x="62" y="1415"/>
                </a:lnTo>
                <a:lnTo>
                  <a:pt x="76" y="1367"/>
                </a:lnTo>
                <a:lnTo>
                  <a:pt x="97" y="1299"/>
                </a:lnTo>
                <a:lnTo>
                  <a:pt x="119" y="1227"/>
                </a:lnTo>
                <a:lnTo>
                  <a:pt x="141" y="1152"/>
                </a:lnTo>
                <a:lnTo>
                  <a:pt x="163" y="1076"/>
                </a:lnTo>
                <a:lnTo>
                  <a:pt x="185" y="1002"/>
                </a:lnTo>
                <a:lnTo>
                  <a:pt x="209" y="930"/>
                </a:lnTo>
                <a:lnTo>
                  <a:pt x="221" y="897"/>
                </a:lnTo>
                <a:lnTo>
                  <a:pt x="236" y="866"/>
                </a:lnTo>
                <a:lnTo>
                  <a:pt x="257" y="836"/>
                </a:lnTo>
                <a:lnTo>
                  <a:pt x="281" y="808"/>
                </a:lnTo>
                <a:lnTo>
                  <a:pt x="309" y="782"/>
                </a:lnTo>
                <a:lnTo>
                  <a:pt x="340" y="757"/>
                </a:lnTo>
                <a:lnTo>
                  <a:pt x="371" y="738"/>
                </a:lnTo>
                <a:lnTo>
                  <a:pt x="403" y="725"/>
                </a:lnTo>
                <a:lnTo>
                  <a:pt x="436" y="718"/>
                </a:lnTo>
                <a:lnTo>
                  <a:pt x="469" y="715"/>
                </a:lnTo>
                <a:close/>
                <a:moveTo>
                  <a:pt x="2326" y="709"/>
                </a:moveTo>
                <a:lnTo>
                  <a:pt x="2842" y="709"/>
                </a:lnTo>
                <a:lnTo>
                  <a:pt x="2883" y="711"/>
                </a:lnTo>
                <a:lnTo>
                  <a:pt x="2922" y="719"/>
                </a:lnTo>
                <a:lnTo>
                  <a:pt x="2958" y="731"/>
                </a:lnTo>
                <a:lnTo>
                  <a:pt x="2992" y="749"/>
                </a:lnTo>
                <a:lnTo>
                  <a:pt x="3023" y="771"/>
                </a:lnTo>
                <a:lnTo>
                  <a:pt x="3053" y="798"/>
                </a:lnTo>
                <a:lnTo>
                  <a:pt x="3081" y="829"/>
                </a:lnTo>
                <a:lnTo>
                  <a:pt x="3103" y="861"/>
                </a:lnTo>
                <a:lnTo>
                  <a:pt x="3119" y="895"/>
                </a:lnTo>
                <a:lnTo>
                  <a:pt x="3131" y="932"/>
                </a:lnTo>
                <a:lnTo>
                  <a:pt x="3138" y="969"/>
                </a:lnTo>
                <a:lnTo>
                  <a:pt x="3141" y="1007"/>
                </a:lnTo>
                <a:lnTo>
                  <a:pt x="3141" y="1733"/>
                </a:lnTo>
                <a:lnTo>
                  <a:pt x="3139" y="1754"/>
                </a:lnTo>
                <a:lnTo>
                  <a:pt x="3133" y="1772"/>
                </a:lnTo>
                <a:lnTo>
                  <a:pt x="3125" y="1789"/>
                </a:lnTo>
                <a:lnTo>
                  <a:pt x="3114" y="1805"/>
                </a:lnTo>
                <a:lnTo>
                  <a:pt x="3099" y="1817"/>
                </a:lnTo>
                <a:lnTo>
                  <a:pt x="3082" y="1826"/>
                </a:lnTo>
                <a:lnTo>
                  <a:pt x="3062" y="1831"/>
                </a:lnTo>
                <a:lnTo>
                  <a:pt x="3040" y="1833"/>
                </a:lnTo>
                <a:lnTo>
                  <a:pt x="3019" y="1831"/>
                </a:lnTo>
                <a:lnTo>
                  <a:pt x="3000" y="1826"/>
                </a:lnTo>
                <a:lnTo>
                  <a:pt x="2982" y="1817"/>
                </a:lnTo>
                <a:lnTo>
                  <a:pt x="2966" y="1805"/>
                </a:lnTo>
                <a:lnTo>
                  <a:pt x="2954" y="1789"/>
                </a:lnTo>
                <a:lnTo>
                  <a:pt x="2945" y="1772"/>
                </a:lnTo>
                <a:lnTo>
                  <a:pt x="2940" y="1754"/>
                </a:lnTo>
                <a:lnTo>
                  <a:pt x="2939" y="1733"/>
                </a:lnTo>
                <a:lnTo>
                  <a:pt x="2939" y="1084"/>
                </a:lnTo>
                <a:lnTo>
                  <a:pt x="2884" y="1084"/>
                </a:lnTo>
                <a:lnTo>
                  <a:pt x="2884" y="2881"/>
                </a:lnTo>
                <a:lnTo>
                  <a:pt x="2882" y="2907"/>
                </a:lnTo>
                <a:lnTo>
                  <a:pt x="2875" y="2931"/>
                </a:lnTo>
                <a:lnTo>
                  <a:pt x="2863" y="2953"/>
                </a:lnTo>
                <a:lnTo>
                  <a:pt x="2846" y="2973"/>
                </a:lnTo>
                <a:lnTo>
                  <a:pt x="2826" y="2991"/>
                </a:lnTo>
                <a:lnTo>
                  <a:pt x="2804" y="3003"/>
                </a:lnTo>
                <a:lnTo>
                  <a:pt x="2780" y="3010"/>
                </a:lnTo>
                <a:lnTo>
                  <a:pt x="2755" y="3012"/>
                </a:lnTo>
                <a:lnTo>
                  <a:pt x="2731" y="3010"/>
                </a:lnTo>
                <a:lnTo>
                  <a:pt x="2709" y="3006"/>
                </a:lnTo>
                <a:lnTo>
                  <a:pt x="2689" y="2998"/>
                </a:lnTo>
                <a:lnTo>
                  <a:pt x="2671" y="2988"/>
                </a:lnTo>
                <a:lnTo>
                  <a:pt x="2655" y="2973"/>
                </a:lnTo>
                <a:lnTo>
                  <a:pt x="2638" y="2953"/>
                </a:lnTo>
                <a:lnTo>
                  <a:pt x="2626" y="2931"/>
                </a:lnTo>
                <a:lnTo>
                  <a:pt x="2618" y="2907"/>
                </a:lnTo>
                <a:lnTo>
                  <a:pt x="2616" y="2881"/>
                </a:lnTo>
                <a:lnTo>
                  <a:pt x="2616" y="1839"/>
                </a:lnTo>
                <a:lnTo>
                  <a:pt x="2557" y="1839"/>
                </a:lnTo>
                <a:lnTo>
                  <a:pt x="2557" y="2881"/>
                </a:lnTo>
                <a:lnTo>
                  <a:pt x="2555" y="2901"/>
                </a:lnTo>
                <a:lnTo>
                  <a:pt x="2551" y="2922"/>
                </a:lnTo>
                <a:lnTo>
                  <a:pt x="2543" y="2940"/>
                </a:lnTo>
                <a:lnTo>
                  <a:pt x="2532" y="2957"/>
                </a:lnTo>
                <a:lnTo>
                  <a:pt x="2517" y="2973"/>
                </a:lnTo>
                <a:lnTo>
                  <a:pt x="2501" y="2988"/>
                </a:lnTo>
                <a:lnTo>
                  <a:pt x="2484" y="2998"/>
                </a:lnTo>
                <a:lnTo>
                  <a:pt x="2465" y="3006"/>
                </a:lnTo>
                <a:lnTo>
                  <a:pt x="2444" y="3010"/>
                </a:lnTo>
                <a:lnTo>
                  <a:pt x="2421" y="3012"/>
                </a:lnTo>
                <a:lnTo>
                  <a:pt x="2394" y="3010"/>
                </a:lnTo>
                <a:lnTo>
                  <a:pt x="2370" y="3003"/>
                </a:lnTo>
                <a:lnTo>
                  <a:pt x="2347" y="2991"/>
                </a:lnTo>
                <a:lnTo>
                  <a:pt x="2326" y="2973"/>
                </a:lnTo>
                <a:lnTo>
                  <a:pt x="2307" y="2953"/>
                </a:lnTo>
                <a:lnTo>
                  <a:pt x="2294" y="2931"/>
                </a:lnTo>
                <a:lnTo>
                  <a:pt x="2286" y="2907"/>
                </a:lnTo>
                <a:lnTo>
                  <a:pt x="2283" y="2881"/>
                </a:lnTo>
                <a:lnTo>
                  <a:pt x="2283" y="1084"/>
                </a:lnTo>
                <a:lnTo>
                  <a:pt x="2229" y="1084"/>
                </a:lnTo>
                <a:lnTo>
                  <a:pt x="2229" y="1733"/>
                </a:lnTo>
                <a:lnTo>
                  <a:pt x="2228" y="1754"/>
                </a:lnTo>
                <a:lnTo>
                  <a:pt x="2223" y="1772"/>
                </a:lnTo>
                <a:lnTo>
                  <a:pt x="2215" y="1789"/>
                </a:lnTo>
                <a:lnTo>
                  <a:pt x="2203" y="1805"/>
                </a:lnTo>
                <a:lnTo>
                  <a:pt x="2188" y="1817"/>
                </a:lnTo>
                <a:lnTo>
                  <a:pt x="2171" y="1826"/>
                </a:lnTo>
                <a:lnTo>
                  <a:pt x="2151" y="1831"/>
                </a:lnTo>
                <a:lnTo>
                  <a:pt x="2129" y="1833"/>
                </a:lnTo>
                <a:lnTo>
                  <a:pt x="2109" y="1831"/>
                </a:lnTo>
                <a:lnTo>
                  <a:pt x="2091" y="1826"/>
                </a:lnTo>
                <a:lnTo>
                  <a:pt x="2073" y="1817"/>
                </a:lnTo>
                <a:lnTo>
                  <a:pt x="2057" y="1805"/>
                </a:lnTo>
                <a:lnTo>
                  <a:pt x="2044" y="1789"/>
                </a:lnTo>
                <a:lnTo>
                  <a:pt x="2034" y="1772"/>
                </a:lnTo>
                <a:lnTo>
                  <a:pt x="2029" y="1754"/>
                </a:lnTo>
                <a:lnTo>
                  <a:pt x="2027" y="1733"/>
                </a:lnTo>
                <a:lnTo>
                  <a:pt x="2027" y="1007"/>
                </a:lnTo>
                <a:lnTo>
                  <a:pt x="2030" y="969"/>
                </a:lnTo>
                <a:lnTo>
                  <a:pt x="2037" y="932"/>
                </a:lnTo>
                <a:lnTo>
                  <a:pt x="2050" y="895"/>
                </a:lnTo>
                <a:lnTo>
                  <a:pt x="2067" y="861"/>
                </a:lnTo>
                <a:lnTo>
                  <a:pt x="2090" y="828"/>
                </a:lnTo>
                <a:lnTo>
                  <a:pt x="2116" y="797"/>
                </a:lnTo>
                <a:lnTo>
                  <a:pt x="2147" y="771"/>
                </a:lnTo>
                <a:lnTo>
                  <a:pt x="2179" y="749"/>
                </a:lnTo>
                <a:lnTo>
                  <a:pt x="2212" y="731"/>
                </a:lnTo>
                <a:lnTo>
                  <a:pt x="2249" y="719"/>
                </a:lnTo>
                <a:lnTo>
                  <a:pt x="2286" y="711"/>
                </a:lnTo>
                <a:lnTo>
                  <a:pt x="2326" y="709"/>
                </a:lnTo>
                <a:close/>
                <a:moveTo>
                  <a:pt x="2586" y="186"/>
                </a:moveTo>
                <a:lnTo>
                  <a:pt x="2623" y="189"/>
                </a:lnTo>
                <a:lnTo>
                  <a:pt x="2657" y="197"/>
                </a:lnTo>
                <a:lnTo>
                  <a:pt x="2690" y="210"/>
                </a:lnTo>
                <a:lnTo>
                  <a:pt x="2721" y="230"/>
                </a:lnTo>
                <a:lnTo>
                  <a:pt x="2750" y="256"/>
                </a:lnTo>
                <a:lnTo>
                  <a:pt x="2774" y="284"/>
                </a:lnTo>
                <a:lnTo>
                  <a:pt x="2793" y="314"/>
                </a:lnTo>
                <a:lnTo>
                  <a:pt x="2807" y="346"/>
                </a:lnTo>
                <a:lnTo>
                  <a:pt x="2815" y="381"/>
                </a:lnTo>
                <a:lnTo>
                  <a:pt x="2818" y="419"/>
                </a:lnTo>
                <a:lnTo>
                  <a:pt x="2816" y="451"/>
                </a:lnTo>
                <a:lnTo>
                  <a:pt x="2810" y="481"/>
                </a:lnTo>
                <a:lnTo>
                  <a:pt x="2801" y="510"/>
                </a:lnTo>
                <a:lnTo>
                  <a:pt x="2788" y="536"/>
                </a:lnTo>
                <a:lnTo>
                  <a:pt x="2771" y="561"/>
                </a:lnTo>
                <a:lnTo>
                  <a:pt x="2750" y="585"/>
                </a:lnTo>
                <a:lnTo>
                  <a:pt x="2721" y="608"/>
                </a:lnTo>
                <a:lnTo>
                  <a:pt x="2691" y="626"/>
                </a:lnTo>
                <a:lnTo>
                  <a:pt x="2658" y="639"/>
                </a:lnTo>
                <a:lnTo>
                  <a:pt x="2623" y="647"/>
                </a:lnTo>
                <a:lnTo>
                  <a:pt x="2586" y="650"/>
                </a:lnTo>
                <a:lnTo>
                  <a:pt x="2553" y="648"/>
                </a:lnTo>
                <a:lnTo>
                  <a:pt x="2522" y="643"/>
                </a:lnTo>
                <a:lnTo>
                  <a:pt x="2494" y="634"/>
                </a:lnTo>
                <a:lnTo>
                  <a:pt x="2468" y="621"/>
                </a:lnTo>
                <a:lnTo>
                  <a:pt x="2443" y="605"/>
                </a:lnTo>
                <a:lnTo>
                  <a:pt x="2421" y="585"/>
                </a:lnTo>
                <a:lnTo>
                  <a:pt x="2400" y="561"/>
                </a:lnTo>
                <a:lnTo>
                  <a:pt x="2383" y="536"/>
                </a:lnTo>
                <a:lnTo>
                  <a:pt x="2371" y="510"/>
                </a:lnTo>
                <a:lnTo>
                  <a:pt x="2362" y="481"/>
                </a:lnTo>
                <a:lnTo>
                  <a:pt x="2357" y="451"/>
                </a:lnTo>
                <a:lnTo>
                  <a:pt x="2355" y="419"/>
                </a:lnTo>
                <a:lnTo>
                  <a:pt x="2357" y="381"/>
                </a:lnTo>
                <a:lnTo>
                  <a:pt x="2365" y="346"/>
                </a:lnTo>
                <a:lnTo>
                  <a:pt x="2378" y="314"/>
                </a:lnTo>
                <a:lnTo>
                  <a:pt x="2396" y="284"/>
                </a:lnTo>
                <a:lnTo>
                  <a:pt x="2421" y="256"/>
                </a:lnTo>
                <a:lnTo>
                  <a:pt x="2443" y="233"/>
                </a:lnTo>
                <a:lnTo>
                  <a:pt x="2468" y="216"/>
                </a:lnTo>
                <a:lnTo>
                  <a:pt x="2494" y="203"/>
                </a:lnTo>
                <a:lnTo>
                  <a:pt x="2522" y="193"/>
                </a:lnTo>
                <a:lnTo>
                  <a:pt x="2553" y="188"/>
                </a:lnTo>
                <a:lnTo>
                  <a:pt x="2586" y="186"/>
                </a:lnTo>
                <a:close/>
                <a:moveTo>
                  <a:pt x="660" y="186"/>
                </a:moveTo>
                <a:lnTo>
                  <a:pt x="691" y="188"/>
                </a:lnTo>
                <a:lnTo>
                  <a:pt x="720" y="193"/>
                </a:lnTo>
                <a:lnTo>
                  <a:pt x="749" y="203"/>
                </a:lnTo>
                <a:lnTo>
                  <a:pt x="775" y="216"/>
                </a:lnTo>
                <a:lnTo>
                  <a:pt x="798" y="233"/>
                </a:lnTo>
                <a:lnTo>
                  <a:pt x="820" y="256"/>
                </a:lnTo>
                <a:lnTo>
                  <a:pt x="844" y="284"/>
                </a:lnTo>
                <a:lnTo>
                  <a:pt x="863" y="314"/>
                </a:lnTo>
                <a:lnTo>
                  <a:pt x="876" y="346"/>
                </a:lnTo>
                <a:lnTo>
                  <a:pt x="884" y="381"/>
                </a:lnTo>
                <a:lnTo>
                  <a:pt x="887" y="419"/>
                </a:lnTo>
                <a:lnTo>
                  <a:pt x="885" y="451"/>
                </a:lnTo>
                <a:lnTo>
                  <a:pt x="879" y="481"/>
                </a:lnTo>
                <a:lnTo>
                  <a:pt x="870" y="510"/>
                </a:lnTo>
                <a:lnTo>
                  <a:pt x="857" y="536"/>
                </a:lnTo>
                <a:lnTo>
                  <a:pt x="841" y="561"/>
                </a:lnTo>
                <a:lnTo>
                  <a:pt x="820" y="585"/>
                </a:lnTo>
                <a:lnTo>
                  <a:pt x="794" y="608"/>
                </a:lnTo>
                <a:lnTo>
                  <a:pt x="764" y="626"/>
                </a:lnTo>
                <a:lnTo>
                  <a:pt x="732" y="639"/>
                </a:lnTo>
                <a:lnTo>
                  <a:pt x="697" y="647"/>
                </a:lnTo>
                <a:lnTo>
                  <a:pt x="660" y="650"/>
                </a:lnTo>
                <a:lnTo>
                  <a:pt x="622" y="647"/>
                </a:lnTo>
                <a:lnTo>
                  <a:pt x="586" y="639"/>
                </a:lnTo>
                <a:lnTo>
                  <a:pt x="551" y="626"/>
                </a:lnTo>
                <a:lnTo>
                  <a:pt x="519" y="608"/>
                </a:lnTo>
                <a:lnTo>
                  <a:pt x="491" y="585"/>
                </a:lnTo>
                <a:lnTo>
                  <a:pt x="470" y="561"/>
                </a:lnTo>
                <a:lnTo>
                  <a:pt x="453" y="536"/>
                </a:lnTo>
                <a:lnTo>
                  <a:pt x="440" y="510"/>
                </a:lnTo>
                <a:lnTo>
                  <a:pt x="430" y="481"/>
                </a:lnTo>
                <a:lnTo>
                  <a:pt x="425" y="451"/>
                </a:lnTo>
                <a:lnTo>
                  <a:pt x="423" y="419"/>
                </a:lnTo>
                <a:lnTo>
                  <a:pt x="426" y="381"/>
                </a:lnTo>
                <a:lnTo>
                  <a:pt x="434" y="346"/>
                </a:lnTo>
                <a:lnTo>
                  <a:pt x="447" y="314"/>
                </a:lnTo>
                <a:lnTo>
                  <a:pt x="466" y="284"/>
                </a:lnTo>
                <a:lnTo>
                  <a:pt x="490" y="256"/>
                </a:lnTo>
                <a:lnTo>
                  <a:pt x="514" y="233"/>
                </a:lnTo>
                <a:lnTo>
                  <a:pt x="540" y="216"/>
                </a:lnTo>
                <a:lnTo>
                  <a:pt x="567" y="203"/>
                </a:lnTo>
                <a:lnTo>
                  <a:pt x="597" y="193"/>
                </a:lnTo>
                <a:lnTo>
                  <a:pt x="628" y="188"/>
                </a:lnTo>
                <a:lnTo>
                  <a:pt x="660" y="186"/>
                </a:lnTo>
                <a:close/>
                <a:moveTo>
                  <a:pt x="1551" y="0"/>
                </a:moveTo>
                <a:lnTo>
                  <a:pt x="1781" y="0"/>
                </a:lnTo>
                <a:lnTo>
                  <a:pt x="1781" y="3320"/>
                </a:lnTo>
                <a:lnTo>
                  <a:pt x="1551" y="3320"/>
                </a:lnTo>
                <a:lnTo>
                  <a:pt x="1551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3" name="Group 11"/>
          <p:cNvGrpSpPr>
            <a:grpSpLocks noChangeAspect="1"/>
          </p:cNvGrpSpPr>
          <p:nvPr/>
        </p:nvGrpSpPr>
        <p:grpSpPr bwMode="auto">
          <a:xfrm>
            <a:off x="9547885" y="2221886"/>
            <a:ext cx="633688" cy="633688"/>
            <a:chOff x="6511" y="3239"/>
            <a:chExt cx="483" cy="483"/>
          </a:xfrm>
          <a:solidFill>
            <a:schemeClr val="bg1"/>
          </a:solidFill>
        </p:grpSpPr>
        <p:sp>
          <p:nvSpPr>
            <p:cNvPr id="44" name="Freeform 13"/>
            <p:cNvSpPr>
              <a:spLocks/>
            </p:cNvSpPr>
            <p:nvPr/>
          </p:nvSpPr>
          <p:spPr bwMode="auto">
            <a:xfrm>
              <a:off x="6511" y="3620"/>
              <a:ext cx="314" cy="102"/>
            </a:xfrm>
            <a:custGeom>
              <a:avLst/>
              <a:gdLst>
                <a:gd name="T0" fmla="*/ 255 w 2200"/>
                <a:gd name="T1" fmla="*/ 0 h 717"/>
                <a:gd name="T2" fmla="*/ 1946 w 2200"/>
                <a:gd name="T3" fmla="*/ 0 h 717"/>
                <a:gd name="T4" fmla="*/ 1984 w 2200"/>
                <a:gd name="T5" fmla="*/ 3 h 717"/>
                <a:gd name="T6" fmla="*/ 2019 w 2200"/>
                <a:gd name="T7" fmla="*/ 12 h 717"/>
                <a:gd name="T8" fmla="*/ 2053 w 2200"/>
                <a:gd name="T9" fmla="*/ 24 h 717"/>
                <a:gd name="T10" fmla="*/ 2084 w 2200"/>
                <a:gd name="T11" fmla="*/ 41 h 717"/>
                <a:gd name="T12" fmla="*/ 2113 w 2200"/>
                <a:gd name="T13" fmla="*/ 63 h 717"/>
                <a:gd name="T14" fmla="*/ 2138 w 2200"/>
                <a:gd name="T15" fmla="*/ 88 h 717"/>
                <a:gd name="T16" fmla="*/ 2159 w 2200"/>
                <a:gd name="T17" fmla="*/ 116 h 717"/>
                <a:gd name="T18" fmla="*/ 2177 w 2200"/>
                <a:gd name="T19" fmla="*/ 147 h 717"/>
                <a:gd name="T20" fmla="*/ 2189 w 2200"/>
                <a:gd name="T21" fmla="*/ 181 h 717"/>
                <a:gd name="T22" fmla="*/ 2197 w 2200"/>
                <a:gd name="T23" fmla="*/ 217 h 717"/>
                <a:gd name="T24" fmla="*/ 2200 w 2200"/>
                <a:gd name="T25" fmla="*/ 255 h 717"/>
                <a:gd name="T26" fmla="*/ 2200 w 2200"/>
                <a:gd name="T27" fmla="*/ 717 h 717"/>
                <a:gd name="T28" fmla="*/ 0 w 2200"/>
                <a:gd name="T29" fmla="*/ 717 h 717"/>
                <a:gd name="T30" fmla="*/ 0 w 2200"/>
                <a:gd name="T31" fmla="*/ 255 h 717"/>
                <a:gd name="T32" fmla="*/ 3 w 2200"/>
                <a:gd name="T33" fmla="*/ 217 h 717"/>
                <a:gd name="T34" fmla="*/ 10 w 2200"/>
                <a:gd name="T35" fmla="*/ 181 h 717"/>
                <a:gd name="T36" fmla="*/ 24 w 2200"/>
                <a:gd name="T37" fmla="*/ 147 h 717"/>
                <a:gd name="T38" fmla="*/ 41 w 2200"/>
                <a:gd name="T39" fmla="*/ 116 h 717"/>
                <a:gd name="T40" fmla="*/ 63 w 2200"/>
                <a:gd name="T41" fmla="*/ 88 h 717"/>
                <a:gd name="T42" fmla="*/ 87 w 2200"/>
                <a:gd name="T43" fmla="*/ 63 h 717"/>
                <a:gd name="T44" fmla="*/ 116 w 2200"/>
                <a:gd name="T45" fmla="*/ 41 h 717"/>
                <a:gd name="T46" fmla="*/ 147 w 2200"/>
                <a:gd name="T47" fmla="*/ 24 h 717"/>
                <a:gd name="T48" fmla="*/ 181 w 2200"/>
                <a:gd name="T49" fmla="*/ 12 h 717"/>
                <a:gd name="T50" fmla="*/ 217 w 2200"/>
                <a:gd name="T51" fmla="*/ 3 h 717"/>
                <a:gd name="T52" fmla="*/ 255 w 2200"/>
                <a:gd name="T53" fmla="*/ 0 h 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00" h="717">
                  <a:moveTo>
                    <a:pt x="255" y="0"/>
                  </a:moveTo>
                  <a:lnTo>
                    <a:pt x="1946" y="0"/>
                  </a:lnTo>
                  <a:lnTo>
                    <a:pt x="1984" y="3"/>
                  </a:lnTo>
                  <a:lnTo>
                    <a:pt x="2019" y="12"/>
                  </a:lnTo>
                  <a:lnTo>
                    <a:pt x="2053" y="24"/>
                  </a:lnTo>
                  <a:lnTo>
                    <a:pt x="2084" y="41"/>
                  </a:lnTo>
                  <a:lnTo>
                    <a:pt x="2113" y="63"/>
                  </a:lnTo>
                  <a:lnTo>
                    <a:pt x="2138" y="88"/>
                  </a:lnTo>
                  <a:lnTo>
                    <a:pt x="2159" y="116"/>
                  </a:lnTo>
                  <a:lnTo>
                    <a:pt x="2177" y="147"/>
                  </a:lnTo>
                  <a:lnTo>
                    <a:pt x="2189" y="181"/>
                  </a:lnTo>
                  <a:lnTo>
                    <a:pt x="2197" y="217"/>
                  </a:lnTo>
                  <a:lnTo>
                    <a:pt x="2200" y="255"/>
                  </a:lnTo>
                  <a:lnTo>
                    <a:pt x="2200" y="717"/>
                  </a:lnTo>
                  <a:lnTo>
                    <a:pt x="0" y="717"/>
                  </a:lnTo>
                  <a:lnTo>
                    <a:pt x="0" y="255"/>
                  </a:lnTo>
                  <a:lnTo>
                    <a:pt x="3" y="217"/>
                  </a:lnTo>
                  <a:lnTo>
                    <a:pt x="10" y="181"/>
                  </a:lnTo>
                  <a:lnTo>
                    <a:pt x="24" y="147"/>
                  </a:lnTo>
                  <a:lnTo>
                    <a:pt x="41" y="116"/>
                  </a:lnTo>
                  <a:lnTo>
                    <a:pt x="63" y="88"/>
                  </a:lnTo>
                  <a:lnTo>
                    <a:pt x="87" y="63"/>
                  </a:lnTo>
                  <a:lnTo>
                    <a:pt x="116" y="41"/>
                  </a:lnTo>
                  <a:lnTo>
                    <a:pt x="147" y="24"/>
                  </a:lnTo>
                  <a:lnTo>
                    <a:pt x="181" y="12"/>
                  </a:lnTo>
                  <a:lnTo>
                    <a:pt x="217" y="3"/>
                  </a:lnTo>
                  <a:lnTo>
                    <a:pt x="2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4"/>
            <p:cNvSpPr>
              <a:spLocks/>
            </p:cNvSpPr>
            <p:nvPr/>
          </p:nvSpPr>
          <p:spPr bwMode="auto">
            <a:xfrm>
              <a:off x="6570" y="3239"/>
              <a:ext cx="424" cy="424"/>
            </a:xfrm>
            <a:custGeom>
              <a:avLst/>
              <a:gdLst>
                <a:gd name="T0" fmla="*/ 1118 w 2969"/>
                <a:gd name="T1" fmla="*/ 0 h 2968"/>
                <a:gd name="T2" fmla="*/ 1165 w 2969"/>
                <a:gd name="T3" fmla="*/ 8 h 2968"/>
                <a:gd name="T4" fmla="*/ 1206 w 2969"/>
                <a:gd name="T5" fmla="*/ 36 h 2968"/>
                <a:gd name="T6" fmla="*/ 1865 w 2969"/>
                <a:gd name="T7" fmla="*/ 699 h 2968"/>
                <a:gd name="T8" fmla="*/ 1884 w 2969"/>
                <a:gd name="T9" fmla="*/ 743 h 2968"/>
                <a:gd name="T10" fmla="*/ 1884 w 2969"/>
                <a:gd name="T11" fmla="*/ 792 h 2968"/>
                <a:gd name="T12" fmla="*/ 1865 w 2969"/>
                <a:gd name="T13" fmla="*/ 837 h 2968"/>
                <a:gd name="T14" fmla="*/ 1831 w 2969"/>
                <a:gd name="T15" fmla="*/ 872 h 2968"/>
                <a:gd name="T16" fmla="*/ 1788 w 2969"/>
                <a:gd name="T17" fmla="*/ 890 h 2968"/>
                <a:gd name="T18" fmla="*/ 1742 w 2969"/>
                <a:gd name="T19" fmla="*/ 891 h 2968"/>
                <a:gd name="T20" fmla="*/ 1698 w 2969"/>
                <a:gd name="T21" fmla="*/ 876 h 2968"/>
                <a:gd name="T22" fmla="*/ 1380 w 2969"/>
                <a:gd name="T23" fmla="*/ 1159 h 2968"/>
                <a:gd name="T24" fmla="*/ 2942 w 2969"/>
                <a:gd name="T25" fmla="*/ 2725 h 2968"/>
                <a:gd name="T26" fmla="*/ 2965 w 2969"/>
                <a:gd name="T27" fmla="*/ 2774 h 2968"/>
                <a:gd name="T28" fmla="*/ 2969 w 2969"/>
                <a:gd name="T29" fmla="*/ 2827 h 2968"/>
                <a:gd name="T30" fmla="*/ 2956 w 2969"/>
                <a:gd name="T31" fmla="*/ 2878 h 2968"/>
                <a:gd name="T32" fmla="*/ 2924 w 2969"/>
                <a:gd name="T33" fmla="*/ 2923 h 2968"/>
                <a:gd name="T34" fmla="*/ 2879 w 2969"/>
                <a:gd name="T35" fmla="*/ 2955 h 2968"/>
                <a:gd name="T36" fmla="*/ 2827 w 2969"/>
                <a:gd name="T37" fmla="*/ 2968 h 2968"/>
                <a:gd name="T38" fmla="*/ 2775 w 2969"/>
                <a:gd name="T39" fmla="*/ 2964 h 2968"/>
                <a:gd name="T40" fmla="*/ 2726 w 2969"/>
                <a:gd name="T41" fmla="*/ 2942 h 2968"/>
                <a:gd name="T42" fmla="*/ 1160 w 2969"/>
                <a:gd name="T43" fmla="*/ 1380 h 2968"/>
                <a:gd name="T44" fmla="*/ 856 w 2969"/>
                <a:gd name="T45" fmla="*/ 1673 h 2968"/>
                <a:gd name="T46" fmla="*/ 884 w 2969"/>
                <a:gd name="T47" fmla="*/ 1714 h 2968"/>
                <a:gd name="T48" fmla="*/ 893 w 2969"/>
                <a:gd name="T49" fmla="*/ 1761 h 2968"/>
                <a:gd name="T50" fmla="*/ 884 w 2969"/>
                <a:gd name="T51" fmla="*/ 1808 h 2968"/>
                <a:gd name="T52" fmla="*/ 856 w 2969"/>
                <a:gd name="T53" fmla="*/ 1849 h 2968"/>
                <a:gd name="T54" fmla="*/ 815 w 2969"/>
                <a:gd name="T55" fmla="*/ 1877 h 2968"/>
                <a:gd name="T56" fmla="*/ 768 w 2969"/>
                <a:gd name="T57" fmla="*/ 1886 h 2968"/>
                <a:gd name="T58" fmla="*/ 720 w 2969"/>
                <a:gd name="T59" fmla="*/ 1877 h 2968"/>
                <a:gd name="T60" fmla="*/ 679 w 2969"/>
                <a:gd name="T61" fmla="*/ 1849 h 2968"/>
                <a:gd name="T62" fmla="*/ 20 w 2969"/>
                <a:gd name="T63" fmla="*/ 1187 h 2968"/>
                <a:gd name="T64" fmla="*/ 2 w 2969"/>
                <a:gd name="T65" fmla="*/ 1142 h 2968"/>
                <a:gd name="T66" fmla="*/ 2 w 2969"/>
                <a:gd name="T67" fmla="*/ 1095 h 2968"/>
                <a:gd name="T68" fmla="*/ 20 w 2969"/>
                <a:gd name="T69" fmla="*/ 1049 h 2968"/>
                <a:gd name="T70" fmla="*/ 56 w 2969"/>
                <a:gd name="T71" fmla="*/ 1013 h 2968"/>
                <a:gd name="T72" fmla="*/ 101 w 2969"/>
                <a:gd name="T73" fmla="*/ 995 h 2968"/>
                <a:gd name="T74" fmla="*/ 149 w 2969"/>
                <a:gd name="T75" fmla="*/ 995 h 2968"/>
                <a:gd name="T76" fmla="*/ 194 w 2969"/>
                <a:gd name="T77" fmla="*/ 1013 h 2968"/>
                <a:gd name="T78" fmla="*/ 208 w 2969"/>
                <a:gd name="T79" fmla="*/ 1024 h 2968"/>
                <a:gd name="T80" fmla="*/ 1030 w 2969"/>
                <a:gd name="T81" fmla="*/ 213 h 2968"/>
                <a:gd name="T82" fmla="*/ 1002 w 2969"/>
                <a:gd name="T83" fmla="*/ 172 h 2968"/>
                <a:gd name="T84" fmla="*/ 993 w 2969"/>
                <a:gd name="T85" fmla="*/ 124 h 2968"/>
                <a:gd name="T86" fmla="*/ 1002 w 2969"/>
                <a:gd name="T87" fmla="*/ 78 h 2968"/>
                <a:gd name="T88" fmla="*/ 1030 w 2969"/>
                <a:gd name="T89" fmla="*/ 36 h 2968"/>
                <a:gd name="T90" fmla="*/ 1072 w 2969"/>
                <a:gd name="T91" fmla="*/ 8 h 2968"/>
                <a:gd name="T92" fmla="*/ 1118 w 2969"/>
                <a:gd name="T93" fmla="*/ 0 h 2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969" h="2968">
                  <a:moveTo>
                    <a:pt x="1118" y="0"/>
                  </a:moveTo>
                  <a:lnTo>
                    <a:pt x="1118" y="0"/>
                  </a:lnTo>
                  <a:lnTo>
                    <a:pt x="1142" y="2"/>
                  </a:lnTo>
                  <a:lnTo>
                    <a:pt x="1165" y="8"/>
                  </a:lnTo>
                  <a:lnTo>
                    <a:pt x="1187" y="21"/>
                  </a:lnTo>
                  <a:lnTo>
                    <a:pt x="1206" y="36"/>
                  </a:lnTo>
                  <a:lnTo>
                    <a:pt x="1850" y="679"/>
                  </a:lnTo>
                  <a:lnTo>
                    <a:pt x="1865" y="699"/>
                  </a:lnTo>
                  <a:lnTo>
                    <a:pt x="1877" y="721"/>
                  </a:lnTo>
                  <a:lnTo>
                    <a:pt x="1884" y="743"/>
                  </a:lnTo>
                  <a:lnTo>
                    <a:pt x="1886" y="768"/>
                  </a:lnTo>
                  <a:lnTo>
                    <a:pt x="1884" y="792"/>
                  </a:lnTo>
                  <a:lnTo>
                    <a:pt x="1877" y="814"/>
                  </a:lnTo>
                  <a:lnTo>
                    <a:pt x="1865" y="837"/>
                  </a:lnTo>
                  <a:lnTo>
                    <a:pt x="1850" y="856"/>
                  </a:lnTo>
                  <a:lnTo>
                    <a:pt x="1831" y="872"/>
                  </a:lnTo>
                  <a:lnTo>
                    <a:pt x="1810" y="883"/>
                  </a:lnTo>
                  <a:lnTo>
                    <a:pt x="1788" y="890"/>
                  </a:lnTo>
                  <a:lnTo>
                    <a:pt x="1765" y="892"/>
                  </a:lnTo>
                  <a:lnTo>
                    <a:pt x="1742" y="891"/>
                  </a:lnTo>
                  <a:lnTo>
                    <a:pt x="1719" y="885"/>
                  </a:lnTo>
                  <a:lnTo>
                    <a:pt x="1698" y="876"/>
                  </a:lnTo>
                  <a:lnTo>
                    <a:pt x="1678" y="861"/>
                  </a:lnTo>
                  <a:lnTo>
                    <a:pt x="1380" y="1159"/>
                  </a:lnTo>
                  <a:lnTo>
                    <a:pt x="2924" y="2703"/>
                  </a:lnTo>
                  <a:lnTo>
                    <a:pt x="2942" y="2725"/>
                  </a:lnTo>
                  <a:lnTo>
                    <a:pt x="2956" y="2748"/>
                  </a:lnTo>
                  <a:lnTo>
                    <a:pt x="2965" y="2774"/>
                  </a:lnTo>
                  <a:lnTo>
                    <a:pt x="2969" y="2800"/>
                  </a:lnTo>
                  <a:lnTo>
                    <a:pt x="2969" y="2827"/>
                  </a:lnTo>
                  <a:lnTo>
                    <a:pt x="2965" y="2853"/>
                  </a:lnTo>
                  <a:lnTo>
                    <a:pt x="2956" y="2878"/>
                  </a:lnTo>
                  <a:lnTo>
                    <a:pt x="2942" y="2901"/>
                  </a:lnTo>
                  <a:lnTo>
                    <a:pt x="2924" y="2923"/>
                  </a:lnTo>
                  <a:lnTo>
                    <a:pt x="2902" y="2942"/>
                  </a:lnTo>
                  <a:lnTo>
                    <a:pt x="2879" y="2955"/>
                  </a:lnTo>
                  <a:lnTo>
                    <a:pt x="2854" y="2964"/>
                  </a:lnTo>
                  <a:lnTo>
                    <a:pt x="2827" y="2968"/>
                  </a:lnTo>
                  <a:lnTo>
                    <a:pt x="2801" y="2968"/>
                  </a:lnTo>
                  <a:lnTo>
                    <a:pt x="2775" y="2964"/>
                  </a:lnTo>
                  <a:lnTo>
                    <a:pt x="2749" y="2955"/>
                  </a:lnTo>
                  <a:lnTo>
                    <a:pt x="2726" y="2942"/>
                  </a:lnTo>
                  <a:lnTo>
                    <a:pt x="2704" y="2923"/>
                  </a:lnTo>
                  <a:lnTo>
                    <a:pt x="1160" y="1380"/>
                  </a:lnTo>
                  <a:lnTo>
                    <a:pt x="862" y="1678"/>
                  </a:lnTo>
                  <a:lnTo>
                    <a:pt x="856" y="1673"/>
                  </a:lnTo>
                  <a:lnTo>
                    <a:pt x="872" y="1692"/>
                  </a:lnTo>
                  <a:lnTo>
                    <a:pt x="884" y="1714"/>
                  </a:lnTo>
                  <a:lnTo>
                    <a:pt x="891" y="1737"/>
                  </a:lnTo>
                  <a:lnTo>
                    <a:pt x="893" y="1761"/>
                  </a:lnTo>
                  <a:lnTo>
                    <a:pt x="891" y="1784"/>
                  </a:lnTo>
                  <a:lnTo>
                    <a:pt x="884" y="1808"/>
                  </a:lnTo>
                  <a:lnTo>
                    <a:pt x="872" y="1830"/>
                  </a:lnTo>
                  <a:lnTo>
                    <a:pt x="856" y="1849"/>
                  </a:lnTo>
                  <a:lnTo>
                    <a:pt x="837" y="1866"/>
                  </a:lnTo>
                  <a:lnTo>
                    <a:pt x="815" y="1877"/>
                  </a:lnTo>
                  <a:lnTo>
                    <a:pt x="792" y="1884"/>
                  </a:lnTo>
                  <a:lnTo>
                    <a:pt x="768" y="1886"/>
                  </a:lnTo>
                  <a:lnTo>
                    <a:pt x="744" y="1884"/>
                  </a:lnTo>
                  <a:lnTo>
                    <a:pt x="720" y="1877"/>
                  </a:lnTo>
                  <a:lnTo>
                    <a:pt x="699" y="1866"/>
                  </a:lnTo>
                  <a:lnTo>
                    <a:pt x="679" y="1849"/>
                  </a:lnTo>
                  <a:lnTo>
                    <a:pt x="37" y="1206"/>
                  </a:lnTo>
                  <a:lnTo>
                    <a:pt x="20" y="1187"/>
                  </a:lnTo>
                  <a:lnTo>
                    <a:pt x="9" y="1165"/>
                  </a:lnTo>
                  <a:lnTo>
                    <a:pt x="2" y="1142"/>
                  </a:lnTo>
                  <a:lnTo>
                    <a:pt x="0" y="1118"/>
                  </a:lnTo>
                  <a:lnTo>
                    <a:pt x="2" y="1095"/>
                  </a:lnTo>
                  <a:lnTo>
                    <a:pt x="9" y="1071"/>
                  </a:lnTo>
                  <a:lnTo>
                    <a:pt x="20" y="1049"/>
                  </a:lnTo>
                  <a:lnTo>
                    <a:pt x="37" y="1030"/>
                  </a:lnTo>
                  <a:lnTo>
                    <a:pt x="56" y="1013"/>
                  </a:lnTo>
                  <a:lnTo>
                    <a:pt x="78" y="1002"/>
                  </a:lnTo>
                  <a:lnTo>
                    <a:pt x="101" y="995"/>
                  </a:lnTo>
                  <a:lnTo>
                    <a:pt x="125" y="993"/>
                  </a:lnTo>
                  <a:lnTo>
                    <a:pt x="149" y="995"/>
                  </a:lnTo>
                  <a:lnTo>
                    <a:pt x="172" y="1002"/>
                  </a:lnTo>
                  <a:lnTo>
                    <a:pt x="194" y="1013"/>
                  </a:lnTo>
                  <a:lnTo>
                    <a:pt x="213" y="1030"/>
                  </a:lnTo>
                  <a:lnTo>
                    <a:pt x="208" y="1024"/>
                  </a:lnTo>
                  <a:lnTo>
                    <a:pt x="1024" y="207"/>
                  </a:lnTo>
                  <a:lnTo>
                    <a:pt x="1030" y="213"/>
                  </a:lnTo>
                  <a:lnTo>
                    <a:pt x="1014" y="193"/>
                  </a:lnTo>
                  <a:lnTo>
                    <a:pt x="1002" y="172"/>
                  </a:lnTo>
                  <a:lnTo>
                    <a:pt x="996" y="149"/>
                  </a:lnTo>
                  <a:lnTo>
                    <a:pt x="993" y="124"/>
                  </a:lnTo>
                  <a:lnTo>
                    <a:pt x="996" y="101"/>
                  </a:lnTo>
                  <a:lnTo>
                    <a:pt x="1002" y="78"/>
                  </a:lnTo>
                  <a:lnTo>
                    <a:pt x="1014" y="56"/>
                  </a:lnTo>
                  <a:lnTo>
                    <a:pt x="1030" y="36"/>
                  </a:lnTo>
                  <a:lnTo>
                    <a:pt x="1049" y="21"/>
                  </a:lnTo>
                  <a:lnTo>
                    <a:pt x="1072" y="8"/>
                  </a:lnTo>
                  <a:lnTo>
                    <a:pt x="1094" y="2"/>
                  </a:lnTo>
                  <a:lnTo>
                    <a:pt x="1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8970411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FFICULTIES IN DRAFTING A MARITAL AGREE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15</a:t>
            </a:fld>
            <a:endParaRPr lang="en-US"/>
          </a:p>
        </p:txBody>
      </p:sp>
      <p:sp>
        <p:nvSpPr>
          <p:cNvPr id="39" name="Freeform 5"/>
          <p:cNvSpPr>
            <a:spLocks/>
          </p:cNvSpPr>
          <p:nvPr/>
        </p:nvSpPr>
        <p:spPr bwMode="auto">
          <a:xfrm>
            <a:off x="84138" y="1258888"/>
            <a:ext cx="1400175" cy="5006975"/>
          </a:xfrm>
          <a:custGeom>
            <a:avLst/>
            <a:gdLst>
              <a:gd name="T0" fmla="*/ 80 w 7346"/>
              <a:gd name="T1" fmla="*/ 0 h 26310"/>
              <a:gd name="T2" fmla="*/ 80 w 7346"/>
              <a:gd name="T3" fmla="*/ 26310 h 26310"/>
              <a:gd name="T4" fmla="*/ 0 w 7346"/>
              <a:gd name="T5" fmla="*/ 26230 h 26310"/>
              <a:gd name="T6" fmla="*/ 0 w 7346"/>
              <a:gd name="T7" fmla="*/ 81 h 26310"/>
              <a:gd name="T8" fmla="*/ 80 w 7346"/>
              <a:gd name="T9" fmla="*/ 0 h 26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346" h="26310">
                <a:moveTo>
                  <a:pt x="80" y="0"/>
                </a:moveTo>
                <a:cubicBezTo>
                  <a:pt x="7346" y="7266"/>
                  <a:pt x="7346" y="19045"/>
                  <a:pt x="80" y="26310"/>
                </a:cubicBezTo>
                <a:lnTo>
                  <a:pt x="0" y="26230"/>
                </a:lnTo>
                <a:cubicBezTo>
                  <a:pt x="7221" y="19009"/>
                  <a:pt x="7221" y="7302"/>
                  <a:pt x="0" y="81"/>
                </a:cubicBezTo>
                <a:lnTo>
                  <a:pt x="80" y="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  <a:ln w="12700" cap="flat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0" name="Rectangle 6"/>
          <p:cNvSpPr>
            <a:spLocks noChangeArrowheads="1"/>
          </p:cNvSpPr>
          <p:nvPr/>
        </p:nvSpPr>
        <p:spPr bwMode="auto">
          <a:xfrm>
            <a:off x="368300" y="1351806"/>
            <a:ext cx="11214100" cy="517428"/>
          </a:xfrm>
          <a:prstGeom prst="rect">
            <a:avLst/>
          </a:prstGeom>
          <a:solidFill>
            <a:srgbClr val="00569B"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1" name="Oval 8"/>
          <p:cNvSpPr>
            <a:spLocks noChangeArrowheads="1"/>
          </p:cNvSpPr>
          <p:nvPr/>
        </p:nvSpPr>
        <p:spPr bwMode="auto">
          <a:xfrm>
            <a:off x="69850" y="1312863"/>
            <a:ext cx="598488" cy="596900"/>
          </a:xfrm>
          <a:prstGeom prst="ellipse">
            <a:avLst/>
          </a:prstGeom>
          <a:solidFill>
            <a:srgbClr val="FFFFFF"/>
          </a:solidFill>
          <a:ln w="0">
            <a:solidFill>
              <a:srgbClr val="00569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>
                <a:solidFill>
                  <a:srgbClr val="00569B"/>
                </a:solidFill>
              </a:rPr>
              <a:t>1</a:t>
            </a:r>
          </a:p>
        </p:txBody>
      </p:sp>
      <p:sp>
        <p:nvSpPr>
          <p:cNvPr id="42" name="Rectangle 10"/>
          <p:cNvSpPr>
            <a:spLocks noChangeArrowheads="1"/>
          </p:cNvSpPr>
          <p:nvPr/>
        </p:nvSpPr>
        <p:spPr bwMode="auto">
          <a:xfrm>
            <a:off x="803275" y="2069356"/>
            <a:ext cx="10779125" cy="517428"/>
          </a:xfrm>
          <a:prstGeom prst="rect">
            <a:avLst/>
          </a:prstGeom>
          <a:solidFill>
            <a:srgbClr val="26867C"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Oval 12"/>
          <p:cNvSpPr>
            <a:spLocks noChangeArrowheads="1"/>
          </p:cNvSpPr>
          <p:nvPr/>
        </p:nvSpPr>
        <p:spPr bwMode="auto">
          <a:xfrm>
            <a:off x="503238" y="2028826"/>
            <a:ext cx="598488" cy="598488"/>
          </a:xfrm>
          <a:prstGeom prst="ellipse">
            <a:avLst/>
          </a:prstGeom>
          <a:solidFill>
            <a:srgbClr val="FFFFFF"/>
          </a:solidFill>
          <a:ln w="0">
            <a:solidFill>
              <a:srgbClr val="26867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>
                <a:solidFill>
                  <a:srgbClr val="26867C"/>
                </a:solidFill>
              </a:rPr>
              <a:t>2</a:t>
            </a:r>
          </a:p>
        </p:txBody>
      </p:sp>
      <p:sp>
        <p:nvSpPr>
          <p:cNvPr id="44" name="Rectangle 14"/>
          <p:cNvSpPr>
            <a:spLocks noChangeArrowheads="1"/>
          </p:cNvSpPr>
          <p:nvPr/>
        </p:nvSpPr>
        <p:spPr bwMode="auto">
          <a:xfrm>
            <a:off x="1041399" y="2785318"/>
            <a:ext cx="10561853" cy="517428"/>
          </a:xfrm>
          <a:prstGeom prst="rect">
            <a:avLst/>
          </a:prstGeom>
          <a:solidFill>
            <a:srgbClr val="00569B"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5" name="Oval 16"/>
          <p:cNvSpPr>
            <a:spLocks noChangeArrowheads="1"/>
          </p:cNvSpPr>
          <p:nvPr/>
        </p:nvSpPr>
        <p:spPr bwMode="auto">
          <a:xfrm>
            <a:off x="739775" y="2746376"/>
            <a:ext cx="600075" cy="598488"/>
          </a:xfrm>
          <a:prstGeom prst="ellipse">
            <a:avLst/>
          </a:prstGeom>
          <a:solidFill>
            <a:srgbClr val="FFFFFF"/>
          </a:solidFill>
          <a:ln w="0">
            <a:solidFill>
              <a:srgbClr val="00569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>
                <a:solidFill>
                  <a:srgbClr val="00569B"/>
                </a:solidFill>
              </a:rPr>
              <a:t>3</a:t>
            </a:r>
          </a:p>
        </p:txBody>
      </p:sp>
      <p:sp>
        <p:nvSpPr>
          <p:cNvPr id="46" name="Rectangle 18"/>
          <p:cNvSpPr>
            <a:spLocks noChangeArrowheads="1"/>
          </p:cNvSpPr>
          <p:nvPr/>
        </p:nvSpPr>
        <p:spPr bwMode="auto">
          <a:xfrm>
            <a:off x="1116014" y="3504456"/>
            <a:ext cx="10493956" cy="517428"/>
          </a:xfrm>
          <a:prstGeom prst="rect">
            <a:avLst/>
          </a:prstGeom>
          <a:solidFill>
            <a:srgbClr val="26867C"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7" name="Oval 20"/>
          <p:cNvSpPr>
            <a:spLocks noChangeArrowheads="1"/>
          </p:cNvSpPr>
          <p:nvPr/>
        </p:nvSpPr>
        <p:spPr bwMode="auto">
          <a:xfrm>
            <a:off x="815975" y="3463926"/>
            <a:ext cx="600075" cy="596900"/>
          </a:xfrm>
          <a:prstGeom prst="ellipse">
            <a:avLst/>
          </a:prstGeom>
          <a:solidFill>
            <a:srgbClr val="FFFFFF"/>
          </a:solidFill>
          <a:ln w="0">
            <a:solidFill>
              <a:srgbClr val="26867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>
                <a:solidFill>
                  <a:srgbClr val="26867C"/>
                </a:solidFill>
              </a:rPr>
              <a:t>4</a:t>
            </a:r>
          </a:p>
        </p:txBody>
      </p:sp>
      <p:sp>
        <p:nvSpPr>
          <p:cNvPr id="48" name="Rectangle 22"/>
          <p:cNvSpPr>
            <a:spLocks noChangeArrowheads="1"/>
          </p:cNvSpPr>
          <p:nvPr/>
        </p:nvSpPr>
        <p:spPr bwMode="auto">
          <a:xfrm>
            <a:off x="1041399" y="4222006"/>
            <a:ext cx="10561853" cy="517428"/>
          </a:xfrm>
          <a:prstGeom prst="rect">
            <a:avLst/>
          </a:prstGeom>
          <a:solidFill>
            <a:srgbClr val="00569B"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" name="Oval 24"/>
          <p:cNvSpPr>
            <a:spLocks noChangeArrowheads="1"/>
          </p:cNvSpPr>
          <p:nvPr/>
        </p:nvSpPr>
        <p:spPr bwMode="auto">
          <a:xfrm>
            <a:off x="739775" y="4181476"/>
            <a:ext cx="600075" cy="596900"/>
          </a:xfrm>
          <a:prstGeom prst="ellipse">
            <a:avLst/>
          </a:prstGeom>
          <a:solidFill>
            <a:srgbClr val="FFFFFF"/>
          </a:solidFill>
          <a:ln w="0">
            <a:solidFill>
              <a:srgbClr val="00569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>
                <a:solidFill>
                  <a:srgbClr val="00569B"/>
                </a:solidFill>
              </a:rPr>
              <a:t>5</a:t>
            </a:r>
          </a:p>
        </p:txBody>
      </p:sp>
      <p:sp>
        <p:nvSpPr>
          <p:cNvPr id="50" name="Rectangle 26"/>
          <p:cNvSpPr>
            <a:spLocks noChangeArrowheads="1"/>
          </p:cNvSpPr>
          <p:nvPr/>
        </p:nvSpPr>
        <p:spPr bwMode="auto">
          <a:xfrm>
            <a:off x="803275" y="4937968"/>
            <a:ext cx="10779125" cy="517428"/>
          </a:xfrm>
          <a:prstGeom prst="rect">
            <a:avLst/>
          </a:prstGeom>
          <a:solidFill>
            <a:srgbClr val="26867C"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" name="Oval 28"/>
          <p:cNvSpPr>
            <a:spLocks noChangeArrowheads="1"/>
          </p:cNvSpPr>
          <p:nvPr/>
        </p:nvSpPr>
        <p:spPr bwMode="auto">
          <a:xfrm>
            <a:off x="503238" y="4897438"/>
            <a:ext cx="598488" cy="598488"/>
          </a:xfrm>
          <a:prstGeom prst="ellipse">
            <a:avLst/>
          </a:prstGeom>
          <a:solidFill>
            <a:srgbClr val="FFFFFF"/>
          </a:solidFill>
          <a:ln w="0">
            <a:solidFill>
              <a:srgbClr val="26867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>
                <a:solidFill>
                  <a:srgbClr val="26867C"/>
                </a:solidFill>
              </a:rPr>
              <a:t>6</a:t>
            </a:r>
          </a:p>
        </p:txBody>
      </p:sp>
      <p:sp>
        <p:nvSpPr>
          <p:cNvPr id="52" name="Rectangle 30"/>
          <p:cNvSpPr>
            <a:spLocks noChangeArrowheads="1"/>
          </p:cNvSpPr>
          <p:nvPr/>
        </p:nvSpPr>
        <p:spPr bwMode="auto">
          <a:xfrm>
            <a:off x="368300" y="5655518"/>
            <a:ext cx="11214100" cy="517428"/>
          </a:xfrm>
          <a:prstGeom prst="rect">
            <a:avLst/>
          </a:prstGeom>
          <a:solidFill>
            <a:srgbClr val="00569B">
              <a:alpha val="3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3" name="Oval 32"/>
          <p:cNvSpPr>
            <a:spLocks noChangeArrowheads="1"/>
          </p:cNvSpPr>
          <p:nvPr/>
        </p:nvSpPr>
        <p:spPr bwMode="auto">
          <a:xfrm>
            <a:off x="69850" y="5614988"/>
            <a:ext cx="598488" cy="596900"/>
          </a:xfrm>
          <a:prstGeom prst="ellipse">
            <a:avLst/>
          </a:prstGeom>
          <a:solidFill>
            <a:srgbClr val="FFFFFF"/>
          </a:solidFill>
          <a:ln w="0">
            <a:solidFill>
              <a:srgbClr val="00569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b="1" dirty="0">
                <a:solidFill>
                  <a:srgbClr val="00569B"/>
                </a:solidFill>
              </a:rPr>
              <a:t>7</a:t>
            </a:r>
          </a:p>
        </p:txBody>
      </p:sp>
      <p:sp>
        <p:nvSpPr>
          <p:cNvPr id="54" name="Rectangle 53"/>
          <p:cNvSpPr/>
          <p:nvPr/>
        </p:nvSpPr>
        <p:spPr>
          <a:xfrm>
            <a:off x="858837" y="1330755"/>
            <a:ext cx="10494963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arties have relied on certain state’s law in preparing the agreement. One must address separate &amp; marital property in other jurisdiction with other rules</a:t>
            </a:r>
          </a:p>
        </p:txBody>
      </p:sp>
      <p:sp>
        <p:nvSpPr>
          <p:cNvPr id="55" name="Rectangle 54"/>
          <p:cNvSpPr/>
          <p:nvPr/>
        </p:nvSpPr>
        <p:spPr>
          <a:xfrm>
            <a:off x="1116013" y="2162938"/>
            <a:ext cx="10912855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Procedural fairness requirement. Substantial fairness</a:t>
            </a:r>
          </a:p>
        </p:txBody>
      </p:sp>
      <p:sp>
        <p:nvSpPr>
          <p:cNvPr id="56" name="Rectangle 55"/>
          <p:cNvSpPr/>
          <p:nvPr/>
        </p:nvSpPr>
        <p:spPr>
          <a:xfrm>
            <a:off x="1371943" y="2882450"/>
            <a:ext cx="10343807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Unenforceable if waiver is unfair and unreasonable</a:t>
            </a:r>
          </a:p>
        </p:txBody>
      </p:sp>
      <p:sp>
        <p:nvSpPr>
          <p:cNvPr id="57" name="Rectangle 56"/>
          <p:cNvSpPr/>
          <p:nvPr/>
        </p:nvSpPr>
        <p:spPr>
          <a:xfrm>
            <a:off x="1371943" y="3601588"/>
            <a:ext cx="10343807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obility of client</a:t>
            </a:r>
          </a:p>
        </p:txBody>
      </p:sp>
      <p:sp>
        <p:nvSpPr>
          <p:cNvPr id="58" name="Rectangle 57"/>
          <p:cNvSpPr/>
          <p:nvPr/>
        </p:nvSpPr>
        <p:spPr>
          <a:xfrm>
            <a:off x="1371943" y="4319138"/>
            <a:ext cx="10343807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here real estate is located</a:t>
            </a:r>
          </a:p>
        </p:txBody>
      </p:sp>
      <p:sp>
        <p:nvSpPr>
          <p:cNvPr id="59" name="Rectangle 58"/>
          <p:cNvSpPr/>
          <p:nvPr/>
        </p:nvSpPr>
        <p:spPr>
          <a:xfrm>
            <a:off x="1116013" y="5035100"/>
            <a:ext cx="10343807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here parties reside and mobility of client</a:t>
            </a:r>
          </a:p>
        </p:txBody>
      </p:sp>
      <p:sp>
        <p:nvSpPr>
          <p:cNvPr id="60" name="Rectangle 59"/>
          <p:cNvSpPr/>
          <p:nvPr/>
        </p:nvSpPr>
        <p:spPr>
          <a:xfrm>
            <a:off x="858837" y="5751855"/>
            <a:ext cx="10343807" cy="32316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15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Where agreement was entered into</a:t>
            </a:r>
          </a:p>
        </p:txBody>
      </p:sp>
    </p:spTree>
    <p:extLst>
      <p:ext uri="{BB962C8B-B14F-4D97-AF65-F5344CB8AC3E}">
        <p14:creationId xmlns:p14="http://schemas.microsoft.com/office/powerpoint/2010/main" val="41582511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ANCIAL DISCLOSUR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16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1683554" y="1447800"/>
            <a:ext cx="9898845" cy="82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ust be fair with full disclosure</a:t>
            </a:r>
          </a:p>
        </p:txBody>
      </p:sp>
      <p:sp>
        <p:nvSpPr>
          <p:cNvPr id="6" name="Rectangle 5"/>
          <p:cNvSpPr/>
          <p:nvPr/>
        </p:nvSpPr>
        <p:spPr>
          <a:xfrm>
            <a:off x="1683554" y="2423160"/>
            <a:ext cx="9898845" cy="82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Earnings</a:t>
            </a:r>
          </a:p>
        </p:txBody>
      </p:sp>
      <p:sp>
        <p:nvSpPr>
          <p:cNvPr id="7" name="Rectangle 6"/>
          <p:cNvSpPr/>
          <p:nvPr/>
        </p:nvSpPr>
        <p:spPr>
          <a:xfrm>
            <a:off x="1683555" y="3398520"/>
            <a:ext cx="9902952" cy="82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ctr"/>
          <a:lstStyle/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limony Obligations 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Child support</a:t>
            </a:r>
          </a:p>
        </p:txBody>
      </p:sp>
      <p:sp>
        <p:nvSpPr>
          <p:cNvPr id="8" name="Rectangle 7"/>
          <p:cNvSpPr/>
          <p:nvPr/>
        </p:nvSpPr>
        <p:spPr>
          <a:xfrm>
            <a:off x="1683555" y="4373880"/>
            <a:ext cx="9902952" cy="82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ctr"/>
          <a:lstStyle/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ssets </a:t>
            </a:r>
          </a:p>
          <a:p>
            <a:pPr marL="182880" indent="-182880">
              <a:buFont typeface="Arial" panose="020B0604020202020204" pitchFamily="34" charset="0"/>
              <a:buChar char="•"/>
            </a:pPr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iabilities</a:t>
            </a:r>
          </a:p>
        </p:txBody>
      </p:sp>
      <p:sp>
        <p:nvSpPr>
          <p:cNvPr id="9" name="Rectangle 8"/>
          <p:cNvSpPr/>
          <p:nvPr/>
        </p:nvSpPr>
        <p:spPr>
          <a:xfrm>
            <a:off x="1683554" y="5349240"/>
            <a:ext cx="9898845" cy="82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ther relevant information</a:t>
            </a:r>
          </a:p>
        </p:txBody>
      </p:sp>
      <p:sp>
        <p:nvSpPr>
          <p:cNvPr id="10" name="Rectangle 9"/>
          <p:cNvSpPr/>
          <p:nvPr/>
        </p:nvSpPr>
        <p:spPr>
          <a:xfrm>
            <a:off x="781050" y="1447800"/>
            <a:ext cx="822960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781050" y="2423160"/>
            <a:ext cx="822960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781050" y="3398520"/>
            <a:ext cx="822960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781050" y="4373880"/>
            <a:ext cx="822960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781050" y="5349240"/>
            <a:ext cx="822960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09600" y="1447800"/>
            <a:ext cx="91905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609600" y="2423160"/>
            <a:ext cx="91905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609600" y="3398520"/>
            <a:ext cx="91905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609600" y="4373880"/>
            <a:ext cx="91905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609600" y="5349240"/>
            <a:ext cx="91905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/>
          <p:cNvGrpSpPr>
            <a:grpSpLocks noChangeAspect="1"/>
          </p:cNvGrpSpPr>
          <p:nvPr/>
        </p:nvGrpSpPr>
        <p:grpSpPr bwMode="auto">
          <a:xfrm>
            <a:off x="965373" y="1609352"/>
            <a:ext cx="454315" cy="499855"/>
            <a:chOff x="-576" y="3243"/>
            <a:chExt cx="419" cy="461"/>
          </a:xfrm>
          <a:solidFill>
            <a:schemeClr val="bg1"/>
          </a:solidFill>
        </p:grpSpPr>
        <p:sp>
          <p:nvSpPr>
            <p:cNvPr id="21" name="Freeform 6"/>
            <p:cNvSpPr>
              <a:spLocks noEditPoints="1"/>
            </p:cNvSpPr>
            <p:nvPr/>
          </p:nvSpPr>
          <p:spPr bwMode="auto">
            <a:xfrm>
              <a:off x="-365" y="3496"/>
              <a:ext cx="208" cy="208"/>
            </a:xfrm>
            <a:custGeom>
              <a:avLst/>
              <a:gdLst>
                <a:gd name="T0" fmla="*/ 732 w 1672"/>
                <a:gd name="T1" fmla="*/ 934 h 1666"/>
                <a:gd name="T2" fmla="*/ 238 w 1672"/>
                <a:gd name="T3" fmla="*/ 797 h 1666"/>
                <a:gd name="T4" fmla="*/ 1380 w 1672"/>
                <a:gd name="T5" fmla="*/ 642 h 1666"/>
                <a:gd name="T6" fmla="*/ 836 w 1672"/>
                <a:gd name="T7" fmla="*/ 0 h 1666"/>
                <a:gd name="T8" fmla="*/ 986 w 1672"/>
                <a:gd name="T9" fmla="*/ 13 h 1666"/>
                <a:gd name="T10" fmla="*/ 1127 w 1672"/>
                <a:gd name="T11" fmla="*/ 51 h 1666"/>
                <a:gd name="T12" fmla="*/ 1257 w 1672"/>
                <a:gd name="T13" fmla="*/ 114 h 1666"/>
                <a:gd name="T14" fmla="*/ 1374 w 1672"/>
                <a:gd name="T15" fmla="*/ 195 h 1666"/>
                <a:gd name="T16" fmla="*/ 1474 w 1672"/>
                <a:gd name="T17" fmla="*/ 296 h 1666"/>
                <a:gd name="T18" fmla="*/ 1557 w 1672"/>
                <a:gd name="T19" fmla="*/ 412 h 1666"/>
                <a:gd name="T20" fmla="*/ 1619 w 1672"/>
                <a:gd name="T21" fmla="*/ 542 h 1666"/>
                <a:gd name="T22" fmla="*/ 1658 w 1672"/>
                <a:gd name="T23" fmla="*/ 683 h 1666"/>
                <a:gd name="T24" fmla="*/ 1672 w 1672"/>
                <a:gd name="T25" fmla="*/ 832 h 1666"/>
                <a:gd name="T26" fmla="*/ 1658 w 1672"/>
                <a:gd name="T27" fmla="*/ 982 h 1666"/>
                <a:gd name="T28" fmla="*/ 1619 w 1672"/>
                <a:gd name="T29" fmla="*/ 1123 h 1666"/>
                <a:gd name="T30" fmla="*/ 1557 w 1672"/>
                <a:gd name="T31" fmla="*/ 1252 h 1666"/>
                <a:gd name="T32" fmla="*/ 1474 w 1672"/>
                <a:gd name="T33" fmla="*/ 1369 h 1666"/>
                <a:gd name="T34" fmla="*/ 1374 w 1672"/>
                <a:gd name="T35" fmla="*/ 1469 h 1666"/>
                <a:gd name="T36" fmla="*/ 1257 w 1672"/>
                <a:gd name="T37" fmla="*/ 1552 h 1666"/>
                <a:gd name="T38" fmla="*/ 1127 w 1672"/>
                <a:gd name="T39" fmla="*/ 1613 h 1666"/>
                <a:gd name="T40" fmla="*/ 986 w 1672"/>
                <a:gd name="T41" fmla="*/ 1653 h 1666"/>
                <a:gd name="T42" fmla="*/ 836 w 1672"/>
                <a:gd name="T43" fmla="*/ 1666 h 1666"/>
                <a:gd name="T44" fmla="*/ 686 w 1672"/>
                <a:gd name="T45" fmla="*/ 1653 h 1666"/>
                <a:gd name="T46" fmla="*/ 545 w 1672"/>
                <a:gd name="T47" fmla="*/ 1613 h 1666"/>
                <a:gd name="T48" fmla="*/ 415 w 1672"/>
                <a:gd name="T49" fmla="*/ 1552 h 1666"/>
                <a:gd name="T50" fmla="*/ 298 w 1672"/>
                <a:gd name="T51" fmla="*/ 1469 h 1666"/>
                <a:gd name="T52" fmla="*/ 198 w 1672"/>
                <a:gd name="T53" fmla="*/ 1369 h 1666"/>
                <a:gd name="T54" fmla="*/ 115 w 1672"/>
                <a:gd name="T55" fmla="*/ 1252 h 1666"/>
                <a:gd name="T56" fmla="*/ 53 w 1672"/>
                <a:gd name="T57" fmla="*/ 1123 h 1666"/>
                <a:gd name="T58" fmla="*/ 14 w 1672"/>
                <a:gd name="T59" fmla="*/ 982 h 1666"/>
                <a:gd name="T60" fmla="*/ 0 w 1672"/>
                <a:gd name="T61" fmla="*/ 832 h 1666"/>
                <a:gd name="T62" fmla="*/ 14 w 1672"/>
                <a:gd name="T63" fmla="*/ 683 h 1666"/>
                <a:gd name="T64" fmla="*/ 53 w 1672"/>
                <a:gd name="T65" fmla="*/ 542 h 1666"/>
                <a:gd name="T66" fmla="*/ 115 w 1672"/>
                <a:gd name="T67" fmla="*/ 412 h 1666"/>
                <a:gd name="T68" fmla="*/ 198 w 1672"/>
                <a:gd name="T69" fmla="*/ 296 h 1666"/>
                <a:gd name="T70" fmla="*/ 298 w 1672"/>
                <a:gd name="T71" fmla="*/ 195 h 1666"/>
                <a:gd name="T72" fmla="*/ 415 w 1672"/>
                <a:gd name="T73" fmla="*/ 114 h 1666"/>
                <a:gd name="T74" fmla="*/ 545 w 1672"/>
                <a:gd name="T75" fmla="*/ 51 h 1666"/>
                <a:gd name="T76" fmla="*/ 686 w 1672"/>
                <a:gd name="T77" fmla="*/ 13 h 1666"/>
                <a:gd name="T78" fmla="*/ 836 w 1672"/>
                <a:gd name="T79" fmla="*/ 0 h 1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72" h="1666">
                  <a:moveTo>
                    <a:pt x="1202" y="465"/>
                  </a:moveTo>
                  <a:lnTo>
                    <a:pt x="732" y="934"/>
                  </a:lnTo>
                  <a:lnTo>
                    <a:pt x="416" y="619"/>
                  </a:lnTo>
                  <a:lnTo>
                    <a:pt x="238" y="797"/>
                  </a:lnTo>
                  <a:lnTo>
                    <a:pt x="732" y="1289"/>
                  </a:lnTo>
                  <a:lnTo>
                    <a:pt x="1380" y="642"/>
                  </a:lnTo>
                  <a:lnTo>
                    <a:pt x="1202" y="465"/>
                  </a:lnTo>
                  <a:close/>
                  <a:moveTo>
                    <a:pt x="836" y="0"/>
                  </a:moveTo>
                  <a:lnTo>
                    <a:pt x="912" y="3"/>
                  </a:lnTo>
                  <a:lnTo>
                    <a:pt x="986" y="13"/>
                  </a:lnTo>
                  <a:lnTo>
                    <a:pt x="1058" y="29"/>
                  </a:lnTo>
                  <a:lnTo>
                    <a:pt x="1127" y="51"/>
                  </a:lnTo>
                  <a:lnTo>
                    <a:pt x="1193" y="79"/>
                  </a:lnTo>
                  <a:lnTo>
                    <a:pt x="1257" y="114"/>
                  </a:lnTo>
                  <a:lnTo>
                    <a:pt x="1318" y="152"/>
                  </a:lnTo>
                  <a:lnTo>
                    <a:pt x="1374" y="195"/>
                  </a:lnTo>
                  <a:lnTo>
                    <a:pt x="1426" y="243"/>
                  </a:lnTo>
                  <a:lnTo>
                    <a:pt x="1474" y="296"/>
                  </a:lnTo>
                  <a:lnTo>
                    <a:pt x="1518" y="353"/>
                  </a:lnTo>
                  <a:lnTo>
                    <a:pt x="1557" y="412"/>
                  </a:lnTo>
                  <a:lnTo>
                    <a:pt x="1591" y="476"/>
                  </a:lnTo>
                  <a:lnTo>
                    <a:pt x="1619" y="542"/>
                  </a:lnTo>
                  <a:lnTo>
                    <a:pt x="1641" y="611"/>
                  </a:lnTo>
                  <a:lnTo>
                    <a:pt x="1658" y="683"/>
                  </a:lnTo>
                  <a:lnTo>
                    <a:pt x="1668" y="757"/>
                  </a:lnTo>
                  <a:lnTo>
                    <a:pt x="1672" y="832"/>
                  </a:lnTo>
                  <a:lnTo>
                    <a:pt x="1668" y="908"/>
                  </a:lnTo>
                  <a:lnTo>
                    <a:pt x="1658" y="982"/>
                  </a:lnTo>
                  <a:lnTo>
                    <a:pt x="1641" y="1054"/>
                  </a:lnTo>
                  <a:lnTo>
                    <a:pt x="1619" y="1123"/>
                  </a:lnTo>
                  <a:lnTo>
                    <a:pt x="1591" y="1190"/>
                  </a:lnTo>
                  <a:lnTo>
                    <a:pt x="1557" y="1252"/>
                  </a:lnTo>
                  <a:lnTo>
                    <a:pt x="1518" y="1313"/>
                  </a:lnTo>
                  <a:lnTo>
                    <a:pt x="1474" y="1369"/>
                  </a:lnTo>
                  <a:lnTo>
                    <a:pt x="1426" y="1421"/>
                  </a:lnTo>
                  <a:lnTo>
                    <a:pt x="1374" y="1469"/>
                  </a:lnTo>
                  <a:lnTo>
                    <a:pt x="1318" y="1513"/>
                  </a:lnTo>
                  <a:lnTo>
                    <a:pt x="1257" y="1552"/>
                  </a:lnTo>
                  <a:lnTo>
                    <a:pt x="1193" y="1586"/>
                  </a:lnTo>
                  <a:lnTo>
                    <a:pt x="1127" y="1613"/>
                  </a:lnTo>
                  <a:lnTo>
                    <a:pt x="1058" y="1636"/>
                  </a:lnTo>
                  <a:lnTo>
                    <a:pt x="986" y="1653"/>
                  </a:lnTo>
                  <a:lnTo>
                    <a:pt x="912" y="1663"/>
                  </a:lnTo>
                  <a:lnTo>
                    <a:pt x="836" y="1666"/>
                  </a:lnTo>
                  <a:lnTo>
                    <a:pt x="760" y="1663"/>
                  </a:lnTo>
                  <a:lnTo>
                    <a:pt x="686" y="1653"/>
                  </a:lnTo>
                  <a:lnTo>
                    <a:pt x="614" y="1636"/>
                  </a:lnTo>
                  <a:lnTo>
                    <a:pt x="545" y="1613"/>
                  </a:lnTo>
                  <a:lnTo>
                    <a:pt x="479" y="1586"/>
                  </a:lnTo>
                  <a:lnTo>
                    <a:pt x="415" y="1552"/>
                  </a:lnTo>
                  <a:lnTo>
                    <a:pt x="354" y="1513"/>
                  </a:lnTo>
                  <a:lnTo>
                    <a:pt x="298" y="1469"/>
                  </a:lnTo>
                  <a:lnTo>
                    <a:pt x="246" y="1421"/>
                  </a:lnTo>
                  <a:lnTo>
                    <a:pt x="198" y="1369"/>
                  </a:lnTo>
                  <a:lnTo>
                    <a:pt x="154" y="1313"/>
                  </a:lnTo>
                  <a:lnTo>
                    <a:pt x="115" y="1252"/>
                  </a:lnTo>
                  <a:lnTo>
                    <a:pt x="81" y="1190"/>
                  </a:lnTo>
                  <a:lnTo>
                    <a:pt x="53" y="1123"/>
                  </a:lnTo>
                  <a:lnTo>
                    <a:pt x="31" y="1054"/>
                  </a:lnTo>
                  <a:lnTo>
                    <a:pt x="14" y="982"/>
                  </a:lnTo>
                  <a:lnTo>
                    <a:pt x="4" y="908"/>
                  </a:lnTo>
                  <a:lnTo>
                    <a:pt x="0" y="832"/>
                  </a:lnTo>
                  <a:lnTo>
                    <a:pt x="4" y="757"/>
                  </a:lnTo>
                  <a:lnTo>
                    <a:pt x="14" y="683"/>
                  </a:lnTo>
                  <a:lnTo>
                    <a:pt x="31" y="611"/>
                  </a:lnTo>
                  <a:lnTo>
                    <a:pt x="53" y="542"/>
                  </a:lnTo>
                  <a:lnTo>
                    <a:pt x="81" y="476"/>
                  </a:lnTo>
                  <a:lnTo>
                    <a:pt x="115" y="412"/>
                  </a:lnTo>
                  <a:lnTo>
                    <a:pt x="154" y="353"/>
                  </a:lnTo>
                  <a:lnTo>
                    <a:pt x="198" y="296"/>
                  </a:lnTo>
                  <a:lnTo>
                    <a:pt x="246" y="243"/>
                  </a:lnTo>
                  <a:lnTo>
                    <a:pt x="298" y="195"/>
                  </a:lnTo>
                  <a:lnTo>
                    <a:pt x="354" y="152"/>
                  </a:lnTo>
                  <a:lnTo>
                    <a:pt x="415" y="114"/>
                  </a:lnTo>
                  <a:lnTo>
                    <a:pt x="479" y="79"/>
                  </a:lnTo>
                  <a:lnTo>
                    <a:pt x="545" y="51"/>
                  </a:lnTo>
                  <a:lnTo>
                    <a:pt x="614" y="29"/>
                  </a:lnTo>
                  <a:lnTo>
                    <a:pt x="686" y="13"/>
                  </a:lnTo>
                  <a:lnTo>
                    <a:pt x="760" y="3"/>
                  </a:lnTo>
                  <a:lnTo>
                    <a:pt x="83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-350" y="3259"/>
              <a:ext cx="73" cy="73"/>
            </a:xfrm>
            <a:custGeom>
              <a:avLst/>
              <a:gdLst>
                <a:gd name="T0" fmla="*/ 0 w 590"/>
                <a:gd name="T1" fmla="*/ 0 h 588"/>
                <a:gd name="T2" fmla="*/ 590 w 590"/>
                <a:gd name="T3" fmla="*/ 588 h 588"/>
                <a:gd name="T4" fmla="*/ 0 w 590"/>
                <a:gd name="T5" fmla="*/ 588 h 588"/>
                <a:gd name="T6" fmla="*/ 0 w 590"/>
                <a:gd name="T7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0" h="588">
                  <a:moveTo>
                    <a:pt x="0" y="0"/>
                  </a:moveTo>
                  <a:lnTo>
                    <a:pt x="590" y="588"/>
                  </a:lnTo>
                  <a:lnTo>
                    <a:pt x="0" y="5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-576" y="3243"/>
              <a:ext cx="315" cy="435"/>
            </a:xfrm>
            <a:custGeom>
              <a:avLst/>
              <a:gdLst>
                <a:gd name="T0" fmla="*/ 420 w 2520"/>
                <a:gd name="T1" fmla="*/ 1487 h 3479"/>
                <a:gd name="T2" fmla="*/ 420 w 2520"/>
                <a:gd name="T3" fmla="*/ 1739 h 3479"/>
                <a:gd name="T4" fmla="*/ 2100 w 2520"/>
                <a:gd name="T5" fmla="*/ 1739 h 3479"/>
                <a:gd name="T6" fmla="*/ 2100 w 2520"/>
                <a:gd name="T7" fmla="*/ 1487 h 3479"/>
                <a:gd name="T8" fmla="*/ 420 w 2520"/>
                <a:gd name="T9" fmla="*/ 1487 h 3479"/>
                <a:gd name="T10" fmla="*/ 0 w 2520"/>
                <a:gd name="T11" fmla="*/ 0 h 3479"/>
                <a:gd name="T12" fmla="*/ 1555 w 2520"/>
                <a:gd name="T13" fmla="*/ 0 h 3479"/>
                <a:gd name="T14" fmla="*/ 1555 w 2520"/>
                <a:gd name="T15" fmla="*/ 964 h 3479"/>
                <a:gd name="T16" fmla="*/ 2520 w 2520"/>
                <a:gd name="T17" fmla="*/ 964 h 3479"/>
                <a:gd name="T18" fmla="*/ 2520 w 2520"/>
                <a:gd name="T19" fmla="*/ 1770 h 3479"/>
                <a:gd name="T20" fmla="*/ 2433 w 2520"/>
                <a:gd name="T21" fmla="*/ 1774 h 3479"/>
                <a:gd name="T22" fmla="*/ 2348 w 2520"/>
                <a:gd name="T23" fmla="*/ 1784 h 3479"/>
                <a:gd name="T24" fmla="*/ 2265 w 2520"/>
                <a:gd name="T25" fmla="*/ 1800 h 3479"/>
                <a:gd name="T26" fmla="*/ 2184 w 2520"/>
                <a:gd name="T27" fmla="*/ 1823 h 3479"/>
                <a:gd name="T28" fmla="*/ 2107 w 2520"/>
                <a:gd name="T29" fmla="*/ 1852 h 3479"/>
                <a:gd name="T30" fmla="*/ 2031 w 2520"/>
                <a:gd name="T31" fmla="*/ 1885 h 3479"/>
                <a:gd name="T32" fmla="*/ 1959 w 2520"/>
                <a:gd name="T33" fmla="*/ 1926 h 3479"/>
                <a:gd name="T34" fmla="*/ 1891 w 2520"/>
                <a:gd name="T35" fmla="*/ 1970 h 3479"/>
                <a:gd name="T36" fmla="*/ 1826 w 2520"/>
                <a:gd name="T37" fmla="*/ 2021 h 3479"/>
                <a:gd name="T38" fmla="*/ 1765 w 2520"/>
                <a:gd name="T39" fmla="*/ 2074 h 3479"/>
                <a:gd name="T40" fmla="*/ 420 w 2520"/>
                <a:gd name="T41" fmla="*/ 2074 h 3479"/>
                <a:gd name="T42" fmla="*/ 420 w 2520"/>
                <a:gd name="T43" fmla="*/ 2326 h 3479"/>
                <a:gd name="T44" fmla="*/ 1571 w 2520"/>
                <a:gd name="T45" fmla="*/ 2326 h 3479"/>
                <a:gd name="T46" fmla="*/ 1538 w 2520"/>
                <a:gd name="T47" fmla="*/ 2388 h 3479"/>
                <a:gd name="T48" fmla="*/ 1510 w 2520"/>
                <a:gd name="T49" fmla="*/ 2454 h 3479"/>
                <a:gd name="T50" fmla="*/ 1485 w 2520"/>
                <a:gd name="T51" fmla="*/ 2521 h 3479"/>
                <a:gd name="T52" fmla="*/ 1465 w 2520"/>
                <a:gd name="T53" fmla="*/ 2591 h 3479"/>
                <a:gd name="T54" fmla="*/ 1450 w 2520"/>
                <a:gd name="T55" fmla="*/ 2661 h 3479"/>
                <a:gd name="T56" fmla="*/ 420 w 2520"/>
                <a:gd name="T57" fmla="*/ 2661 h 3479"/>
                <a:gd name="T58" fmla="*/ 420 w 2520"/>
                <a:gd name="T59" fmla="*/ 2912 h 3479"/>
                <a:gd name="T60" fmla="*/ 1435 w 2520"/>
                <a:gd name="T61" fmla="*/ 2912 h 3479"/>
                <a:gd name="T62" fmla="*/ 1441 w 2520"/>
                <a:gd name="T63" fmla="*/ 2991 h 3479"/>
                <a:gd name="T64" fmla="*/ 1454 w 2520"/>
                <a:gd name="T65" fmla="*/ 3067 h 3479"/>
                <a:gd name="T66" fmla="*/ 1472 w 2520"/>
                <a:gd name="T67" fmla="*/ 3142 h 3479"/>
                <a:gd name="T68" fmla="*/ 1494 w 2520"/>
                <a:gd name="T69" fmla="*/ 3214 h 3479"/>
                <a:gd name="T70" fmla="*/ 1522 w 2520"/>
                <a:gd name="T71" fmla="*/ 3283 h 3479"/>
                <a:gd name="T72" fmla="*/ 1553 w 2520"/>
                <a:gd name="T73" fmla="*/ 3352 h 3479"/>
                <a:gd name="T74" fmla="*/ 1590 w 2520"/>
                <a:gd name="T75" fmla="*/ 3416 h 3479"/>
                <a:gd name="T76" fmla="*/ 1631 w 2520"/>
                <a:gd name="T77" fmla="*/ 3479 h 3479"/>
                <a:gd name="T78" fmla="*/ 0 w 2520"/>
                <a:gd name="T79" fmla="*/ 3479 h 3479"/>
                <a:gd name="T80" fmla="*/ 0 w 2520"/>
                <a:gd name="T81" fmla="*/ 0 h 3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520" h="3479">
                  <a:moveTo>
                    <a:pt x="420" y="1487"/>
                  </a:moveTo>
                  <a:lnTo>
                    <a:pt x="420" y="1739"/>
                  </a:lnTo>
                  <a:lnTo>
                    <a:pt x="2100" y="1739"/>
                  </a:lnTo>
                  <a:lnTo>
                    <a:pt x="2100" y="1487"/>
                  </a:lnTo>
                  <a:lnTo>
                    <a:pt x="420" y="1487"/>
                  </a:lnTo>
                  <a:close/>
                  <a:moveTo>
                    <a:pt x="0" y="0"/>
                  </a:moveTo>
                  <a:lnTo>
                    <a:pt x="1555" y="0"/>
                  </a:lnTo>
                  <a:lnTo>
                    <a:pt x="1555" y="964"/>
                  </a:lnTo>
                  <a:lnTo>
                    <a:pt x="2520" y="964"/>
                  </a:lnTo>
                  <a:lnTo>
                    <a:pt x="2520" y="1770"/>
                  </a:lnTo>
                  <a:lnTo>
                    <a:pt x="2433" y="1774"/>
                  </a:lnTo>
                  <a:lnTo>
                    <a:pt x="2348" y="1784"/>
                  </a:lnTo>
                  <a:lnTo>
                    <a:pt x="2265" y="1800"/>
                  </a:lnTo>
                  <a:lnTo>
                    <a:pt x="2184" y="1823"/>
                  </a:lnTo>
                  <a:lnTo>
                    <a:pt x="2107" y="1852"/>
                  </a:lnTo>
                  <a:lnTo>
                    <a:pt x="2031" y="1885"/>
                  </a:lnTo>
                  <a:lnTo>
                    <a:pt x="1959" y="1926"/>
                  </a:lnTo>
                  <a:lnTo>
                    <a:pt x="1891" y="1970"/>
                  </a:lnTo>
                  <a:lnTo>
                    <a:pt x="1826" y="2021"/>
                  </a:lnTo>
                  <a:lnTo>
                    <a:pt x="1765" y="2074"/>
                  </a:lnTo>
                  <a:lnTo>
                    <a:pt x="420" y="2074"/>
                  </a:lnTo>
                  <a:lnTo>
                    <a:pt x="420" y="2326"/>
                  </a:lnTo>
                  <a:lnTo>
                    <a:pt x="1571" y="2326"/>
                  </a:lnTo>
                  <a:lnTo>
                    <a:pt x="1538" y="2388"/>
                  </a:lnTo>
                  <a:lnTo>
                    <a:pt x="1510" y="2454"/>
                  </a:lnTo>
                  <a:lnTo>
                    <a:pt x="1485" y="2521"/>
                  </a:lnTo>
                  <a:lnTo>
                    <a:pt x="1465" y="2591"/>
                  </a:lnTo>
                  <a:lnTo>
                    <a:pt x="1450" y="2661"/>
                  </a:lnTo>
                  <a:lnTo>
                    <a:pt x="420" y="2661"/>
                  </a:lnTo>
                  <a:lnTo>
                    <a:pt x="420" y="2912"/>
                  </a:lnTo>
                  <a:lnTo>
                    <a:pt x="1435" y="2912"/>
                  </a:lnTo>
                  <a:lnTo>
                    <a:pt x="1441" y="2991"/>
                  </a:lnTo>
                  <a:lnTo>
                    <a:pt x="1454" y="3067"/>
                  </a:lnTo>
                  <a:lnTo>
                    <a:pt x="1472" y="3142"/>
                  </a:lnTo>
                  <a:lnTo>
                    <a:pt x="1494" y="3214"/>
                  </a:lnTo>
                  <a:lnTo>
                    <a:pt x="1522" y="3283"/>
                  </a:lnTo>
                  <a:lnTo>
                    <a:pt x="1553" y="3352"/>
                  </a:lnTo>
                  <a:lnTo>
                    <a:pt x="1590" y="3416"/>
                  </a:lnTo>
                  <a:lnTo>
                    <a:pt x="1631" y="3479"/>
                  </a:lnTo>
                  <a:lnTo>
                    <a:pt x="0" y="347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23"/>
          <p:cNvGrpSpPr>
            <a:grpSpLocks noChangeAspect="1"/>
          </p:cNvGrpSpPr>
          <p:nvPr/>
        </p:nvGrpSpPr>
        <p:grpSpPr bwMode="auto">
          <a:xfrm>
            <a:off x="927972" y="2571829"/>
            <a:ext cx="529115" cy="525622"/>
            <a:chOff x="-737" y="2406"/>
            <a:chExt cx="303" cy="301"/>
          </a:xfrm>
          <a:solidFill>
            <a:schemeClr val="bg1"/>
          </a:solidFill>
        </p:grpSpPr>
        <p:sp>
          <p:nvSpPr>
            <p:cNvPr id="25" name="Freeform 20"/>
            <p:cNvSpPr>
              <a:spLocks/>
            </p:cNvSpPr>
            <p:nvPr/>
          </p:nvSpPr>
          <p:spPr bwMode="auto">
            <a:xfrm>
              <a:off x="-512" y="2475"/>
              <a:ext cx="78" cy="27"/>
            </a:xfrm>
            <a:custGeom>
              <a:avLst/>
              <a:gdLst>
                <a:gd name="T0" fmla="*/ 0 w 860"/>
                <a:gd name="T1" fmla="*/ 0 h 300"/>
                <a:gd name="T2" fmla="*/ 709 w 860"/>
                <a:gd name="T3" fmla="*/ 0 h 300"/>
                <a:gd name="T4" fmla="*/ 739 w 860"/>
                <a:gd name="T5" fmla="*/ 3 h 300"/>
                <a:gd name="T6" fmla="*/ 768 w 860"/>
                <a:gd name="T7" fmla="*/ 11 h 300"/>
                <a:gd name="T8" fmla="*/ 793 w 860"/>
                <a:gd name="T9" fmla="*/ 26 h 300"/>
                <a:gd name="T10" fmla="*/ 816 w 860"/>
                <a:gd name="T11" fmla="*/ 43 h 300"/>
                <a:gd name="T12" fmla="*/ 834 w 860"/>
                <a:gd name="T13" fmla="*/ 66 h 300"/>
                <a:gd name="T14" fmla="*/ 849 w 860"/>
                <a:gd name="T15" fmla="*/ 91 h 300"/>
                <a:gd name="T16" fmla="*/ 857 w 860"/>
                <a:gd name="T17" fmla="*/ 119 h 300"/>
                <a:gd name="T18" fmla="*/ 860 w 860"/>
                <a:gd name="T19" fmla="*/ 149 h 300"/>
                <a:gd name="T20" fmla="*/ 857 w 860"/>
                <a:gd name="T21" fmla="*/ 180 h 300"/>
                <a:gd name="T22" fmla="*/ 849 w 860"/>
                <a:gd name="T23" fmla="*/ 209 h 300"/>
                <a:gd name="T24" fmla="*/ 834 w 860"/>
                <a:gd name="T25" fmla="*/ 234 h 300"/>
                <a:gd name="T26" fmla="*/ 816 w 860"/>
                <a:gd name="T27" fmla="*/ 256 h 300"/>
                <a:gd name="T28" fmla="*/ 793 w 860"/>
                <a:gd name="T29" fmla="*/ 274 h 300"/>
                <a:gd name="T30" fmla="*/ 768 w 860"/>
                <a:gd name="T31" fmla="*/ 289 h 300"/>
                <a:gd name="T32" fmla="*/ 739 w 860"/>
                <a:gd name="T33" fmla="*/ 297 h 300"/>
                <a:gd name="T34" fmla="*/ 709 w 860"/>
                <a:gd name="T35" fmla="*/ 300 h 300"/>
                <a:gd name="T36" fmla="*/ 246 w 860"/>
                <a:gd name="T37" fmla="*/ 300 h 300"/>
                <a:gd name="T38" fmla="*/ 205 w 860"/>
                <a:gd name="T39" fmla="*/ 234 h 300"/>
                <a:gd name="T40" fmla="*/ 159 w 860"/>
                <a:gd name="T41" fmla="*/ 170 h 300"/>
                <a:gd name="T42" fmla="*/ 110 w 860"/>
                <a:gd name="T43" fmla="*/ 110 h 300"/>
                <a:gd name="T44" fmla="*/ 57 w 860"/>
                <a:gd name="T45" fmla="*/ 53 h 300"/>
                <a:gd name="T46" fmla="*/ 0 w 860"/>
                <a:gd name="T4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0" h="300">
                  <a:moveTo>
                    <a:pt x="0" y="0"/>
                  </a:moveTo>
                  <a:lnTo>
                    <a:pt x="709" y="0"/>
                  </a:lnTo>
                  <a:lnTo>
                    <a:pt x="739" y="3"/>
                  </a:lnTo>
                  <a:lnTo>
                    <a:pt x="768" y="11"/>
                  </a:lnTo>
                  <a:lnTo>
                    <a:pt x="793" y="26"/>
                  </a:lnTo>
                  <a:lnTo>
                    <a:pt x="816" y="43"/>
                  </a:lnTo>
                  <a:lnTo>
                    <a:pt x="834" y="66"/>
                  </a:lnTo>
                  <a:lnTo>
                    <a:pt x="849" y="91"/>
                  </a:lnTo>
                  <a:lnTo>
                    <a:pt x="857" y="119"/>
                  </a:lnTo>
                  <a:lnTo>
                    <a:pt x="860" y="149"/>
                  </a:lnTo>
                  <a:lnTo>
                    <a:pt x="857" y="180"/>
                  </a:lnTo>
                  <a:lnTo>
                    <a:pt x="849" y="209"/>
                  </a:lnTo>
                  <a:lnTo>
                    <a:pt x="834" y="234"/>
                  </a:lnTo>
                  <a:lnTo>
                    <a:pt x="816" y="256"/>
                  </a:lnTo>
                  <a:lnTo>
                    <a:pt x="793" y="274"/>
                  </a:lnTo>
                  <a:lnTo>
                    <a:pt x="768" y="289"/>
                  </a:lnTo>
                  <a:lnTo>
                    <a:pt x="739" y="297"/>
                  </a:lnTo>
                  <a:lnTo>
                    <a:pt x="709" y="300"/>
                  </a:lnTo>
                  <a:lnTo>
                    <a:pt x="246" y="300"/>
                  </a:lnTo>
                  <a:lnTo>
                    <a:pt x="205" y="234"/>
                  </a:lnTo>
                  <a:lnTo>
                    <a:pt x="159" y="170"/>
                  </a:lnTo>
                  <a:lnTo>
                    <a:pt x="110" y="110"/>
                  </a:lnTo>
                  <a:lnTo>
                    <a:pt x="57" y="5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1"/>
            <p:cNvSpPr>
              <a:spLocks/>
            </p:cNvSpPr>
            <p:nvPr/>
          </p:nvSpPr>
          <p:spPr bwMode="auto">
            <a:xfrm>
              <a:off x="-486" y="2510"/>
              <a:ext cx="52" cy="27"/>
            </a:xfrm>
            <a:custGeom>
              <a:avLst/>
              <a:gdLst>
                <a:gd name="T0" fmla="*/ 0 w 573"/>
                <a:gd name="T1" fmla="*/ 0 h 301"/>
                <a:gd name="T2" fmla="*/ 422 w 573"/>
                <a:gd name="T3" fmla="*/ 0 h 301"/>
                <a:gd name="T4" fmla="*/ 452 w 573"/>
                <a:gd name="T5" fmla="*/ 3 h 301"/>
                <a:gd name="T6" fmla="*/ 481 w 573"/>
                <a:gd name="T7" fmla="*/ 12 h 301"/>
                <a:gd name="T8" fmla="*/ 506 w 573"/>
                <a:gd name="T9" fmla="*/ 25 h 301"/>
                <a:gd name="T10" fmla="*/ 529 w 573"/>
                <a:gd name="T11" fmla="*/ 44 h 301"/>
                <a:gd name="T12" fmla="*/ 547 w 573"/>
                <a:gd name="T13" fmla="*/ 66 h 301"/>
                <a:gd name="T14" fmla="*/ 562 w 573"/>
                <a:gd name="T15" fmla="*/ 92 h 301"/>
                <a:gd name="T16" fmla="*/ 570 w 573"/>
                <a:gd name="T17" fmla="*/ 120 h 301"/>
                <a:gd name="T18" fmla="*/ 573 w 573"/>
                <a:gd name="T19" fmla="*/ 150 h 301"/>
                <a:gd name="T20" fmla="*/ 570 w 573"/>
                <a:gd name="T21" fmla="*/ 180 h 301"/>
                <a:gd name="T22" fmla="*/ 562 w 573"/>
                <a:gd name="T23" fmla="*/ 208 h 301"/>
                <a:gd name="T24" fmla="*/ 547 w 573"/>
                <a:gd name="T25" fmla="*/ 234 h 301"/>
                <a:gd name="T26" fmla="*/ 529 w 573"/>
                <a:gd name="T27" fmla="*/ 256 h 301"/>
                <a:gd name="T28" fmla="*/ 506 w 573"/>
                <a:gd name="T29" fmla="*/ 275 h 301"/>
                <a:gd name="T30" fmla="*/ 481 w 573"/>
                <a:gd name="T31" fmla="*/ 288 h 301"/>
                <a:gd name="T32" fmla="*/ 452 w 573"/>
                <a:gd name="T33" fmla="*/ 298 h 301"/>
                <a:gd name="T34" fmla="*/ 422 w 573"/>
                <a:gd name="T35" fmla="*/ 301 h 301"/>
                <a:gd name="T36" fmla="*/ 98 w 573"/>
                <a:gd name="T37" fmla="*/ 301 h 301"/>
                <a:gd name="T38" fmla="*/ 81 w 573"/>
                <a:gd name="T39" fmla="*/ 222 h 301"/>
                <a:gd name="T40" fmla="*/ 59 w 573"/>
                <a:gd name="T41" fmla="*/ 146 h 301"/>
                <a:gd name="T42" fmla="*/ 32 w 573"/>
                <a:gd name="T43" fmla="*/ 72 h 301"/>
                <a:gd name="T44" fmla="*/ 0 w 573"/>
                <a:gd name="T45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73" h="301">
                  <a:moveTo>
                    <a:pt x="0" y="0"/>
                  </a:moveTo>
                  <a:lnTo>
                    <a:pt x="422" y="0"/>
                  </a:lnTo>
                  <a:lnTo>
                    <a:pt x="452" y="3"/>
                  </a:lnTo>
                  <a:lnTo>
                    <a:pt x="481" y="12"/>
                  </a:lnTo>
                  <a:lnTo>
                    <a:pt x="506" y="25"/>
                  </a:lnTo>
                  <a:lnTo>
                    <a:pt x="529" y="44"/>
                  </a:lnTo>
                  <a:lnTo>
                    <a:pt x="547" y="66"/>
                  </a:lnTo>
                  <a:lnTo>
                    <a:pt x="562" y="92"/>
                  </a:lnTo>
                  <a:lnTo>
                    <a:pt x="570" y="120"/>
                  </a:lnTo>
                  <a:lnTo>
                    <a:pt x="573" y="150"/>
                  </a:lnTo>
                  <a:lnTo>
                    <a:pt x="570" y="180"/>
                  </a:lnTo>
                  <a:lnTo>
                    <a:pt x="562" y="208"/>
                  </a:lnTo>
                  <a:lnTo>
                    <a:pt x="547" y="234"/>
                  </a:lnTo>
                  <a:lnTo>
                    <a:pt x="529" y="256"/>
                  </a:lnTo>
                  <a:lnTo>
                    <a:pt x="506" y="275"/>
                  </a:lnTo>
                  <a:lnTo>
                    <a:pt x="481" y="288"/>
                  </a:lnTo>
                  <a:lnTo>
                    <a:pt x="452" y="298"/>
                  </a:lnTo>
                  <a:lnTo>
                    <a:pt x="422" y="301"/>
                  </a:lnTo>
                  <a:lnTo>
                    <a:pt x="98" y="301"/>
                  </a:lnTo>
                  <a:lnTo>
                    <a:pt x="81" y="222"/>
                  </a:lnTo>
                  <a:lnTo>
                    <a:pt x="59" y="146"/>
                  </a:lnTo>
                  <a:lnTo>
                    <a:pt x="32" y="7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22"/>
            <p:cNvSpPr>
              <a:spLocks/>
            </p:cNvSpPr>
            <p:nvPr/>
          </p:nvSpPr>
          <p:spPr bwMode="auto">
            <a:xfrm>
              <a:off x="-563" y="2441"/>
              <a:ext cx="129" cy="27"/>
            </a:xfrm>
            <a:custGeom>
              <a:avLst/>
              <a:gdLst>
                <a:gd name="T0" fmla="*/ 142 w 1414"/>
                <a:gd name="T1" fmla="*/ 0 h 302"/>
                <a:gd name="T2" fmla="*/ 1263 w 1414"/>
                <a:gd name="T3" fmla="*/ 0 h 302"/>
                <a:gd name="T4" fmla="*/ 1293 w 1414"/>
                <a:gd name="T5" fmla="*/ 3 h 302"/>
                <a:gd name="T6" fmla="*/ 1322 w 1414"/>
                <a:gd name="T7" fmla="*/ 12 h 302"/>
                <a:gd name="T8" fmla="*/ 1347 w 1414"/>
                <a:gd name="T9" fmla="*/ 26 h 302"/>
                <a:gd name="T10" fmla="*/ 1370 w 1414"/>
                <a:gd name="T11" fmla="*/ 45 h 302"/>
                <a:gd name="T12" fmla="*/ 1388 w 1414"/>
                <a:gd name="T13" fmla="*/ 66 h 302"/>
                <a:gd name="T14" fmla="*/ 1403 w 1414"/>
                <a:gd name="T15" fmla="*/ 92 h 302"/>
                <a:gd name="T16" fmla="*/ 1411 w 1414"/>
                <a:gd name="T17" fmla="*/ 121 h 302"/>
                <a:gd name="T18" fmla="*/ 1414 w 1414"/>
                <a:gd name="T19" fmla="*/ 151 h 302"/>
                <a:gd name="T20" fmla="*/ 1411 w 1414"/>
                <a:gd name="T21" fmla="*/ 181 h 302"/>
                <a:gd name="T22" fmla="*/ 1403 w 1414"/>
                <a:gd name="T23" fmla="*/ 209 h 302"/>
                <a:gd name="T24" fmla="*/ 1388 w 1414"/>
                <a:gd name="T25" fmla="*/ 235 h 302"/>
                <a:gd name="T26" fmla="*/ 1370 w 1414"/>
                <a:gd name="T27" fmla="*/ 257 h 302"/>
                <a:gd name="T28" fmla="*/ 1347 w 1414"/>
                <a:gd name="T29" fmla="*/ 276 h 302"/>
                <a:gd name="T30" fmla="*/ 1322 w 1414"/>
                <a:gd name="T31" fmla="*/ 289 h 302"/>
                <a:gd name="T32" fmla="*/ 1293 w 1414"/>
                <a:gd name="T33" fmla="*/ 298 h 302"/>
                <a:gd name="T34" fmla="*/ 1263 w 1414"/>
                <a:gd name="T35" fmla="*/ 302 h 302"/>
                <a:gd name="T36" fmla="*/ 456 w 1414"/>
                <a:gd name="T37" fmla="*/ 302 h 302"/>
                <a:gd name="T38" fmla="*/ 387 w 1414"/>
                <a:gd name="T39" fmla="*/ 255 h 302"/>
                <a:gd name="T40" fmla="*/ 316 w 1414"/>
                <a:gd name="T41" fmla="*/ 213 h 302"/>
                <a:gd name="T42" fmla="*/ 241 w 1414"/>
                <a:gd name="T43" fmla="*/ 177 h 302"/>
                <a:gd name="T44" fmla="*/ 163 w 1414"/>
                <a:gd name="T45" fmla="*/ 146 h 302"/>
                <a:gd name="T46" fmla="*/ 83 w 1414"/>
                <a:gd name="T47" fmla="*/ 120 h 302"/>
                <a:gd name="T48" fmla="*/ 0 w 1414"/>
                <a:gd name="T49" fmla="*/ 99 h 302"/>
                <a:gd name="T50" fmla="*/ 11 w 1414"/>
                <a:gd name="T51" fmla="*/ 75 h 302"/>
                <a:gd name="T52" fmla="*/ 26 w 1414"/>
                <a:gd name="T53" fmla="*/ 54 h 302"/>
                <a:gd name="T54" fmla="*/ 44 w 1414"/>
                <a:gd name="T55" fmla="*/ 36 h 302"/>
                <a:gd name="T56" fmla="*/ 66 w 1414"/>
                <a:gd name="T57" fmla="*/ 21 h 302"/>
                <a:gd name="T58" fmla="*/ 89 w 1414"/>
                <a:gd name="T59" fmla="*/ 10 h 302"/>
                <a:gd name="T60" fmla="*/ 115 w 1414"/>
                <a:gd name="T61" fmla="*/ 3 h 302"/>
                <a:gd name="T62" fmla="*/ 142 w 1414"/>
                <a:gd name="T63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14" h="302">
                  <a:moveTo>
                    <a:pt x="142" y="0"/>
                  </a:moveTo>
                  <a:lnTo>
                    <a:pt x="1263" y="0"/>
                  </a:lnTo>
                  <a:lnTo>
                    <a:pt x="1293" y="3"/>
                  </a:lnTo>
                  <a:lnTo>
                    <a:pt x="1322" y="12"/>
                  </a:lnTo>
                  <a:lnTo>
                    <a:pt x="1347" y="26"/>
                  </a:lnTo>
                  <a:lnTo>
                    <a:pt x="1370" y="45"/>
                  </a:lnTo>
                  <a:lnTo>
                    <a:pt x="1388" y="66"/>
                  </a:lnTo>
                  <a:lnTo>
                    <a:pt x="1403" y="92"/>
                  </a:lnTo>
                  <a:lnTo>
                    <a:pt x="1411" y="121"/>
                  </a:lnTo>
                  <a:lnTo>
                    <a:pt x="1414" y="151"/>
                  </a:lnTo>
                  <a:lnTo>
                    <a:pt x="1411" y="181"/>
                  </a:lnTo>
                  <a:lnTo>
                    <a:pt x="1403" y="209"/>
                  </a:lnTo>
                  <a:lnTo>
                    <a:pt x="1388" y="235"/>
                  </a:lnTo>
                  <a:lnTo>
                    <a:pt x="1370" y="257"/>
                  </a:lnTo>
                  <a:lnTo>
                    <a:pt x="1347" y="276"/>
                  </a:lnTo>
                  <a:lnTo>
                    <a:pt x="1322" y="289"/>
                  </a:lnTo>
                  <a:lnTo>
                    <a:pt x="1293" y="298"/>
                  </a:lnTo>
                  <a:lnTo>
                    <a:pt x="1263" y="302"/>
                  </a:lnTo>
                  <a:lnTo>
                    <a:pt x="456" y="302"/>
                  </a:lnTo>
                  <a:lnTo>
                    <a:pt x="387" y="255"/>
                  </a:lnTo>
                  <a:lnTo>
                    <a:pt x="316" y="213"/>
                  </a:lnTo>
                  <a:lnTo>
                    <a:pt x="241" y="177"/>
                  </a:lnTo>
                  <a:lnTo>
                    <a:pt x="163" y="146"/>
                  </a:lnTo>
                  <a:lnTo>
                    <a:pt x="83" y="120"/>
                  </a:lnTo>
                  <a:lnTo>
                    <a:pt x="0" y="99"/>
                  </a:lnTo>
                  <a:lnTo>
                    <a:pt x="11" y="75"/>
                  </a:lnTo>
                  <a:lnTo>
                    <a:pt x="26" y="54"/>
                  </a:lnTo>
                  <a:lnTo>
                    <a:pt x="44" y="36"/>
                  </a:lnTo>
                  <a:lnTo>
                    <a:pt x="66" y="21"/>
                  </a:lnTo>
                  <a:lnTo>
                    <a:pt x="89" y="10"/>
                  </a:lnTo>
                  <a:lnTo>
                    <a:pt x="115" y="3"/>
                  </a:lnTo>
                  <a:lnTo>
                    <a:pt x="1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23"/>
            <p:cNvSpPr>
              <a:spLocks/>
            </p:cNvSpPr>
            <p:nvPr/>
          </p:nvSpPr>
          <p:spPr bwMode="auto">
            <a:xfrm>
              <a:off x="-564" y="2406"/>
              <a:ext cx="130" cy="28"/>
            </a:xfrm>
            <a:custGeom>
              <a:avLst/>
              <a:gdLst>
                <a:gd name="T0" fmla="*/ 151 w 1423"/>
                <a:gd name="T1" fmla="*/ 0 h 301"/>
                <a:gd name="T2" fmla="*/ 1272 w 1423"/>
                <a:gd name="T3" fmla="*/ 0 h 301"/>
                <a:gd name="T4" fmla="*/ 1302 w 1423"/>
                <a:gd name="T5" fmla="*/ 3 h 301"/>
                <a:gd name="T6" fmla="*/ 1331 w 1423"/>
                <a:gd name="T7" fmla="*/ 12 h 301"/>
                <a:gd name="T8" fmla="*/ 1356 w 1423"/>
                <a:gd name="T9" fmla="*/ 26 h 301"/>
                <a:gd name="T10" fmla="*/ 1379 w 1423"/>
                <a:gd name="T11" fmla="*/ 44 h 301"/>
                <a:gd name="T12" fmla="*/ 1397 w 1423"/>
                <a:gd name="T13" fmla="*/ 67 h 301"/>
                <a:gd name="T14" fmla="*/ 1412 w 1423"/>
                <a:gd name="T15" fmla="*/ 92 h 301"/>
                <a:gd name="T16" fmla="*/ 1420 w 1423"/>
                <a:gd name="T17" fmla="*/ 120 h 301"/>
                <a:gd name="T18" fmla="*/ 1423 w 1423"/>
                <a:gd name="T19" fmla="*/ 150 h 301"/>
                <a:gd name="T20" fmla="*/ 1420 w 1423"/>
                <a:gd name="T21" fmla="*/ 180 h 301"/>
                <a:gd name="T22" fmla="*/ 1412 w 1423"/>
                <a:gd name="T23" fmla="*/ 209 h 301"/>
                <a:gd name="T24" fmla="*/ 1397 w 1423"/>
                <a:gd name="T25" fmla="*/ 234 h 301"/>
                <a:gd name="T26" fmla="*/ 1379 w 1423"/>
                <a:gd name="T27" fmla="*/ 257 h 301"/>
                <a:gd name="T28" fmla="*/ 1356 w 1423"/>
                <a:gd name="T29" fmla="*/ 275 h 301"/>
                <a:gd name="T30" fmla="*/ 1331 w 1423"/>
                <a:gd name="T31" fmla="*/ 289 h 301"/>
                <a:gd name="T32" fmla="*/ 1302 w 1423"/>
                <a:gd name="T33" fmla="*/ 298 h 301"/>
                <a:gd name="T34" fmla="*/ 1272 w 1423"/>
                <a:gd name="T35" fmla="*/ 301 h 301"/>
                <a:gd name="T36" fmla="*/ 151 w 1423"/>
                <a:gd name="T37" fmla="*/ 301 h 301"/>
                <a:gd name="T38" fmla="*/ 120 w 1423"/>
                <a:gd name="T39" fmla="*/ 298 h 301"/>
                <a:gd name="T40" fmla="*/ 92 w 1423"/>
                <a:gd name="T41" fmla="*/ 289 h 301"/>
                <a:gd name="T42" fmla="*/ 67 w 1423"/>
                <a:gd name="T43" fmla="*/ 275 h 301"/>
                <a:gd name="T44" fmla="*/ 44 w 1423"/>
                <a:gd name="T45" fmla="*/ 257 h 301"/>
                <a:gd name="T46" fmla="*/ 26 w 1423"/>
                <a:gd name="T47" fmla="*/ 234 h 301"/>
                <a:gd name="T48" fmla="*/ 11 w 1423"/>
                <a:gd name="T49" fmla="*/ 209 h 301"/>
                <a:gd name="T50" fmla="*/ 3 w 1423"/>
                <a:gd name="T51" fmla="*/ 181 h 301"/>
                <a:gd name="T52" fmla="*/ 0 w 1423"/>
                <a:gd name="T53" fmla="*/ 151 h 301"/>
                <a:gd name="T54" fmla="*/ 3 w 1423"/>
                <a:gd name="T55" fmla="*/ 120 h 301"/>
                <a:gd name="T56" fmla="*/ 11 w 1423"/>
                <a:gd name="T57" fmla="*/ 92 h 301"/>
                <a:gd name="T58" fmla="*/ 26 w 1423"/>
                <a:gd name="T59" fmla="*/ 67 h 301"/>
                <a:gd name="T60" fmla="*/ 44 w 1423"/>
                <a:gd name="T61" fmla="*/ 44 h 301"/>
                <a:gd name="T62" fmla="*/ 67 w 1423"/>
                <a:gd name="T63" fmla="*/ 26 h 301"/>
                <a:gd name="T64" fmla="*/ 92 w 1423"/>
                <a:gd name="T65" fmla="*/ 12 h 301"/>
                <a:gd name="T66" fmla="*/ 120 w 1423"/>
                <a:gd name="T67" fmla="*/ 3 h 301"/>
                <a:gd name="T68" fmla="*/ 151 w 1423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3" h="301">
                  <a:moveTo>
                    <a:pt x="151" y="0"/>
                  </a:moveTo>
                  <a:lnTo>
                    <a:pt x="1272" y="0"/>
                  </a:lnTo>
                  <a:lnTo>
                    <a:pt x="1302" y="3"/>
                  </a:lnTo>
                  <a:lnTo>
                    <a:pt x="1331" y="12"/>
                  </a:lnTo>
                  <a:lnTo>
                    <a:pt x="1356" y="26"/>
                  </a:lnTo>
                  <a:lnTo>
                    <a:pt x="1379" y="44"/>
                  </a:lnTo>
                  <a:lnTo>
                    <a:pt x="1397" y="67"/>
                  </a:lnTo>
                  <a:lnTo>
                    <a:pt x="1412" y="92"/>
                  </a:lnTo>
                  <a:lnTo>
                    <a:pt x="1420" y="120"/>
                  </a:lnTo>
                  <a:lnTo>
                    <a:pt x="1423" y="150"/>
                  </a:lnTo>
                  <a:lnTo>
                    <a:pt x="1420" y="180"/>
                  </a:lnTo>
                  <a:lnTo>
                    <a:pt x="1412" y="209"/>
                  </a:lnTo>
                  <a:lnTo>
                    <a:pt x="1397" y="234"/>
                  </a:lnTo>
                  <a:lnTo>
                    <a:pt x="1379" y="257"/>
                  </a:lnTo>
                  <a:lnTo>
                    <a:pt x="1356" y="275"/>
                  </a:lnTo>
                  <a:lnTo>
                    <a:pt x="1331" y="289"/>
                  </a:lnTo>
                  <a:lnTo>
                    <a:pt x="1302" y="298"/>
                  </a:lnTo>
                  <a:lnTo>
                    <a:pt x="1272" y="301"/>
                  </a:lnTo>
                  <a:lnTo>
                    <a:pt x="151" y="301"/>
                  </a:lnTo>
                  <a:lnTo>
                    <a:pt x="120" y="298"/>
                  </a:lnTo>
                  <a:lnTo>
                    <a:pt x="92" y="289"/>
                  </a:lnTo>
                  <a:lnTo>
                    <a:pt x="67" y="275"/>
                  </a:lnTo>
                  <a:lnTo>
                    <a:pt x="44" y="257"/>
                  </a:lnTo>
                  <a:lnTo>
                    <a:pt x="26" y="234"/>
                  </a:lnTo>
                  <a:lnTo>
                    <a:pt x="11" y="209"/>
                  </a:lnTo>
                  <a:lnTo>
                    <a:pt x="3" y="181"/>
                  </a:lnTo>
                  <a:lnTo>
                    <a:pt x="0" y="151"/>
                  </a:lnTo>
                  <a:lnTo>
                    <a:pt x="3" y="120"/>
                  </a:lnTo>
                  <a:lnTo>
                    <a:pt x="11" y="92"/>
                  </a:lnTo>
                  <a:lnTo>
                    <a:pt x="26" y="67"/>
                  </a:lnTo>
                  <a:lnTo>
                    <a:pt x="44" y="44"/>
                  </a:lnTo>
                  <a:lnTo>
                    <a:pt x="67" y="26"/>
                  </a:lnTo>
                  <a:lnTo>
                    <a:pt x="92" y="12"/>
                  </a:lnTo>
                  <a:lnTo>
                    <a:pt x="120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auto">
            <a:xfrm>
              <a:off x="-477" y="2544"/>
              <a:ext cx="43" cy="27"/>
            </a:xfrm>
            <a:custGeom>
              <a:avLst/>
              <a:gdLst>
                <a:gd name="T0" fmla="*/ 5 w 467"/>
                <a:gd name="T1" fmla="*/ 0 h 300"/>
                <a:gd name="T2" fmla="*/ 316 w 467"/>
                <a:gd name="T3" fmla="*/ 0 h 300"/>
                <a:gd name="T4" fmla="*/ 346 w 467"/>
                <a:gd name="T5" fmla="*/ 3 h 300"/>
                <a:gd name="T6" fmla="*/ 375 w 467"/>
                <a:gd name="T7" fmla="*/ 11 h 300"/>
                <a:gd name="T8" fmla="*/ 400 w 467"/>
                <a:gd name="T9" fmla="*/ 26 h 300"/>
                <a:gd name="T10" fmla="*/ 423 w 467"/>
                <a:gd name="T11" fmla="*/ 43 h 300"/>
                <a:gd name="T12" fmla="*/ 441 w 467"/>
                <a:gd name="T13" fmla="*/ 66 h 300"/>
                <a:gd name="T14" fmla="*/ 456 w 467"/>
                <a:gd name="T15" fmla="*/ 91 h 300"/>
                <a:gd name="T16" fmla="*/ 464 w 467"/>
                <a:gd name="T17" fmla="*/ 119 h 300"/>
                <a:gd name="T18" fmla="*/ 467 w 467"/>
                <a:gd name="T19" fmla="*/ 150 h 300"/>
                <a:gd name="T20" fmla="*/ 464 w 467"/>
                <a:gd name="T21" fmla="*/ 181 h 300"/>
                <a:gd name="T22" fmla="*/ 456 w 467"/>
                <a:gd name="T23" fmla="*/ 209 h 300"/>
                <a:gd name="T24" fmla="*/ 441 w 467"/>
                <a:gd name="T25" fmla="*/ 235 h 300"/>
                <a:gd name="T26" fmla="*/ 423 w 467"/>
                <a:gd name="T27" fmla="*/ 257 h 300"/>
                <a:gd name="T28" fmla="*/ 400 w 467"/>
                <a:gd name="T29" fmla="*/ 275 h 300"/>
                <a:gd name="T30" fmla="*/ 375 w 467"/>
                <a:gd name="T31" fmla="*/ 289 h 300"/>
                <a:gd name="T32" fmla="*/ 346 w 467"/>
                <a:gd name="T33" fmla="*/ 297 h 300"/>
                <a:gd name="T34" fmla="*/ 316 w 467"/>
                <a:gd name="T35" fmla="*/ 300 h 300"/>
                <a:gd name="T36" fmla="*/ 0 w 467"/>
                <a:gd name="T37" fmla="*/ 300 h 300"/>
                <a:gd name="T38" fmla="*/ 7 w 467"/>
                <a:gd name="T39" fmla="*/ 247 h 300"/>
                <a:gd name="T40" fmla="*/ 11 w 467"/>
                <a:gd name="T41" fmla="*/ 193 h 300"/>
                <a:gd name="T42" fmla="*/ 13 w 467"/>
                <a:gd name="T43" fmla="*/ 138 h 300"/>
                <a:gd name="T44" fmla="*/ 11 w 467"/>
                <a:gd name="T45" fmla="*/ 68 h 300"/>
                <a:gd name="T46" fmla="*/ 5 w 467"/>
                <a:gd name="T4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7" h="300">
                  <a:moveTo>
                    <a:pt x="5" y="0"/>
                  </a:moveTo>
                  <a:lnTo>
                    <a:pt x="316" y="0"/>
                  </a:lnTo>
                  <a:lnTo>
                    <a:pt x="346" y="3"/>
                  </a:lnTo>
                  <a:lnTo>
                    <a:pt x="375" y="11"/>
                  </a:lnTo>
                  <a:lnTo>
                    <a:pt x="400" y="26"/>
                  </a:lnTo>
                  <a:lnTo>
                    <a:pt x="423" y="43"/>
                  </a:lnTo>
                  <a:lnTo>
                    <a:pt x="441" y="66"/>
                  </a:lnTo>
                  <a:lnTo>
                    <a:pt x="456" y="91"/>
                  </a:lnTo>
                  <a:lnTo>
                    <a:pt x="464" y="119"/>
                  </a:lnTo>
                  <a:lnTo>
                    <a:pt x="467" y="150"/>
                  </a:lnTo>
                  <a:lnTo>
                    <a:pt x="464" y="181"/>
                  </a:lnTo>
                  <a:lnTo>
                    <a:pt x="456" y="209"/>
                  </a:lnTo>
                  <a:lnTo>
                    <a:pt x="441" y="235"/>
                  </a:lnTo>
                  <a:lnTo>
                    <a:pt x="423" y="257"/>
                  </a:lnTo>
                  <a:lnTo>
                    <a:pt x="400" y="275"/>
                  </a:lnTo>
                  <a:lnTo>
                    <a:pt x="375" y="289"/>
                  </a:lnTo>
                  <a:lnTo>
                    <a:pt x="346" y="297"/>
                  </a:lnTo>
                  <a:lnTo>
                    <a:pt x="316" y="300"/>
                  </a:lnTo>
                  <a:lnTo>
                    <a:pt x="0" y="300"/>
                  </a:lnTo>
                  <a:lnTo>
                    <a:pt x="7" y="247"/>
                  </a:lnTo>
                  <a:lnTo>
                    <a:pt x="11" y="193"/>
                  </a:lnTo>
                  <a:lnTo>
                    <a:pt x="13" y="138"/>
                  </a:lnTo>
                  <a:lnTo>
                    <a:pt x="11" y="68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5"/>
            <p:cNvSpPr>
              <a:spLocks/>
            </p:cNvSpPr>
            <p:nvPr/>
          </p:nvSpPr>
          <p:spPr bwMode="auto">
            <a:xfrm>
              <a:off x="-488" y="2579"/>
              <a:ext cx="54" cy="27"/>
            </a:xfrm>
            <a:custGeom>
              <a:avLst/>
              <a:gdLst>
                <a:gd name="T0" fmla="*/ 108 w 586"/>
                <a:gd name="T1" fmla="*/ 0 h 301"/>
                <a:gd name="T2" fmla="*/ 435 w 586"/>
                <a:gd name="T3" fmla="*/ 0 h 301"/>
                <a:gd name="T4" fmla="*/ 465 w 586"/>
                <a:gd name="T5" fmla="*/ 3 h 301"/>
                <a:gd name="T6" fmla="*/ 494 w 586"/>
                <a:gd name="T7" fmla="*/ 12 h 301"/>
                <a:gd name="T8" fmla="*/ 519 w 586"/>
                <a:gd name="T9" fmla="*/ 25 h 301"/>
                <a:gd name="T10" fmla="*/ 542 w 586"/>
                <a:gd name="T11" fmla="*/ 44 h 301"/>
                <a:gd name="T12" fmla="*/ 560 w 586"/>
                <a:gd name="T13" fmla="*/ 66 h 301"/>
                <a:gd name="T14" fmla="*/ 575 w 586"/>
                <a:gd name="T15" fmla="*/ 92 h 301"/>
                <a:gd name="T16" fmla="*/ 583 w 586"/>
                <a:gd name="T17" fmla="*/ 120 h 301"/>
                <a:gd name="T18" fmla="*/ 586 w 586"/>
                <a:gd name="T19" fmla="*/ 150 h 301"/>
                <a:gd name="T20" fmla="*/ 583 w 586"/>
                <a:gd name="T21" fmla="*/ 180 h 301"/>
                <a:gd name="T22" fmla="*/ 575 w 586"/>
                <a:gd name="T23" fmla="*/ 209 h 301"/>
                <a:gd name="T24" fmla="*/ 560 w 586"/>
                <a:gd name="T25" fmla="*/ 234 h 301"/>
                <a:gd name="T26" fmla="*/ 542 w 586"/>
                <a:gd name="T27" fmla="*/ 257 h 301"/>
                <a:gd name="T28" fmla="*/ 519 w 586"/>
                <a:gd name="T29" fmla="*/ 275 h 301"/>
                <a:gd name="T30" fmla="*/ 494 w 586"/>
                <a:gd name="T31" fmla="*/ 289 h 301"/>
                <a:gd name="T32" fmla="*/ 465 w 586"/>
                <a:gd name="T33" fmla="*/ 298 h 301"/>
                <a:gd name="T34" fmla="*/ 435 w 586"/>
                <a:gd name="T35" fmla="*/ 301 h 301"/>
                <a:gd name="T36" fmla="*/ 0 w 586"/>
                <a:gd name="T37" fmla="*/ 301 h 301"/>
                <a:gd name="T38" fmla="*/ 35 w 586"/>
                <a:gd name="T39" fmla="*/ 229 h 301"/>
                <a:gd name="T40" fmla="*/ 64 w 586"/>
                <a:gd name="T41" fmla="*/ 155 h 301"/>
                <a:gd name="T42" fmla="*/ 88 w 586"/>
                <a:gd name="T43" fmla="*/ 78 h 301"/>
                <a:gd name="T44" fmla="*/ 108 w 586"/>
                <a:gd name="T45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6" h="301">
                  <a:moveTo>
                    <a:pt x="108" y="0"/>
                  </a:moveTo>
                  <a:lnTo>
                    <a:pt x="435" y="0"/>
                  </a:lnTo>
                  <a:lnTo>
                    <a:pt x="465" y="3"/>
                  </a:lnTo>
                  <a:lnTo>
                    <a:pt x="494" y="12"/>
                  </a:lnTo>
                  <a:lnTo>
                    <a:pt x="519" y="25"/>
                  </a:lnTo>
                  <a:lnTo>
                    <a:pt x="542" y="44"/>
                  </a:lnTo>
                  <a:lnTo>
                    <a:pt x="560" y="66"/>
                  </a:lnTo>
                  <a:lnTo>
                    <a:pt x="575" y="92"/>
                  </a:lnTo>
                  <a:lnTo>
                    <a:pt x="583" y="120"/>
                  </a:lnTo>
                  <a:lnTo>
                    <a:pt x="586" y="150"/>
                  </a:lnTo>
                  <a:lnTo>
                    <a:pt x="583" y="180"/>
                  </a:lnTo>
                  <a:lnTo>
                    <a:pt x="575" y="209"/>
                  </a:lnTo>
                  <a:lnTo>
                    <a:pt x="560" y="234"/>
                  </a:lnTo>
                  <a:lnTo>
                    <a:pt x="542" y="257"/>
                  </a:lnTo>
                  <a:lnTo>
                    <a:pt x="519" y="275"/>
                  </a:lnTo>
                  <a:lnTo>
                    <a:pt x="494" y="289"/>
                  </a:lnTo>
                  <a:lnTo>
                    <a:pt x="465" y="298"/>
                  </a:lnTo>
                  <a:lnTo>
                    <a:pt x="435" y="301"/>
                  </a:lnTo>
                  <a:lnTo>
                    <a:pt x="0" y="301"/>
                  </a:lnTo>
                  <a:lnTo>
                    <a:pt x="35" y="229"/>
                  </a:lnTo>
                  <a:lnTo>
                    <a:pt x="64" y="155"/>
                  </a:lnTo>
                  <a:lnTo>
                    <a:pt x="88" y="78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auto">
            <a:xfrm>
              <a:off x="-515" y="2613"/>
              <a:ext cx="81" cy="27"/>
            </a:xfrm>
            <a:custGeom>
              <a:avLst/>
              <a:gdLst>
                <a:gd name="T0" fmla="*/ 257 w 887"/>
                <a:gd name="T1" fmla="*/ 0 h 301"/>
                <a:gd name="T2" fmla="*/ 736 w 887"/>
                <a:gd name="T3" fmla="*/ 0 h 301"/>
                <a:gd name="T4" fmla="*/ 766 w 887"/>
                <a:gd name="T5" fmla="*/ 3 h 301"/>
                <a:gd name="T6" fmla="*/ 795 w 887"/>
                <a:gd name="T7" fmla="*/ 12 h 301"/>
                <a:gd name="T8" fmla="*/ 820 w 887"/>
                <a:gd name="T9" fmla="*/ 26 h 301"/>
                <a:gd name="T10" fmla="*/ 843 w 887"/>
                <a:gd name="T11" fmla="*/ 45 h 301"/>
                <a:gd name="T12" fmla="*/ 861 w 887"/>
                <a:gd name="T13" fmla="*/ 66 h 301"/>
                <a:gd name="T14" fmla="*/ 876 w 887"/>
                <a:gd name="T15" fmla="*/ 91 h 301"/>
                <a:gd name="T16" fmla="*/ 884 w 887"/>
                <a:gd name="T17" fmla="*/ 120 h 301"/>
                <a:gd name="T18" fmla="*/ 887 w 887"/>
                <a:gd name="T19" fmla="*/ 151 h 301"/>
                <a:gd name="T20" fmla="*/ 884 w 887"/>
                <a:gd name="T21" fmla="*/ 181 h 301"/>
                <a:gd name="T22" fmla="*/ 876 w 887"/>
                <a:gd name="T23" fmla="*/ 209 h 301"/>
                <a:gd name="T24" fmla="*/ 861 w 887"/>
                <a:gd name="T25" fmla="*/ 235 h 301"/>
                <a:gd name="T26" fmla="*/ 843 w 887"/>
                <a:gd name="T27" fmla="*/ 257 h 301"/>
                <a:gd name="T28" fmla="*/ 820 w 887"/>
                <a:gd name="T29" fmla="*/ 275 h 301"/>
                <a:gd name="T30" fmla="*/ 795 w 887"/>
                <a:gd name="T31" fmla="*/ 289 h 301"/>
                <a:gd name="T32" fmla="*/ 766 w 887"/>
                <a:gd name="T33" fmla="*/ 298 h 301"/>
                <a:gd name="T34" fmla="*/ 736 w 887"/>
                <a:gd name="T35" fmla="*/ 301 h 301"/>
                <a:gd name="T36" fmla="*/ 0 w 887"/>
                <a:gd name="T37" fmla="*/ 301 h 301"/>
                <a:gd name="T38" fmla="*/ 59 w 887"/>
                <a:gd name="T39" fmla="*/ 247 h 301"/>
                <a:gd name="T40" fmla="*/ 115 w 887"/>
                <a:gd name="T41" fmla="*/ 191 h 301"/>
                <a:gd name="T42" fmla="*/ 166 w 887"/>
                <a:gd name="T43" fmla="*/ 131 h 301"/>
                <a:gd name="T44" fmla="*/ 214 w 887"/>
                <a:gd name="T45" fmla="*/ 67 h 301"/>
                <a:gd name="T46" fmla="*/ 257 w 887"/>
                <a:gd name="T47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87" h="301">
                  <a:moveTo>
                    <a:pt x="257" y="0"/>
                  </a:moveTo>
                  <a:lnTo>
                    <a:pt x="736" y="0"/>
                  </a:lnTo>
                  <a:lnTo>
                    <a:pt x="766" y="3"/>
                  </a:lnTo>
                  <a:lnTo>
                    <a:pt x="795" y="12"/>
                  </a:lnTo>
                  <a:lnTo>
                    <a:pt x="820" y="26"/>
                  </a:lnTo>
                  <a:lnTo>
                    <a:pt x="843" y="45"/>
                  </a:lnTo>
                  <a:lnTo>
                    <a:pt x="861" y="66"/>
                  </a:lnTo>
                  <a:lnTo>
                    <a:pt x="876" y="91"/>
                  </a:lnTo>
                  <a:lnTo>
                    <a:pt x="884" y="120"/>
                  </a:lnTo>
                  <a:lnTo>
                    <a:pt x="887" y="151"/>
                  </a:lnTo>
                  <a:lnTo>
                    <a:pt x="884" y="181"/>
                  </a:lnTo>
                  <a:lnTo>
                    <a:pt x="876" y="209"/>
                  </a:lnTo>
                  <a:lnTo>
                    <a:pt x="861" y="235"/>
                  </a:lnTo>
                  <a:lnTo>
                    <a:pt x="843" y="257"/>
                  </a:lnTo>
                  <a:lnTo>
                    <a:pt x="820" y="275"/>
                  </a:lnTo>
                  <a:lnTo>
                    <a:pt x="795" y="289"/>
                  </a:lnTo>
                  <a:lnTo>
                    <a:pt x="766" y="298"/>
                  </a:lnTo>
                  <a:lnTo>
                    <a:pt x="736" y="301"/>
                  </a:lnTo>
                  <a:lnTo>
                    <a:pt x="0" y="301"/>
                  </a:lnTo>
                  <a:lnTo>
                    <a:pt x="59" y="247"/>
                  </a:lnTo>
                  <a:lnTo>
                    <a:pt x="115" y="191"/>
                  </a:lnTo>
                  <a:lnTo>
                    <a:pt x="166" y="131"/>
                  </a:lnTo>
                  <a:lnTo>
                    <a:pt x="214" y="67"/>
                  </a:lnTo>
                  <a:lnTo>
                    <a:pt x="2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7"/>
            <p:cNvSpPr>
              <a:spLocks/>
            </p:cNvSpPr>
            <p:nvPr/>
          </p:nvSpPr>
          <p:spPr bwMode="auto">
            <a:xfrm>
              <a:off x="-737" y="2542"/>
              <a:ext cx="42" cy="27"/>
            </a:xfrm>
            <a:custGeom>
              <a:avLst/>
              <a:gdLst>
                <a:gd name="T0" fmla="*/ 152 w 467"/>
                <a:gd name="T1" fmla="*/ 0 h 300"/>
                <a:gd name="T2" fmla="*/ 467 w 467"/>
                <a:gd name="T3" fmla="*/ 0 h 300"/>
                <a:gd name="T4" fmla="*/ 461 w 467"/>
                <a:gd name="T5" fmla="*/ 54 h 300"/>
                <a:gd name="T6" fmla="*/ 456 w 467"/>
                <a:gd name="T7" fmla="*/ 108 h 300"/>
                <a:gd name="T8" fmla="*/ 454 w 467"/>
                <a:gd name="T9" fmla="*/ 163 h 300"/>
                <a:gd name="T10" fmla="*/ 456 w 467"/>
                <a:gd name="T11" fmla="*/ 232 h 300"/>
                <a:gd name="T12" fmla="*/ 463 w 467"/>
                <a:gd name="T13" fmla="*/ 300 h 300"/>
                <a:gd name="T14" fmla="*/ 152 w 467"/>
                <a:gd name="T15" fmla="*/ 300 h 300"/>
                <a:gd name="T16" fmla="*/ 121 w 467"/>
                <a:gd name="T17" fmla="*/ 297 h 300"/>
                <a:gd name="T18" fmla="*/ 93 w 467"/>
                <a:gd name="T19" fmla="*/ 289 h 300"/>
                <a:gd name="T20" fmla="*/ 67 w 467"/>
                <a:gd name="T21" fmla="*/ 275 h 300"/>
                <a:gd name="T22" fmla="*/ 45 w 467"/>
                <a:gd name="T23" fmla="*/ 257 h 300"/>
                <a:gd name="T24" fmla="*/ 26 w 467"/>
                <a:gd name="T25" fmla="*/ 234 h 300"/>
                <a:gd name="T26" fmla="*/ 13 w 467"/>
                <a:gd name="T27" fmla="*/ 209 h 300"/>
                <a:gd name="T28" fmla="*/ 3 w 467"/>
                <a:gd name="T29" fmla="*/ 181 h 300"/>
                <a:gd name="T30" fmla="*/ 0 w 467"/>
                <a:gd name="T31" fmla="*/ 149 h 300"/>
                <a:gd name="T32" fmla="*/ 3 w 467"/>
                <a:gd name="T33" fmla="*/ 119 h 300"/>
                <a:gd name="T34" fmla="*/ 13 w 467"/>
                <a:gd name="T35" fmla="*/ 91 h 300"/>
                <a:gd name="T36" fmla="*/ 26 w 467"/>
                <a:gd name="T37" fmla="*/ 66 h 300"/>
                <a:gd name="T38" fmla="*/ 45 w 467"/>
                <a:gd name="T39" fmla="*/ 43 h 300"/>
                <a:gd name="T40" fmla="*/ 67 w 467"/>
                <a:gd name="T41" fmla="*/ 26 h 300"/>
                <a:gd name="T42" fmla="*/ 93 w 467"/>
                <a:gd name="T43" fmla="*/ 11 h 300"/>
                <a:gd name="T44" fmla="*/ 121 w 467"/>
                <a:gd name="T45" fmla="*/ 3 h 300"/>
                <a:gd name="T46" fmla="*/ 152 w 467"/>
                <a:gd name="T4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7" h="300">
                  <a:moveTo>
                    <a:pt x="152" y="0"/>
                  </a:moveTo>
                  <a:lnTo>
                    <a:pt x="467" y="0"/>
                  </a:lnTo>
                  <a:lnTo>
                    <a:pt x="461" y="54"/>
                  </a:lnTo>
                  <a:lnTo>
                    <a:pt x="456" y="108"/>
                  </a:lnTo>
                  <a:lnTo>
                    <a:pt x="454" y="163"/>
                  </a:lnTo>
                  <a:lnTo>
                    <a:pt x="456" y="232"/>
                  </a:lnTo>
                  <a:lnTo>
                    <a:pt x="463" y="300"/>
                  </a:lnTo>
                  <a:lnTo>
                    <a:pt x="152" y="300"/>
                  </a:lnTo>
                  <a:lnTo>
                    <a:pt x="121" y="297"/>
                  </a:lnTo>
                  <a:lnTo>
                    <a:pt x="93" y="289"/>
                  </a:lnTo>
                  <a:lnTo>
                    <a:pt x="67" y="275"/>
                  </a:lnTo>
                  <a:lnTo>
                    <a:pt x="45" y="257"/>
                  </a:lnTo>
                  <a:lnTo>
                    <a:pt x="26" y="234"/>
                  </a:lnTo>
                  <a:lnTo>
                    <a:pt x="13" y="209"/>
                  </a:lnTo>
                  <a:lnTo>
                    <a:pt x="3" y="181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3" y="91"/>
                  </a:lnTo>
                  <a:lnTo>
                    <a:pt x="26" y="66"/>
                  </a:lnTo>
                  <a:lnTo>
                    <a:pt x="45" y="43"/>
                  </a:lnTo>
                  <a:lnTo>
                    <a:pt x="67" y="26"/>
                  </a:lnTo>
                  <a:lnTo>
                    <a:pt x="93" y="11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8"/>
            <p:cNvSpPr>
              <a:spLocks/>
            </p:cNvSpPr>
            <p:nvPr/>
          </p:nvSpPr>
          <p:spPr bwMode="auto">
            <a:xfrm>
              <a:off x="-737" y="2576"/>
              <a:ext cx="52" cy="28"/>
            </a:xfrm>
            <a:custGeom>
              <a:avLst/>
              <a:gdLst>
                <a:gd name="T0" fmla="*/ 152 w 574"/>
                <a:gd name="T1" fmla="*/ 0 h 301"/>
                <a:gd name="T2" fmla="*/ 475 w 574"/>
                <a:gd name="T3" fmla="*/ 0 h 301"/>
                <a:gd name="T4" fmla="*/ 492 w 574"/>
                <a:gd name="T5" fmla="*/ 78 h 301"/>
                <a:gd name="T6" fmla="*/ 515 w 574"/>
                <a:gd name="T7" fmla="*/ 154 h 301"/>
                <a:gd name="T8" fmla="*/ 542 w 574"/>
                <a:gd name="T9" fmla="*/ 229 h 301"/>
                <a:gd name="T10" fmla="*/ 574 w 574"/>
                <a:gd name="T11" fmla="*/ 301 h 301"/>
                <a:gd name="T12" fmla="*/ 152 w 574"/>
                <a:gd name="T13" fmla="*/ 301 h 301"/>
                <a:gd name="T14" fmla="*/ 121 w 574"/>
                <a:gd name="T15" fmla="*/ 298 h 301"/>
                <a:gd name="T16" fmla="*/ 93 w 574"/>
                <a:gd name="T17" fmla="*/ 288 h 301"/>
                <a:gd name="T18" fmla="*/ 67 w 574"/>
                <a:gd name="T19" fmla="*/ 275 h 301"/>
                <a:gd name="T20" fmla="*/ 45 w 574"/>
                <a:gd name="T21" fmla="*/ 256 h 301"/>
                <a:gd name="T22" fmla="*/ 26 w 574"/>
                <a:gd name="T23" fmla="*/ 234 h 301"/>
                <a:gd name="T24" fmla="*/ 13 w 574"/>
                <a:gd name="T25" fmla="*/ 208 h 301"/>
                <a:gd name="T26" fmla="*/ 3 w 574"/>
                <a:gd name="T27" fmla="*/ 180 h 301"/>
                <a:gd name="T28" fmla="*/ 0 w 574"/>
                <a:gd name="T29" fmla="*/ 150 h 301"/>
                <a:gd name="T30" fmla="*/ 3 w 574"/>
                <a:gd name="T31" fmla="*/ 120 h 301"/>
                <a:gd name="T32" fmla="*/ 13 w 574"/>
                <a:gd name="T33" fmla="*/ 92 h 301"/>
                <a:gd name="T34" fmla="*/ 26 w 574"/>
                <a:gd name="T35" fmla="*/ 66 h 301"/>
                <a:gd name="T36" fmla="*/ 45 w 574"/>
                <a:gd name="T37" fmla="*/ 44 h 301"/>
                <a:gd name="T38" fmla="*/ 67 w 574"/>
                <a:gd name="T39" fmla="*/ 25 h 301"/>
                <a:gd name="T40" fmla="*/ 93 w 574"/>
                <a:gd name="T41" fmla="*/ 12 h 301"/>
                <a:gd name="T42" fmla="*/ 121 w 574"/>
                <a:gd name="T43" fmla="*/ 3 h 301"/>
                <a:gd name="T44" fmla="*/ 152 w 574"/>
                <a:gd name="T45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74" h="301">
                  <a:moveTo>
                    <a:pt x="152" y="0"/>
                  </a:moveTo>
                  <a:lnTo>
                    <a:pt x="475" y="0"/>
                  </a:lnTo>
                  <a:lnTo>
                    <a:pt x="492" y="78"/>
                  </a:lnTo>
                  <a:lnTo>
                    <a:pt x="515" y="154"/>
                  </a:lnTo>
                  <a:lnTo>
                    <a:pt x="542" y="229"/>
                  </a:lnTo>
                  <a:lnTo>
                    <a:pt x="574" y="301"/>
                  </a:lnTo>
                  <a:lnTo>
                    <a:pt x="152" y="301"/>
                  </a:lnTo>
                  <a:lnTo>
                    <a:pt x="121" y="298"/>
                  </a:lnTo>
                  <a:lnTo>
                    <a:pt x="93" y="288"/>
                  </a:lnTo>
                  <a:lnTo>
                    <a:pt x="67" y="275"/>
                  </a:lnTo>
                  <a:lnTo>
                    <a:pt x="45" y="256"/>
                  </a:lnTo>
                  <a:lnTo>
                    <a:pt x="26" y="234"/>
                  </a:lnTo>
                  <a:lnTo>
                    <a:pt x="13" y="208"/>
                  </a:lnTo>
                  <a:lnTo>
                    <a:pt x="3" y="180"/>
                  </a:lnTo>
                  <a:lnTo>
                    <a:pt x="0" y="150"/>
                  </a:lnTo>
                  <a:lnTo>
                    <a:pt x="3" y="120"/>
                  </a:lnTo>
                  <a:lnTo>
                    <a:pt x="13" y="92"/>
                  </a:lnTo>
                  <a:lnTo>
                    <a:pt x="26" y="66"/>
                  </a:lnTo>
                  <a:lnTo>
                    <a:pt x="45" y="44"/>
                  </a:lnTo>
                  <a:lnTo>
                    <a:pt x="67" y="25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9"/>
            <p:cNvSpPr>
              <a:spLocks/>
            </p:cNvSpPr>
            <p:nvPr/>
          </p:nvSpPr>
          <p:spPr bwMode="auto">
            <a:xfrm>
              <a:off x="-737" y="2507"/>
              <a:ext cx="53" cy="28"/>
            </a:xfrm>
            <a:custGeom>
              <a:avLst/>
              <a:gdLst>
                <a:gd name="T0" fmla="*/ 152 w 586"/>
                <a:gd name="T1" fmla="*/ 0 h 302"/>
                <a:gd name="T2" fmla="*/ 586 w 586"/>
                <a:gd name="T3" fmla="*/ 0 h 302"/>
                <a:gd name="T4" fmla="*/ 552 w 586"/>
                <a:gd name="T5" fmla="*/ 72 h 302"/>
                <a:gd name="T6" fmla="*/ 522 w 586"/>
                <a:gd name="T7" fmla="*/ 147 h 302"/>
                <a:gd name="T8" fmla="*/ 498 w 586"/>
                <a:gd name="T9" fmla="*/ 223 h 302"/>
                <a:gd name="T10" fmla="*/ 479 w 586"/>
                <a:gd name="T11" fmla="*/ 302 h 302"/>
                <a:gd name="T12" fmla="*/ 152 w 586"/>
                <a:gd name="T13" fmla="*/ 302 h 302"/>
                <a:gd name="T14" fmla="*/ 121 w 586"/>
                <a:gd name="T15" fmla="*/ 299 h 302"/>
                <a:gd name="T16" fmla="*/ 93 w 586"/>
                <a:gd name="T17" fmla="*/ 289 h 302"/>
                <a:gd name="T18" fmla="*/ 67 w 586"/>
                <a:gd name="T19" fmla="*/ 276 h 302"/>
                <a:gd name="T20" fmla="*/ 45 w 586"/>
                <a:gd name="T21" fmla="*/ 257 h 302"/>
                <a:gd name="T22" fmla="*/ 26 w 586"/>
                <a:gd name="T23" fmla="*/ 235 h 302"/>
                <a:gd name="T24" fmla="*/ 13 w 586"/>
                <a:gd name="T25" fmla="*/ 209 h 302"/>
                <a:gd name="T26" fmla="*/ 3 w 586"/>
                <a:gd name="T27" fmla="*/ 181 h 302"/>
                <a:gd name="T28" fmla="*/ 0 w 586"/>
                <a:gd name="T29" fmla="*/ 151 h 302"/>
                <a:gd name="T30" fmla="*/ 3 w 586"/>
                <a:gd name="T31" fmla="*/ 121 h 302"/>
                <a:gd name="T32" fmla="*/ 13 w 586"/>
                <a:gd name="T33" fmla="*/ 93 h 302"/>
                <a:gd name="T34" fmla="*/ 26 w 586"/>
                <a:gd name="T35" fmla="*/ 67 h 302"/>
                <a:gd name="T36" fmla="*/ 45 w 586"/>
                <a:gd name="T37" fmla="*/ 45 h 302"/>
                <a:gd name="T38" fmla="*/ 67 w 586"/>
                <a:gd name="T39" fmla="*/ 26 h 302"/>
                <a:gd name="T40" fmla="*/ 93 w 586"/>
                <a:gd name="T41" fmla="*/ 13 h 302"/>
                <a:gd name="T42" fmla="*/ 121 w 586"/>
                <a:gd name="T43" fmla="*/ 3 h 302"/>
                <a:gd name="T44" fmla="*/ 152 w 586"/>
                <a:gd name="T45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6" h="302">
                  <a:moveTo>
                    <a:pt x="152" y="0"/>
                  </a:moveTo>
                  <a:lnTo>
                    <a:pt x="586" y="0"/>
                  </a:lnTo>
                  <a:lnTo>
                    <a:pt x="552" y="72"/>
                  </a:lnTo>
                  <a:lnTo>
                    <a:pt x="522" y="147"/>
                  </a:lnTo>
                  <a:lnTo>
                    <a:pt x="498" y="223"/>
                  </a:lnTo>
                  <a:lnTo>
                    <a:pt x="479" y="302"/>
                  </a:lnTo>
                  <a:lnTo>
                    <a:pt x="152" y="302"/>
                  </a:lnTo>
                  <a:lnTo>
                    <a:pt x="121" y="299"/>
                  </a:lnTo>
                  <a:lnTo>
                    <a:pt x="93" y="289"/>
                  </a:lnTo>
                  <a:lnTo>
                    <a:pt x="67" y="276"/>
                  </a:lnTo>
                  <a:lnTo>
                    <a:pt x="45" y="257"/>
                  </a:lnTo>
                  <a:lnTo>
                    <a:pt x="26" y="235"/>
                  </a:lnTo>
                  <a:lnTo>
                    <a:pt x="13" y="209"/>
                  </a:lnTo>
                  <a:lnTo>
                    <a:pt x="3" y="181"/>
                  </a:lnTo>
                  <a:lnTo>
                    <a:pt x="0" y="151"/>
                  </a:lnTo>
                  <a:lnTo>
                    <a:pt x="3" y="121"/>
                  </a:lnTo>
                  <a:lnTo>
                    <a:pt x="13" y="93"/>
                  </a:lnTo>
                  <a:lnTo>
                    <a:pt x="26" y="67"/>
                  </a:lnTo>
                  <a:lnTo>
                    <a:pt x="45" y="45"/>
                  </a:lnTo>
                  <a:lnTo>
                    <a:pt x="67" y="26"/>
                  </a:lnTo>
                  <a:lnTo>
                    <a:pt x="93" y="13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30"/>
            <p:cNvSpPr>
              <a:spLocks/>
            </p:cNvSpPr>
            <p:nvPr/>
          </p:nvSpPr>
          <p:spPr bwMode="auto">
            <a:xfrm>
              <a:off x="-737" y="2473"/>
              <a:ext cx="81" cy="27"/>
            </a:xfrm>
            <a:custGeom>
              <a:avLst/>
              <a:gdLst>
                <a:gd name="T0" fmla="*/ 152 w 888"/>
                <a:gd name="T1" fmla="*/ 0 h 300"/>
                <a:gd name="T2" fmla="*/ 888 w 888"/>
                <a:gd name="T3" fmla="*/ 0 h 300"/>
                <a:gd name="T4" fmla="*/ 829 w 888"/>
                <a:gd name="T5" fmla="*/ 53 h 300"/>
                <a:gd name="T6" fmla="*/ 774 w 888"/>
                <a:gd name="T7" fmla="*/ 110 h 300"/>
                <a:gd name="T8" fmla="*/ 721 w 888"/>
                <a:gd name="T9" fmla="*/ 170 h 300"/>
                <a:gd name="T10" fmla="*/ 674 w 888"/>
                <a:gd name="T11" fmla="*/ 234 h 300"/>
                <a:gd name="T12" fmla="*/ 630 w 888"/>
                <a:gd name="T13" fmla="*/ 300 h 300"/>
                <a:gd name="T14" fmla="*/ 152 w 888"/>
                <a:gd name="T15" fmla="*/ 300 h 300"/>
                <a:gd name="T16" fmla="*/ 121 w 888"/>
                <a:gd name="T17" fmla="*/ 297 h 300"/>
                <a:gd name="T18" fmla="*/ 93 w 888"/>
                <a:gd name="T19" fmla="*/ 289 h 300"/>
                <a:gd name="T20" fmla="*/ 67 w 888"/>
                <a:gd name="T21" fmla="*/ 274 h 300"/>
                <a:gd name="T22" fmla="*/ 45 w 888"/>
                <a:gd name="T23" fmla="*/ 256 h 300"/>
                <a:gd name="T24" fmla="*/ 26 w 888"/>
                <a:gd name="T25" fmla="*/ 234 h 300"/>
                <a:gd name="T26" fmla="*/ 13 w 888"/>
                <a:gd name="T27" fmla="*/ 209 h 300"/>
                <a:gd name="T28" fmla="*/ 3 w 888"/>
                <a:gd name="T29" fmla="*/ 179 h 300"/>
                <a:gd name="T30" fmla="*/ 0 w 888"/>
                <a:gd name="T31" fmla="*/ 149 h 300"/>
                <a:gd name="T32" fmla="*/ 3 w 888"/>
                <a:gd name="T33" fmla="*/ 119 h 300"/>
                <a:gd name="T34" fmla="*/ 13 w 888"/>
                <a:gd name="T35" fmla="*/ 91 h 300"/>
                <a:gd name="T36" fmla="*/ 26 w 888"/>
                <a:gd name="T37" fmla="*/ 66 h 300"/>
                <a:gd name="T38" fmla="*/ 45 w 888"/>
                <a:gd name="T39" fmla="*/ 43 h 300"/>
                <a:gd name="T40" fmla="*/ 67 w 888"/>
                <a:gd name="T41" fmla="*/ 26 h 300"/>
                <a:gd name="T42" fmla="*/ 93 w 888"/>
                <a:gd name="T43" fmla="*/ 11 h 300"/>
                <a:gd name="T44" fmla="*/ 121 w 888"/>
                <a:gd name="T45" fmla="*/ 3 h 300"/>
                <a:gd name="T46" fmla="*/ 152 w 888"/>
                <a:gd name="T4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88" h="300">
                  <a:moveTo>
                    <a:pt x="152" y="0"/>
                  </a:moveTo>
                  <a:lnTo>
                    <a:pt x="888" y="0"/>
                  </a:lnTo>
                  <a:lnTo>
                    <a:pt x="829" y="53"/>
                  </a:lnTo>
                  <a:lnTo>
                    <a:pt x="774" y="110"/>
                  </a:lnTo>
                  <a:lnTo>
                    <a:pt x="721" y="170"/>
                  </a:lnTo>
                  <a:lnTo>
                    <a:pt x="674" y="234"/>
                  </a:lnTo>
                  <a:lnTo>
                    <a:pt x="630" y="300"/>
                  </a:lnTo>
                  <a:lnTo>
                    <a:pt x="152" y="300"/>
                  </a:lnTo>
                  <a:lnTo>
                    <a:pt x="121" y="297"/>
                  </a:lnTo>
                  <a:lnTo>
                    <a:pt x="93" y="289"/>
                  </a:lnTo>
                  <a:lnTo>
                    <a:pt x="67" y="274"/>
                  </a:lnTo>
                  <a:lnTo>
                    <a:pt x="45" y="256"/>
                  </a:lnTo>
                  <a:lnTo>
                    <a:pt x="26" y="234"/>
                  </a:lnTo>
                  <a:lnTo>
                    <a:pt x="13" y="209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3" y="91"/>
                  </a:lnTo>
                  <a:lnTo>
                    <a:pt x="26" y="66"/>
                  </a:lnTo>
                  <a:lnTo>
                    <a:pt x="45" y="43"/>
                  </a:lnTo>
                  <a:lnTo>
                    <a:pt x="67" y="26"/>
                  </a:lnTo>
                  <a:lnTo>
                    <a:pt x="93" y="11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31"/>
            <p:cNvSpPr>
              <a:spLocks/>
            </p:cNvSpPr>
            <p:nvPr/>
          </p:nvSpPr>
          <p:spPr bwMode="auto">
            <a:xfrm>
              <a:off x="-737" y="2611"/>
              <a:ext cx="78" cy="27"/>
            </a:xfrm>
            <a:custGeom>
              <a:avLst/>
              <a:gdLst>
                <a:gd name="T0" fmla="*/ 152 w 861"/>
                <a:gd name="T1" fmla="*/ 0 h 300"/>
                <a:gd name="T2" fmla="*/ 615 w 861"/>
                <a:gd name="T3" fmla="*/ 0 h 300"/>
                <a:gd name="T4" fmla="*/ 655 w 861"/>
                <a:gd name="T5" fmla="*/ 66 h 300"/>
                <a:gd name="T6" fmla="*/ 701 w 861"/>
                <a:gd name="T7" fmla="*/ 130 h 300"/>
                <a:gd name="T8" fmla="*/ 751 w 861"/>
                <a:gd name="T9" fmla="*/ 190 h 300"/>
                <a:gd name="T10" fmla="*/ 804 w 861"/>
                <a:gd name="T11" fmla="*/ 247 h 300"/>
                <a:gd name="T12" fmla="*/ 861 w 861"/>
                <a:gd name="T13" fmla="*/ 300 h 300"/>
                <a:gd name="T14" fmla="*/ 152 w 861"/>
                <a:gd name="T15" fmla="*/ 300 h 300"/>
                <a:gd name="T16" fmla="*/ 121 w 861"/>
                <a:gd name="T17" fmla="*/ 297 h 300"/>
                <a:gd name="T18" fmla="*/ 93 w 861"/>
                <a:gd name="T19" fmla="*/ 289 h 300"/>
                <a:gd name="T20" fmla="*/ 67 w 861"/>
                <a:gd name="T21" fmla="*/ 275 h 300"/>
                <a:gd name="T22" fmla="*/ 45 w 861"/>
                <a:gd name="T23" fmla="*/ 257 h 300"/>
                <a:gd name="T24" fmla="*/ 26 w 861"/>
                <a:gd name="T25" fmla="*/ 235 h 300"/>
                <a:gd name="T26" fmla="*/ 13 w 861"/>
                <a:gd name="T27" fmla="*/ 209 h 300"/>
                <a:gd name="T28" fmla="*/ 3 w 861"/>
                <a:gd name="T29" fmla="*/ 181 h 300"/>
                <a:gd name="T30" fmla="*/ 0 w 861"/>
                <a:gd name="T31" fmla="*/ 151 h 300"/>
                <a:gd name="T32" fmla="*/ 3 w 861"/>
                <a:gd name="T33" fmla="*/ 119 h 300"/>
                <a:gd name="T34" fmla="*/ 13 w 861"/>
                <a:gd name="T35" fmla="*/ 91 h 300"/>
                <a:gd name="T36" fmla="*/ 26 w 861"/>
                <a:gd name="T37" fmla="*/ 66 h 300"/>
                <a:gd name="T38" fmla="*/ 45 w 861"/>
                <a:gd name="T39" fmla="*/ 44 h 300"/>
                <a:gd name="T40" fmla="*/ 67 w 861"/>
                <a:gd name="T41" fmla="*/ 26 h 300"/>
                <a:gd name="T42" fmla="*/ 93 w 861"/>
                <a:gd name="T43" fmla="*/ 11 h 300"/>
                <a:gd name="T44" fmla="*/ 121 w 861"/>
                <a:gd name="T45" fmla="*/ 3 h 300"/>
                <a:gd name="T46" fmla="*/ 152 w 861"/>
                <a:gd name="T4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1" h="300">
                  <a:moveTo>
                    <a:pt x="152" y="0"/>
                  </a:moveTo>
                  <a:lnTo>
                    <a:pt x="615" y="0"/>
                  </a:lnTo>
                  <a:lnTo>
                    <a:pt x="655" y="66"/>
                  </a:lnTo>
                  <a:lnTo>
                    <a:pt x="701" y="130"/>
                  </a:lnTo>
                  <a:lnTo>
                    <a:pt x="751" y="190"/>
                  </a:lnTo>
                  <a:lnTo>
                    <a:pt x="804" y="247"/>
                  </a:lnTo>
                  <a:lnTo>
                    <a:pt x="861" y="300"/>
                  </a:lnTo>
                  <a:lnTo>
                    <a:pt x="152" y="300"/>
                  </a:lnTo>
                  <a:lnTo>
                    <a:pt x="121" y="297"/>
                  </a:lnTo>
                  <a:lnTo>
                    <a:pt x="93" y="289"/>
                  </a:lnTo>
                  <a:lnTo>
                    <a:pt x="67" y="275"/>
                  </a:lnTo>
                  <a:lnTo>
                    <a:pt x="45" y="257"/>
                  </a:lnTo>
                  <a:lnTo>
                    <a:pt x="26" y="235"/>
                  </a:lnTo>
                  <a:lnTo>
                    <a:pt x="13" y="209"/>
                  </a:lnTo>
                  <a:lnTo>
                    <a:pt x="3" y="181"/>
                  </a:lnTo>
                  <a:lnTo>
                    <a:pt x="0" y="151"/>
                  </a:lnTo>
                  <a:lnTo>
                    <a:pt x="3" y="119"/>
                  </a:lnTo>
                  <a:lnTo>
                    <a:pt x="13" y="91"/>
                  </a:lnTo>
                  <a:lnTo>
                    <a:pt x="26" y="66"/>
                  </a:lnTo>
                  <a:lnTo>
                    <a:pt x="45" y="44"/>
                  </a:lnTo>
                  <a:lnTo>
                    <a:pt x="67" y="26"/>
                  </a:lnTo>
                  <a:lnTo>
                    <a:pt x="93" y="11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32"/>
            <p:cNvSpPr>
              <a:spLocks/>
            </p:cNvSpPr>
            <p:nvPr/>
          </p:nvSpPr>
          <p:spPr bwMode="auto">
            <a:xfrm>
              <a:off x="-737" y="2645"/>
              <a:ext cx="128" cy="28"/>
            </a:xfrm>
            <a:custGeom>
              <a:avLst/>
              <a:gdLst>
                <a:gd name="T0" fmla="*/ 152 w 1414"/>
                <a:gd name="T1" fmla="*/ 0 h 301"/>
                <a:gd name="T2" fmla="*/ 958 w 1414"/>
                <a:gd name="T3" fmla="*/ 0 h 301"/>
                <a:gd name="T4" fmla="*/ 1027 w 1414"/>
                <a:gd name="T5" fmla="*/ 46 h 301"/>
                <a:gd name="T6" fmla="*/ 1099 w 1414"/>
                <a:gd name="T7" fmla="*/ 88 h 301"/>
                <a:gd name="T8" fmla="*/ 1174 w 1414"/>
                <a:gd name="T9" fmla="*/ 124 h 301"/>
                <a:gd name="T10" fmla="*/ 1251 w 1414"/>
                <a:gd name="T11" fmla="*/ 155 h 301"/>
                <a:gd name="T12" fmla="*/ 1332 w 1414"/>
                <a:gd name="T13" fmla="*/ 181 h 301"/>
                <a:gd name="T14" fmla="*/ 1414 w 1414"/>
                <a:gd name="T15" fmla="*/ 202 h 301"/>
                <a:gd name="T16" fmla="*/ 1403 w 1414"/>
                <a:gd name="T17" fmla="*/ 226 h 301"/>
                <a:gd name="T18" fmla="*/ 1388 w 1414"/>
                <a:gd name="T19" fmla="*/ 247 h 301"/>
                <a:gd name="T20" fmla="*/ 1370 w 1414"/>
                <a:gd name="T21" fmla="*/ 266 h 301"/>
                <a:gd name="T22" fmla="*/ 1349 w 1414"/>
                <a:gd name="T23" fmla="*/ 280 h 301"/>
                <a:gd name="T24" fmla="*/ 1325 w 1414"/>
                <a:gd name="T25" fmla="*/ 292 h 301"/>
                <a:gd name="T26" fmla="*/ 1300 w 1414"/>
                <a:gd name="T27" fmla="*/ 299 h 301"/>
                <a:gd name="T28" fmla="*/ 1273 w 1414"/>
                <a:gd name="T29" fmla="*/ 301 h 301"/>
                <a:gd name="T30" fmla="*/ 152 w 1414"/>
                <a:gd name="T31" fmla="*/ 301 h 301"/>
                <a:gd name="T32" fmla="*/ 121 w 1414"/>
                <a:gd name="T33" fmla="*/ 298 h 301"/>
                <a:gd name="T34" fmla="*/ 93 w 1414"/>
                <a:gd name="T35" fmla="*/ 290 h 301"/>
                <a:gd name="T36" fmla="*/ 67 w 1414"/>
                <a:gd name="T37" fmla="*/ 275 h 301"/>
                <a:gd name="T38" fmla="*/ 45 w 1414"/>
                <a:gd name="T39" fmla="*/ 257 h 301"/>
                <a:gd name="T40" fmla="*/ 26 w 1414"/>
                <a:gd name="T41" fmla="*/ 234 h 301"/>
                <a:gd name="T42" fmla="*/ 13 w 1414"/>
                <a:gd name="T43" fmla="*/ 210 h 301"/>
                <a:gd name="T44" fmla="*/ 3 w 1414"/>
                <a:gd name="T45" fmla="*/ 180 h 301"/>
                <a:gd name="T46" fmla="*/ 0 w 1414"/>
                <a:gd name="T47" fmla="*/ 150 h 301"/>
                <a:gd name="T48" fmla="*/ 3 w 1414"/>
                <a:gd name="T49" fmla="*/ 120 h 301"/>
                <a:gd name="T50" fmla="*/ 13 w 1414"/>
                <a:gd name="T51" fmla="*/ 92 h 301"/>
                <a:gd name="T52" fmla="*/ 26 w 1414"/>
                <a:gd name="T53" fmla="*/ 66 h 301"/>
                <a:gd name="T54" fmla="*/ 45 w 1414"/>
                <a:gd name="T55" fmla="*/ 44 h 301"/>
                <a:gd name="T56" fmla="*/ 67 w 1414"/>
                <a:gd name="T57" fmla="*/ 25 h 301"/>
                <a:gd name="T58" fmla="*/ 93 w 1414"/>
                <a:gd name="T59" fmla="*/ 12 h 301"/>
                <a:gd name="T60" fmla="*/ 121 w 1414"/>
                <a:gd name="T61" fmla="*/ 4 h 301"/>
                <a:gd name="T62" fmla="*/ 152 w 1414"/>
                <a:gd name="T63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14" h="301">
                  <a:moveTo>
                    <a:pt x="152" y="0"/>
                  </a:moveTo>
                  <a:lnTo>
                    <a:pt x="958" y="0"/>
                  </a:lnTo>
                  <a:lnTo>
                    <a:pt x="1027" y="46"/>
                  </a:lnTo>
                  <a:lnTo>
                    <a:pt x="1099" y="88"/>
                  </a:lnTo>
                  <a:lnTo>
                    <a:pt x="1174" y="124"/>
                  </a:lnTo>
                  <a:lnTo>
                    <a:pt x="1251" y="155"/>
                  </a:lnTo>
                  <a:lnTo>
                    <a:pt x="1332" y="181"/>
                  </a:lnTo>
                  <a:lnTo>
                    <a:pt x="1414" y="202"/>
                  </a:lnTo>
                  <a:lnTo>
                    <a:pt x="1403" y="226"/>
                  </a:lnTo>
                  <a:lnTo>
                    <a:pt x="1388" y="247"/>
                  </a:lnTo>
                  <a:lnTo>
                    <a:pt x="1370" y="266"/>
                  </a:lnTo>
                  <a:lnTo>
                    <a:pt x="1349" y="280"/>
                  </a:lnTo>
                  <a:lnTo>
                    <a:pt x="1325" y="292"/>
                  </a:lnTo>
                  <a:lnTo>
                    <a:pt x="1300" y="299"/>
                  </a:lnTo>
                  <a:lnTo>
                    <a:pt x="1273" y="301"/>
                  </a:lnTo>
                  <a:lnTo>
                    <a:pt x="152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7" y="275"/>
                  </a:lnTo>
                  <a:lnTo>
                    <a:pt x="45" y="257"/>
                  </a:lnTo>
                  <a:lnTo>
                    <a:pt x="26" y="234"/>
                  </a:lnTo>
                  <a:lnTo>
                    <a:pt x="13" y="210"/>
                  </a:lnTo>
                  <a:lnTo>
                    <a:pt x="3" y="180"/>
                  </a:lnTo>
                  <a:lnTo>
                    <a:pt x="0" y="150"/>
                  </a:lnTo>
                  <a:lnTo>
                    <a:pt x="3" y="120"/>
                  </a:lnTo>
                  <a:lnTo>
                    <a:pt x="13" y="92"/>
                  </a:lnTo>
                  <a:lnTo>
                    <a:pt x="26" y="66"/>
                  </a:lnTo>
                  <a:lnTo>
                    <a:pt x="45" y="44"/>
                  </a:lnTo>
                  <a:lnTo>
                    <a:pt x="67" y="25"/>
                  </a:lnTo>
                  <a:lnTo>
                    <a:pt x="93" y="12"/>
                  </a:lnTo>
                  <a:lnTo>
                    <a:pt x="121" y="4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33"/>
            <p:cNvSpPr>
              <a:spLocks/>
            </p:cNvSpPr>
            <p:nvPr/>
          </p:nvSpPr>
          <p:spPr bwMode="auto">
            <a:xfrm>
              <a:off x="-737" y="2680"/>
              <a:ext cx="129" cy="27"/>
            </a:xfrm>
            <a:custGeom>
              <a:avLst/>
              <a:gdLst>
                <a:gd name="T0" fmla="*/ 152 w 1424"/>
                <a:gd name="T1" fmla="*/ 0 h 302"/>
                <a:gd name="T2" fmla="*/ 1273 w 1424"/>
                <a:gd name="T3" fmla="*/ 0 h 302"/>
                <a:gd name="T4" fmla="*/ 1303 w 1424"/>
                <a:gd name="T5" fmla="*/ 3 h 302"/>
                <a:gd name="T6" fmla="*/ 1332 w 1424"/>
                <a:gd name="T7" fmla="*/ 13 h 302"/>
                <a:gd name="T8" fmla="*/ 1357 w 1424"/>
                <a:gd name="T9" fmla="*/ 26 h 302"/>
                <a:gd name="T10" fmla="*/ 1380 w 1424"/>
                <a:gd name="T11" fmla="*/ 45 h 302"/>
                <a:gd name="T12" fmla="*/ 1398 w 1424"/>
                <a:gd name="T13" fmla="*/ 67 h 302"/>
                <a:gd name="T14" fmla="*/ 1412 w 1424"/>
                <a:gd name="T15" fmla="*/ 92 h 302"/>
                <a:gd name="T16" fmla="*/ 1421 w 1424"/>
                <a:gd name="T17" fmla="*/ 121 h 302"/>
                <a:gd name="T18" fmla="*/ 1424 w 1424"/>
                <a:gd name="T19" fmla="*/ 151 h 302"/>
                <a:gd name="T20" fmla="*/ 1421 w 1424"/>
                <a:gd name="T21" fmla="*/ 181 h 302"/>
                <a:gd name="T22" fmla="*/ 1412 w 1424"/>
                <a:gd name="T23" fmla="*/ 209 h 302"/>
                <a:gd name="T24" fmla="*/ 1398 w 1424"/>
                <a:gd name="T25" fmla="*/ 235 h 302"/>
                <a:gd name="T26" fmla="*/ 1380 w 1424"/>
                <a:gd name="T27" fmla="*/ 257 h 302"/>
                <a:gd name="T28" fmla="*/ 1357 w 1424"/>
                <a:gd name="T29" fmla="*/ 276 h 302"/>
                <a:gd name="T30" fmla="*/ 1332 w 1424"/>
                <a:gd name="T31" fmla="*/ 289 h 302"/>
                <a:gd name="T32" fmla="*/ 1303 w 1424"/>
                <a:gd name="T33" fmla="*/ 299 h 302"/>
                <a:gd name="T34" fmla="*/ 1273 w 1424"/>
                <a:gd name="T35" fmla="*/ 302 h 302"/>
                <a:gd name="T36" fmla="*/ 152 w 1424"/>
                <a:gd name="T37" fmla="*/ 302 h 302"/>
                <a:gd name="T38" fmla="*/ 121 w 1424"/>
                <a:gd name="T39" fmla="*/ 299 h 302"/>
                <a:gd name="T40" fmla="*/ 93 w 1424"/>
                <a:gd name="T41" fmla="*/ 289 h 302"/>
                <a:gd name="T42" fmla="*/ 67 w 1424"/>
                <a:gd name="T43" fmla="*/ 276 h 302"/>
                <a:gd name="T44" fmla="*/ 45 w 1424"/>
                <a:gd name="T45" fmla="*/ 257 h 302"/>
                <a:gd name="T46" fmla="*/ 26 w 1424"/>
                <a:gd name="T47" fmla="*/ 235 h 302"/>
                <a:gd name="T48" fmla="*/ 13 w 1424"/>
                <a:gd name="T49" fmla="*/ 209 h 302"/>
                <a:gd name="T50" fmla="*/ 3 w 1424"/>
                <a:gd name="T51" fmla="*/ 181 h 302"/>
                <a:gd name="T52" fmla="*/ 0 w 1424"/>
                <a:gd name="T53" fmla="*/ 151 h 302"/>
                <a:gd name="T54" fmla="*/ 3 w 1424"/>
                <a:gd name="T55" fmla="*/ 121 h 302"/>
                <a:gd name="T56" fmla="*/ 13 w 1424"/>
                <a:gd name="T57" fmla="*/ 92 h 302"/>
                <a:gd name="T58" fmla="*/ 26 w 1424"/>
                <a:gd name="T59" fmla="*/ 67 h 302"/>
                <a:gd name="T60" fmla="*/ 45 w 1424"/>
                <a:gd name="T61" fmla="*/ 45 h 302"/>
                <a:gd name="T62" fmla="*/ 67 w 1424"/>
                <a:gd name="T63" fmla="*/ 26 h 302"/>
                <a:gd name="T64" fmla="*/ 93 w 1424"/>
                <a:gd name="T65" fmla="*/ 13 h 302"/>
                <a:gd name="T66" fmla="*/ 121 w 1424"/>
                <a:gd name="T67" fmla="*/ 3 h 302"/>
                <a:gd name="T68" fmla="*/ 152 w 1424"/>
                <a:gd name="T6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4" h="302">
                  <a:moveTo>
                    <a:pt x="152" y="0"/>
                  </a:moveTo>
                  <a:lnTo>
                    <a:pt x="1273" y="0"/>
                  </a:lnTo>
                  <a:lnTo>
                    <a:pt x="1303" y="3"/>
                  </a:lnTo>
                  <a:lnTo>
                    <a:pt x="1332" y="13"/>
                  </a:lnTo>
                  <a:lnTo>
                    <a:pt x="1357" y="26"/>
                  </a:lnTo>
                  <a:lnTo>
                    <a:pt x="1380" y="45"/>
                  </a:lnTo>
                  <a:lnTo>
                    <a:pt x="1398" y="67"/>
                  </a:lnTo>
                  <a:lnTo>
                    <a:pt x="1412" y="92"/>
                  </a:lnTo>
                  <a:lnTo>
                    <a:pt x="1421" y="121"/>
                  </a:lnTo>
                  <a:lnTo>
                    <a:pt x="1424" y="151"/>
                  </a:lnTo>
                  <a:lnTo>
                    <a:pt x="1421" y="181"/>
                  </a:lnTo>
                  <a:lnTo>
                    <a:pt x="1412" y="209"/>
                  </a:lnTo>
                  <a:lnTo>
                    <a:pt x="1398" y="235"/>
                  </a:lnTo>
                  <a:lnTo>
                    <a:pt x="1380" y="257"/>
                  </a:lnTo>
                  <a:lnTo>
                    <a:pt x="1357" y="276"/>
                  </a:lnTo>
                  <a:lnTo>
                    <a:pt x="1332" y="289"/>
                  </a:lnTo>
                  <a:lnTo>
                    <a:pt x="1303" y="299"/>
                  </a:lnTo>
                  <a:lnTo>
                    <a:pt x="1273" y="302"/>
                  </a:lnTo>
                  <a:lnTo>
                    <a:pt x="152" y="302"/>
                  </a:lnTo>
                  <a:lnTo>
                    <a:pt x="121" y="299"/>
                  </a:lnTo>
                  <a:lnTo>
                    <a:pt x="93" y="289"/>
                  </a:lnTo>
                  <a:lnTo>
                    <a:pt x="67" y="276"/>
                  </a:lnTo>
                  <a:lnTo>
                    <a:pt x="45" y="257"/>
                  </a:lnTo>
                  <a:lnTo>
                    <a:pt x="26" y="235"/>
                  </a:lnTo>
                  <a:lnTo>
                    <a:pt x="13" y="209"/>
                  </a:lnTo>
                  <a:lnTo>
                    <a:pt x="3" y="181"/>
                  </a:lnTo>
                  <a:lnTo>
                    <a:pt x="0" y="151"/>
                  </a:lnTo>
                  <a:lnTo>
                    <a:pt x="3" y="121"/>
                  </a:lnTo>
                  <a:lnTo>
                    <a:pt x="13" y="92"/>
                  </a:lnTo>
                  <a:lnTo>
                    <a:pt x="26" y="67"/>
                  </a:lnTo>
                  <a:lnTo>
                    <a:pt x="45" y="45"/>
                  </a:lnTo>
                  <a:lnTo>
                    <a:pt x="67" y="26"/>
                  </a:lnTo>
                  <a:lnTo>
                    <a:pt x="93" y="13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4"/>
            <p:cNvSpPr>
              <a:spLocks noEditPoints="1"/>
            </p:cNvSpPr>
            <p:nvPr/>
          </p:nvSpPr>
          <p:spPr bwMode="auto">
            <a:xfrm>
              <a:off x="-682" y="2461"/>
              <a:ext cx="193" cy="191"/>
            </a:xfrm>
            <a:custGeom>
              <a:avLst/>
              <a:gdLst>
                <a:gd name="T0" fmla="*/ 924 w 2119"/>
                <a:gd name="T1" fmla="*/ 314 h 2106"/>
                <a:gd name="T2" fmla="*/ 735 w 2119"/>
                <a:gd name="T3" fmla="*/ 374 h 2106"/>
                <a:gd name="T4" fmla="*/ 573 w 2119"/>
                <a:gd name="T5" fmla="*/ 479 h 2106"/>
                <a:gd name="T6" fmla="*/ 441 w 2119"/>
                <a:gd name="T7" fmla="*/ 620 h 2106"/>
                <a:gd name="T8" fmla="*/ 350 w 2119"/>
                <a:gd name="T9" fmla="*/ 792 h 2106"/>
                <a:gd name="T10" fmla="*/ 306 w 2119"/>
                <a:gd name="T11" fmla="*/ 985 h 2106"/>
                <a:gd name="T12" fmla="*/ 315 w 2119"/>
                <a:gd name="T13" fmla="*/ 1188 h 2106"/>
                <a:gd name="T14" fmla="*/ 376 w 2119"/>
                <a:gd name="T15" fmla="*/ 1375 h 2106"/>
                <a:gd name="T16" fmla="*/ 481 w 2119"/>
                <a:gd name="T17" fmla="*/ 1538 h 2106"/>
                <a:gd name="T18" fmla="*/ 623 w 2119"/>
                <a:gd name="T19" fmla="*/ 1668 h 2106"/>
                <a:gd name="T20" fmla="*/ 796 w 2119"/>
                <a:gd name="T21" fmla="*/ 1758 h 2106"/>
                <a:gd name="T22" fmla="*/ 991 w 2119"/>
                <a:gd name="T23" fmla="*/ 1803 h 2106"/>
                <a:gd name="T24" fmla="*/ 1196 w 2119"/>
                <a:gd name="T25" fmla="*/ 1793 h 2106"/>
                <a:gd name="T26" fmla="*/ 1384 w 2119"/>
                <a:gd name="T27" fmla="*/ 1733 h 2106"/>
                <a:gd name="T28" fmla="*/ 1548 w 2119"/>
                <a:gd name="T29" fmla="*/ 1628 h 2106"/>
                <a:gd name="T30" fmla="*/ 1678 w 2119"/>
                <a:gd name="T31" fmla="*/ 1487 h 2106"/>
                <a:gd name="T32" fmla="*/ 1770 w 2119"/>
                <a:gd name="T33" fmla="*/ 1316 h 2106"/>
                <a:gd name="T34" fmla="*/ 1813 w 2119"/>
                <a:gd name="T35" fmla="*/ 1122 h 2106"/>
                <a:gd name="T36" fmla="*/ 1804 w 2119"/>
                <a:gd name="T37" fmla="*/ 919 h 2106"/>
                <a:gd name="T38" fmla="*/ 1743 w 2119"/>
                <a:gd name="T39" fmla="*/ 732 h 2106"/>
                <a:gd name="T40" fmla="*/ 1639 w 2119"/>
                <a:gd name="T41" fmla="*/ 569 h 2106"/>
                <a:gd name="T42" fmla="*/ 1496 w 2119"/>
                <a:gd name="T43" fmla="*/ 439 h 2106"/>
                <a:gd name="T44" fmla="*/ 1324 w 2119"/>
                <a:gd name="T45" fmla="*/ 349 h 2106"/>
                <a:gd name="T46" fmla="*/ 1129 w 2119"/>
                <a:gd name="T47" fmla="*/ 304 h 2106"/>
                <a:gd name="T48" fmla="*/ 1142 w 2119"/>
                <a:gd name="T49" fmla="*/ 4 h 2106"/>
                <a:gd name="T50" fmla="*/ 1379 w 2119"/>
                <a:gd name="T51" fmla="*/ 49 h 2106"/>
                <a:gd name="T52" fmla="*/ 1595 w 2119"/>
                <a:gd name="T53" fmla="*/ 145 h 2106"/>
                <a:gd name="T54" fmla="*/ 1781 w 2119"/>
                <a:gd name="T55" fmla="*/ 282 h 2106"/>
                <a:gd name="T56" fmla="*/ 1933 w 2119"/>
                <a:gd name="T57" fmla="*/ 457 h 2106"/>
                <a:gd name="T58" fmla="*/ 2044 w 2119"/>
                <a:gd name="T59" fmla="*/ 662 h 2106"/>
                <a:gd name="T60" fmla="*/ 2107 w 2119"/>
                <a:gd name="T61" fmla="*/ 891 h 2106"/>
                <a:gd name="T62" fmla="*/ 2116 w 2119"/>
                <a:gd name="T63" fmla="*/ 1136 h 2106"/>
                <a:gd name="T64" fmla="*/ 2070 w 2119"/>
                <a:gd name="T65" fmla="*/ 1371 h 2106"/>
                <a:gd name="T66" fmla="*/ 1975 w 2119"/>
                <a:gd name="T67" fmla="*/ 1584 h 2106"/>
                <a:gd name="T68" fmla="*/ 1835 w 2119"/>
                <a:gd name="T69" fmla="*/ 1770 h 2106"/>
                <a:gd name="T70" fmla="*/ 1660 w 2119"/>
                <a:gd name="T71" fmla="*/ 1921 h 2106"/>
                <a:gd name="T72" fmla="*/ 1453 w 2119"/>
                <a:gd name="T73" fmla="*/ 2031 h 2106"/>
                <a:gd name="T74" fmla="*/ 1224 w 2119"/>
                <a:gd name="T75" fmla="*/ 2094 h 2106"/>
                <a:gd name="T76" fmla="*/ 977 w 2119"/>
                <a:gd name="T77" fmla="*/ 2103 h 2106"/>
                <a:gd name="T78" fmla="*/ 740 w 2119"/>
                <a:gd name="T79" fmla="*/ 2058 h 2106"/>
                <a:gd name="T80" fmla="*/ 526 w 2119"/>
                <a:gd name="T81" fmla="*/ 1962 h 2106"/>
                <a:gd name="T82" fmla="*/ 338 w 2119"/>
                <a:gd name="T83" fmla="*/ 1825 h 2106"/>
                <a:gd name="T84" fmla="*/ 187 w 2119"/>
                <a:gd name="T85" fmla="*/ 1650 h 2106"/>
                <a:gd name="T86" fmla="*/ 76 w 2119"/>
                <a:gd name="T87" fmla="*/ 1445 h 2106"/>
                <a:gd name="T88" fmla="*/ 13 w 2119"/>
                <a:gd name="T89" fmla="*/ 1216 h 2106"/>
                <a:gd name="T90" fmla="*/ 3 w 2119"/>
                <a:gd name="T91" fmla="*/ 972 h 2106"/>
                <a:gd name="T92" fmla="*/ 49 w 2119"/>
                <a:gd name="T93" fmla="*/ 736 h 2106"/>
                <a:gd name="T94" fmla="*/ 145 w 2119"/>
                <a:gd name="T95" fmla="*/ 523 h 2106"/>
                <a:gd name="T96" fmla="*/ 284 w 2119"/>
                <a:gd name="T97" fmla="*/ 337 h 2106"/>
                <a:gd name="T98" fmla="*/ 460 w 2119"/>
                <a:gd name="T99" fmla="*/ 187 h 2106"/>
                <a:gd name="T100" fmla="*/ 666 w 2119"/>
                <a:gd name="T101" fmla="*/ 76 h 2106"/>
                <a:gd name="T102" fmla="*/ 896 w 2119"/>
                <a:gd name="T103" fmla="*/ 13 h 2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19" h="2106">
                  <a:moveTo>
                    <a:pt x="1060" y="301"/>
                  </a:moveTo>
                  <a:lnTo>
                    <a:pt x="991" y="304"/>
                  </a:lnTo>
                  <a:lnTo>
                    <a:pt x="924" y="314"/>
                  </a:lnTo>
                  <a:lnTo>
                    <a:pt x="859" y="328"/>
                  </a:lnTo>
                  <a:lnTo>
                    <a:pt x="796" y="349"/>
                  </a:lnTo>
                  <a:lnTo>
                    <a:pt x="735" y="374"/>
                  </a:lnTo>
                  <a:lnTo>
                    <a:pt x="678" y="404"/>
                  </a:lnTo>
                  <a:lnTo>
                    <a:pt x="623" y="439"/>
                  </a:lnTo>
                  <a:lnTo>
                    <a:pt x="573" y="479"/>
                  </a:lnTo>
                  <a:lnTo>
                    <a:pt x="525" y="523"/>
                  </a:lnTo>
                  <a:lnTo>
                    <a:pt x="481" y="569"/>
                  </a:lnTo>
                  <a:lnTo>
                    <a:pt x="441" y="620"/>
                  </a:lnTo>
                  <a:lnTo>
                    <a:pt x="406" y="674"/>
                  </a:lnTo>
                  <a:lnTo>
                    <a:pt x="376" y="732"/>
                  </a:lnTo>
                  <a:lnTo>
                    <a:pt x="350" y="792"/>
                  </a:lnTo>
                  <a:lnTo>
                    <a:pt x="330" y="854"/>
                  </a:lnTo>
                  <a:lnTo>
                    <a:pt x="315" y="919"/>
                  </a:lnTo>
                  <a:lnTo>
                    <a:pt x="306" y="985"/>
                  </a:lnTo>
                  <a:lnTo>
                    <a:pt x="303" y="1054"/>
                  </a:lnTo>
                  <a:lnTo>
                    <a:pt x="306" y="1122"/>
                  </a:lnTo>
                  <a:lnTo>
                    <a:pt x="315" y="1188"/>
                  </a:lnTo>
                  <a:lnTo>
                    <a:pt x="330" y="1254"/>
                  </a:lnTo>
                  <a:lnTo>
                    <a:pt x="350" y="1316"/>
                  </a:lnTo>
                  <a:lnTo>
                    <a:pt x="376" y="1375"/>
                  </a:lnTo>
                  <a:lnTo>
                    <a:pt x="406" y="1433"/>
                  </a:lnTo>
                  <a:lnTo>
                    <a:pt x="441" y="1487"/>
                  </a:lnTo>
                  <a:lnTo>
                    <a:pt x="481" y="1538"/>
                  </a:lnTo>
                  <a:lnTo>
                    <a:pt x="525" y="1585"/>
                  </a:lnTo>
                  <a:lnTo>
                    <a:pt x="573" y="1628"/>
                  </a:lnTo>
                  <a:lnTo>
                    <a:pt x="623" y="1668"/>
                  </a:lnTo>
                  <a:lnTo>
                    <a:pt x="678" y="1703"/>
                  </a:lnTo>
                  <a:lnTo>
                    <a:pt x="735" y="1733"/>
                  </a:lnTo>
                  <a:lnTo>
                    <a:pt x="796" y="1758"/>
                  </a:lnTo>
                  <a:lnTo>
                    <a:pt x="859" y="1779"/>
                  </a:lnTo>
                  <a:lnTo>
                    <a:pt x="924" y="1793"/>
                  </a:lnTo>
                  <a:lnTo>
                    <a:pt x="991" y="1803"/>
                  </a:lnTo>
                  <a:lnTo>
                    <a:pt x="1060" y="1806"/>
                  </a:lnTo>
                  <a:lnTo>
                    <a:pt x="1129" y="1803"/>
                  </a:lnTo>
                  <a:lnTo>
                    <a:pt x="1196" y="1793"/>
                  </a:lnTo>
                  <a:lnTo>
                    <a:pt x="1261" y="1779"/>
                  </a:lnTo>
                  <a:lnTo>
                    <a:pt x="1324" y="1758"/>
                  </a:lnTo>
                  <a:lnTo>
                    <a:pt x="1384" y="1733"/>
                  </a:lnTo>
                  <a:lnTo>
                    <a:pt x="1442" y="1703"/>
                  </a:lnTo>
                  <a:lnTo>
                    <a:pt x="1496" y="1668"/>
                  </a:lnTo>
                  <a:lnTo>
                    <a:pt x="1548" y="1628"/>
                  </a:lnTo>
                  <a:lnTo>
                    <a:pt x="1595" y="1585"/>
                  </a:lnTo>
                  <a:lnTo>
                    <a:pt x="1639" y="1538"/>
                  </a:lnTo>
                  <a:lnTo>
                    <a:pt x="1678" y="1487"/>
                  </a:lnTo>
                  <a:lnTo>
                    <a:pt x="1713" y="1433"/>
                  </a:lnTo>
                  <a:lnTo>
                    <a:pt x="1743" y="1375"/>
                  </a:lnTo>
                  <a:lnTo>
                    <a:pt x="1770" y="1316"/>
                  </a:lnTo>
                  <a:lnTo>
                    <a:pt x="1789" y="1254"/>
                  </a:lnTo>
                  <a:lnTo>
                    <a:pt x="1804" y="1188"/>
                  </a:lnTo>
                  <a:lnTo>
                    <a:pt x="1813" y="1122"/>
                  </a:lnTo>
                  <a:lnTo>
                    <a:pt x="1817" y="1054"/>
                  </a:lnTo>
                  <a:lnTo>
                    <a:pt x="1813" y="985"/>
                  </a:lnTo>
                  <a:lnTo>
                    <a:pt x="1804" y="919"/>
                  </a:lnTo>
                  <a:lnTo>
                    <a:pt x="1789" y="854"/>
                  </a:lnTo>
                  <a:lnTo>
                    <a:pt x="1770" y="792"/>
                  </a:lnTo>
                  <a:lnTo>
                    <a:pt x="1743" y="732"/>
                  </a:lnTo>
                  <a:lnTo>
                    <a:pt x="1713" y="674"/>
                  </a:lnTo>
                  <a:lnTo>
                    <a:pt x="1678" y="620"/>
                  </a:lnTo>
                  <a:lnTo>
                    <a:pt x="1639" y="569"/>
                  </a:lnTo>
                  <a:lnTo>
                    <a:pt x="1595" y="523"/>
                  </a:lnTo>
                  <a:lnTo>
                    <a:pt x="1548" y="479"/>
                  </a:lnTo>
                  <a:lnTo>
                    <a:pt x="1496" y="439"/>
                  </a:lnTo>
                  <a:lnTo>
                    <a:pt x="1442" y="404"/>
                  </a:lnTo>
                  <a:lnTo>
                    <a:pt x="1384" y="374"/>
                  </a:lnTo>
                  <a:lnTo>
                    <a:pt x="1324" y="349"/>
                  </a:lnTo>
                  <a:lnTo>
                    <a:pt x="1261" y="328"/>
                  </a:lnTo>
                  <a:lnTo>
                    <a:pt x="1196" y="314"/>
                  </a:lnTo>
                  <a:lnTo>
                    <a:pt x="1129" y="304"/>
                  </a:lnTo>
                  <a:lnTo>
                    <a:pt x="1060" y="301"/>
                  </a:lnTo>
                  <a:close/>
                  <a:moveTo>
                    <a:pt x="1060" y="0"/>
                  </a:moveTo>
                  <a:lnTo>
                    <a:pt x="1142" y="4"/>
                  </a:lnTo>
                  <a:lnTo>
                    <a:pt x="1224" y="13"/>
                  </a:lnTo>
                  <a:lnTo>
                    <a:pt x="1303" y="29"/>
                  </a:lnTo>
                  <a:lnTo>
                    <a:pt x="1379" y="49"/>
                  </a:lnTo>
                  <a:lnTo>
                    <a:pt x="1453" y="76"/>
                  </a:lnTo>
                  <a:lnTo>
                    <a:pt x="1526" y="108"/>
                  </a:lnTo>
                  <a:lnTo>
                    <a:pt x="1595" y="145"/>
                  </a:lnTo>
                  <a:lnTo>
                    <a:pt x="1660" y="187"/>
                  </a:lnTo>
                  <a:lnTo>
                    <a:pt x="1722" y="232"/>
                  </a:lnTo>
                  <a:lnTo>
                    <a:pt x="1781" y="282"/>
                  </a:lnTo>
                  <a:lnTo>
                    <a:pt x="1835" y="337"/>
                  </a:lnTo>
                  <a:lnTo>
                    <a:pt x="1887" y="396"/>
                  </a:lnTo>
                  <a:lnTo>
                    <a:pt x="1933" y="457"/>
                  </a:lnTo>
                  <a:lnTo>
                    <a:pt x="1975" y="523"/>
                  </a:lnTo>
                  <a:lnTo>
                    <a:pt x="2011" y="591"/>
                  </a:lnTo>
                  <a:lnTo>
                    <a:pt x="2044" y="662"/>
                  </a:lnTo>
                  <a:lnTo>
                    <a:pt x="2070" y="736"/>
                  </a:lnTo>
                  <a:lnTo>
                    <a:pt x="2091" y="813"/>
                  </a:lnTo>
                  <a:lnTo>
                    <a:pt x="2107" y="891"/>
                  </a:lnTo>
                  <a:lnTo>
                    <a:pt x="2116" y="972"/>
                  </a:lnTo>
                  <a:lnTo>
                    <a:pt x="2119" y="1054"/>
                  </a:lnTo>
                  <a:lnTo>
                    <a:pt x="2116" y="1136"/>
                  </a:lnTo>
                  <a:lnTo>
                    <a:pt x="2107" y="1216"/>
                  </a:lnTo>
                  <a:lnTo>
                    <a:pt x="2091" y="1295"/>
                  </a:lnTo>
                  <a:lnTo>
                    <a:pt x="2070" y="1371"/>
                  </a:lnTo>
                  <a:lnTo>
                    <a:pt x="2044" y="1445"/>
                  </a:lnTo>
                  <a:lnTo>
                    <a:pt x="2011" y="1516"/>
                  </a:lnTo>
                  <a:lnTo>
                    <a:pt x="1975" y="1584"/>
                  </a:lnTo>
                  <a:lnTo>
                    <a:pt x="1933" y="1650"/>
                  </a:lnTo>
                  <a:lnTo>
                    <a:pt x="1887" y="1711"/>
                  </a:lnTo>
                  <a:lnTo>
                    <a:pt x="1835" y="1770"/>
                  </a:lnTo>
                  <a:lnTo>
                    <a:pt x="1781" y="1825"/>
                  </a:lnTo>
                  <a:lnTo>
                    <a:pt x="1722" y="1875"/>
                  </a:lnTo>
                  <a:lnTo>
                    <a:pt x="1660" y="1921"/>
                  </a:lnTo>
                  <a:lnTo>
                    <a:pt x="1595" y="1962"/>
                  </a:lnTo>
                  <a:lnTo>
                    <a:pt x="1526" y="1999"/>
                  </a:lnTo>
                  <a:lnTo>
                    <a:pt x="1453" y="2031"/>
                  </a:lnTo>
                  <a:lnTo>
                    <a:pt x="1379" y="2058"/>
                  </a:lnTo>
                  <a:lnTo>
                    <a:pt x="1303" y="2078"/>
                  </a:lnTo>
                  <a:lnTo>
                    <a:pt x="1224" y="2094"/>
                  </a:lnTo>
                  <a:lnTo>
                    <a:pt x="1142" y="2103"/>
                  </a:lnTo>
                  <a:lnTo>
                    <a:pt x="1060" y="2106"/>
                  </a:lnTo>
                  <a:lnTo>
                    <a:pt x="977" y="2103"/>
                  </a:lnTo>
                  <a:lnTo>
                    <a:pt x="896" y="2094"/>
                  </a:lnTo>
                  <a:lnTo>
                    <a:pt x="817" y="2078"/>
                  </a:lnTo>
                  <a:lnTo>
                    <a:pt x="740" y="2058"/>
                  </a:lnTo>
                  <a:lnTo>
                    <a:pt x="666" y="2031"/>
                  </a:lnTo>
                  <a:lnTo>
                    <a:pt x="594" y="1999"/>
                  </a:lnTo>
                  <a:lnTo>
                    <a:pt x="526" y="1962"/>
                  </a:lnTo>
                  <a:lnTo>
                    <a:pt x="460" y="1921"/>
                  </a:lnTo>
                  <a:lnTo>
                    <a:pt x="397" y="1875"/>
                  </a:lnTo>
                  <a:lnTo>
                    <a:pt x="338" y="1825"/>
                  </a:lnTo>
                  <a:lnTo>
                    <a:pt x="284" y="1770"/>
                  </a:lnTo>
                  <a:lnTo>
                    <a:pt x="233" y="1711"/>
                  </a:lnTo>
                  <a:lnTo>
                    <a:pt x="187" y="1650"/>
                  </a:lnTo>
                  <a:lnTo>
                    <a:pt x="145" y="1584"/>
                  </a:lnTo>
                  <a:lnTo>
                    <a:pt x="108" y="1516"/>
                  </a:lnTo>
                  <a:lnTo>
                    <a:pt x="76" y="1445"/>
                  </a:lnTo>
                  <a:lnTo>
                    <a:pt x="49" y="1371"/>
                  </a:lnTo>
                  <a:lnTo>
                    <a:pt x="28" y="1295"/>
                  </a:lnTo>
                  <a:lnTo>
                    <a:pt x="13" y="1216"/>
                  </a:lnTo>
                  <a:lnTo>
                    <a:pt x="3" y="1136"/>
                  </a:lnTo>
                  <a:lnTo>
                    <a:pt x="0" y="1054"/>
                  </a:lnTo>
                  <a:lnTo>
                    <a:pt x="3" y="972"/>
                  </a:lnTo>
                  <a:lnTo>
                    <a:pt x="13" y="891"/>
                  </a:lnTo>
                  <a:lnTo>
                    <a:pt x="28" y="813"/>
                  </a:lnTo>
                  <a:lnTo>
                    <a:pt x="49" y="736"/>
                  </a:lnTo>
                  <a:lnTo>
                    <a:pt x="76" y="662"/>
                  </a:lnTo>
                  <a:lnTo>
                    <a:pt x="108" y="591"/>
                  </a:lnTo>
                  <a:lnTo>
                    <a:pt x="145" y="523"/>
                  </a:lnTo>
                  <a:lnTo>
                    <a:pt x="187" y="457"/>
                  </a:lnTo>
                  <a:lnTo>
                    <a:pt x="233" y="396"/>
                  </a:lnTo>
                  <a:lnTo>
                    <a:pt x="284" y="337"/>
                  </a:lnTo>
                  <a:lnTo>
                    <a:pt x="338" y="282"/>
                  </a:lnTo>
                  <a:lnTo>
                    <a:pt x="397" y="232"/>
                  </a:lnTo>
                  <a:lnTo>
                    <a:pt x="460" y="187"/>
                  </a:lnTo>
                  <a:lnTo>
                    <a:pt x="526" y="145"/>
                  </a:lnTo>
                  <a:lnTo>
                    <a:pt x="594" y="108"/>
                  </a:lnTo>
                  <a:lnTo>
                    <a:pt x="666" y="76"/>
                  </a:lnTo>
                  <a:lnTo>
                    <a:pt x="740" y="49"/>
                  </a:lnTo>
                  <a:lnTo>
                    <a:pt x="817" y="29"/>
                  </a:lnTo>
                  <a:lnTo>
                    <a:pt x="896" y="13"/>
                  </a:lnTo>
                  <a:lnTo>
                    <a:pt x="977" y="4"/>
                  </a:lnTo>
                  <a:lnTo>
                    <a:pt x="10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5"/>
            <p:cNvSpPr>
              <a:spLocks noEditPoints="1"/>
            </p:cNvSpPr>
            <p:nvPr/>
          </p:nvSpPr>
          <p:spPr bwMode="auto">
            <a:xfrm>
              <a:off x="-621" y="2500"/>
              <a:ext cx="71" cy="113"/>
            </a:xfrm>
            <a:custGeom>
              <a:avLst/>
              <a:gdLst>
                <a:gd name="T0" fmla="*/ 480 w 774"/>
                <a:gd name="T1" fmla="*/ 963 h 1241"/>
                <a:gd name="T2" fmla="*/ 565 w 774"/>
                <a:gd name="T3" fmla="*/ 921 h 1241"/>
                <a:gd name="T4" fmla="*/ 600 w 774"/>
                <a:gd name="T5" fmla="*/ 836 h 1241"/>
                <a:gd name="T6" fmla="*/ 568 w 774"/>
                <a:gd name="T7" fmla="*/ 758 h 1241"/>
                <a:gd name="T8" fmla="*/ 493 w 774"/>
                <a:gd name="T9" fmla="*/ 717 h 1241"/>
                <a:gd name="T10" fmla="*/ 348 w 774"/>
                <a:gd name="T11" fmla="*/ 259 h 1241"/>
                <a:gd name="T12" fmla="*/ 236 w 774"/>
                <a:gd name="T13" fmla="*/ 297 h 1241"/>
                <a:gd name="T14" fmla="*/ 194 w 774"/>
                <a:gd name="T15" fmla="*/ 376 h 1241"/>
                <a:gd name="T16" fmla="*/ 233 w 774"/>
                <a:gd name="T17" fmla="*/ 458 h 1241"/>
                <a:gd name="T18" fmla="*/ 348 w 774"/>
                <a:gd name="T19" fmla="*/ 505 h 1241"/>
                <a:gd name="T20" fmla="*/ 414 w 774"/>
                <a:gd name="T21" fmla="*/ 9 h 1241"/>
                <a:gd name="T22" fmla="*/ 431 w 774"/>
                <a:gd name="T23" fmla="*/ 120 h 1241"/>
                <a:gd name="T24" fmla="*/ 534 w 774"/>
                <a:gd name="T25" fmla="*/ 135 h 1241"/>
                <a:gd name="T26" fmla="*/ 648 w 774"/>
                <a:gd name="T27" fmla="*/ 179 h 1241"/>
                <a:gd name="T28" fmla="*/ 734 w 774"/>
                <a:gd name="T29" fmla="*/ 251 h 1241"/>
                <a:gd name="T30" fmla="*/ 756 w 774"/>
                <a:gd name="T31" fmla="*/ 345 h 1241"/>
                <a:gd name="T32" fmla="*/ 709 w 774"/>
                <a:gd name="T33" fmla="*/ 401 h 1241"/>
                <a:gd name="T34" fmla="*/ 640 w 774"/>
                <a:gd name="T35" fmla="*/ 402 h 1241"/>
                <a:gd name="T36" fmla="*/ 592 w 774"/>
                <a:gd name="T37" fmla="*/ 357 h 1241"/>
                <a:gd name="T38" fmla="*/ 542 w 774"/>
                <a:gd name="T39" fmla="*/ 299 h 1241"/>
                <a:gd name="T40" fmla="*/ 459 w 774"/>
                <a:gd name="T41" fmla="*/ 261 h 1241"/>
                <a:gd name="T42" fmla="*/ 498 w 774"/>
                <a:gd name="T43" fmla="*/ 535 h 1241"/>
                <a:gd name="T44" fmla="*/ 619 w 774"/>
                <a:gd name="T45" fmla="*/ 576 h 1241"/>
                <a:gd name="T46" fmla="*/ 713 w 774"/>
                <a:gd name="T47" fmla="*/ 643 h 1241"/>
                <a:gd name="T48" fmla="*/ 767 w 774"/>
                <a:gd name="T49" fmla="*/ 749 h 1241"/>
                <a:gd name="T50" fmla="*/ 765 w 774"/>
                <a:gd name="T51" fmla="*/ 900 h 1241"/>
                <a:gd name="T52" fmla="*/ 692 w 774"/>
                <a:gd name="T53" fmla="*/ 1018 h 1241"/>
                <a:gd name="T54" fmla="*/ 562 w 774"/>
                <a:gd name="T55" fmla="*/ 1088 h 1241"/>
                <a:gd name="T56" fmla="*/ 431 w 774"/>
                <a:gd name="T57" fmla="*/ 1194 h 1241"/>
                <a:gd name="T58" fmla="*/ 402 w 774"/>
                <a:gd name="T59" fmla="*/ 1239 h 1241"/>
                <a:gd name="T60" fmla="*/ 356 w 774"/>
                <a:gd name="T61" fmla="*/ 1221 h 1241"/>
                <a:gd name="T62" fmla="*/ 300 w 774"/>
                <a:gd name="T63" fmla="*/ 1107 h 1241"/>
                <a:gd name="T64" fmla="*/ 144 w 774"/>
                <a:gd name="T65" fmla="*/ 1061 h 1241"/>
                <a:gd name="T66" fmla="*/ 44 w 774"/>
                <a:gd name="T67" fmla="*/ 978 h 1241"/>
                <a:gd name="T68" fmla="*/ 1 w 774"/>
                <a:gd name="T69" fmla="*/ 881 h 1241"/>
                <a:gd name="T70" fmla="*/ 17 w 774"/>
                <a:gd name="T71" fmla="*/ 801 h 1241"/>
                <a:gd name="T72" fmla="*/ 85 w 774"/>
                <a:gd name="T73" fmla="*/ 772 h 1241"/>
                <a:gd name="T74" fmla="*/ 150 w 774"/>
                <a:gd name="T75" fmla="*/ 792 h 1241"/>
                <a:gd name="T76" fmla="*/ 178 w 774"/>
                <a:gd name="T77" fmla="*/ 839 h 1241"/>
                <a:gd name="T78" fmla="*/ 201 w 774"/>
                <a:gd name="T79" fmla="*/ 897 h 1241"/>
                <a:gd name="T80" fmla="*/ 247 w 774"/>
                <a:gd name="T81" fmla="*/ 945 h 1241"/>
                <a:gd name="T82" fmla="*/ 348 w 774"/>
                <a:gd name="T83" fmla="*/ 970 h 1241"/>
                <a:gd name="T84" fmla="*/ 211 w 774"/>
                <a:gd name="T85" fmla="*/ 646 h 1241"/>
                <a:gd name="T86" fmla="*/ 82 w 774"/>
                <a:gd name="T87" fmla="*/ 565 h 1241"/>
                <a:gd name="T88" fmla="*/ 23 w 774"/>
                <a:gd name="T89" fmla="*/ 443 h 1241"/>
                <a:gd name="T90" fmla="*/ 41 w 774"/>
                <a:gd name="T91" fmla="*/ 300 h 1241"/>
                <a:gd name="T92" fmla="*/ 120 w 774"/>
                <a:gd name="T93" fmla="*/ 196 h 1241"/>
                <a:gd name="T94" fmla="*/ 241 w 774"/>
                <a:gd name="T95" fmla="*/ 135 h 1241"/>
                <a:gd name="T96" fmla="*/ 348 w 774"/>
                <a:gd name="T97" fmla="*/ 47 h 1241"/>
                <a:gd name="T98" fmla="*/ 376 w 774"/>
                <a:gd name="T99" fmla="*/ 3 h 1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74" h="1241">
                  <a:moveTo>
                    <a:pt x="431" y="699"/>
                  </a:moveTo>
                  <a:lnTo>
                    <a:pt x="431" y="970"/>
                  </a:lnTo>
                  <a:lnTo>
                    <a:pt x="456" y="967"/>
                  </a:lnTo>
                  <a:lnTo>
                    <a:pt x="480" y="963"/>
                  </a:lnTo>
                  <a:lnTo>
                    <a:pt x="504" y="956"/>
                  </a:lnTo>
                  <a:lnTo>
                    <a:pt x="526" y="947"/>
                  </a:lnTo>
                  <a:lnTo>
                    <a:pt x="547" y="935"/>
                  </a:lnTo>
                  <a:lnTo>
                    <a:pt x="565" y="921"/>
                  </a:lnTo>
                  <a:lnTo>
                    <a:pt x="579" y="904"/>
                  </a:lnTo>
                  <a:lnTo>
                    <a:pt x="591" y="884"/>
                  </a:lnTo>
                  <a:lnTo>
                    <a:pt x="598" y="861"/>
                  </a:lnTo>
                  <a:lnTo>
                    <a:pt x="600" y="836"/>
                  </a:lnTo>
                  <a:lnTo>
                    <a:pt x="598" y="812"/>
                  </a:lnTo>
                  <a:lnTo>
                    <a:pt x="592" y="792"/>
                  </a:lnTo>
                  <a:lnTo>
                    <a:pt x="581" y="774"/>
                  </a:lnTo>
                  <a:lnTo>
                    <a:pt x="568" y="758"/>
                  </a:lnTo>
                  <a:lnTo>
                    <a:pt x="552" y="745"/>
                  </a:lnTo>
                  <a:lnTo>
                    <a:pt x="534" y="733"/>
                  </a:lnTo>
                  <a:lnTo>
                    <a:pt x="514" y="724"/>
                  </a:lnTo>
                  <a:lnTo>
                    <a:pt x="493" y="717"/>
                  </a:lnTo>
                  <a:lnTo>
                    <a:pt x="473" y="709"/>
                  </a:lnTo>
                  <a:lnTo>
                    <a:pt x="452" y="704"/>
                  </a:lnTo>
                  <a:lnTo>
                    <a:pt x="431" y="699"/>
                  </a:lnTo>
                  <a:close/>
                  <a:moveTo>
                    <a:pt x="348" y="259"/>
                  </a:moveTo>
                  <a:lnTo>
                    <a:pt x="314" y="262"/>
                  </a:lnTo>
                  <a:lnTo>
                    <a:pt x="284" y="271"/>
                  </a:lnTo>
                  <a:lnTo>
                    <a:pt x="258" y="282"/>
                  </a:lnTo>
                  <a:lnTo>
                    <a:pt x="236" y="297"/>
                  </a:lnTo>
                  <a:lnTo>
                    <a:pt x="218" y="313"/>
                  </a:lnTo>
                  <a:lnTo>
                    <a:pt x="205" y="333"/>
                  </a:lnTo>
                  <a:lnTo>
                    <a:pt x="196" y="354"/>
                  </a:lnTo>
                  <a:lnTo>
                    <a:pt x="194" y="376"/>
                  </a:lnTo>
                  <a:lnTo>
                    <a:pt x="196" y="399"/>
                  </a:lnTo>
                  <a:lnTo>
                    <a:pt x="203" y="421"/>
                  </a:lnTo>
                  <a:lnTo>
                    <a:pt x="215" y="441"/>
                  </a:lnTo>
                  <a:lnTo>
                    <a:pt x="233" y="458"/>
                  </a:lnTo>
                  <a:lnTo>
                    <a:pt x="254" y="472"/>
                  </a:lnTo>
                  <a:lnTo>
                    <a:pt x="281" y="485"/>
                  </a:lnTo>
                  <a:lnTo>
                    <a:pt x="312" y="495"/>
                  </a:lnTo>
                  <a:lnTo>
                    <a:pt x="348" y="505"/>
                  </a:lnTo>
                  <a:lnTo>
                    <a:pt x="348" y="259"/>
                  </a:lnTo>
                  <a:close/>
                  <a:moveTo>
                    <a:pt x="389" y="0"/>
                  </a:moveTo>
                  <a:lnTo>
                    <a:pt x="402" y="3"/>
                  </a:lnTo>
                  <a:lnTo>
                    <a:pt x="414" y="9"/>
                  </a:lnTo>
                  <a:lnTo>
                    <a:pt x="423" y="20"/>
                  </a:lnTo>
                  <a:lnTo>
                    <a:pt x="429" y="33"/>
                  </a:lnTo>
                  <a:lnTo>
                    <a:pt x="431" y="47"/>
                  </a:lnTo>
                  <a:lnTo>
                    <a:pt x="431" y="120"/>
                  </a:lnTo>
                  <a:lnTo>
                    <a:pt x="454" y="121"/>
                  </a:lnTo>
                  <a:lnTo>
                    <a:pt x="479" y="124"/>
                  </a:lnTo>
                  <a:lnTo>
                    <a:pt x="506" y="129"/>
                  </a:lnTo>
                  <a:lnTo>
                    <a:pt x="534" y="135"/>
                  </a:lnTo>
                  <a:lnTo>
                    <a:pt x="564" y="144"/>
                  </a:lnTo>
                  <a:lnTo>
                    <a:pt x="593" y="154"/>
                  </a:lnTo>
                  <a:lnTo>
                    <a:pt x="621" y="165"/>
                  </a:lnTo>
                  <a:lnTo>
                    <a:pt x="648" y="179"/>
                  </a:lnTo>
                  <a:lnTo>
                    <a:pt x="674" y="195"/>
                  </a:lnTo>
                  <a:lnTo>
                    <a:pt x="698" y="211"/>
                  </a:lnTo>
                  <a:lnTo>
                    <a:pt x="718" y="230"/>
                  </a:lnTo>
                  <a:lnTo>
                    <a:pt x="734" y="251"/>
                  </a:lnTo>
                  <a:lnTo>
                    <a:pt x="748" y="274"/>
                  </a:lnTo>
                  <a:lnTo>
                    <a:pt x="755" y="298"/>
                  </a:lnTo>
                  <a:lnTo>
                    <a:pt x="758" y="324"/>
                  </a:lnTo>
                  <a:lnTo>
                    <a:pt x="756" y="345"/>
                  </a:lnTo>
                  <a:lnTo>
                    <a:pt x="749" y="364"/>
                  </a:lnTo>
                  <a:lnTo>
                    <a:pt x="740" y="380"/>
                  </a:lnTo>
                  <a:lnTo>
                    <a:pt x="726" y="392"/>
                  </a:lnTo>
                  <a:lnTo>
                    <a:pt x="709" y="401"/>
                  </a:lnTo>
                  <a:lnTo>
                    <a:pt x="691" y="407"/>
                  </a:lnTo>
                  <a:lnTo>
                    <a:pt x="671" y="408"/>
                  </a:lnTo>
                  <a:lnTo>
                    <a:pt x="655" y="407"/>
                  </a:lnTo>
                  <a:lnTo>
                    <a:pt x="640" y="402"/>
                  </a:lnTo>
                  <a:lnTo>
                    <a:pt x="626" y="393"/>
                  </a:lnTo>
                  <a:lnTo>
                    <a:pt x="615" y="383"/>
                  </a:lnTo>
                  <a:lnTo>
                    <a:pt x="603" y="370"/>
                  </a:lnTo>
                  <a:lnTo>
                    <a:pt x="592" y="357"/>
                  </a:lnTo>
                  <a:lnTo>
                    <a:pt x="580" y="342"/>
                  </a:lnTo>
                  <a:lnTo>
                    <a:pt x="569" y="328"/>
                  </a:lnTo>
                  <a:lnTo>
                    <a:pt x="555" y="313"/>
                  </a:lnTo>
                  <a:lnTo>
                    <a:pt x="542" y="299"/>
                  </a:lnTo>
                  <a:lnTo>
                    <a:pt x="525" y="286"/>
                  </a:lnTo>
                  <a:lnTo>
                    <a:pt x="506" y="276"/>
                  </a:lnTo>
                  <a:lnTo>
                    <a:pt x="484" y="267"/>
                  </a:lnTo>
                  <a:lnTo>
                    <a:pt x="459" y="261"/>
                  </a:lnTo>
                  <a:lnTo>
                    <a:pt x="431" y="259"/>
                  </a:lnTo>
                  <a:lnTo>
                    <a:pt x="431" y="519"/>
                  </a:lnTo>
                  <a:lnTo>
                    <a:pt x="464" y="526"/>
                  </a:lnTo>
                  <a:lnTo>
                    <a:pt x="498" y="535"/>
                  </a:lnTo>
                  <a:lnTo>
                    <a:pt x="530" y="543"/>
                  </a:lnTo>
                  <a:lnTo>
                    <a:pt x="562" y="552"/>
                  </a:lnTo>
                  <a:lnTo>
                    <a:pt x="591" y="564"/>
                  </a:lnTo>
                  <a:lnTo>
                    <a:pt x="619" y="576"/>
                  </a:lnTo>
                  <a:lnTo>
                    <a:pt x="646" y="590"/>
                  </a:lnTo>
                  <a:lnTo>
                    <a:pt x="670" y="605"/>
                  </a:lnTo>
                  <a:lnTo>
                    <a:pt x="693" y="623"/>
                  </a:lnTo>
                  <a:lnTo>
                    <a:pt x="713" y="643"/>
                  </a:lnTo>
                  <a:lnTo>
                    <a:pt x="731" y="666"/>
                  </a:lnTo>
                  <a:lnTo>
                    <a:pt x="746" y="691"/>
                  </a:lnTo>
                  <a:lnTo>
                    <a:pt x="757" y="719"/>
                  </a:lnTo>
                  <a:lnTo>
                    <a:pt x="767" y="749"/>
                  </a:lnTo>
                  <a:lnTo>
                    <a:pt x="772" y="783"/>
                  </a:lnTo>
                  <a:lnTo>
                    <a:pt x="774" y="821"/>
                  </a:lnTo>
                  <a:lnTo>
                    <a:pt x="771" y="861"/>
                  </a:lnTo>
                  <a:lnTo>
                    <a:pt x="765" y="900"/>
                  </a:lnTo>
                  <a:lnTo>
                    <a:pt x="752" y="934"/>
                  </a:lnTo>
                  <a:lnTo>
                    <a:pt x="736" y="965"/>
                  </a:lnTo>
                  <a:lnTo>
                    <a:pt x="716" y="993"/>
                  </a:lnTo>
                  <a:lnTo>
                    <a:pt x="692" y="1018"/>
                  </a:lnTo>
                  <a:lnTo>
                    <a:pt x="665" y="1040"/>
                  </a:lnTo>
                  <a:lnTo>
                    <a:pt x="634" y="1059"/>
                  </a:lnTo>
                  <a:lnTo>
                    <a:pt x="599" y="1075"/>
                  </a:lnTo>
                  <a:lnTo>
                    <a:pt x="562" y="1088"/>
                  </a:lnTo>
                  <a:lnTo>
                    <a:pt x="521" y="1098"/>
                  </a:lnTo>
                  <a:lnTo>
                    <a:pt x="477" y="1106"/>
                  </a:lnTo>
                  <a:lnTo>
                    <a:pt x="431" y="1110"/>
                  </a:lnTo>
                  <a:lnTo>
                    <a:pt x="431" y="1194"/>
                  </a:lnTo>
                  <a:lnTo>
                    <a:pt x="429" y="1209"/>
                  </a:lnTo>
                  <a:lnTo>
                    <a:pt x="423" y="1221"/>
                  </a:lnTo>
                  <a:lnTo>
                    <a:pt x="414" y="1231"/>
                  </a:lnTo>
                  <a:lnTo>
                    <a:pt x="402" y="1239"/>
                  </a:lnTo>
                  <a:lnTo>
                    <a:pt x="389" y="1241"/>
                  </a:lnTo>
                  <a:lnTo>
                    <a:pt x="376" y="1239"/>
                  </a:lnTo>
                  <a:lnTo>
                    <a:pt x="365" y="1231"/>
                  </a:lnTo>
                  <a:lnTo>
                    <a:pt x="356" y="1221"/>
                  </a:lnTo>
                  <a:lnTo>
                    <a:pt x="350" y="1209"/>
                  </a:lnTo>
                  <a:lnTo>
                    <a:pt x="348" y="1194"/>
                  </a:lnTo>
                  <a:lnTo>
                    <a:pt x="348" y="1110"/>
                  </a:lnTo>
                  <a:lnTo>
                    <a:pt x="300" y="1107"/>
                  </a:lnTo>
                  <a:lnTo>
                    <a:pt x="256" y="1099"/>
                  </a:lnTo>
                  <a:lnTo>
                    <a:pt x="215" y="1090"/>
                  </a:lnTo>
                  <a:lnTo>
                    <a:pt x="177" y="1077"/>
                  </a:lnTo>
                  <a:lnTo>
                    <a:pt x="144" y="1061"/>
                  </a:lnTo>
                  <a:lnTo>
                    <a:pt x="113" y="1042"/>
                  </a:lnTo>
                  <a:lnTo>
                    <a:pt x="87" y="1022"/>
                  </a:lnTo>
                  <a:lnTo>
                    <a:pt x="64" y="1001"/>
                  </a:lnTo>
                  <a:lnTo>
                    <a:pt x="44" y="978"/>
                  </a:lnTo>
                  <a:lnTo>
                    <a:pt x="29" y="954"/>
                  </a:lnTo>
                  <a:lnTo>
                    <a:pt x="16" y="930"/>
                  </a:lnTo>
                  <a:lnTo>
                    <a:pt x="7" y="906"/>
                  </a:lnTo>
                  <a:lnTo>
                    <a:pt x="1" y="881"/>
                  </a:lnTo>
                  <a:lnTo>
                    <a:pt x="0" y="858"/>
                  </a:lnTo>
                  <a:lnTo>
                    <a:pt x="2" y="836"/>
                  </a:lnTo>
                  <a:lnTo>
                    <a:pt x="8" y="818"/>
                  </a:lnTo>
                  <a:lnTo>
                    <a:pt x="17" y="801"/>
                  </a:lnTo>
                  <a:lnTo>
                    <a:pt x="30" y="788"/>
                  </a:lnTo>
                  <a:lnTo>
                    <a:pt x="45" y="779"/>
                  </a:lnTo>
                  <a:lnTo>
                    <a:pt x="64" y="774"/>
                  </a:lnTo>
                  <a:lnTo>
                    <a:pt x="85" y="772"/>
                  </a:lnTo>
                  <a:lnTo>
                    <a:pt x="106" y="773"/>
                  </a:lnTo>
                  <a:lnTo>
                    <a:pt x="124" y="777"/>
                  </a:lnTo>
                  <a:lnTo>
                    <a:pt x="139" y="783"/>
                  </a:lnTo>
                  <a:lnTo>
                    <a:pt x="150" y="792"/>
                  </a:lnTo>
                  <a:lnTo>
                    <a:pt x="159" y="802"/>
                  </a:lnTo>
                  <a:lnTo>
                    <a:pt x="167" y="813"/>
                  </a:lnTo>
                  <a:lnTo>
                    <a:pt x="173" y="826"/>
                  </a:lnTo>
                  <a:lnTo>
                    <a:pt x="178" y="839"/>
                  </a:lnTo>
                  <a:lnTo>
                    <a:pt x="184" y="853"/>
                  </a:lnTo>
                  <a:lnTo>
                    <a:pt x="189" y="867"/>
                  </a:lnTo>
                  <a:lnTo>
                    <a:pt x="194" y="882"/>
                  </a:lnTo>
                  <a:lnTo>
                    <a:pt x="201" y="897"/>
                  </a:lnTo>
                  <a:lnTo>
                    <a:pt x="210" y="910"/>
                  </a:lnTo>
                  <a:lnTo>
                    <a:pt x="219" y="924"/>
                  </a:lnTo>
                  <a:lnTo>
                    <a:pt x="233" y="935"/>
                  </a:lnTo>
                  <a:lnTo>
                    <a:pt x="247" y="945"/>
                  </a:lnTo>
                  <a:lnTo>
                    <a:pt x="266" y="955"/>
                  </a:lnTo>
                  <a:lnTo>
                    <a:pt x="289" y="962"/>
                  </a:lnTo>
                  <a:lnTo>
                    <a:pt x="317" y="967"/>
                  </a:lnTo>
                  <a:lnTo>
                    <a:pt x="348" y="970"/>
                  </a:lnTo>
                  <a:lnTo>
                    <a:pt x="348" y="684"/>
                  </a:lnTo>
                  <a:lnTo>
                    <a:pt x="299" y="674"/>
                  </a:lnTo>
                  <a:lnTo>
                    <a:pt x="254" y="662"/>
                  </a:lnTo>
                  <a:lnTo>
                    <a:pt x="211" y="646"/>
                  </a:lnTo>
                  <a:lnTo>
                    <a:pt x="173" y="629"/>
                  </a:lnTo>
                  <a:lnTo>
                    <a:pt x="139" y="611"/>
                  </a:lnTo>
                  <a:lnTo>
                    <a:pt x="108" y="589"/>
                  </a:lnTo>
                  <a:lnTo>
                    <a:pt x="82" y="565"/>
                  </a:lnTo>
                  <a:lnTo>
                    <a:pt x="60" y="538"/>
                  </a:lnTo>
                  <a:lnTo>
                    <a:pt x="43" y="509"/>
                  </a:lnTo>
                  <a:lnTo>
                    <a:pt x="31" y="477"/>
                  </a:lnTo>
                  <a:lnTo>
                    <a:pt x="23" y="443"/>
                  </a:lnTo>
                  <a:lnTo>
                    <a:pt x="20" y="407"/>
                  </a:lnTo>
                  <a:lnTo>
                    <a:pt x="23" y="368"/>
                  </a:lnTo>
                  <a:lnTo>
                    <a:pt x="30" y="333"/>
                  </a:lnTo>
                  <a:lnTo>
                    <a:pt x="41" y="300"/>
                  </a:lnTo>
                  <a:lnTo>
                    <a:pt x="56" y="269"/>
                  </a:lnTo>
                  <a:lnTo>
                    <a:pt x="74" y="242"/>
                  </a:lnTo>
                  <a:lnTo>
                    <a:pt x="96" y="217"/>
                  </a:lnTo>
                  <a:lnTo>
                    <a:pt x="120" y="196"/>
                  </a:lnTo>
                  <a:lnTo>
                    <a:pt x="147" y="176"/>
                  </a:lnTo>
                  <a:lnTo>
                    <a:pt x="176" y="160"/>
                  </a:lnTo>
                  <a:lnTo>
                    <a:pt x="209" y="147"/>
                  </a:lnTo>
                  <a:lnTo>
                    <a:pt x="241" y="135"/>
                  </a:lnTo>
                  <a:lnTo>
                    <a:pt x="276" y="127"/>
                  </a:lnTo>
                  <a:lnTo>
                    <a:pt x="312" y="122"/>
                  </a:lnTo>
                  <a:lnTo>
                    <a:pt x="348" y="120"/>
                  </a:lnTo>
                  <a:lnTo>
                    <a:pt x="348" y="47"/>
                  </a:lnTo>
                  <a:lnTo>
                    <a:pt x="350" y="33"/>
                  </a:lnTo>
                  <a:lnTo>
                    <a:pt x="356" y="20"/>
                  </a:lnTo>
                  <a:lnTo>
                    <a:pt x="365" y="9"/>
                  </a:lnTo>
                  <a:lnTo>
                    <a:pt x="376" y="3"/>
                  </a:lnTo>
                  <a:lnTo>
                    <a:pt x="38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1" name="Freeform 6"/>
          <p:cNvSpPr>
            <a:spLocks noEditPoints="1"/>
          </p:cNvSpPr>
          <p:nvPr/>
        </p:nvSpPr>
        <p:spPr bwMode="auto">
          <a:xfrm>
            <a:off x="997149" y="5508798"/>
            <a:ext cx="384412" cy="505114"/>
          </a:xfrm>
          <a:custGeom>
            <a:avLst/>
            <a:gdLst>
              <a:gd name="T0" fmla="*/ 43 w 2633"/>
              <a:gd name="T1" fmla="*/ 25 h 3459"/>
              <a:gd name="T2" fmla="*/ 0 w 2633"/>
              <a:gd name="T3" fmla="*/ 113 h 3459"/>
              <a:gd name="T4" fmla="*/ 18 w 2633"/>
              <a:gd name="T5" fmla="*/ 3405 h 3459"/>
              <a:gd name="T6" fmla="*/ 87 w 2633"/>
              <a:gd name="T7" fmla="*/ 3457 h 3459"/>
              <a:gd name="T8" fmla="*/ 2569 w 2633"/>
              <a:gd name="T9" fmla="*/ 3447 h 3459"/>
              <a:gd name="T10" fmla="*/ 2630 w 2633"/>
              <a:gd name="T11" fmla="*/ 3371 h 3459"/>
              <a:gd name="T12" fmla="*/ 2624 w 2633"/>
              <a:gd name="T13" fmla="*/ 597 h 3459"/>
              <a:gd name="T14" fmla="*/ 2056 w 2633"/>
              <a:gd name="T15" fmla="*/ 20 h 3459"/>
              <a:gd name="T16" fmla="*/ 113 w 2633"/>
              <a:gd name="T17" fmla="*/ 0 h 3459"/>
              <a:gd name="T18" fmla="*/ 1883 w 2633"/>
              <a:gd name="T19" fmla="*/ 660 h 3459"/>
              <a:gd name="T20" fmla="*/ 1930 w 2633"/>
              <a:gd name="T21" fmla="*/ 731 h 3459"/>
              <a:gd name="T22" fmla="*/ 2407 w 2633"/>
              <a:gd name="T23" fmla="*/ 752 h 3459"/>
              <a:gd name="T24" fmla="*/ 2107 w 2633"/>
              <a:gd name="T25" fmla="*/ 386 h 3459"/>
              <a:gd name="T26" fmla="*/ 414 w 2633"/>
              <a:gd name="T27" fmla="*/ 828 h 3459"/>
              <a:gd name="T28" fmla="*/ 414 w 2633"/>
              <a:gd name="T29" fmla="*/ 828 h 3459"/>
              <a:gd name="T30" fmla="*/ 1020 w 2633"/>
              <a:gd name="T31" fmla="*/ 927 h 3459"/>
              <a:gd name="T32" fmla="*/ 978 w 2633"/>
              <a:gd name="T33" fmla="*/ 1016 h 3459"/>
              <a:gd name="T34" fmla="*/ 1020 w 2633"/>
              <a:gd name="T35" fmla="*/ 1103 h 3459"/>
              <a:gd name="T36" fmla="*/ 2107 w 2633"/>
              <a:gd name="T37" fmla="*/ 1128 h 3459"/>
              <a:gd name="T38" fmla="*/ 2195 w 2633"/>
              <a:gd name="T39" fmla="*/ 1086 h 3459"/>
              <a:gd name="T40" fmla="*/ 2217 w 2633"/>
              <a:gd name="T41" fmla="*/ 989 h 3459"/>
              <a:gd name="T42" fmla="*/ 2156 w 2633"/>
              <a:gd name="T43" fmla="*/ 914 h 3459"/>
              <a:gd name="T44" fmla="*/ 414 w 2633"/>
              <a:gd name="T45" fmla="*/ 1429 h 3459"/>
              <a:gd name="T46" fmla="*/ 414 w 2633"/>
              <a:gd name="T47" fmla="*/ 1429 h 3459"/>
              <a:gd name="T48" fmla="*/ 1020 w 2633"/>
              <a:gd name="T49" fmla="*/ 1529 h 3459"/>
              <a:gd name="T50" fmla="*/ 978 w 2633"/>
              <a:gd name="T51" fmla="*/ 1617 h 3459"/>
              <a:gd name="T52" fmla="*/ 1020 w 2633"/>
              <a:gd name="T53" fmla="*/ 1704 h 3459"/>
              <a:gd name="T54" fmla="*/ 2107 w 2633"/>
              <a:gd name="T55" fmla="*/ 1730 h 3459"/>
              <a:gd name="T56" fmla="*/ 2195 w 2633"/>
              <a:gd name="T57" fmla="*/ 1688 h 3459"/>
              <a:gd name="T58" fmla="*/ 2217 w 2633"/>
              <a:gd name="T59" fmla="*/ 1591 h 3459"/>
              <a:gd name="T60" fmla="*/ 2156 w 2633"/>
              <a:gd name="T61" fmla="*/ 1515 h 3459"/>
              <a:gd name="T62" fmla="*/ 414 w 2633"/>
              <a:gd name="T63" fmla="*/ 2030 h 3459"/>
              <a:gd name="T64" fmla="*/ 414 w 2633"/>
              <a:gd name="T65" fmla="*/ 2030 h 3459"/>
              <a:gd name="T66" fmla="*/ 1020 w 2633"/>
              <a:gd name="T67" fmla="*/ 2131 h 3459"/>
              <a:gd name="T68" fmla="*/ 978 w 2633"/>
              <a:gd name="T69" fmla="*/ 2219 h 3459"/>
              <a:gd name="T70" fmla="*/ 1020 w 2633"/>
              <a:gd name="T71" fmla="*/ 2306 h 3459"/>
              <a:gd name="T72" fmla="*/ 2107 w 2633"/>
              <a:gd name="T73" fmla="*/ 2331 h 3459"/>
              <a:gd name="T74" fmla="*/ 2195 w 2633"/>
              <a:gd name="T75" fmla="*/ 2289 h 3459"/>
              <a:gd name="T76" fmla="*/ 2217 w 2633"/>
              <a:gd name="T77" fmla="*/ 2193 h 3459"/>
              <a:gd name="T78" fmla="*/ 2156 w 2633"/>
              <a:gd name="T79" fmla="*/ 2117 h 3459"/>
              <a:gd name="T80" fmla="*/ 414 w 2633"/>
              <a:gd name="T81" fmla="*/ 2631 h 3459"/>
              <a:gd name="T82" fmla="*/ 414 w 2633"/>
              <a:gd name="T83" fmla="*/ 2631 h 3459"/>
              <a:gd name="T84" fmla="*/ 1020 w 2633"/>
              <a:gd name="T85" fmla="*/ 2732 h 3459"/>
              <a:gd name="T86" fmla="*/ 978 w 2633"/>
              <a:gd name="T87" fmla="*/ 2819 h 3459"/>
              <a:gd name="T88" fmla="*/ 1020 w 2633"/>
              <a:gd name="T89" fmla="*/ 2908 h 3459"/>
              <a:gd name="T90" fmla="*/ 2107 w 2633"/>
              <a:gd name="T91" fmla="*/ 2933 h 3459"/>
              <a:gd name="T92" fmla="*/ 2195 w 2633"/>
              <a:gd name="T93" fmla="*/ 2891 h 3459"/>
              <a:gd name="T94" fmla="*/ 2217 w 2633"/>
              <a:gd name="T95" fmla="*/ 2794 h 3459"/>
              <a:gd name="T96" fmla="*/ 2156 w 2633"/>
              <a:gd name="T97" fmla="*/ 2719 h 3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633" h="3459">
                <a:moveTo>
                  <a:pt x="113" y="0"/>
                </a:moveTo>
                <a:lnTo>
                  <a:pt x="87" y="3"/>
                </a:lnTo>
                <a:lnTo>
                  <a:pt x="64" y="12"/>
                </a:lnTo>
                <a:lnTo>
                  <a:pt x="43" y="25"/>
                </a:lnTo>
                <a:lnTo>
                  <a:pt x="25" y="43"/>
                </a:lnTo>
                <a:lnTo>
                  <a:pt x="12" y="64"/>
                </a:lnTo>
                <a:lnTo>
                  <a:pt x="3" y="88"/>
                </a:lnTo>
                <a:lnTo>
                  <a:pt x="0" y="113"/>
                </a:lnTo>
                <a:lnTo>
                  <a:pt x="0" y="3347"/>
                </a:lnTo>
                <a:lnTo>
                  <a:pt x="2" y="3366"/>
                </a:lnTo>
                <a:lnTo>
                  <a:pt x="9" y="3386"/>
                </a:lnTo>
                <a:lnTo>
                  <a:pt x="18" y="3405"/>
                </a:lnTo>
                <a:lnTo>
                  <a:pt x="31" y="3422"/>
                </a:lnTo>
                <a:lnTo>
                  <a:pt x="46" y="3438"/>
                </a:lnTo>
                <a:lnTo>
                  <a:pt x="65" y="3449"/>
                </a:lnTo>
                <a:lnTo>
                  <a:pt x="87" y="3457"/>
                </a:lnTo>
                <a:lnTo>
                  <a:pt x="113" y="3459"/>
                </a:lnTo>
                <a:lnTo>
                  <a:pt x="2520" y="3459"/>
                </a:lnTo>
                <a:lnTo>
                  <a:pt x="2546" y="3456"/>
                </a:lnTo>
                <a:lnTo>
                  <a:pt x="2569" y="3447"/>
                </a:lnTo>
                <a:lnTo>
                  <a:pt x="2590" y="3434"/>
                </a:lnTo>
                <a:lnTo>
                  <a:pt x="2608" y="3416"/>
                </a:lnTo>
                <a:lnTo>
                  <a:pt x="2621" y="3395"/>
                </a:lnTo>
                <a:lnTo>
                  <a:pt x="2630" y="3371"/>
                </a:lnTo>
                <a:lnTo>
                  <a:pt x="2633" y="3347"/>
                </a:lnTo>
                <a:lnTo>
                  <a:pt x="2633" y="640"/>
                </a:lnTo>
                <a:lnTo>
                  <a:pt x="2631" y="618"/>
                </a:lnTo>
                <a:lnTo>
                  <a:pt x="2624" y="597"/>
                </a:lnTo>
                <a:lnTo>
                  <a:pt x="2614" y="578"/>
                </a:lnTo>
                <a:lnTo>
                  <a:pt x="2600" y="561"/>
                </a:lnTo>
                <a:lnTo>
                  <a:pt x="2074" y="34"/>
                </a:lnTo>
                <a:lnTo>
                  <a:pt x="2056" y="20"/>
                </a:lnTo>
                <a:lnTo>
                  <a:pt x="2037" y="10"/>
                </a:lnTo>
                <a:lnTo>
                  <a:pt x="2016" y="2"/>
                </a:lnTo>
                <a:lnTo>
                  <a:pt x="1994" y="0"/>
                </a:lnTo>
                <a:lnTo>
                  <a:pt x="113" y="0"/>
                </a:lnTo>
                <a:close/>
                <a:moveTo>
                  <a:pt x="226" y="226"/>
                </a:moveTo>
                <a:lnTo>
                  <a:pt x="1881" y="226"/>
                </a:lnTo>
                <a:lnTo>
                  <a:pt x="1881" y="640"/>
                </a:lnTo>
                <a:lnTo>
                  <a:pt x="1883" y="660"/>
                </a:lnTo>
                <a:lnTo>
                  <a:pt x="1889" y="681"/>
                </a:lnTo>
                <a:lnTo>
                  <a:pt x="1900" y="699"/>
                </a:lnTo>
                <a:lnTo>
                  <a:pt x="1913" y="716"/>
                </a:lnTo>
                <a:lnTo>
                  <a:pt x="1930" y="731"/>
                </a:lnTo>
                <a:lnTo>
                  <a:pt x="1949" y="743"/>
                </a:lnTo>
                <a:lnTo>
                  <a:pt x="1971" y="750"/>
                </a:lnTo>
                <a:lnTo>
                  <a:pt x="1994" y="752"/>
                </a:lnTo>
                <a:lnTo>
                  <a:pt x="2407" y="752"/>
                </a:lnTo>
                <a:lnTo>
                  <a:pt x="2407" y="3233"/>
                </a:lnTo>
                <a:lnTo>
                  <a:pt x="226" y="3233"/>
                </a:lnTo>
                <a:lnTo>
                  <a:pt x="226" y="226"/>
                </a:lnTo>
                <a:close/>
                <a:moveTo>
                  <a:pt x="2107" y="386"/>
                </a:moveTo>
                <a:lnTo>
                  <a:pt x="2247" y="526"/>
                </a:lnTo>
                <a:lnTo>
                  <a:pt x="2107" y="526"/>
                </a:lnTo>
                <a:lnTo>
                  <a:pt x="2107" y="386"/>
                </a:lnTo>
                <a:close/>
                <a:moveTo>
                  <a:pt x="414" y="828"/>
                </a:moveTo>
                <a:lnTo>
                  <a:pt x="414" y="1203"/>
                </a:lnTo>
                <a:lnTo>
                  <a:pt x="790" y="1203"/>
                </a:lnTo>
                <a:lnTo>
                  <a:pt x="790" y="828"/>
                </a:lnTo>
                <a:lnTo>
                  <a:pt x="414" y="828"/>
                </a:lnTo>
                <a:close/>
                <a:moveTo>
                  <a:pt x="1091" y="902"/>
                </a:moveTo>
                <a:lnTo>
                  <a:pt x="1065" y="905"/>
                </a:lnTo>
                <a:lnTo>
                  <a:pt x="1041" y="914"/>
                </a:lnTo>
                <a:lnTo>
                  <a:pt x="1020" y="927"/>
                </a:lnTo>
                <a:lnTo>
                  <a:pt x="1002" y="944"/>
                </a:lnTo>
                <a:lnTo>
                  <a:pt x="990" y="965"/>
                </a:lnTo>
                <a:lnTo>
                  <a:pt x="981" y="989"/>
                </a:lnTo>
                <a:lnTo>
                  <a:pt x="978" y="1016"/>
                </a:lnTo>
                <a:lnTo>
                  <a:pt x="981" y="1041"/>
                </a:lnTo>
                <a:lnTo>
                  <a:pt x="990" y="1065"/>
                </a:lnTo>
                <a:lnTo>
                  <a:pt x="1002" y="1086"/>
                </a:lnTo>
                <a:lnTo>
                  <a:pt x="1020" y="1103"/>
                </a:lnTo>
                <a:lnTo>
                  <a:pt x="1041" y="1116"/>
                </a:lnTo>
                <a:lnTo>
                  <a:pt x="1065" y="1125"/>
                </a:lnTo>
                <a:lnTo>
                  <a:pt x="1091" y="1128"/>
                </a:lnTo>
                <a:lnTo>
                  <a:pt x="2107" y="1128"/>
                </a:lnTo>
                <a:lnTo>
                  <a:pt x="2133" y="1125"/>
                </a:lnTo>
                <a:lnTo>
                  <a:pt x="2156" y="1116"/>
                </a:lnTo>
                <a:lnTo>
                  <a:pt x="2177" y="1103"/>
                </a:lnTo>
                <a:lnTo>
                  <a:pt x="2195" y="1086"/>
                </a:lnTo>
                <a:lnTo>
                  <a:pt x="2207" y="1065"/>
                </a:lnTo>
                <a:lnTo>
                  <a:pt x="2217" y="1041"/>
                </a:lnTo>
                <a:lnTo>
                  <a:pt x="2219" y="1016"/>
                </a:lnTo>
                <a:lnTo>
                  <a:pt x="2217" y="989"/>
                </a:lnTo>
                <a:lnTo>
                  <a:pt x="2207" y="965"/>
                </a:lnTo>
                <a:lnTo>
                  <a:pt x="2195" y="944"/>
                </a:lnTo>
                <a:lnTo>
                  <a:pt x="2177" y="927"/>
                </a:lnTo>
                <a:lnTo>
                  <a:pt x="2156" y="914"/>
                </a:lnTo>
                <a:lnTo>
                  <a:pt x="2133" y="905"/>
                </a:lnTo>
                <a:lnTo>
                  <a:pt x="2107" y="902"/>
                </a:lnTo>
                <a:lnTo>
                  <a:pt x="1091" y="902"/>
                </a:lnTo>
                <a:close/>
                <a:moveTo>
                  <a:pt x="414" y="1429"/>
                </a:moveTo>
                <a:lnTo>
                  <a:pt x="414" y="1805"/>
                </a:lnTo>
                <a:lnTo>
                  <a:pt x="790" y="1805"/>
                </a:lnTo>
                <a:lnTo>
                  <a:pt x="790" y="1429"/>
                </a:lnTo>
                <a:lnTo>
                  <a:pt x="414" y="1429"/>
                </a:lnTo>
                <a:close/>
                <a:moveTo>
                  <a:pt x="1091" y="1504"/>
                </a:moveTo>
                <a:lnTo>
                  <a:pt x="1065" y="1507"/>
                </a:lnTo>
                <a:lnTo>
                  <a:pt x="1041" y="1515"/>
                </a:lnTo>
                <a:lnTo>
                  <a:pt x="1020" y="1529"/>
                </a:lnTo>
                <a:lnTo>
                  <a:pt x="1002" y="1546"/>
                </a:lnTo>
                <a:lnTo>
                  <a:pt x="990" y="1567"/>
                </a:lnTo>
                <a:lnTo>
                  <a:pt x="981" y="1591"/>
                </a:lnTo>
                <a:lnTo>
                  <a:pt x="978" y="1617"/>
                </a:lnTo>
                <a:lnTo>
                  <a:pt x="981" y="1642"/>
                </a:lnTo>
                <a:lnTo>
                  <a:pt x="990" y="1667"/>
                </a:lnTo>
                <a:lnTo>
                  <a:pt x="1002" y="1688"/>
                </a:lnTo>
                <a:lnTo>
                  <a:pt x="1020" y="1704"/>
                </a:lnTo>
                <a:lnTo>
                  <a:pt x="1041" y="1718"/>
                </a:lnTo>
                <a:lnTo>
                  <a:pt x="1065" y="1726"/>
                </a:lnTo>
                <a:lnTo>
                  <a:pt x="1091" y="1730"/>
                </a:lnTo>
                <a:lnTo>
                  <a:pt x="2107" y="1730"/>
                </a:lnTo>
                <a:lnTo>
                  <a:pt x="2133" y="1726"/>
                </a:lnTo>
                <a:lnTo>
                  <a:pt x="2156" y="1718"/>
                </a:lnTo>
                <a:lnTo>
                  <a:pt x="2177" y="1704"/>
                </a:lnTo>
                <a:lnTo>
                  <a:pt x="2195" y="1688"/>
                </a:lnTo>
                <a:lnTo>
                  <a:pt x="2207" y="1667"/>
                </a:lnTo>
                <a:lnTo>
                  <a:pt x="2217" y="1642"/>
                </a:lnTo>
                <a:lnTo>
                  <a:pt x="2219" y="1617"/>
                </a:lnTo>
                <a:lnTo>
                  <a:pt x="2217" y="1591"/>
                </a:lnTo>
                <a:lnTo>
                  <a:pt x="2207" y="1567"/>
                </a:lnTo>
                <a:lnTo>
                  <a:pt x="2195" y="1546"/>
                </a:lnTo>
                <a:lnTo>
                  <a:pt x="2177" y="1529"/>
                </a:lnTo>
                <a:lnTo>
                  <a:pt x="2156" y="1515"/>
                </a:lnTo>
                <a:lnTo>
                  <a:pt x="2133" y="1507"/>
                </a:lnTo>
                <a:lnTo>
                  <a:pt x="2107" y="1504"/>
                </a:lnTo>
                <a:lnTo>
                  <a:pt x="1091" y="1504"/>
                </a:lnTo>
                <a:close/>
                <a:moveTo>
                  <a:pt x="414" y="2030"/>
                </a:moveTo>
                <a:lnTo>
                  <a:pt x="414" y="2407"/>
                </a:lnTo>
                <a:lnTo>
                  <a:pt x="790" y="2407"/>
                </a:lnTo>
                <a:lnTo>
                  <a:pt x="790" y="2030"/>
                </a:lnTo>
                <a:lnTo>
                  <a:pt x="414" y="2030"/>
                </a:lnTo>
                <a:close/>
                <a:moveTo>
                  <a:pt x="1091" y="2105"/>
                </a:moveTo>
                <a:lnTo>
                  <a:pt x="1065" y="2109"/>
                </a:lnTo>
                <a:lnTo>
                  <a:pt x="1041" y="2117"/>
                </a:lnTo>
                <a:lnTo>
                  <a:pt x="1020" y="2131"/>
                </a:lnTo>
                <a:lnTo>
                  <a:pt x="1002" y="2147"/>
                </a:lnTo>
                <a:lnTo>
                  <a:pt x="990" y="2168"/>
                </a:lnTo>
                <a:lnTo>
                  <a:pt x="981" y="2193"/>
                </a:lnTo>
                <a:lnTo>
                  <a:pt x="978" y="2219"/>
                </a:lnTo>
                <a:lnTo>
                  <a:pt x="981" y="2244"/>
                </a:lnTo>
                <a:lnTo>
                  <a:pt x="990" y="2268"/>
                </a:lnTo>
                <a:lnTo>
                  <a:pt x="1002" y="2289"/>
                </a:lnTo>
                <a:lnTo>
                  <a:pt x="1020" y="2306"/>
                </a:lnTo>
                <a:lnTo>
                  <a:pt x="1041" y="2320"/>
                </a:lnTo>
                <a:lnTo>
                  <a:pt x="1065" y="2328"/>
                </a:lnTo>
                <a:lnTo>
                  <a:pt x="1091" y="2331"/>
                </a:lnTo>
                <a:lnTo>
                  <a:pt x="2107" y="2331"/>
                </a:lnTo>
                <a:lnTo>
                  <a:pt x="2133" y="2328"/>
                </a:lnTo>
                <a:lnTo>
                  <a:pt x="2156" y="2320"/>
                </a:lnTo>
                <a:lnTo>
                  <a:pt x="2177" y="2306"/>
                </a:lnTo>
                <a:lnTo>
                  <a:pt x="2195" y="2289"/>
                </a:lnTo>
                <a:lnTo>
                  <a:pt x="2207" y="2268"/>
                </a:lnTo>
                <a:lnTo>
                  <a:pt x="2217" y="2244"/>
                </a:lnTo>
                <a:lnTo>
                  <a:pt x="2219" y="2219"/>
                </a:lnTo>
                <a:lnTo>
                  <a:pt x="2217" y="2193"/>
                </a:lnTo>
                <a:lnTo>
                  <a:pt x="2207" y="2168"/>
                </a:lnTo>
                <a:lnTo>
                  <a:pt x="2195" y="2147"/>
                </a:lnTo>
                <a:lnTo>
                  <a:pt x="2177" y="2131"/>
                </a:lnTo>
                <a:lnTo>
                  <a:pt x="2156" y="2117"/>
                </a:lnTo>
                <a:lnTo>
                  <a:pt x="2133" y="2109"/>
                </a:lnTo>
                <a:lnTo>
                  <a:pt x="2107" y="2105"/>
                </a:lnTo>
                <a:lnTo>
                  <a:pt x="1091" y="2105"/>
                </a:lnTo>
                <a:close/>
                <a:moveTo>
                  <a:pt x="414" y="2631"/>
                </a:moveTo>
                <a:lnTo>
                  <a:pt x="414" y="3007"/>
                </a:lnTo>
                <a:lnTo>
                  <a:pt x="790" y="3007"/>
                </a:lnTo>
                <a:lnTo>
                  <a:pt x="790" y="2631"/>
                </a:lnTo>
                <a:lnTo>
                  <a:pt x="414" y="2631"/>
                </a:lnTo>
                <a:close/>
                <a:moveTo>
                  <a:pt x="1091" y="2707"/>
                </a:moveTo>
                <a:lnTo>
                  <a:pt x="1065" y="2710"/>
                </a:lnTo>
                <a:lnTo>
                  <a:pt x="1041" y="2719"/>
                </a:lnTo>
                <a:lnTo>
                  <a:pt x="1020" y="2732"/>
                </a:lnTo>
                <a:lnTo>
                  <a:pt x="1002" y="2749"/>
                </a:lnTo>
                <a:lnTo>
                  <a:pt x="990" y="2770"/>
                </a:lnTo>
                <a:lnTo>
                  <a:pt x="981" y="2794"/>
                </a:lnTo>
                <a:lnTo>
                  <a:pt x="978" y="2819"/>
                </a:lnTo>
                <a:lnTo>
                  <a:pt x="981" y="2846"/>
                </a:lnTo>
                <a:lnTo>
                  <a:pt x="990" y="2870"/>
                </a:lnTo>
                <a:lnTo>
                  <a:pt x="1002" y="2891"/>
                </a:lnTo>
                <a:lnTo>
                  <a:pt x="1020" y="2908"/>
                </a:lnTo>
                <a:lnTo>
                  <a:pt x="1041" y="2921"/>
                </a:lnTo>
                <a:lnTo>
                  <a:pt x="1065" y="2930"/>
                </a:lnTo>
                <a:lnTo>
                  <a:pt x="1091" y="2933"/>
                </a:lnTo>
                <a:lnTo>
                  <a:pt x="2107" y="2933"/>
                </a:lnTo>
                <a:lnTo>
                  <a:pt x="2133" y="2930"/>
                </a:lnTo>
                <a:lnTo>
                  <a:pt x="2156" y="2921"/>
                </a:lnTo>
                <a:lnTo>
                  <a:pt x="2177" y="2908"/>
                </a:lnTo>
                <a:lnTo>
                  <a:pt x="2195" y="2891"/>
                </a:lnTo>
                <a:lnTo>
                  <a:pt x="2207" y="2870"/>
                </a:lnTo>
                <a:lnTo>
                  <a:pt x="2217" y="2846"/>
                </a:lnTo>
                <a:lnTo>
                  <a:pt x="2219" y="2819"/>
                </a:lnTo>
                <a:lnTo>
                  <a:pt x="2217" y="2794"/>
                </a:lnTo>
                <a:lnTo>
                  <a:pt x="2207" y="2770"/>
                </a:lnTo>
                <a:lnTo>
                  <a:pt x="2195" y="2749"/>
                </a:lnTo>
                <a:lnTo>
                  <a:pt x="2177" y="2732"/>
                </a:lnTo>
                <a:lnTo>
                  <a:pt x="2156" y="2719"/>
                </a:lnTo>
                <a:lnTo>
                  <a:pt x="2133" y="2710"/>
                </a:lnTo>
                <a:lnTo>
                  <a:pt x="2107" y="2707"/>
                </a:lnTo>
                <a:lnTo>
                  <a:pt x="1091" y="2707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42" name="Group 41"/>
          <p:cNvGrpSpPr>
            <a:grpSpLocks noChangeAspect="1"/>
          </p:cNvGrpSpPr>
          <p:nvPr/>
        </p:nvGrpSpPr>
        <p:grpSpPr bwMode="auto">
          <a:xfrm>
            <a:off x="993492" y="4506737"/>
            <a:ext cx="387409" cy="553443"/>
            <a:chOff x="-776" y="2272"/>
            <a:chExt cx="448" cy="640"/>
          </a:xfrm>
          <a:solidFill>
            <a:schemeClr val="bg1"/>
          </a:solidFill>
        </p:grpSpPr>
        <p:sp>
          <p:nvSpPr>
            <p:cNvPr id="43" name="Freeform 6"/>
            <p:cNvSpPr>
              <a:spLocks/>
            </p:cNvSpPr>
            <p:nvPr/>
          </p:nvSpPr>
          <p:spPr bwMode="auto">
            <a:xfrm>
              <a:off x="-776" y="2336"/>
              <a:ext cx="448" cy="576"/>
            </a:xfrm>
            <a:custGeom>
              <a:avLst/>
              <a:gdLst>
                <a:gd name="T0" fmla="*/ 2444 w 2684"/>
                <a:gd name="T1" fmla="*/ 0 h 3456"/>
                <a:gd name="T2" fmla="*/ 2171 w 2684"/>
                <a:gd name="T3" fmla="*/ 0 h 3456"/>
                <a:gd name="T4" fmla="*/ 2171 w 2684"/>
                <a:gd name="T5" fmla="*/ 88 h 3456"/>
                <a:gd name="T6" fmla="*/ 2169 w 2684"/>
                <a:gd name="T7" fmla="*/ 128 h 3456"/>
                <a:gd name="T8" fmla="*/ 2161 w 2684"/>
                <a:gd name="T9" fmla="*/ 166 h 3456"/>
                <a:gd name="T10" fmla="*/ 2148 w 2684"/>
                <a:gd name="T11" fmla="*/ 200 h 3456"/>
                <a:gd name="T12" fmla="*/ 2131 w 2684"/>
                <a:gd name="T13" fmla="*/ 232 h 3456"/>
                <a:gd name="T14" fmla="*/ 2444 w 2684"/>
                <a:gd name="T15" fmla="*/ 232 h 3456"/>
                <a:gd name="T16" fmla="*/ 2444 w 2684"/>
                <a:gd name="T17" fmla="*/ 3224 h 3456"/>
                <a:gd name="T18" fmla="*/ 233 w 2684"/>
                <a:gd name="T19" fmla="*/ 3224 h 3456"/>
                <a:gd name="T20" fmla="*/ 233 w 2684"/>
                <a:gd name="T21" fmla="*/ 232 h 3456"/>
                <a:gd name="T22" fmla="*/ 546 w 2684"/>
                <a:gd name="T23" fmla="*/ 232 h 3456"/>
                <a:gd name="T24" fmla="*/ 529 w 2684"/>
                <a:gd name="T25" fmla="*/ 199 h 3456"/>
                <a:gd name="T26" fmla="*/ 516 w 2684"/>
                <a:gd name="T27" fmla="*/ 163 h 3456"/>
                <a:gd name="T28" fmla="*/ 508 w 2684"/>
                <a:gd name="T29" fmla="*/ 126 h 3456"/>
                <a:gd name="T30" fmla="*/ 505 w 2684"/>
                <a:gd name="T31" fmla="*/ 88 h 3456"/>
                <a:gd name="T32" fmla="*/ 505 w 2684"/>
                <a:gd name="T33" fmla="*/ 0 h 3456"/>
                <a:gd name="T34" fmla="*/ 233 w 2684"/>
                <a:gd name="T35" fmla="*/ 0 h 3456"/>
                <a:gd name="T36" fmla="*/ 195 w 2684"/>
                <a:gd name="T37" fmla="*/ 3 h 3456"/>
                <a:gd name="T38" fmla="*/ 160 w 2684"/>
                <a:gd name="T39" fmla="*/ 12 h 3456"/>
                <a:gd name="T40" fmla="*/ 126 w 2684"/>
                <a:gd name="T41" fmla="*/ 26 h 3456"/>
                <a:gd name="T42" fmla="*/ 96 w 2684"/>
                <a:gd name="T43" fmla="*/ 45 h 3456"/>
                <a:gd name="T44" fmla="*/ 69 w 2684"/>
                <a:gd name="T45" fmla="*/ 67 h 3456"/>
                <a:gd name="T46" fmla="*/ 46 w 2684"/>
                <a:gd name="T47" fmla="*/ 95 h 3456"/>
                <a:gd name="T48" fmla="*/ 26 w 2684"/>
                <a:gd name="T49" fmla="*/ 126 h 3456"/>
                <a:gd name="T50" fmla="*/ 12 w 2684"/>
                <a:gd name="T51" fmla="*/ 158 h 3456"/>
                <a:gd name="T52" fmla="*/ 4 w 2684"/>
                <a:gd name="T53" fmla="*/ 194 h 3456"/>
                <a:gd name="T54" fmla="*/ 0 w 2684"/>
                <a:gd name="T55" fmla="*/ 232 h 3456"/>
                <a:gd name="T56" fmla="*/ 0 w 2684"/>
                <a:gd name="T57" fmla="*/ 3224 h 3456"/>
                <a:gd name="T58" fmla="*/ 4 w 2684"/>
                <a:gd name="T59" fmla="*/ 3262 h 3456"/>
                <a:gd name="T60" fmla="*/ 12 w 2684"/>
                <a:gd name="T61" fmla="*/ 3298 h 3456"/>
                <a:gd name="T62" fmla="*/ 26 w 2684"/>
                <a:gd name="T63" fmla="*/ 3330 h 3456"/>
                <a:gd name="T64" fmla="*/ 46 w 2684"/>
                <a:gd name="T65" fmla="*/ 3361 h 3456"/>
                <a:gd name="T66" fmla="*/ 69 w 2684"/>
                <a:gd name="T67" fmla="*/ 3389 h 3456"/>
                <a:gd name="T68" fmla="*/ 96 w 2684"/>
                <a:gd name="T69" fmla="*/ 3411 h 3456"/>
                <a:gd name="T70" fmla="*/ 126 w 2684"/>
                <a:gd name="T71" fmla="*/ 3430 h 3456"/>
                <a:gd name="T72" fmla="*/ 160 w 2684"/>
                <a:gd name="T73" fmla="*/ 3444 h 3456"/>
                <a:gd name="T74" fmla="*/ 195 w 2684"/>
                <a:gd name="T75" fmla="*/ 3453 h 3456"/>
                <a:gd name="T76" fmla="*/ 233 w 2684"/>
                <a:gd name="T77" fmla="*/ 3456 h 3456"/>
                <a:gd name="T78" fmla="*/ 2452 w 2684"/>
                <a:gd name="T79" fmla="*/ 3456 h 3456"/>
                <a:gd name="T80" fmla="*/ 2489 w 2684"/>
                <a:gd name="T81" fmla="*/ 3453 h 3456"/>
                <a:gd name="T82" fmla="*/ 2525 w 2684"/>
                <a:gd name="T83" fmla="*/ 3444 h 3456"/>
                <a:gd name="T84" fmla="*/ 2559 w 2684"/>
                <a:gd name="T85" fmla="*/ 3430 h 3456"/>
                <a:gd name="T86" fmla="*/ 2589 w 2684"/>
                <a:gd name="T87" fmla="*/ 3411 h 3456"/>
                <a:gd name="T88" fmla="*/ 2616 w 2684"/>
                <a:gd name="T89" fmla="*/ 3389 h 3456"/>
                <a:gd name="T90" fmla="*/ 2639 w 2684"/>
                <a:gd name="T91" fmla="*/ 3361 h 3456"/>
                <a:gd name="T92" fmla="*/ 2658 w 2684"/>
                <a:gd name="T93" fmla="*/ 3330 h 3456"/>
                <a:gd name="T94" fmla="*/ 2672 w 2684"/>
                <a:gd name="T95" fmla="*/ 3298 h 3456"/>
                <a:gd name="T96" fmla="*/ 2681 w 2684"/>
                <a:gd name="T97" fmla="*/ 3262 h 3456"/>
                <a:gd name="T98" fmla="*/ 2684 w 2684"/>
                <a:gd name="T99" fmla="*/ 3224 h 3456"/>
                <a:gd name="T100" fmla="*/ 2684 w 2684"/>
                <a:gd name="T101" fmla="*/ 232 h 3456"/>
                <a:gd name="T102" fmla="*/ 2679 w 2684"/>
                <a:gd name="T103" fmla="*/ 194 h 3456"/>
                <a:gd name="T104" fmla="*/ 2669 w 2684"/>
                <a:gd name="T105" fmla="*/ 158 h 3456"/>
                <a:gd name="T106" fmla="*/ 2653 w 2684"/>
                <a:gd name="T107" fmla="*/ 126 h 3456"/>
                <a:gd name="T108" fmla="*/ 2632 w 2684"/>
                <a:gd name="T109" fmla="*/ 95 h 3456"/>
                <a:gd name="T110" fmla="*/ 2609 w 2684"/>
                <a:gd name="T111" fmla="*/ 67 h 3456"/>
                <a:gd name="T112" fmla="*/ 2581 w 2684"/>
                <a:gd name="T113" fmla="*/ 45 h 3456"/>
                <a:gd name="T114" fmla="*/ 2551 w 2684"/>
                <a:gd name="T115" fmla="*/ 26 h 3456"/>
                <a:gd name="T116" fmla="*/ 2517 w 2684"/>
                <a:gd name="T117" fmla="*/ 12 h 3456"/>
                <a:gd name="T118" fmla="*/ 2481 w 2684"/>
                <a:gd name="T119" fmla="*/ 3 h 3456"/>
                <a:gd name="T120" fmla="*/ 2444 w 2684"/>
                <a:gd name="T121" fmla="*/ 0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84" h="3456">
                  <a:moveTo>
                    <a:pt x="2444" y="0"/>
                  </a:moveTo>
                  <a:lnTo>
                    <a:pt x="2171" y="0"/>
                  </a:lnTo>
                  <a:lnTo>
                    <a:pt x="2171" y="88"/>
                  </a:lnTo>
                  <a:lnTo>
                    <a:pt x="2169" y="128"/>
                  </a:lnTo>
                  <a:lnTo>
                    <a:pt x="2161" y="166"/>
                  </a:lnTo>
                  <a:lnTo>
                    <a:pt x="2148" y="200"/>
                  </a:lnTo>
                  <a:lnTo>
                    <a:pt x="2131" y="232"/>
                  </a:lnTo>
                  <a:lnTo>
                    <a:pt x="2444" y="232"/>
                  </a:lnTo>
                  <a:lnTo>
                    <a:pt x="2444" y="3224"/>
                  </a:lnTo>
                  <a:lnTo>
                    <a:pt x="233" y="3224"/>
                  </a:lnTo>
                  <a:lnTo>
                    <a:pt x="233" y="232"/>
                  </a:lnTo>
                  <a:lnTo>
                    <a:pt x="546" y="232"/>
                  </a:lnTo>
                  <a:lnTo>
                    <a:pt x="529" y="199"/>
                  </a:lnTo>
                  <a:lnTo>
                    <a:pt x="516" y="163"/>
                  </a:lnTo>
                  <a:lnTo>
                    <a:pt x="508" y="126"/>
                  </a:lnTo>
                  <a:lnTo>
                    <a:pt x="505" y="88"/>
                  </a:lnTo>
                  <a:lnTo>
                    <a:pt x="505" y="0"/>
                  </a:lnTo>
                  <a:lnTo>
                    <a:pt x="233" y="0"/>
                  </a:lnTo>
                  <a:lnTo>
                    <a:pt x="195" y="3"/>
                  </a:lnTo>
                  <a:lnTo>
                    <a:pt x="160" y="12"/>
                  </a:lnTo>
                  <a:lnTo>
                    <a:pt x="126" y="26"/>
                  </a:lnTo>
                  <a:lnTo>
                    <a:pt x="96" y="45"/>
                  </a:lnTo>
                  <a:lnTo>
                    <a:pt x="69" y="67"/>
                  </a:lnTo>
                  <a:lnTo>
                    <a:pt x="46" y="95"/>
                  </a:lnTo>
                  <a:lnTo>
                    <a:pt x="26" y="126"/>
                  </a:lnTo>
                  <a:lnTo>
                    <a:pt x="12" y="158"/>
                  </a:lnTo>
                  <a:lnTo>
                    <a:pt x="4" y="194"/>
                  </a:lnTo>
                  <a:lnTo>
                    <a:pt x="0" y="232"/>
                  </a:lnTo>
                  <a:lnTo>
                    <a:pt x="0" y="3224"/>
                  </a:lnTo>
                  <a:lnTo>
                    <a:pt x="4" y="3262"/>
                  </a:lnTo>
                  <a:lnTo>
                    <a:pt x="12" y="3298"/>
                  </a:lnTo>
                  <a:lnTo>
                    <a:pt x="26" y="3330"/>
                  </a:lnTo>
                  <a:lnTo>
                    <a:pt x="46" y="3361"/>
                  </a:lnTo>
                  <a:lnTo>
                    <a:pt x="69" y="3389"/>
                  </a:lnTo>
                  <a:lnTo>
                    <a:pt x="96" y="3411"/>
                  </a:lnTo>
                  <a:lnTo>
                    <a:pt x="126" y="3430"/>
                  </a:lnTo>
                  <a:lnTo>
                    <a:pt x="160" y="3444"/>
                  </a:lnTo>
                  <a:lnTo>
                    <a:pt x="195" y="3453"/>
                  </a:lnTo>
                  <a:lnTo>
                    <a:pt x="233" y="3456"/>
                  </a:lnTo>
                  <a:lnTo>
                    <a:pt x="2452" y="3456"/>
                  </a:lnTo>
                  <a:lnTo>
                    <a:pt x="2489" y="3453"/>
                  </a:lnTo>
                  <a:lnTo>
                    <a:pt x="2525" y="3444"/>
                  </a:lnTo>
                  <a:lnTo>
                    <a:pt x="2559" y="3430"/>
                  </a:lnTo>
                  <a:lnTo>
                    <a:pt x="2589" y="3411"/>
                  </a:lnTo>
                  <a:lnTo>
                    <a:pt x="2616" y="3389"/>
                  </a:lnTo>
                  <a:lnTo>
                    <a:pt x="2639" y="3361"/>
                  </a:lnTo>
                  <a:lnTo>
                    <a:pt x="2658" y="3330"/>
                  </a:lnTo>
                  <a:lnTo>
                    <a:pt x="2672" y="3298"/>
                  </a:lnTo>
                  <a:lnTo>
                    <a:pt x="2681" y="3262"/>
                  </a:lnTo>
                  <a:lnTo>
                    <a:pt x="2684" y="3224"/>
                  </a:lnTo>
                  <a:lnTo>
                    <a:pt x="2684" y="232"/>
                  </a:lnTo>
                  <a:lnTo>
                    <a:pt x="2679" y="194"/>
                  </a:lnTo>
                  <a:lnTo>
                    <a:pt x="2669" y="158"/>
                  </a:lnTo>
                  <a:lnTo>
                    <a:pt x="2653" y="126"/>
                  </a:lnTo>
                  <a:lnTo>
                    <a:pt x="2632" y="95"/>
                  </a:lnTo>
                  <a:lnTo>
                    <a:pt x="2609" y="67"/>
                  </a:lnTo>
                  <a:lnTo>
                    <a:pt x="2581" y="45"/>
                  </a:lnTo>
                  <a:lnTo>
                    <a:pt x="2551" y="26"/>
                  </a:lnTo>
                  <a:lnTo>
                    <a:pt x="2517" y="12"/>
                  </a:lnTo>
                  <a:lnTo>
                    <a:pt x="2481" y="3"/>
                  </a:lnTo>
                  <a:lnTo>
                    <a:pt x="244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7"/>
            <p:cNvSpPr>
              <a:spLocks/>
            </p:cNvSpPr>
            <p:nvPr/>
          </p:nvSpPr>
          <p:spPr bwMode="auto">
            <a:xfrm>
              <a:off x="-666" y="2272"/>
              <a:ext cx="227" cy="104"/>
            </a:xfrm>
            <a:custGeom>
              <a:avLst/>
              <a:gdLst>
                <a:gd name="T0" fmla="*/ 160 w 1363"/>
                <a:gd name="T1" fmla="*/ 624 h 624"/>
                <a:gd name="T2" fmla="*/ 1210 w 1363"/>
                <a:gd name="T3" fmla="*/ 624 h 624"/>
                <a:gd name="T4" fmla="*/ 1241 w 1363"/>
                <a:gd name="T5" fmla="*/ 620 h 624"/>
                <a:gd name="T6" fmla="*/ 1270 w 1363"/>
                <a:gd name="T7" fmla="*/ 612 h 624"/>
                <a:gd name="T8" fmla="*/ 1297 w 1363"/>
                <a:gd name="T9" fmla="*/ 597 h 624"/>
                <a:gd name="T10" fmla="*/ 1319 w 1363"/>
                <a:gd name="T11" fmla="*/ 578 h 624"/>
                <a:gd name="T12" fmla="*/ 1337 w 1363"/>
                <a:gd name="T13" fmla="*/ 555 h 624"/>
                <a:gd name="T14" fmla="*/ 1351 w 1363"/>
                <a:gd name="T15" fmla="*/ 529 h 624"/>
                <a:gd name="T16" fmla="*/ 1359 w 1363"/>
                <a:gd name="T17" fmla="*/ 502 h 624"/>
                <a:gd name="T18" fmla="*/ 1363 w 1363"/>
                <a:gd name="T19" fmla="*/ 472 h 624"/>
                <a:gd name="T20" fmla="*/ 1363 w 1363"/>
                <a:gd name="T21" fmla="*/ 296 h 624"/>
                <a:gd name="T22" fmla="*/ 1359 w 1363"/>
                <a:gd name="T23" fmla="*/ 264 h 624"/>
                <a:gd name="T24" fmla="*/ 1350 w 1363"/>
                <a:gd name="T25" fmla="*/ 235 h 624"/>
                <a:gd name="T26" fmla="*/ 1335 w 1363"/>
                <a:gd name="T27" fmla="*/ 209 h 624"/>
                <a:gd name="T28" fmla="*/ 1316 w 1363"/>
                <a:gd name="T29" fmla="*/ 187 h 624"/>
                <a:gd name="T30" fmla="*/ 1294 w 1363"/>
                <a:gd name="T31" fmla="*/ 169 h 624"/>
                <a:gd name="T32" fmla="*/ 1267 w 1363"/>
                <a:gd name="T33" fmla="*/ 156 h 624"/>
                <a:gd name="T34" fmla="*/ 1239 w 1363"/>
                <a:gd name="T35" fmla="*/ 147 h 624"/>
                <a:gd name="T36" fmla="*/ 1210 w 1363"/>
                <a:gd name="T37" fmla="*/ 144 h 624"/>
                <a:gd name="T38" fmla="*/ 1018 w 1363"/>
                <a:gd name="T39" fmla="*/ 144 h 624"/>
                <a:gd name="T40" fmla="*/ 970 w 1363"/>
                <a:gd name="T41" fmla="*/ 80 h 624"/>
                <a:gd name="T42" fmla="*/ 955 w 1363"/>
                <a:gd name="T43" fmla="*/ 57 h 624"/>
                <a:gd name="T44" fmla="*/ 936 w 1363"/>
                <a:gd name="T45" fmla="*/ 38 h 624"/>
                <a:gd name="T46" fmla="*/ 914 w 1363"/>
                <a:gd name="T47" fmla="*/ 22 h 624"/>
                <a:gd name="T48" fmla="*/ 888 w 1363"/>
                <a:gd name="T49" fmla="*/ 10 h 624"/>
                <a:gd name="T50" fmla="*/ 862 w 1363"/>
                <a:gd name="T51" fmla="*/ 2 h 624"/>
                <a:gd name="T52" fmla="*/ 834 w 1363"/>
                <a:gd name="T53" fmla="*/ 0 h 624"/>
                <a:gd name="T54" fmla="*/ 521 w 1363"/>
                <a:gd name="T55" fmla="*/ 0 h 624"/>
                <a:gd name="T56" fmla="*/ 493 w 1363"/>
                <a:gd name="T57" fmla="*/ 2 h 624"/>
                <a:gd name="T58" fmla="*/ 468 w 1363"/>
                <a:gd name="T59" fmla="*/ 10 h 624"/>
                <a:gd name="T60" fmla="*/ 444 w 1363"/>
                <a:gd name="T61" fmla="*/ 22 h 624"/>
                <a:gd name="T62" fmla="*/ 422 w 1363"/>
                <a:gd name="T63" fmla="*/ 38 h 624"/>
                <a:gd name="T64" fmla="*/ 402 w 1363"/>
                <a:gd name="T65" fmla="*/ 57 h 624"/>
                <a:gd name="T66" fmla="*/ 385 w 1363"/>
                <a:gd name="T67" fmla="*/ 80 h 624"/>
                <a:gd name="T68" fmla="*/ 345 w 1363"/>
                <a:gd name="T69" fmla="*/ 144 h 624"/>
                <a:gd name="T70" fmla="*/ 153 w 1363"/>
                <a:gd name="T71" fmla="*/ 144 h 624"/>
                <a:gd name="T72" fmla="*/ 120 w 1363"/>
                <a:gd name="T73" fmla="*/ 148 h 624"/>
                <a:gd name="T74" fmla="*/ 91 w 1363"/>
                <a:gd name="T75" fmla="*/ 156 h 624"/>
                <a:gd name="T76" fmla="*/ 66 w 1363"/>
                <a:gd name="T77" fmla="*/ 171 h 624"/>
                <a:gd name="T78" fmla="*/ 44 w 1363"/>
                <a:gd name="T79" fmla="*/ 190 h 624"/>
                <a:gd name="T80" fmla="*/ 25 w 1363"/>
                <a:gd name="T81" fmla="*/ 213 h 624"/>
                <a:gd name="T82" fmla="*/ 12 w 1363"/>
                <a:gd name="T83" fmla="*/ 239 h 624"/>
                <a:gd name="T84" fmla="*/ 3 w 1363"/>
                <a:gd name="T85" fmla="*/ 266 h 624"/>
                <a:gd name="T86" fmla="*/ 0 w 1363"/>
                <a:gd name="T87" fmla="*/ 296 h 624"/>
                <a:gd name="T88" fmla="*/ 0 w 1363"/>
                <a:gd name="T89" fmla="*/ 464 h 624"/>
                <a:gd name="T90" fmla="*/ 4 w 1363"/>
                <a:gd name="T91" fmla="*/ 496 h 624"/>
                <a:gd name="T92" fmla="*/ 13 w 1363"/>
                <a:gd name="T93" fmla="*/ 526 h 624"/>
                <a:gd name="T94" fmla="*/ 27 w 1363"/>
                <a:gd name="T95" fmla="*/ 553 h 624"/>
                <a:gd name="T96" fmla="*/ 47 w 1363"/>
                <a:gd name="T97" fmla="*/ 577 h 624"/>
                <a:gd name="T98" fmla="*/ 72 w 1363"/>
                <a:gd name="T99" fmla="*/ 597 h 624"/>
                <a:gd name="T100" fmla="*/ 98 w 1363"/>
                <a:gd name="T101" fmla="*/ 611 h 624"/>
                <a:gd name="T102" fmla="*/ 129 w 1363"/>
                <a:gd name="T103" fmla="*/ 620 h 624"/>
                <a:gd name="T104" fmla="*/ 160 w 1363"/>
                <a:gd name="T105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3" h="624">
                  <a:moveTo>
                    <a:pt x="160" y="624"/>
                  </a:moveTo>
                  <a:lnTo>
                    <a:pt x="1210" y="624"/>
                  </a:lnTo>
                  <a:lnTo>
                    <a:pt x="1241" y="620"/>
                  </a:lnTo>
                  <a:lnTo>
                    <a:pt x="1270" y="612"/>
                  </a:lnTo>
                  <a:lnTo>
                    <a:pt x="1297" y="597"/>
                  </a:lnTo>
                  <a:lnTo>
                    <a:pt x="1319" y="578"/>
                  </a:lnTo>
                  <a:lnTo>
                    <a:pt x="1337" y="555"/>
                  </a:lnTo>
                  <a:lnTo>
                    <a:pt x="1351" y="529"/>
                  </a:lnTo>
                  <a:lnTo>
                    <a:pt x="1359" y="502"/>
                  </a:lnTo>
                  <a:lnTo>
                    <a:pt x="1363" y="472"/>
                  </a:lnTo>
                  <a:lnTo>
                    <a:pt x="1363" y="296"/>
                  </a:lnTo>
                  <a:lnTo>
                    <a:pt x="1359" y="264"/>
                  </a:lnTo>
                  <a:lnTo>
                    <a:pt x="1350" y="235"/>
                  </a:lnTo>
                  <a:lnTo>
                    <a:pt x="1335" y="209"/>
                  </a:lnTo>
                  <a:lnTo>
                    <a:pt x="1316" y="187"/>
                  </a:lnTo>
                  <a:lnTo>
                    <a:pt x="1294" y="169"/>
                  </a:lnTo>
                  <a:lnTo>
                    <a:pt x="1267" y="156"/>
                  </a:lnTo>
                  <a:lnTo>
                    <a:pt x="1239" y="147"/>
                  </a:lnTo>
                  <a:lnTo>
                    <a:pt x="1210" y="144"/>
                  </a:lnTo>
                  <a:lnTo>
                    <a:pt x="1018" y="144"/>
                  </a:lnTo>
                  <a:lnTo>
                    <a:pt x="970" y="80"/>
                  </a:lnTo>
                  <a:lnTo>
                    <a:pt x="955" y="57"/>
                  </a:lnTo>
                  <a:lnTo>
                    <a:pt x="936" y="38"/>
                  </a:lnTo>
                  <a:lnTo>
                    <a:pt x="914" y="22"/>
                  </a:lnTo>
                  <a:lnTo>
                    <a:pt x="888" y="10"/>
                  </a:lnTo>
                  <a:lnTo>
                    <a:pt x="862" y="2"/>
                  </a:lnTo>
                  <a:lnTo>
                    <a:pt x="834" y="0"/>
                  </a:lnTo>
                  <a:lnTo>
                    <a:pt x="521" y="0"/>
                  </a:lnTo>
                  <a:lnTo>
                    <a:pt x="493" y="2"/>
                  </a:lnTo>
                  <a:lnTo>
                    <a:pt x="468" y="10"/>
                  </a:lnTo>
                  <a:lnTo>
                    <a:pt x="444" y="22"/>
                  </a:lnTo>
                  <a:lnTo>
                    <a:pt x="422" y="38"/>
                  </a:lnTo>
                  <a:lnTo>
                    <a:pt x="402" y="57"/>
                  </a:lnTo>
                  <a:lnTo>
                    <a:pt x="385" y="80"/>
                  </a:lnTo>
                  <a:lnTo>
                    <a:pt x="345" y="144"/>
                  </a:lnTo>
                  <a:lnTo>
                    <a:pt x="153" y="144"/>
                  </a:lnTo>
                  <a:lnTo>
                    <a:pt x="120" y="148"/>
                  </a:lnTo>
                  <a:lnTo>
                    <a:pt x="91" y="156"/>
                  </a:lnTo>
                  <a:lnTo>
                    <a:pt x="66" y="171"/>
                  </a:lnTo>
                  <a:lnTo>
                    <a:pt x="44" y="190"/>
                  </a:lnTo>
                  <a:lnTo>
                    <a:pt x="25" y="213"/>
                  </a:lnTo>
                  <a:lnTo>
                    <a:pt x="12" y="239"/>
                  </a:lnTo>
                  <a:lnTo>
                    <a:pt x="3" y="266"/>
                  </a:lnTo>
                  <a:lnTo>
                    <a:pt x="0" y="296"/>
                  </a:lnTo>
                  <a:lnTo>
                    <a:pt x="0" y="464"/>
                  </a:lnTo>
                  <a:lnTo>
                    <a:pt x="4" y="496"/>
                  </a:lnTo>
                  <a:lnTo>
                    <a:pt x="13" y="526"/>
                  </a:lnTo>
                  <a:lnTo>
                    <a:pt x="27" y="553"/>
                  </a:lnTo>
                  <a:lnTo>
                    <a:pt x="47" y="577"/>
                  </a:lnTo>
                  <a:lnTo>
                    <a:pt x="72" y="597"/>
                  </a:lnTo>
                  <a:lnTo>
                    <a:pt x="98" y="611"/>
                  </a:lnTo>
                  <a:lnTo>
                    <a:pt x="129" y="620"/>
                  </a:lnTo>
                  <a:lnTo>
                    <a:pt x="160" y="62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Rectangle 8"/>
            <p:cNvSpPr>
              <a:spLocks noChangeArrowheads="1"/>
            </p:cNvSpPr>
            <p:nvPr/>
          </p:nvSpPr>
          <p:spPr bwMode="auto">
            <a:xfrm>
              <a:off x="-702" y="2441"/>
              <a:ext cx="184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Rectangle 9"/>
            <p:cNvSpPr>
              <a:spLocks noChangeArrowheads="1"/>
            </p:cNvSpPr>
            <p:nvPr/>
          </p:nvSpPr>
          <p:spPr bwMode="auto">
            <a:xfrm>
              <a:off x="-702" y="2512"/>
              <a:ext cx="184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Rectangle 10"/>
            <p:cNvSpPr>
              <a:spLocks noChangeArrowheads="1"/>
            </p:cNvSpPr>
            <p:nvPr/>
          </p:nvSpPr>
          <p:spPr bwMode="auto">
            <a:xfrm>
              <a:off x="-702" y="2583"/>
              <a:ext cx="299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Rectangle 11"/>
            <p:cNvSpPr>
              <a:spLocks noChangeArrowheads="1"/>
            </p:cNvSpPr>
            <p:nvPr/>
          </p:nvSpPr>
          <p:spPr bwMode="auto">
            <a:xfrm>
              <a:off x="-702" y="2653"/>
              <a:ext cx="299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Rectangle 12"/>
            <p:cNvSpPr>
              <a:spLocks noChangeArrowheads="1"/>
            </p:cNvSpPr>
            <p:nvPr/>
          </p:nvSpPr>
          <p:spPr bwMode="auto">
            <a:xfrm>
              <a:off x="-574" y="2725"/>
              <a:ext cx="171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Rectangle 13"/>
            <p:cNvSpPr>
              <a:spLocks noChangeArrowheads="1"/>
            </p:cNvSpPr>
            <p:nvPr/>
          </p:nvSpPr>
          <p:spPr bwMode="auto">
            <a:xfrm>
              <a:off x="-574" y="2796"/>
              <a:ext cx="171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4"/>
            <p:cNvSpPr>
              <a:spLocks noEditPoints="1"/>
            </p:cNvSpPr>
            <p:nvPr/>
          </p:nvSpPr>
          <p:spPr bwMode="auto">
            <a:xfrm>
              <a:off x="-695" y="2715"/>
              <a:ext cx="72" cy="112"/>
            </a:xfrm>
            <a:custGeom>
              <a:avLst/>
              <a:gdLst>
                <a:gd name="T0" fmla="*/ 248 w 432"/>
                <a:gd name="T1" fmla="*/ 617 h 673"/>
                <a:gd name="T2" fmla="*/ 311 w 432"/>
                <a:gd name="T3" fmla="*/ 609 h 673"/>
                <a:gd name="T4" fmla="*/ 363 w 432"/>
                <a:gd name="T5" fmla="*/ 586 h 673"/>
                <a:gd name="T6" fmla="*/ 405 w 432"/>
                <a:gd name="T7" fmla="*/ 544 h 673"/>
                <a:gd name="T8" fmla="*/ 428 w 432"/>
                <a:gd name="T9" fmla="*/ 483 h 673"/>
                <a:gd name="T10" fmla="*/ 429 w 432"/>
                <a:gd name="T11" fmla="*/ 422 h 673"/>
                <a:gd name="T12" fmla="*/ 414 w 432"/>
                <a:gd name="T13" fmla="*/ 376 h 673"/>
                <a:gd name="T14" fmla="*/ 384 w 432"/>
                <a:gd name="T15" fmla="*/ 337 h 673"/>
                <a:gd name="T16" fmla="*/ 348 w 432"/>
                <a:gd name="T17" fmla="*/ 313 h 673"/>
                <a:gd name="T18" fmla="*/ 304 w 432"/>
                <a:gd name="T19" fmla="*/ 294 h 673"/>
                <a:gd name="T20" fmla="*/ 248 w 432"/>
                <a:gd name="T21" fmla="*/ 281 h 673"/>
                <a:gd name="T22" fmla="*/ 287 w 432"/>
                <a:gd name="T23" fmla="*/ 140 h 673"/>
                <a:gd name="T24" fmla="*/ 368 w 432"/>
                <a:gd name="T25" fmla="*/ 177 h 673"/>
                <a:gd name="T26" fmla="*/ 382 w 432"/>
                <a:gd name="T27" fmla="*/ 80 h 673"/>
                <a:gd name="T28" fmla="*/ 298 w 432"/>
                <a:gd name="T29" fmla="*/ 49 h 673"/>
                <a:gd name="T30" fmla="*/ 256 w 432"/>
                <a:gd name="T31" fmla="*/ 0 h 673"/>
                <a:gd name="T32" fmla="*/ 200 w 432"/>
                <a:gd name="T33" fmla="*/ 41 h 673"/>
                <a:gd name="T34" fmla="*/ 139 w 432"/>
                <a:gd name="T35" fmla="*/ 48 h 673"/>
                <a:gd name="T36" fmla="*/ 92 w 432"/>
                <a:gd name="T37" fmla="*/ 71 h 673"/>
                <a:gd name="T38" fmla="*/ 51 w 432"/>
                <a:gd name="T39" fmla="*/ 114 h 673"/>
                <a:gd name="T40" fmla="*/ 26 w 432"/>
                <a:gd name="T41" fmla="*/ 171 h 673"/>
                <a:gd name="T42" fmla="*/ 25 w 432"/>
                <a:gd name="T43" fmla="*/ 228 h 673"/>
                <a:gd name="T44" fmla="*/ 39 w 432"/>
                <a:gd name="T45" fmla="*/ 272 h 673"/>
                <a:gd name="T46" fmla="*/ 64 w 432"/>
                <a:gd name="T47" fmla="*/ 305 h 673"/>
                <a:gd name="T48" fmla="*/ 120 w 432"/>
                <a:gd name="T49" fmla="*/ 336 h 673"/>
                <a:gd name="T50" fmla="*/ 200 w 432"/>
                <a:gd name="T51" fmla="*/ 361 h 673"/>
                <a:gd name="T52" fmla="*/ 164 w 432"/>
                <a:gd name="T53" fmla="*/ 512 h 673"/>
                <a:gd name="T54" fmla="*/ 92 w 432"/>
                <a:gd name="T55" fmla="*/ 476 h 673"/>
                <a:gd name="T56" fmla="*/ 0 w 432"/>
                <a:gd name="T57" fmla="*/ 521 h 673"/>
                <a:gd name="T58" fmla="*/ 73 w 432"/>
                <a:gd name="T59" fmla="*/ 571 h 673"/>
                <a:gd name="T60" fmla="*/ 157 w 432"/>
                <a:gd name="T61" fmla="*/ 601 h 673"/>
                <a:gd name="T62" fmla="*/ 200 w 432"/>
                <a:gd name="T63" fmla="*/ 665 h 673"/>
                <a:gd name="T64" fmla="*/ 248 w 432"/>
                <a:gd name="T65" fmla="*/ 673 h 673"/>
                <a:gd name="T66" fmla="*/ 270 w 432"/>
                <a:gd name="T67" fmla="*/ 393 h 673"/>
                <a:gd name="T68" fmla="*/ 302 w 432"/>
                <a:gd name="T69" fmla="*/ 410 h 673"/>
                <a:gd name="T70" fmla="*/ 318 w 432"/>
                <a:gd name="T71" fmla="*/ 424 h 673"/>
                <a:gd name="T72" fmla="*/ 326 w 432"/>
                <a:gd name="T73" fmla="*/ 448 h 673"/>
                <a:gd name="T74" fmla="*/ 325 w 432"/>
                <a:gd name="T75" fmla="*/ 481 h 673"/>
                <a:gd name="T76" fmla="*/ 304 w 432"/>
                <a:gd name="T77" fmla="*/ 514 h 673"/>
                <a:gd name="T78" fmla="*/ 278 w 432"/>
                <a:gd name="T79" fmla="*/ 531 h 673"/>
                <a:gd name="T80" fmla="*/ 240 w 432"/>
                <a:gd name="T81" fmla="*/ 537 h 673"/>
                <a:gd name="T82" fmla="*/ 248 w 432"/>
                <a:gd name="T83" fmla="*/ 386 h 673"/>
                <a:gd name="T84" fmla="*/ 128 w 432"/>
                <a:gd name="T85" fmla="*/ 231 h 673"/>
                <a:gd name="T86" fmla="*/ 120 w 432"/>
                <a:gd name="T87" fmla="*/ 201 h 673"/>
                <a:gd name="T88" fmla="*/ 130 w 432"/>
                <a:gd name="T89" fmla="*/ 169 h 673"/>
                <a:gd name="T90" fmla="*/ 156 w 432"/>
                <a:gd name="T91" fmla="*/ 144 h 673"/>
                <a:gd name="T92" fmla="*/ 182 w 432"/>
                <a:gd name="T93" fmla="*/ 134 h 673"/>
                <a:gd name="T94" fmla="*/ 200 w 432"/>
                <a:gd name="T95" fmla="*/ 273 h 673"/>
                <a:gd name="T96" fmla="*/ 158 w 432"/>
                <a:gd name="T97" fmla="*/ 254 h 673"/>
                <a:gd name="T98" fmla="*/ 136 w 432"/>
                <a:gd name="T99" fmla="*/ 241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2" h="673">
                  <a:moveTo>
                    <a:pt x="248" y="673"/>
                  </a:moveTo>
                  <a:lnTo>
                    <a:pt x="248" y="617"/>
                  </a:lnTo>
                  <a:lnTo>
                    <a:pt x="280" y="615"/>
                  </a:lnTo>
                  <a:lnTo>
                    <a:pt x="311" y="609"/>
                  </a:lnTo>
                  <a:lnTo>
                    <a:pt x="339" y="600"/>
                  </a:lnTo>
                  <a:lnTo>
                    <a:pt x="363" y="586"/>
                  </a:lnTo>
                  <a:lnTo>
                    <a:pt x="384" y="569"/>
                  </a:lnTo>
                  <a:lnTo>
                    <a:pt x="405" y="544"/>
                  </a:lnTo>
                  <a:lnTo>
                    <a:pt x="420" y="515"/>
                  </a:lnTo>
                  <a:lnTo>
                    <a:pt x="428" y="483"/>
                  </a:lnTo>
                  <a:lnTo>
                    <a:pt x="432" y="450"/>
                  </a:lnTo>
                  <a:lnTo>
                    <a:pt x="429" y="422"/>
                  </a:lnTo>
                  <a:lnTo>
                    <a:pt x="424" y="398"/>
                  </a:lnTo>
                  <a:lnTo>
                    <a:pt x="414" y="376"/>
                  </a:lnTo>
                  <a:lnTo>
                    <a:pt x="402" y="356"/>
                  </a:lnTo>
                  <a:lnTo>
                    <a:pt x="384" y="337"/>
                  </a:lnTo>
                  <a:lnTo>
                    <a:pt x="367" y="325"/>
                  </a:lnTo>
                  <a:lnTo>
                    <a:pt x="348" y="313"/>
                  </a:lnTo>
                  <a:lnTo>
                    <a:pt x="328" y="303"/>
                  </a:lnTo>
                  <a:lnTo>
                    <a:pt x="304" y="294"/>
                  </a:lnTo>
                  <a:lnTo>
                    <a:pt x="278" y="287"/>
                  </a:lnTo>
                  <a:lnTo>
                    <a:pt x="248" y="281"/>
                  </a:lnTo>
                  <a:lnTo>
                    <a:pt x="248" y="130"/>
                  </a:lnTo>
                  <a:lnTo>
                    <a:pt x="287" y="140"/>
                  </a:lnTo>
                  <a:lnTo>
                    <a:pt x="328" y="155"/>
                  </a:lnTo>
                  <a:lnTo>
                    <a:pt x="368" y="177"/>
                  </a:lnTo>
                  <a:lnTo>
                    <a:pt x="424" y="105"/>
                  </a:lnTo>
                  <a:lnTo>
                    <a:pt x="382" y="80"/>
                  </a:lnTo>
                  <a:lnTo>
                    <a:pt x="340" y="61"/>
                  </a:lnTo>
                  <a:lnTo>
                    <a:pt x="298" y="49"/>
                  </a:lnTo>
                  <a:lnTo>
                    <a:pt x="256" y="41"/>
                  </a:lnTo>
                  <a:lnTo>
                    <a:pt x="256" y="0"/>
                  </a:lnTo>
                  <a:lnTo>
                    <a:pt x="200" y="0"/>
                  </a:lnTo>
                  <a:lnTo>
                    <a:pt x="200" y="41"/>
                  </a:lnTo>
                  <a:lnTo>
                    <a:pt x="167" y="43"/>
                  </a:lnTo>
                  <a:lnTo>
                    <a:pt x="139" y="48"/>
                  </a:lnTo>
                  <a:lnTo>
                    <a:pt x="114" y="59"/>
                  </a:lnTo>
                  <a:lnTo>
                    <a:pt x="92" y="71"/>
                  </a:lnTo>
                  <a:lnTo>
                    <a:pt x="72" y="89"/>
                  </a:lnTo>
                  <a:lnTo>
                    <a:pt x="51" y="114"/>
                  </a:lnTo>
                  <a:lnTo>
                    <a:pt x="36" y="142"/>
                  </a:lnTo>
                  <a:lnTo>
                    <a:pt x="26" y="171"/>
                  </a:lnTo>
                  <a:lnTo>
                    <a:pt x="23" y="201"/>
                  </a:lnTo>
                  <a:lnTo>
                    <a:pt x="25" y="228"/>
                  </a:lnTo>
                  <a:lnTo>
                    <a:pt x="30" y="252"/>
                  </a:lnTo>
                  <a:lnTo>
                    <a:pt x="39" y="272"/>
                  </a:lnTo>
                  <a:lnTo>
                    <a:pt x="50" y="289"/>
                  </a:lnTo>
                  <a:lnTo>
                    <a:pt x="64" y="305"/>
                  </a:lnTo>
                  <a:lnTo>
                    <a:pt x="89" y="322"/>
                  </a:lnTo>
                  <a:lnTo>
                    <a:pt x="120" y="336"/>
                  </a:lnTo>
                  <a:lnTo>
                    <a:pt x="156" y="348"/>
                  </a:lnTo>
                  <a:lnTo>
                    <a:pt x="200" y="361"/>
                  </a:lnTo>
                  <a:lnTo>
                    <a:pt x="200" y="521"/>
                  </a:lnTo>
                  <a:lnTo>
                    <a:pt x="164" y="512"/>
                  </a:lnTo>
                  <a:lnTo>
                    <a:pt x="128" y="497"/>
                  </a:lnTo>
                  <a:lnTo>
                    <a:pt x="92" y="476"/>
                  </a:lnTo>
                  <a:lnTo>
                    <a:pt x="55" y="450"/>
                  </a:lnTo>
                  <a:lnTo>
                    <a:pt x="0" y="521"/>
                  </a:lnTo>
                  <a:lnTo>
                    <a:pt x="34" y="547"/>
                  </a:lnTo>
                  <a:lnTo>
                    <a:pt x="73" y="571"/>
                  </a:lnTo>
                  <a:lnTo>
                    <a:pt x="114" y="588"/>
                  </a:lnTo>
                  <a:lnTo>
                    <a:pt x="157" y="601"/>
                  </a:lnTo>
                  <a:lnTo>
                    <a:pt x="200" y="609"/>
                  </a:lnTo>
                  <a:lnTo>
                    <a:pt x="200" y="665"/>
                  </a:lnTo>
                  <a:lnTo>
                    <a:pt x="248" y="665"/>
                  </a:lnTo>
                  <a:lnTo>
                    <a:pt x="248" y="673"/>
                  </a:lnTo>
                  <a:close/>
                  <a:moveTo>
                    <a:pt x="248" y="386"/>
                  </a:moveTo>
                  <a:lnTo>
                    <a:pt x="270" y="393"/>
                  </a:lnTo>
                  <a:lnTo>
                    <a:pt x="288" y="401"/>
                  </a:lnTo>
                  <a:lnTo>
                    <a:pt x="302" y="410"/>
                  </a:lnTo>
                  <a:lnTo>
                    <a:pt x="312" y="417"/>
                  </a:lnTo>
                  <a:lnTo>
                    <a:pt x="318" y="424"/>
                  </a:lnTo>
                  <a:lnTo>
                    <a:pt x="322" y="434"/>
                  </a:lnTo>
                  <a:lnTo>
                    <a:pt x="326" y="448"/>
                  </a:lnTo>
                  <a:lnTo>
                    <a:pt x="328" y="465"/>
                  </a:lnTo>
                  <a:lnTo>
                    <a:pt x="325" y="481"/>
                  </a:lnTo>
                  <a:lnTo>
                    <a:pt x="316" y="497"/>
                  </a:lnTo>
                  <a:lnTo>
                    <a:pt x="304" y="514"/>
                  </a:lnTo>
                  <a:lnTo>
                    <a:pt x="291" y="524"/>
                  </a:lnTo>
                  <a:lnTo>
                    <a:pt x="278" y="531"/>
                  </a:lnTo>
                  <a:lnTo>
                    <a:pt x="261" y="536"/>
                  </a:lnTo>
                  <a:lnTo>
                    <a:pt x="240" y="537"/>
                  </a:lnTo>
                  <a:lnTo>
                    <a:pt x="240" y="386"/>
                  </a:lnTo>
                  <a:lnTo>
                    <a:pt x="248" y="386"/>
                  </a:lnTo>
                  <a:close/>
                  <a:moveTo>
                    <a:pt x="136" y="241"/>
                  </a:moveTo>
                  <a:lnTo>
                    <a:pt x="128" y="231"/>
                  </a:lnTo>
                  <a:lnTo>
                    <a:pt x="122" y="217"/>
                  </a:lnTo>
                  <a:lnTo>
                    <a:pt x="120" y="201"/>
                  </a:lnTo>
                  <a:lnTo>
                    <a:pt x="122" y="185"/>
                  </a:lnTo>
                  <a:lnTo>
                    <a:pt x="130" y="169"/>
                  </a:lnTo>
                  <a:lnTo>
                    <a:pt x="143" y="153"/>
                  </a:lnTo>
                  <a:lnTo>
                    <a:pt x="156" y="144"/>
                  </a:lnTo>
                  <a:lnTo>
                    <a:pt x="168" y="138"/>
                  </a:lnTo>
                  <a:lnTo>
                    <a:pt x="182" y="134"/>
                  </a:lnTo>
                  <a:lnTo>
                    <a:pt x="200" y="130"/>
                  </a:lnTo>
                  <a:lnTo>
                    <a:pt x="200" y="273"/>
                  </a:lnTo>
                  <a:lnTo>
                    <a:pt x="177" y="262"/>
                  </a:lnTo>
                  <a:lnTo>
                    <a:pt x="158" y="254"/>
                  </a:lnTo>
                  <a:lnTo>
                    <a:pt x="144" y="247"/>
                  </a:lnTo>
                  <a:lnTo>
                    <a:pt x="136" y="24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15"/>
            <p:cNvSpPr>
              <a:spLocks noEditPoints="1"/>
            </p:cNvSpPr>
            <p:nvPr/>
          </p:nvSpPr>
          <p:spPr bwMode="auto">
            <a:xfrm>
              <a:off x="-475" y="2441"/>
              <a:ext cx="73" cy="111"/>
            </a:xfrm>
            <a:custGeom>
              <a:avLst/>
              <a:gdLst>
                <a:gd name="T0" fmla="*/ 200 w 440"/>
                <a:gd name="T1" fmla="*/ 39 h 664"/>
                <a:gd name="T2" fmla="*/ 140 w 440"/>
                <a:gd name="T3" fmla="*/ 48 h 664"/>
                <a:gd name="T4" fmla="*/ 92 w 440"/>
                <a:gd name="T5" fmla="*/ 71 h 664"/>
                <a:gd name="T6" fmla="*/ 51 w 440"/>
                <a:gd name="T7" fmla="*/ 114 h 664"/>
                <a:gd name="T8" fmla="*/ 27 w 440"/>
                <a:gd name="T9" fmla="*/ 170 h 664"/>
                <a:gd name="T10" fmla="*/ 25 w 440"/>
                <a:gd name="T11" fmla="*/ 227 h 664"/>
                <a:gd name="T12" fmla="*/ 39 w 440"/>
                <a:gd name="T13" fmla="*/ 271 h 664"/>
                <a:gd name="T14" fmla="*/ 64 w 440"/>
                <a:gd name="T15" fmla="*/ 304 h 664"/>
                <a:gd name="T16" fmla="*/ 120 w 440"/>
                <a:gd name="T17" fmla="*/ 335 h 664"/>
                <a:gd name="T18" fmla="*/ 200 w 440"/>
                <a:gd name="T19" fmla="*/ 359 h 664"/>
                <a:gd name="T20" fmla="*/ 164 w 440"/>
                <a:gd name="T21" fmla="*/ 511 h 664"/>
                <a:gd name="T22" fmla="*/ 92 w 440"/>
                <a:gd name="T23" fmla="*/ 475 h 664"/>
                <a:gd name="T24" fmla="*/ 0 w 440"/>
                <a:gd name="T25" fmla="*/ 520 h 664"/>
                <a:gd name="T26" fmla="*/ 74 w 440"/>
                <a:gd name="T27" fmla="*/ 569 h 664"/>
                <a:gd name="T28" fmla="*/ 157 w 440"/>
                <a:gd name="T29" fmla="*/ 600 h 664"/>
                <a:gd name="T30" fmla="*/ 200 w 440"/>
                <a:gd name="T31" fmla="*/ 664 h 664"/>
                <a:gd name="T32" fmla="*/ 256 w 440"/>
                <a:gd name="T33" fmla="*/ 608 h 664"/>
                <a:gd name="T34" fmla="*/ 319 w 440"/>
                <a:gd name="T35" fmla="*/ 600 h 664"/>
                <a:gd name="T36" fmla="*/ 371 w 440"/>
                <a:gd name="T37" fmla="*/ 577 h 664"/>
                <a:gd name="T38" fmla="*/ 413 w 440"/>
                <a:gd name="T39" fmla="*/ 534 h 664"/>
                <a:gd name="T40" fmla="*/ 438 w 440"/>
                <a:gd name="T41" fmla="*/ 475 h 664"/>
                <a:gd name="T42" fmla="*/ 439 w 440"/>
                <a:gd name="T43" fmla="*/ 413 h 664"/>
                <a:gd name="T44" fmla="*/ 423 w 440"/>
                <a:gd name="T45" fmla="*/ 368 h 664"/>
                <a:gd name="T46" fmla="*/ 392 w 440"/>
                <a:gd name="T47" fmla="*/ 328 h 664"/>
                <a:gd name="T48" fmla="*/ 358 w 440"/>
                <a:gd name="T49" fmla="*/ 305 h 664"/>
                <a:gd name="T50" fmla="*/ 313 w 440"/>
                <a:gd name="T51" fmla="*/ 285 h 664"/>
                <a:gd name="T52" fmla="*/ 256 w 440"/>
                <a:gd name="T53" fmla="*/ 272 h 664"/>
                <a:gd name="T54" fmla="*/ 296 w 440"/>
                <a:gd name="T55" fmla="*/ 130 h 664"/>
                <a:gd name="T56" fmla="*/ 376 w 440"/>
                <a:gd name="T57" fmla="*/ 169 h 664"/>
                <a:gd name="T58" fmla="*/ 374 w 440"/>
                <a:gd name="T59" fmla="*/ 78 h 664"/>
                <a:gd name="T60" fmla="*/ 290 w 440"/>
                <a:gd name="T61" fmla="*/ 48 h 664"/>
                <a:gd name="T62" fmla="*/ 248 w 440"/>
                <a:gd name="T63" fmla="*/ 0 h 664"/>
                <a:gd name="T64" fmla="*/ 200 w 440"/>
                <a:gd name="T65" fmla="*/ 272 h 664"/>
                <a:gd name="T66" fmla="*/ 162 w 440"/>
                <a:gd name="T67" fmla="*/ 259 h 664"/>
                <a:gd name="T68" fmla="*/ 136 w 440"/>
                <a:gd name="T69" fmla="*/ 240 h 664"/>
                <a:gd name="T70" fmla="*/ 122 w 440"/>
                <a:gd name="T71" fmla="*/ 215 h 664"/>
                <a:gd name="T72" fmla="*/ 122 w 440"/>
                <a:gd name="T73" fmla="*/ 184 h 664"/>
                <a:gd name="T74" fmla="*/ 144 w 440"/>
                <a:gd name="T75" fmla="*/ 152 h 664"/>
                <a:gd name="T76" fmla="*/ 169 w 440"/>
                <a:gd name="T77" fmla="*/ 137 h 664"/>
                <a:gd name="T78" fmla="*/ 200 w 440"/>
                <a:gd name="T79" fmla="*/ 128 h 664"/>
                <a:gd name="T80" fmla="*/ 312 w 440"/>
                <a:gd name="T81" fmla="*/ 416 h 664"/>
                <a:gd name="T82" fmla="*/ 324 w 440"/>
                <a:gd name="T83" fmla="*/ 434 h 664"/>
                <a:gd name="T84" fmla="*/ 328 w 440"/>
                <a:gd name="T85" fmla="*/ 464 h 664"/>
                <a:gd name="T86" fmla="*/ 318 w 440"/>
                <a:gd name="T87" fmla="*/ 496 h 664"/>
                <a:gd name="T88" fmla="*/ 292 w 440"/>
                <a:gd name="T89" fmla="*/ 522 h 664"/>
                <a:gd name="T90" fmla="*/ 262 w 440"/>
                <a:gd name="T91" fmla="*/ 534 h 664"/>
                <a:gd name="T92" fmla="*/ 240 w 440"/>
                <a:gd name="T93" fmla="*/ 392 h 664"/>
                <a:gd name="T94" fmla="*/ 289 w 440"/>
                <a:gd name="T95" fmla="*/ 404 h 664"/>
                <a:gd name="T96" fmla="*/ 312 w 440"/>
                <a:gd name="T97" fmla="*/ 41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40" h="664">
                  <a:moveTo>
                    <a:pt x="200" y="0"/>
                  </a:moveTo>
                  <a:lnTo>
                    <a:pt x="200" y="39"/>
                  </a:lnTo>
                  <a:lnTo>
                    <a:pt x="169" y="42"/>
                  </a:lnTo>
                  <a:lnTo>
                    <a:pt x="140" y="48"/>
                  </a:lnTo>
                  <a:lnTo>
                    <a:pt x="115" y="57"/>
                  </a:lnTo>
                  <a:lnTo>
                    <a:pt x="92" y="71"/>
                  </a:lnTo>
                  <a:lnTo>
                    <a:pt x="72" y="88"/>
                  </a:lnTo>
                  <a:lnTo>
                    <a:pt x="51" y="114"/>
                  </a:lnTo>
                  <a:lnTo>
                    <a:pt x="36" y="141"/>
                  </a:lnTo>
                  <a:lnTo>
                    <a:pt x="27" y="170"/>
                  </a:lnTo>
                  <a:lnTo>
                    <a:pt x="24" y="200"/>
                  </a:lnTo>
                  <a:lnTo>
                    <a:pt x="25" y="227"/>
                  </a:lnTo>
                  <a:lnTo>
                    <a:pt x="31" y="250"/>
                  </a:lnTo>
                  <a:lnTo>
                    <a:pt x="39" y="271"/>
                  </a:lnTo>
                  <a:lnTo>
                    <a:pt x="51" y="288"/>
                  </a:lnTo>
                  <a:lnTo>
                    <a:pt x="64" y="304"/>
                  </a:lnTo>
                  <a:lnTo>
                    <a:pt x="90" y="321"/>
                  </a:lnTo>
                  <a:lnTo>
                    <a:pt x="120" y="335"/>
                  </a:lnTo>
                  <a:lnTo>
                    <a:pt x="156" y="348"/>
                  </a:lnTo>
                  <a:lnTo>
                    <a:pt x="200" y="359"/>
                  </a:lnTo>
                  <a:lnTo>
                    <a:pt x="200" y="520"/>
                  </a:lnTo>
                  <a:lnTo>
                    <a:pt x="164" y="511"/>
                  </a:lnTo>
                  <a:lnTo>
                    <a:pt x="128" y="496"/>
                  </a:lnTo>
                  <a:lnTo>
                    <a:pt x="92" y="475"/>
                  </a:lnTo>
                  <a:lnTo>
                    <a:pt x="56" y="448"/>
                  </a:lnTo>
                  <a:lnTo>
                    <a:pt x="0" y="520"/>
                  </a:lnTo>
                  <a:lnTo>
                    <a:pt x="35" y="547"/>
                  </a:lnTo>
                  <a:lnTo>
                    <a:pt x="74" y="569"/>
                  </a:lnTo>
                  <a:lnTo>
                    <a:pt x="115" y="587"/>
                  </a:lnTo>
                  <a:lnTo>
                    <a:pt x="157" y="600"/>
                  </a:lnTo>
                  <a:lnTo>
                    <a:pt x="200" y="608"/>
                  </a:lnTo>
                  <a:lnTo>
                    <a:pt x="200" y="664"/>
                  </a:lnTo>
                  <a:lnTo>
                    <a:pt x="256" y="664"/>
                  </a:lnTo>
                  <a:lnTo>
                    <a:pt x="256" y="608"/>
                  </a:lnTo>
                  <a:lnTo>
                    <a:pt x="289" y="606"/>
                  </a:lnTo>
                  <a:lnTo>
                    <a:pt x="319" y="600"/>
                  </a:lnTo>
                  <a:lnTo>
                    <a:pt x="347" y="591"/>
                  </a:lnTo>
                  <a:lnTo>
                    <a:pt x="371" y="577"/>
                  </a:lnTo>
                  <a:lnTo>
                    <a:pt x="392" y="560"/>
                  </a:lnTo>
                  <a:lnTo>
                    <a:pt x="413" y="534"/>
                  </a:lnTo>
                  <a:lnTo>
                    <a:pt x="429" y="506"/>
                  </a:lnTo>
                  <a:lnTo>
                    <a:pt x="438" y="475"/>
                  </a:lnTo>
                  <a:lnTo>
                    <a:pt x="440" y="440"/>
                  </a:lnTo>
                  <a:lnTo>
                    <a:pt x="439" y="413"/>
                  </a:lnTo>
                  <a:lnTo>
                    <a:pt x="433" y="389"/>
                  </a:lnTo>
                  <a:lnTo>
                    <a:pt x="423" y="368"/>
                  </a:lnTo>
                  <a:lnTo>
                    <a:pt x="410" y="348"/>
                  </a:lnTo>
                  <a:lnTo>
                    <a:pt x="392" y="328"/>
                  </a:lnTo>
                  <a:lnTo>
                    <a:pt x="376" y="316"/>
                  </a:lnTo>
                  <a:lnTo>
                    <a:pt x="358" y="305"/>
                  </a:lnTo>
                  <a:lnTo>
                    <a:pt x="337" y="294"/>
                  </a:lnTo>
                  <a:lnTo>
                    <a:pt x="313" y="285"/>
                  </a:lnTo>
                  <a:lnTo>
                    <a:pt x="286" y="277"/>
                  </a:lnTo>
                  <a:lnTo>
                    <a:pt x="256" y="272"/>
                  </a:lnTo>
                  <a:lnTo>
                    <a:pt x="256" y="120"/>
                  </a:lnTo>
                  <a:lnTo>
                    <a:pt x="296" y="130"/>
                  </a:lnTo>
                  <a:lnTo>
                    <a:pt x="337" y="146"/>
                  </a:lnTo>
                  <a:lnTo>
                    <a:pt x="376" y="169"/>
                  </a:lnTo>
                  <a:lnTo>
                    <a:pt x="417" y="103"/>
                  </a:lnTo>
                  <a:lnTo>
                    <a:pt x="374" y="78"/>
                  </a:lnTo>
                  <a:lnTo>
                    <a:pt x="332" y="60"/>
                  </a:lnTo>
                  <a:lnTo>
                    <a:pt x="290" y="48"/>
                  </a:lnTo>
                  <a:lnTo>
                    <a:pt x="248" y="39"/>
                  </a:lnTo>
                  <a:lnTo>
                    <a:pt x="248" y="0"/>
                  </a:lnTo>
                  <a:lnTo>
                    <a:pt x="200" y="0"/>
                  </a:lnTo>
                  <a:close/>
                  <a:moveTo>
                    <a:pt x="200" y="272"/>
                  </a:moveTo>
                  <a:lnTo>
                    <a:pt x="179" y="266"/>
                  </a:lnTo>
                  <a:lnTo>
                    <a:pt x="162" y="259"/>
                  </a:lnTo>
                  <a:lnTo>
                    <a:pt x="148" y="251"/>
                  </a:lnTo>
                  <a:lnTo>
                    <a:pt x="136" y="240"/>
                  </a:lnTo>
                  <a:lnTo>
                    <a:pt x="128" y="229"/>
                  </a:lnTo>
                  <a:lnTo>
                    <a:pt x="122" y="215"/>
                  </a:lnTo>
                  <a:lnTo>
                    <a:pt x="120" y="200"/>
                  </a:lnTo>
                  <a:lnTo>
                    <a:pt x="122" y="184"/>
                  </a:lnTo>
                  <a:lnTo>
                    <a:pt x="130" y="169"/>
                  </a:lnTo>
                  <a:lnTo>
                    <a:pt x="144" y="152"/>
                  </a:lnTo>
                  <a:lnTo>
                    <a:pt x="156" y="143"/>
                  </a:lnTo>
                  <a:lnTo>
                    <a:pt x="169" y="137"/>
                  </a:lnTo>
                  <a:lnTo>
                    <a:pt x="184" y="133"/>
                  </a:lnTo>
                  <a:lnTo>
                    <a:pt x="200" y="128"/>
                  </a:lnTo>
                  <a:lnTo>
                    <a:pt x="200" y="272"/>
                  </a:lnTo>
                  <a:close/>
                  <a:moveTo>
                    <a:pt x="312" y="416"/>
                  </a:moveTo>
                  <a:lnTo>
                    <a:pt x="318" y="423"/>
                  </a:lnTo>
                  <a:lnTo>
                    <a:pt x="324" y="434"/>
                  </a:lnTo>
                  <a:lnTo>
                    <a:pt x="327" y="448"/>
                  </a:lnTo>
                  <a:lnTo>
                    <a:pt x="328" y="464"/>
                  </a:lnTo>
                  <a:lnTo>
                    <a:pt x="326" y="480"/>
                  </a:lnTo>
                  <a:lnTo>
                    <a:pt x="318" y="496"/>
                  </a:lnTo>
                  <a:lnTo>
                    <a:pt x="304" y="512"/>
                  </a:lnTo>
                  <a:lnTo>
                    <a:pt x="292" y="522"/>
                  </a:lnTo>
                  <a:lnTo>
                    <a:pt x="278" y="530"/>
                  </a:lnTo>
                  <a:lnTo>
                    <a:pt x="262" y="534"/>
                  </a:lnTo>
                  <a:lnTo>
                    <a:pt x="240" y="536"/>
                  </a:lnTo>
                  <a:lnTo>
                    <a:pt x="240" y="392"/>
                  </a:lnTo>
                  <a:lnTo>
                    <a:pt x="268" y="398"/>
                  </a:lnTo>
                  <a:lnTo>
                    <a:pt x="289" y="404"/>
                  </a:lnTo>
                  <a:lnTo>
                    <a:pt x="303" y="409"/>
                  </a:lnTo>
                  <a:lnTo>
                    <a:pt x="312" y="41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3" name="Group 52"/>
          <p:cNvGrpSpPr>
            <a:grpSpLocks noChangeAspect="1"/>
          </p:cNvGrpSpPr>
          <p:nvPr/>
        </p:nvGrpSpPr>
        <p:grpSpPr bwMode="auto">
          <a:xfrm>
            <a:off x="965373" y="3569563"/>
            <a:ext cx="454315" cy="499855"/>
            <a:chOff x="-576" y="3243"/>
            <a:chExt cx="419" cy="461"/>
          </a:xfrm>
          <a:solidFill>
            <a:schemeClr val="bg1"/>
          </a:solidFill>
        </p:grpSpPr>
        <p:sp>
          <p:nvSpPr>
            <p:cNvPr id="54" name="Freeform 6"/>
            <p:cNvSpPr>
              <a:spLocks noEditPoints="1"/>
            </p:cNvSpPr>
            <p:nvPr/>
          </p:nvSpPr>
          <p:spPr bwMode="auto">
            <a:xfrm>
              <a:off x="-365" y="3496"/>
              <a:ext cx="208" cy="208"/>
            </a:xfrm>
            <a:custGeom>
              <a:avLst/>
              <a:gdLst>
                <a:gd name="T0" fmla="*/ 732 w 1672"/>
                <a:gd name="T1" fmla="*/ 934 h 1666"/>
                <a:gd name="T2" fmla="*/ 238 w 1672"/>
                <a:gd name="T3" fmla="*/ 797 h 1666"/>
                <a:gd name="T4" fmla="*/ 1380 w 1672"/>
                <a:gd name="T5" fmla="*/ 642 h 1666"/>
                <a:gd name="T6" fmla="*/ 836 w 1672"/>
                <a:gd name="T7" fmla="*/ 0 h 1666"/>
                <a:gd name="T8" fmla="*/ 986 w 1672"/>
                <a:gd name="T9" fmla="*/ 13 h 1666"/>
                <a:gd name="T10" fmla="*/ 1127 w 1672"/>
                <a:gd name="T11" fmla="*/ 51 h 1666"/>
                <a:gd name="T12" fmla="*/ 1257 w 1672"/>
                <a:gd name="T13" fmla="*/ 114 h 1666"/>
                <a:gd name="T14" fmla="*/ 1374 w 1672"/>
                <a:gd name="T15" fmla="*/ 195 h 1666"/>
                <a:gd name="T16" fmla="*/ 1474 w 1672"/>
                <a:gd name="T17" fmla="*/ 296 h 1666"/>
                <a:gd name="T18" fmla="*/ 1557 w 1672"/>
                <a:gd name="T19" fmla="*/ 412 h 1666"/>
                <a:gd name="T20" fmla="*/ 1619 w 1672"/>
                <a:gd name="T21" fmla="*/ 542 h 1666"/>
                <a:gd name="T22" fmla="*/ 1658 w 1672"/>
                <a:gd name="T23" fmla="*/ 683 h 1666"/>
                <a:gd name="T24" fmla="*/ 1672 w 1672"/>
                <a:gd name="T25" fmla="*/ 832 h 1666"/>
                <a:gd name="T26" fmla="*/ 1658 w 1672"/>
                <a:gd name="T27" fmla="*/ 982 h 1666"/>
                <a:gd name="T28" fmla="*/ 1619 w 1672"/>
                <a:gd name="T29" fmla="*/ 1123 h 1666"/>
                <a:gd name="T30" fmla="*/ 1557 w 1672"/>
                <a:gd name="T31" fmla="*/ 1252 h 1666"/>
                <a:gd name="T32" fmla="*/ 1474 w 1672"/>
                <a:gd name="T33" fmla="*/ 1369 h 1666"/>
                <a:gd name="T34" fmla="*/ 1374 w 1672"/>
                <a:gd name="T35" fmla="*/ 1469 h 1666"/>
                <a:gd name="T36" fmla="*/ 1257 w 1672"/>
                <a:gd name="T37" fmla="*/ 1552 h 1666"/>
                <a:gd name="T38" fmla="*/ 1127 w 1672"/>
                <a:gd name="T39" fmla="*/ 1613 h 1666"/>
                <a:gd name="T40" fmla="*/ 986 w 1672"/>
                <a:gd name="T41" fmla="*/ 1653 h 1666"/>
                <a:gd name="T42" fmla="*/ 836 w 1672"/>
                <a:gd name="T43" fmla="*/ 1666 h 1666"/>
                <a:gd name="T44" fmla="*/ 686 w 1672"/>
                <a:gd name="T45" fmla="*/ 1653 h 1666"/>
                <a:gd name="T46" fmla="*/ 545 w 1672"/>
                <a:gd name="T47" fmla="*/ 1613 h 1666"/>
                <a:gd name="T48" fmla="*/ 415 w 1672"/>
                <a:gd name="T49" fmla="*/ 1552 h 1666"/>
                <a:gd name="T50" fmla="*/ 298 w 1672"/>
                <a:gd name="T51" fmla="*/ 1469 h 1666"/>
                <a:gd name="T52" fmla="*/ 198 w 1672"/>
                <a:gd name="T53" fmla="*/ 1369 h 1666"/>
                <a:gd name="T54" fmla="*/ 115 w 1672"/>
                <a:gd name="T55" fmla="*/ 1252 h 1666"/>
                <a:gd name="T56" fmla="*/ 53 w 1672"/>
                <a:gd name="T57" fmla="*/ 1123 h 1666"/>
                <a:gd name="T58" fmla="*/ 14 w 1672"/>
                <a:gd name="T59" fmla="*/ 982 h 1666"/>
                <a:gd name="T60" fmla="*/ 0 w 1672"/>
                <a:gd name="T61" fmla="*/ 832 h 1666"/>
                <a:gd name="T62" fmla="*/ 14 w 1672"/>
                <a:gd name="T63" fmla="*/ 683 h 1666"/>
                <a:gd name="T64" fmla="*/ 53 w 1672"/>
                <a:gd name="T65" fmla="*/ 542 h 1666"/>
                <a:gd name="T66" fmla="*/ 115 w 1672"/>
                <a:gd name="T67" fmla="*/ 412 h 1666"/>
                <a:gd name="T68" fmla="*/ 198 w 1672"/>
                <a:gd name="T69" fmla="*/ 296 h 1666"/>
                <a:gd name="T70" fmla="*/ 298 w 1672"/>
                <a:gd name="T71" fmla="*/ 195 h 1666"/>
                <a:gd name="T72" fmla="*/ 415 w 1672"/>
                <a:gd name="T73" fmla="*/ 114 h 1666"/>
                <a:gd name="T74" fmla="*/ 545 w 1672"/>
                <a:gd name="T75" fmla="*/ 51 h 1666"/>
                <a:gd name="T76" fmla="*/ 686 w 1672"/>
                <a:gd name="T77" fmla="*/ 13 h 1666"/>
                <a:gd name="T78" fmla="*/ 836 w 1672"/>
                <a:gd name="T79" fmla="*/ 0 h 1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72" h="1666">
                  <a:moveTo>
                    <a:pt x="1202" y="465"/>
                  </a:moveTo>
                  <a:lnTo>
                    <a:pt x="732" y="934"/>
                  </a:lnTo>
                  <a:lnTo>
                    <a:pt x="416" y="619"/>
                  </a:lnTo>
                  <a:lnTo>
                    <a:pt x="238" y="797"/>
                  </a:lnTo>
                  <a:lnTo>
                    <a:pt x="732" y="1289"/>
                  </a:lnTo>
                  <a:lnTo>
                    <a:pt x="1380" y="642"/>
                  </a:lnTo>
                  <a:lnTo>
                    <a:pt x="1202" y="465"/>
                  </a:lnTo>
                  <a:close/>
                  <a:moveTo>
                    <a:pt x="836" y="0"/>
                  </a:moveTo>
                  <a:lnTo>
                    <a:pt x="912" y="3"/>
                  </a:lnTo>
                  <a:lnTo>
                    <a:pt x="986" y="13"/>
                  </a:lnTo>
                  <a:lnTo>
                    <a:pt x="1058" y="29"/>
                  </a:lnTo>
                  <a:lnTo>
                    <a:pt x="1127" y="51"/>
                  </a:lnTo>
                  <a:lnTo>
                    <a:pt x="1193" y="79"/>
                  </a:lnTo>
                  <a:lnTo>
                    <a:pt x="1257" y="114"/>
                  </a:lnTo>
                  <a:lnTo>
                    <a:pt x="1318" y="152"/>
                  </a:lnTo>
                  <a:lnTo>
                    <a:pt x="1374" y="195"/>
                  </a:lnTo>
                  <a:lnTo>
                    <a:pt x="1426" y="243"/>
                  </a:lnTo>
                  <a:lnTo>
                    <a:pt x="1474" y="296"/>
                  </a:lnTo>
                  <a:lnTo>
                    <a:pt x="1518" y="353"/>
                  </a:lnTo>
                  <a:lnTo>
                    <a:pt x="1557" y="412"/>
                  </a:lnTo>
                  <a:lnTo>
                    <a:pt x="1591" y="476"/>
                  </a:lnTo>
                  <a:lnTo>
                    <a:pt x="1619" y="542"/>
                  </a:lnTo>
                  <a:lnTo>
                    <a:pt x="1641" y="611"/>
                  </a:lnTo>
                  <a:lnTo>
                    <a:pt x="1658" y="683"/>
                  </a:lnTo>
                  <a:lnTo>
                    <a:pt x="1668" y="757"/>
                  </a:lnTo>
                  <a:lnTo>
                    <a:pt x="1672" y="832"/>
                  </a:lnTo>
                  <a:lnTo>
                    <a:pt x="1668" y="908"/>
                  </a:lnTo>
                  <a:lnTo>
                    <a:pt x="1658" y="982"/>
                  </a:lnTo>
                  <a:lnTo>
                    <a:pt x="1641" y="1054"/>
                  </a:lnTo>
                  <a:lnTo>
                    <a:pt x="1619" y="1123"/>
                  </a:lnTo>
                  <a:lnTo>
                    <a:pt x="1591" y="1190"/>
                  </a:lnTo>
                  <a:lnTo>
                    <a:pt x="1557" y="1252"/>
                  </a:lnTo>
                  <a:lnTo>
                    <a:pt x="1518" y="1313"/>
                  </a:lnTo>
                  <a:lnTo>
                    <a:pt x="1474" y="1369"/>
                  </a:lnTo>
                  <a:lnTo>
                    <a:pt x="1426" y="1421"/>
                  </a:lnTo>
                  <a:lnTo>
                    <a:pt x="1374" y="1469"/>
                  </a:lnTo>
                  <a:lnTo>
                    <a:pt x="1318" y="1513"/>
                  </a:lnTo>
                  <a:lnTo>
                    <a:pt x="1257" y="1552"/>
                  </a:lnTo>
                  <a:lnTo>
                    <a:pt x="1193" y="1586"/>
                  </a:lnTo>
                  <a:lnTo>
                    <a:pt x="1127" y="1613"/>
                  </a:lnTo>
                  <a:lnTo>
                    <a:pt x="1058" y="1636"/>
                  </a:lnTo>
                  <a:lnTo>
                    <a:pt x="986" y="1653"/>
                  </a:lnTo>
                  <a:lnTo>
                    <a:pt x="912" y="1663"/>
                  </a:lnTo>
                  <a:lnTo>
                    <a:pt x="836" y="1666"/>
                  </a:lnTo>
                  <a:lnTo>
                    <a:pt x="760" y="1663"/>
                  </a:lnTo>
                  <a:lnTo>
                    <a:pt x="686" y="1653"/>
                  </a:lnTo>
                  <a:lnTo>
                    <a:pt x="614" y="1636"/>
                  </a:lnTo>
                  <a:lnTo>
                    <a:pt x="545" y="1613"/>
                  </a:lnTo>
                  <a:lnTo>
                    <a:pt x="479" y="1586"/>
                  </a:lnTo>
                  <a:lnTo>
                    <a:pt x="415" y="1552"/>
                  </a:lnTo>
                  <a:lnTo>
                    <a:pt x="354" y="1513"/>
                  </a:lnTo>
                  <a:lnTo>
                    <a:pt x="298" y="1469"/>
                  </a:lnTo>
                  <a:lnTo>
                    <a:pt x="246" y="1421"/>
                  </a:lnTo>
                  <a:lnTo>
                    <a:pt x="198" y="1369"/>
                  </a:lnTo>
                  <a:lnTo>
                    <a:pt x="154" y="1313"/>
                  </a:lnTo>
                  <a:lnTo>
                    <a:pt x="115" y="1252"/>
                  </a:lnTo>
                  <a:lnTo>
                    <a:pt x="81" y="1190"/>
                  </a:lnTo>
                  <a:lnTo>
                    <a:pt x="53" y="1123"/>
                  </a:lnTo>
                  <a:lnTo>
                    <a:pt x="31" y="1054"/>
                  </a:lnTo>
                  <a:lnTo>
                    <a:pt x="14" y="982"/>
                  </a:lnTo>
                  <a:lnTo>
                    <a:pt x="4" y="908"/>
                  </a:lnTo>
                  <a:lnTo>
                    <a:pt x="0" y="832"/>
                  </a:lnTo>
                  <a:lnTo>
                    <a:pt x="4" y="757"/>
                  </a:lnTo>
                  <a:lnTo>
                    <a:pt x="14" y="683"/>
                  </a:lnTo>
                  <a:lnTo>
                    <a:pt x="31" y="611"/>
                  </a:lnTo>
                  <a:lnTo>
                    <a:pt x="53" y="542"/>
                  </a:lnTo>
                  <a:lnTo>
                    <a:pt x="81" y="476"/>
                  </a:lnTo>
                  <a:lnTo>
                    <a:pt x="115" y="412"/>
                  </a:lnTo>
                  <a:lnTo>
                    <a:pt x="154" y="353"/>
                  </a:lnTo>
                  <a:lnTo>
                    <a:pt x="198" y="296"/>
                  </a:lnTo>
                  <a:lnTo>
                    <a:pt x="246" y="243"/>
                  </a:lnTo>
                  <a:lnTo>
                    <a:pt x="298" y="195"/>
                  </a:lnTo>
                  <a:lnTo>
                    <a:pt x="354" y="152"/>
                  </a:lnTo>
                  <a:lnTo>
                    <a:pt x="415" y="114"/>
                  </a:lnTo>
                  <a:lnTo>
                    <a:pt x="479" y="79"/>
                  </a:lnTo>
                  <a:lnTo>
                    <a:pt x="545" y="51"/>
                  </a:lnTo>
                  <a:lnTo>
                    <a:pt x="614" y="29"/>
                  </a:lnTo>
                  <a:lnTo>
                    <a:pt x="686" y="13"/>
                  </a:lnTo>
                  <a:lnTo>
                    <a:pt x="760" y="3"/>
                  </a:lnTo>
                  <a:lnTo>
                    <a:pt x="83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7"/>
            <p:cNvSpPr>
              <a:spLocks/>
            </p:cNvSpPr>
            <p:nvPr/>
          </p:nvSpPr>
          <p:spPr bwMode="auto">
            <a:xfrm>
              <a:off x="-350" y="3259"/>
              <a:ext cx="73" cy="73"/>
            </a:xfrm>
            <a:custGeom>
              <a:avLst/>
              <a:gdLst>
                <a:gd name="T0" fmla="*/ 0 w 590"/>
                <a:gd name="T1" fmla="*/ 0 h 588"/>
                <a:gd name="T2" fmla="*/ 590 w 590"/>
                <a:gd name="T3" fmla="*/ 588 h 588"/>
                <a:gd name="T4" fmla="*/ 0 w 590"/>
                <a:gd name="T5" fmla="*/ 588 h 588"/>
                <a:gd name="T6" fmla="*/ 0 w 590"/>
                <a:gd name="T7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0" h="588">
                  <a:moveTo>
                    <a:pt x="0" y="0"/>
                  </a:moveTo>
                  <a:lnTo>
                    <a:pt x="590" y="588"/>
                  </a:lnTo>
                  <a:lnTo>
                    <a:pt x="0" y="5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8"/>
            <p:cNvSpPr>
              <a:spLocks noEditPoints="1"/>
            </p:cNvSpPr>
            <p:nvPr/>
          </p:nvSpPr>
          <p:spPr bwMode="auto">
            <a:xfrm>
              <a:off x="-576" y="3243"/>
              <a:ext cx="315" cy="435"/>
            </a:xfrm>
            <a:custGeom>
              <a:avLst/>
              <a:gdLst>
                <a:gd name="T0" fmla="*/ 420 w 2520"/>
                <a:gd name="T1" fmla="*/ 1487 h 3479"/>
                <a:gd name="T2" fmla="*/ 420 w 2520"/>
                <a:gd name="T3" fmla="*/ 1739 h 3479"/>
                <a:gd name="T4" fmla="*/ 2100 w 2520"/>
                <a:gd name="T5" fmla="*/ 1739 h 3479"/>
                <a:gd name="T6" fmla="*/ 2100 w 2520"/>
                <a:gd name="T7" fmla="*/ 1487 h 3479"/>
                <a:gd name="T8" fmla="*/ 420 w 2520"/>
                <a:gd name="T9" fmla="*/ 1487 h 3479"/>
                <a:gd name="T10" fmla="*/ 0 w 2520"/>
                <a:gd name="T11" fmla="*/ 0 h 3479"/>
                <a:gd name="T12" fmla="*/ 1555 w 2520"/>
                <a:gd name="T13" fmla="*/ 0 h 3479"/>
                <a:gd name="T14" fmla="*/ 1555 w 2520"/>
                <a:gd name="T15" fmla="*/ 964 h 3479"/>
                <a:gd name="T16" fmla="*/ 2520 w 2520"/>
                <a:gd name="T17" fmla="*/ 964 h 3479"/>
                <a:gd name="T18" fmla="*/ 2520 w 2520"/>
                <a:gd name="T19" fmla="*/ 1770 h 3479"/>
                <a:gd name="T20" fmla="*/ 2433 w 2520"/>
                <a:gd name="T21" fmla="*/ 1774 h 3479"/>
                <a:gd name="T22" fmla="*/ 2348 w 2520"/>
                <a:gd name="T23" fmla="*/ 1784 h 3479"/>
                <a:gd name="T24" fmla="*/ 2265 w 2520"/>
                <a:gd name="T25" fmla="*/ 1800 h 3479"/>
                <a:gd name="T26" fmla="*/ 2184 w 2520"/>
                <a:gd name="T27" fmla="*/ 1823 h 3479"/>
                <a:gd name="T28" fmla="*/ 2107 w 2520"/>
                <a:gd name="T29" fmla="*/ 1852 h 3479"/>
                <a:gd name="T30" fmla="*/ 2031 w 2520"/>
                <a:gd name="T31" fmla="*/ 1885 h 3479"/>
                <a:gd name="T32" fmla="*/ 1959 w 2520"/>
                <a:gd name="T33" fmla="*/ 1926 h 3479"/>
                <a:gd name="T34" fmla="*/ 1891 w 2520"/>
                <a:gd name="T35" fmla="*/ 1970 h 3479"/>
                <a:gd name="T36" fmla="*/ 1826 w 2520"/>
                <a:gd name="T37" fmla="*/ 2021 h 3479"/>
                <a:gd name="T38" fmla="*/ 1765 w 2520"/>
                <a:gd name="T39" fmla="*/ 2074 h 3479"/>
                <a:gd name="T40" fmla="*/ 420 w 2520"/>
                <a:gd name="T41" fmla="*/ 2074 h 3479"/>
                <a:gd name="T42" fmla="*/ 420 w 2520"/>
                <a:gd name="T43" fmla="*/ 2326 h 3479"/>
                <a:gd name="T44" fmla="*/ 1571 w 2520"/>
                <a:gd name="T45" fmla="*/ 2326 h 3479"/>
                <a:gd name="T46" fmla="*/ 1538 w 2520"/>
                <a:gd name="T47" fmla="*/ 2388 h 3479"/>
                <a:gd name="T48" fmla="*/ 1510 w 2520"/>
                <a:gd name="T49" fmla="*/ 2454 h 3479"/>
                <a:gd name="T50" fmla="*/ 1485 w 2520"/>
                <a:gd name="T51" fmla="*/ 2521 h 3479"/>
                <a:gd name="T52" fmla="*/ 1465 w 2520"/>
                <a:gd name="T53" fmla="*/ 2591 h 3479"/>
                <a:gd name="T54" fmla="*/ 1450 w 2520"/>
                <a:gd name="T55" fmla="*/ 2661 h 3479"/>
                <a:gd name="T56" fmla="*/ 420 w 2520"/>
                <a:gd name="T57" fmla="*/ 2661 h 3479"/>
                <a:gd name="T58" fmla="*/ 420 w 2520"/>
                <a:gd name="T59" fmla="*/ 2912 h 3479"/>
                <a:gd name="T60" fmla="*/ 1435 w 2520"/>
                <a:gd name="T61" fmla="*/ 2912 h 3479"/>
                <a:gd name="T62" fmla="*/ 1441 w 2520"/>
                <a:gd name="T63" fmla="*/ 2991 h 3479"/>
                <a:gd name="T64" fmla="*/ 1454 w 2520"/>
                <a:gd name="T65" fmla="*/ 3067 h 3479"/>
                <a:gd name="T66" fmla="*/ 1472 w 2520"/>
                <a:gd name="T67" fmla="*/ 3142 h 3479"/>
                <a:gd name="T68" fmla="*/ 1494 w 2520"/>
                <a:gd name="T69" fmla="*/ 3214 h 3479"/>
                <a:gd name="T70" fmla="*/ 1522 w 2520"/>
                <a:gd name="T71" fmla="*/ 3283 h 3479"/>
                <a:gd name="T72" fmla="*/ 1553 w 2520"/>
                <a:gd name="T73" fmla="*/ 3352 h 3479"/>
                <a:gd name="T74" fmla="*/ 1590 w 2520"/>
                <a:gd name="T75" fmla="*/ 3416 h 3479"/>
                <a:gd name="T76" fmla="*/ 1631 w 2520"/>
                <a:gd name="T77" fmla="*/ 3479 h 3479"/>
                <a:gd name="T78" fmla="*/ 0 w 2520"/>
                <a:gd name="T79" fmla="*/ 3479 h 3479"/>
                <a:gd name="T80" fmla="*/ 0 w 2520"/>
                <a:gd name="T81" fmla="*/ 0 h 3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520" h="3479">
                  <a:moveTo>
                    <a:pt x="420" y="1487"/>
                  </a:moveTo>
                  <a:lnTo>
                    <a:pt x="420" y="1739"/>
                  </a:lnTo>
                  <a:lnTo>
                    <a:pt x="2100" y="1739"/>
                  </a:lnTo>
                  <a:lnTo>
                    <a:pt x="2100" y="1487"/>
                  </a:lnTo>
                  <a:lnTo>
                    <a:pt x="420" y="1487"/>
                  </a:lnTo>
                  <a:close/>
                  <a:moveTo>
                    <a:pt x="0" y="0"/>
                  </a:moveTo>
                  <a:lnTo>
                    <a:pt x="1555" y="0"/>
                  </a:lnTo>
                  <a:lnTo>
                    <a:pt x="1555" y="964"/>
                  </a:lnTo>
                  <a:lnTo>
                    <a:pt x="2520" y="964"/>
                  </a:lnTo>
                  <a:lnTo>
                    <a:pt x="2520" y="1770"/>
                  </a:lnTo>
                  <a:lnTo>
                    <a:pt x="2433" y="1774"/>
                  </a:lnTo>
                  <a:lnTo>
                    <a:pt x="2348" y="1784"/>
                  </a:lnTo>
                  <a:lnTo>
                    <a:pt x="2265" y="1800"/>
                  </a:lnTo>
                  <a:lnTo>
                    <a:pt x="2184" y="1823"/>
                  </a:lnTo>
                  <a:lnTo>
                    <a:pt x="2107" y="1852"/>
                  </a:lnTo>
                  <a:lnTo>
                    <a:pt x="2031" y="1885"/>
                  </a:lnTo>
                  <a:lnTo>
                    <a:pt x="1959" y="1926"/>
                  </a:lnTo>
                  <a:lnTo>
                    <a:pt x="1891" y="1970"/>
                  </a:lnTo>
                  <a:lnTo>
                    <a:pt x="1826" y="2021"/>
                  </a:lnTo>
                  <a:lnTo>
                    <a:pt x="1765" y="2074"/>
                  </a:lnTo>
                  <a:lnTo>
                    <a:pt x="420" y="2074"/>
                  </a:lnTo>
                  <a:lnTo>
                    <a:pt x="420" y="2326"/>
                  </a:lnTo>
                  <a:lnTo>
                    <a:pt x="1571" y="2326"/>
                  </a:lnTo>
                  <a:lnTo>
                    <a:pt x="1538" y="2388"/>
                  </a:lnTo>
                  <a:lnTo>
                    <a:pt x="1510" y="2454"/>
                  </a:lnTo>
                  <a:lnTo>
                    <a:pt x="1485" y="2521"/>
                  </a:lnTo>
                  <a:lnTo>
                    <a:pt x="1465" y="2591"/>
                  </a:lnTo>
                  <a:lnTo>
                    <a:pt x="1450" y="2661"/>
                  </a:lnTo>
                  <a:lnTo>
                    <a:pt x="420" y="2661"/>
                  </a:lnTo>
                  <a:lnTo>
                    <a:pt x="420" y="2912"/>
                  </a:lnTo>
                  <a:lnTo>
                    <a:pt x="1435" y="2912"/>
                  </a:lnTo>
                  <a:lnTo>
                    <a:pt x="1441" y="2991"/>
                  </a:lnTo>
                  <a:lnTo>
                    <a:pt x="1454" y="3067"/>
                  </a:lnTo>
                  <a:lnTo>
                    <a:pt x="1472" y="3142"/>
                  </a:lnTo>
                  <a:lnTo>
                    <a:pt x="1494" y="3214"/>
                  </a:lnTo>
                  <a:lnTo>
                    <a:pt x="1522" y="3283"/>
                  </a:lnTo>
                  <a:lnTo>
                    <a:pt x="1553" y="3352"/>
                  </a:lnTo>
                  <a:lnTo>
                    <a:pt x="1590" y="3416"/>
                  </a:lnTo>
                  <a:lnTo>
                    <a:pt x="1631" y="3479"/>
                  </a:lnTo>
                  <a:lnTo>
                    <a:pt x="0" y="347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91895356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BACK UP INFORM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17</a:t>
            </a:fld>
            <a:endParaRPr lang="en-US"/>
          </a:p>
        </p:txBody>
      </p:sp>
      <p:sp>
        <p:nvSpPr>
          <p:cNvPr id="3" name="Rectangle 2"/>
          <p:cNvSpPr/>
          <p:nvPr/>
        </p:nvSpPr>
        <p:spPr>
          <a:xfrm>
            <a:off x="1297305" y="1447801"/>
            <a:ext cx="9597390" cy="4724400"/>
          </a:xfrm>
          <a:prstGeom prst="rect">
            <a:avLst/>
          </a:prstGeom>
          <a:solidFill>
            <a:schemeClr val="bg1">
              <a:alpha val="60000"/>
            </a:schemeClr>
          </a:solidFill>
          <a:ln w="6350">
            <a:solidFill>
              <a:srgbClr val="00569B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1602415" y="1615441"/>
            <a:ext cx="8987171" cy="4389120"/>
          </a:xfrm>
          <a:prstGeom prst="rect">
            <a:avLst/>
          </a:prstGeom>
        </p:spPr>
        <p:txBody>
          <a:bodyPr wrap="square" numCol="2">
            <a:spAutoFit/>
          </a:bodyPr>
          <a:lstStyle/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Personal tax returns</a:t>
            </a:r>
          </a:p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Business tax returns</a:t>
            </a:r>
          </a:p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Brokerage Statements</a:t>
            </a:r>
          </a:p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Insurance Schedules</a:t>
            </a:r>
          </a:p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Trust documents</a:t>
            </a:r>
          </a:p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Credit card debt</a:t>
            </a:r>
          </a:p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Other liabilities</a:t>
            </a:r>
          </a:p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Student Loans</a:t>
            </a:r>
          </a:p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Beneficiary Designations</a:t>
            </a:r>
          </a:p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Bank statements</a:t>
            </a:r>
          </a:p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Retirement Account Statements</a:t>
            </a:r>
          </a:p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Independent Appraisers</a:t>
            </a:r>
          </a:p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Mortgage Home Equity</a:t>
            </a:r>
          </a:p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List of other assets</a:t>
            </a:r>
          </a:p>
          <a:p>
            <a:pPr marL="182880" indent="-18288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sz="2400" dirty="0"/>
              <a:t>Deeds to other properti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10108595" y="5211386"/>
            <a:ext cx="640785" cy="812455"/>
            <a:chOff x="4144754" y="4230048"/>
            <a:chExt cx="873396" cy="1107388"/>
          </a:xfrm>
          <a:solidFill>
            <a:srgbClr val="00569B"/>
          </a:solidFill>
        </p:grpSpPr>
        <p:grpSp>
          <p:nvGrpSpPr>
            <p:cNvPr id="7" name="Group 6"/>
            <p:cNvGrpSpPr/>
            <p:nvPr/>
          </p:nvGrpSpPr>
          <p:grpSpPr>
            <a:xfrm>
              <a:off x="4144754" y="4230048"/>
              <a:ext cx="682248" cy="1107388"/>
              <a:chOff x="2112134" y="12479"/>
              <a:chExt cx="4134119" cy="6710293"/>
            </a:xfrm>
            <a:grpFill/>
          </p:grpSpPr>
          <p:sp>
            <p:nvSpPr>
              <p:cNvPr id="15" name="Freeform 14"/>
              <p:cNvSpPr/>
              <p:nvPr/>
            </p:nvSpPr>
            <p:spPr>
              <a:xfrm>
                <a:off x="2112134" y="592428"/>
                <a:ext cx="4134119" cy="6130344"/>
              </a:xfrm>
              <a:custGeom>
                <a:avLst/>
                <a:gdLst>
                  <a:gd name="connsiteX0" fmla="*/ 399245 w 4134119"/>
                  <a:gd name="connsiteY0" fmla="*/ 1146220 h 6130344"/>
                  <a:gd name="connsiteX1" fmla="*/ 399245 w 4134119"/>
                  <a:gd name="connsiteY1" fmla="*/ 5550795 h 6130344"/>
                  <a:gd name="connsiteX2" fmla="*/ 3734873 w 4134119"/>
                  <a:gd name="connsiteY2" fmla="*/ 5550795 h 6130344"/>
                  <a:gd name="connsiteX3" fmla="*/ 3734873 w 4134119"/>
                  <a:gd name="connsiteY3" fmla="*/ 1146220 h 6130344"/>
                  <a:gd name="connsiteX4" fmla="*/ 398446 w 4134119"/>
                  <a:gd name="connsiteY4" fmla="*/ 0 h 6130344"/>
                  <a:gd name="connsiteX5" fmla="*/ 862886 w 4134119"/>
                  <a:gd name="connsiteY5" fmla="*/ 0 h 6130344"/>
                  <a:gd name="connsiteX6" fmla="*/ 862886 w 4134119"/>
                  <a:gd name="connsiteY6" fmla="*/ 257429 h 6130344"/>
                  <a:gd name="connsiteX7" fmla="*/ 1197885 w 4134119"/>
                  <a:gd name="connsiteY7" fmla="*/ 592428 h 6130344"/>
                  <a:gd name="connsiteX8" fmla="*/ 2923357 w 4134119"/>
                  <a:gd name="connsiteY8" fmla="*/ 592428 h 6130344"/>
                  <a:gd name="connsiteX9" fmla="*/ 3258356 w 4134119"/>
                  <a:gd name="connsiteY9" fmla="*/ 257429 h 6130344"/>
                  <a:gd name="connsiteX10" fmla="*/ 3258356 w 4134119"/>
                  <a:gd name="connsiteY10" fmla="*/ 0 h 6130344"/>
                  <a:gd name="connsiteX11" fmla="*/ 3735673 w 4134119"/>
                  <a:gd name="connsiteY11" fmla="*/ 0 h 6130344"/>
                  <a:gd name="connsiteX12" fmla="*/ 4134119 w 4134119"/>
                  <a:gd name="connsiteY12" fmla="*/ 398446 h 6130344"/>
                  <a:gd name="connsiteX13" fmla="*/ 4134119 w 4134119"/>
                  <a:gd name="connsiteY13" fmla="*/ 5731898 h 6130344"/>
                  <a:gd name="connsiteX14" fmla="*/ 3735673 w 4134119"/>
                  <a:gd name="connsiteY14" fmla="*/ 6130344 h 6130344"/>
                  <a:gd name="connsiteX15" fmla="*/ 398446 w 4134119"/>
                  <a:gd name="connsiteY15" fmla="*/ 6130344 h 6130344"/>
                  <a:gd name="connsiteX16" fmla="*/ 0 w 4134119"/>
                  <a:gd name="connsiteY16" fmla="*/ 5731898 h 6130344"/>
                  <a:gd name="connsiteX17" fmla="*/ 0 w 4134119"/>
                  <a:gd name="connsiteY17" fmla="*/ 398446 h 6130344"/>
                  <a:gd name="connsiteX18" fmla="*/ 398446 w 4134119"/>
                  <a:gd name="connsiteY18" fmla="*/ 0 h 6130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134119" h="6130344">
                    <a:moveTo>
                      <a:pt x="399245" y="1146220"/>
                    </a:moveTo>
                    <a:lnTo>
                      <a:pt x="399245" y="5550795"/>
                    </a:lnTo>
                    <a:lnTo>
                      <a:pt x="3734873" y="5550795"/>
                    </a:lnTo>
                    <a:lnTo>
                      <a:pt x="3734873" y="1146220"/>
                    </a:lnTo>
                    <a:close/>
                    <a:moveTo>
                      <a:pt x="398446" y="0"/>
                    </a:moveTo>
                    <a:lnTo>
                      <a:pt x="862886" y="0"/>
                    </a:lnTo>
                    <a:lnTo>
                      <a:pt x="862886" y="257429"/>
                    </a:lnTo>
                    <a:cubicBezTo>
                      <a:pt x="862886" y="442444"/>
                      <a:pt x="1012870" y="592428"/>
                      <a:pt x="1197885" y="592428"/>
                    </a:cubicBezTo>
                    <a:lnTo>
                      <a:pt x="2923357" y="592428"/>
                    </a:lnTo>
                    <a:cubicBezTo>
                      <a:pt x="3108372" y="592428"/>
                      <a:pt x="3258356" y="442444"/>
                      <a:pt x="3258356" y="257429"/>
                    </a:cubicBezTo>
                    <a:lnTo>
                      <a:pt x="3258356" y="0"/>
                    </a:lnTo>
                    <a:lnTo>
                      <a:pt x="3735673" y="0"/>
                    </a:lnTo>
                    <a:cubicBezTo>
                      <a:pt x="3955729" y="0"/>
                      <a:pt x="4134119" y="178390"/>
                      <a:pt x="4134119" y="398446"/>
                    </a:cubicBezTo>
                    <a:lnTo>
                      <a:pt x="4134119" y="5731898"/>
                    </a:lnTo>
                    <a:cubicBezTo>
                      <a:pt x="4134119" y="5951954"/>
                      <a:pt x="3955729" y="6130344"/>
                      <a:pt x="3735673" y="6130344"/>
                    </a:cubicBezTo>
                    <a:lnTo>
                      <a:pt x="398446" y="6130344"/>
                    </a:lnTo>
                    <a:cubicBezTo>
                      <a:pt x="178390" y="6130344"/>
                      <a:pt x="0" y="5951954"/>
                      <a:pt x="0" y="5731898"/>
                    </a:cubicBezTo>
                    <a:lnTo>
                      <a:pt x="0" y="398446"/>
                    </a:lnTo>
                    <a:cubicBezTo>
                      <a:pt x="0" y="178390"/>
                      <a:pt x="178390" y="0"/>
                      <a:pt x="3984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Freeform 15"/>
              <p:cNvSpPr/>
              <p:nvPr/>
            </p:nvSpPr>
            <p:spPr>
              <a:xfrm>
                <a:off x="3181082" y="12479"/>
                <a:ext cx="1996225" cy="1007769"/>
              </a:xfrm>
              <a:custGeom>
                <a:avLst/>
                <a:gdLst>
                  <a:gd name="connsiteX0" fmla="*/ 998111 w 1996225"/>
                  <a:gd name="connsiteY0" fmla="*/ 180304 h 1007769"/>
                  <a:gd name="connsiteX1" fmla="*/ 759853 w 1996225"/>
                  <a:gd name="connsiteY1" fmla="*/ 418562 h 1007769"/>
                  <a:gd name="connsiteX2" fmla="*/ 998111 w 1996225"/>
                  <a:gd name="connsiteY2" fmla="*/ 656820 h 1007769"/>
                  <a:gd name="connsiteX3" fmla="*/ 1236369 w 1996225"/>
                  <a:gd name="connsiteY3" fmla="*/ 418562 h 1007769"/>
                  <a:gd name="connsiteX4" fmla="*/ 998111 w 1996225"/>
                  <a:gd name="connsiteY4" fmla="*/ 180304 h 1007769"/>
                  <a:gd name="connsiteX5" fmla="*/ 998111 w 1996225"/>
                  <a:gd name="connsiteY5" fmla="*/ 0 h 1007769"/>
                  <a:gd name="connsiteX6" fmla="*/ 1408170 w 1996225"/>
                  <a:gd name="connsiteY6" fmla="*/ 334207 h 1007769"/>
                  <a:gd name="connsiteX7" fmla="*/ 1408559 w 1996225"/>
                  <a:gd name="connsiteY7" fmla="*/ 338068 h 1007769"/>
                  <a:gd name="connsiteX8" fmla="*/ 1897484 w 1996225"/>
                  <a:gd name="connsiteY8" fmla="*/ 338068 h 1007769"/>
                  <a:gd name="connsiteX9" fmla="*/ 1996225 w 1996225"/>
                  <a:gd name="connsiteY9" fmla="*/ 436809 h 1007769"/>
                  <a:gd name="connsiteX10" fmla="*/ 1996225 w 1996225"/>
                  <a:gd name="connsiteY10" fmla="*/ 909028 h 1007769"/>
                  <a:gd name="connsiteX11" fmla="*/ 1897484 w 1996225"/>
                  <a:gd name="connsiteY11" fmla="*/ 1007769 h 1007769"/>
                  <a:gd name="connsiteX12" fmla="*/ 98741 w 1996225"/>
                  <a:gd name="connsiteY12" fmla="*/ 1007769 h 1007769"/>
                  <a:gd name="connsiteX13" fmla="*/ 0 w 1996225"/>
                  <a:gd name="connsiteY13" fmla="*/ 909028 h 1007769"/>
                  <a:gd name="connsiteX14" fmla="*/ 0 w 1996225"/>
                  <a:gd name="connsiteY14" fmla="*/ 436809 h 1007769"/>
                  <a:gd name="connsiteX15" fmla="*/ 98741 w 1996225"/>
                  <a:gd name="connsiteY15" fmla="*/ 338068 h 1007769"/>
                  <a:gd name="connsiteX16" fmla="*/ 587664 w 1996225"/>
                  <a:gd name="connsiteY16" fmla="*/ 338068 h 1007769"/>
                  <a:gd name="connsiteX17" fmla="*/ 588053 w 1996225"/>
                  <a:gd name="connsiteY17" fmla="*/ 334207 h 1007769"/>
                  <a:gd name="connsiteX18" fmla="*/ 998111 w 1996225"/>
                  <a:gd name="connsiteY18" fmla="*/ 0 h 1007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96225" h="1007769">
                    <a:moveTo>
                      <a:pt x="998111" y="180304"/>
                    </a:moveTo>
                    <a:cubicBezTo>
                      <a:pt x="866525" y="180304"/>
                      <a:pt x="759853" y="286976"/>
                      <a:pt x="759853" y="418562"/>
                    </a:cubicBezTo>
                    <a:cubicBezTo>
                      <a:pt x="759853" y="550148"/>
                      <a:pt x="866525" y="656820"/>
                      <a:pt x="998111" y="656820"/>
                    </a:cubicBezTo>
                    <a:cubicBezTo>
                      <a:pt x="1129697" y="656820"/>
                      <a:pt x="1236369" y="550148"/>
                      <a:pt x="1236369" y="418562"/>
                    </a:cubicBezTo>
                    <a:cubicBezTo>
                      <a:pt x="1236369" y="286976"/>
                      <a:pt x="1129697" y="180304"/>
                      <a:pt x="998111" y="180304"/>
                    </a:cubicBezTo>
                    <a:close/>
                    <a:moveTo>
                      <a:pt x="998111" y="0"/>
                    </a:moveTo>
                    <a:cubicBezTo>
                      <a:pt x="1200381" y="0"/>
                      <a:pt x="1369140" y="143476"/>
                      <a:pt x="1408170" y="334207"/>
                    </a:cubicBezTo>
                    <a:lnTo>
                      <a:pt x="1408559" y="338068"/>
                    </a:lnTo>
                    <a:lnTo>
                      <a:pt x="1897484" y="338068"/>
                    </a:lnTo>
                    <a:cubicBezTo>
                      <a:pt x="1952017" y="338068"/>
                      <a:pt x="1996225" y="382276"/>
                      <a:pt x="1996225" y="436809"/>
                    </a:cubicBezTo>
                    <a:lnTo>
                      <a:pt x="1996225" y="909028"/>
                    </a:lnTo>
                    <a:cubicBezTo>
                      <a:pt x="1996225" y="963561"/>
                      <a:pt x="1952017" y="1007769"/>
                      <a:pt x="1897484" y="1007769"/>
                    </a:cubicBezTo>
                    <a:lnTo>
                      <a:pt x="98741" y="1007769"/>
                    </a:lnTo>
                    <a:cubicBezTo>
                      <a:pt x="44208" y="1007769"/>
                      <a:pt x="0" y="963561"/>
                      <a:pt x="0" y="909028"/>
                    </a:cubicBezTo>
                    <a:lnTo>
                      <a:pt x="0" y="436809"/>
                    </a:lnTo>
                    <a:cubicBezTo>
                      <a:pt x="0" y="382276"/>
                      <a:pt x="44208" y="338068"/>
                      <a:pt x="98741" y="338068"/>
                    </a:cubicBezTo>
                    <a:lnTo>
                      <a:pt x="587664" y="338068"/>
                    </a:lnTo>
                    <a:lnTo>
                      <a:pt x="588053" y="334207"/>
                    </a:lnTo>
                    <a:cubicBezTo>
                      <a:pt x="627082" y="143476"/>
                      <a:pt x="795842" y="0"/>
                      <a:pt x="9981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17" name="Group 16"/>
              <p:cNvGrpSpPr/>
              <p:nvPr/>
            </p:nvGrpSpPr>
            <p:grpSpPr>
              <a:xfrm>
                <a:off x="2979287" y="1957742"/>
                <a:ext cx="1174521" cy="1120738"/>
                <a:chOff x="2971799" y="1957742"/>
                <a:chExt cx="1174521" cy="1120738"/>
              </a:xfrm>
              <a:grpFill/>
            </p:grpSpPr>
            <p:sp>
              <p:nvSpPr>
                <p:cNvPr id="33" name="Freeform 32"/>
                <p:cNvSpPr/>
                <p:nvPr/>
              </p:nvSpPr>
              <p:spPr>
                <a:xfrm>
                  <a:off x="2971799" y="2354580"/>
                  <a:ext cx="543605" cy="723900"/>
                </a:xfrm>
                <a:custGeom>
                  <a:avLst/>
                  <a:gdLst>
                    <a:gd name="connsiteX0" fmla="*/ 432877 w 546522"/>
                    <a:gd name="connsiteY0" fmla="*/ 0 h 723900"/>
                    <a:gd name="connsiteX1" fmla="*/ 457198 w 546522"/>
                    <a:gd name="connsiteY1" fmla="*/ 0 h 723900"/>
                    <a:gd name="connsiteX2" fmla="*/ 541454 w 546522"/>
                    <a:gd name="connsiteY2" fmla="*/ 55849 h 723900"/>
                    <a:gd name="connsiteX3" fmla="*/ 546522 w 546522"/>
                    <a:gd name="connsiteY3" fmla="*/ 80948 h 723900"/>
                    <a:gd name="connsiteX4" fmla="*/ 91442 w 546522"/>
                    <a:gd name="connsiteY4" fmla="*/ 0 h 723900"/>
                    <a:gd name="connsiteX5" fmla="*/ 294237 w 546522"/>
                    <a:gd name="connsiteY5" fmla="*/ 0 h 723900"/>
                    <a:gd name="connsiteX6" fmla="*/ 259248 w 546522"/>
                    <a:gd name="connsiteY6" fmla="*/ 99060 h 723900"/>
                    <a:gd name="connsiteX7" fmla="*/ 147939 w 546522"/>
                    <a:gd name="connsiteY7" fmla="*/ 99060 h 723900"/>
                    <a:gd name="connsiteX8" fmla="*/ 84747 w 546522"/>
                    <a:gd name="connsiteY8" fmla="*/ 162252 h 723900"/>
                    <a:gd name="connsiteX9" fmla="*/ 84747 w 546522"/>
                    <a:gd name="connsiteY9" fmla="*/ 561648 h 723900"/>
                    <a:gd name="connsiteX10" fmla="*/ 147939 w 546522"/>
                    <a:gd name="connsiteY10" fmla="*/ 624840 h 723900"/>
                    <a:gd name="connsiteX11" fmla="*/ 400702 w 546522"/>
                    <a:gd name="connsiteY11" fmla="*/ 624840 h 723900"/>
                    <a:gd name="connsiteX12" fmla="*/ 458928 w 546522"/>
                    <a:gd name="connsiteY12" fmla="*/ 586245 h 723900"/>
                    <a:gd name="connsiteX13" fmla="*/ 460480 w 546522"/>
                    <a:gd name="connsiteY13" fmla="*/ 578560 h 723900"/>
                    <a:gd name="connsiteX14" fmla="*/ 543605 w 546522"/>
                    <a:gd name="connsiteY14" fmla="*/ 657400 h 723900"/>
                    <a:gd name="connsiteX15" fmla="*/ 541454 w 546522"/>
                    <a:gd name="connsiteY15" fmla="*/ 668051 h 723900"/>
                    <a:gd name="connsiteX16" fmla="*/ 457198 w 546522"/>
                    <a:gd name="connsiteY16" fmla="*/ 723900 h 723900"/>
                    <a:gd name="connsiteX17" fmla="*/ 91442 w 546522"/>
                    <a:gd name="connsiteY17" fmla="*/ 723900 h 723900"/>
                    <a:gd name="connsiteX18" fmla="*/ 0 w 546522"/>
                    <a:gd name="connsiteY18" fmla="*/ 632458 h 723900"/>
                    <a:gd name="connsiteX19" fmla="*/ 0 w 546522"/>
                    <a:gd name="connsiteY19" fmla="*/ 91442 h 723900"/>
                    <a:gd name="connsiteX20" fmla="*/ 91442 w 546522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541454 w 543605"/>
                    <a:gd name="connsiteY2" fmla="*/ 55849 h 723900"/>
                    <a:gd name="connsiteX3" fmla="*/ 432877 w 543605"/>
                    <a:gd name="connsiteY3" fmla="*/ 0 h 723900"/>
                    <a:gd name="connsiteX4" fmla="*/ 91442 w 543605"/>
                    <a:gd name="connsiteY4" fmla="*/ 0 h 723900"/>
                    <a:gd name="connsiteX5" fmla="*/ 294237 w 543605"/>
                    <a:gd name="connsiteY5" fmla="*/ 0 h 723900"/>
                    <a:gd name="connsiteX6" fmla="*/ 259248 w 543605"/>
                    <a:gd name="connsiteY6" fmla="*/ 99060 h 723900"/>
                    <a:gd name="connsiteX7" fmla="*/ 147939 w 543605"/>
                    <a:gd name="connsiteY7" fmla="*/ 99060 h 723900"/>
                    <a:gd name="connsiteX8" fmla="*/ 84747 w 543605"/>
                    <a:gd name="connsiteY8" fmla="*/ 162252 h 723900"/>
                    <a:gd name="connsiteX9" fmla="*/ 84747 w 543605"/>
                    <a:gd name="connsiteY9" fmla="*/ 561648 h 723900"/>
                    <a:gd name="connsiteX10" fmla="*/ 147939 w 543605"/>
                    <a:gd name="connsiteY10" fmla="*/ 624840 h 723900"/>
                    <a:gd name="connsiteX11" fmla="*/ 400702 w 543605"/>
                    <a:gd name="connsiteY11" fmla="*/ 624840 h 723900"/>
                    <a:gd name="connsiteX12" fmla="*/ 458928 w 543605"/>
                    <a:gd name="connsiteY12" fmla="*/ 586245 h 723900"/>
                    <a:gd name="connsiteX13" fmla="*/ 460480 w 543605"/>
                    <a:gd name="connsiteY13" fmla="*/ 578560 h 723900"/>
                    <a:gd name="connsiteX14" fmla="*/ 543605 w 543605"/>
                    <a:gd name="connsiteY14" fmla="*/ 657400 h 723900"/>
                    <a:gd name="connsiteX15" fmla="*/ 541454 w 543605"/>
                    <a:gd name="connsiteY15" fmla="*/ 668051 h 723900"/>
                    <a:gd name="connsiteX16" fmla="*/ 457198 w 543605"/>
                    <a:gd name="connsiteY16" fmla="*/ 723900 h 723900"/>
                    <a:gd name="connsiteX17" fmla="*/ 91442 w 543605"/>
                    <a:gd name="connsiteY17" fmla="*/ 723900 h 723900"/>
                    <a:gd name="connsiteX18" fmla="*/ 0 w 543605"/>
                    <a:gd name="connsiteY18" fmla="*/ 632458 h 723900"/>
                    <a:gd name="connsiteX19" fmla="*/ 0 w 543605"/>
                    <a:gd name="connsiteY19" fmla="*/ 91442 h 723900"/>
                    <a:gd name="connsiteX20" fmla="*/ 91442 w 543605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432877 w 543605"/>
                    <a:gd name="connsiteY2" fmla="*/ 0 h 723900"/>
                    <a:gd name="connsiteX3" fmla="*/ 91442 w 543605"/>
                    <a:gd name="connsiteY3" fmla="*/ 0 h 723900"/>
                    <a:gd name="connsiteX4" fmla="*/ 294237 w 543605"/>
                    <a:gd name="connsiteY4" fmla="*/ 0 h 723900"/>
                    <a:gd name="connsiteX5" fmla="*/ 259248 w 543605"/>
                    <a:gd name="connsiteY5" fmla="*/ 99060 h 723900"/>
                    <a:gd name="connsiteX6" fmla="*/ 147939 w 543605"/>
                    <a:gd name="connsiteY6" fmla="*/ 99060 h 723900"/>
                    <a:gd name="connsiteX7" fmla="*/ 84747 w 543605"/>
                    <a:gd name="connsiteY7" fmla="*/ 162252 h 723900"/>
                    <a:gd name="connsiteX8" fmla="*/ 84747 w 543605"/>
                    <a:gd name="connsiteY8" fmla="*/ 561648 h 723900"/>
                    <a:gd name="connsiteX9" fmla="*/ 147939 w 543605"/>
                    <a:gd name="connsiteY9" fmla="*/ 624840 h 723900"/>
                    <a:gd name="connsiteX10" fmla="*/ 400702 w 543605"/>
                    <a:gd name="connsiteY10" fmla="*/ 624840 h 723900"/>
                    <a:gd name="connsiteX11" fmla="*/ 458928 w 543605"/>
                    <a:gd name="connsiteY11" fmla="*/ 586245 h 723900"/>
                    <a:gd name="connsiteX12" fmla="*/ 460480 w 543605"/>
                    <a:gd name="connsiteY12" fmla="*/ 578560 h 723900"/>
                    <a:gd name="connsiteX13" fmla="*/ 543605 w 543605"/>
                    <a:gd name="connsiteY13" fmla="*/ 657400 h 723900"/>
                    <a:gd name="connsiteX14" fmla="*/ 541454 w 543605"/>
                    <a:gd name="connsiteY14" fmla="*/ 668051 h 723900"/>
                    <a:gd name="connsiteX15" fmla="*/ 457198 w 543605"/>
                    <a:gd name="connsiteY15" fmla="*/ 723900 h 723900"/>
                    <a:gd name="connsiteX16" fmla="*/ 91442 w 543605"/>
                    <a:gd name="connsiteY16" fmla="*/ 723900 h 723900"/>
                    <a:gd name="connsiteX17" fmla="*/ 0 w 543605"/>
                    <a:gd name="connsiteY17" fmla="*/ 632458 h 723900"/>
                    <a:gd name="connsiteX18" fmla="*/ 0 w 543605"/>
                    <a:gd name="connsiteY18" fmla="*/ 91442 h 723900"/>
                    <a:gd name="connsiteX19" fmla="*/ 91442 w 543605"/>
                    <a:gd name="connsiteY19" fmla="*/ 0 h 723900"/>
                    <a:gd name="connsiteX0" fmla="*/ 91442 w 543605"/>
                    <a:gd name="connsiteY0" fmla="*/ 0 h 723900"/>
                    <a:gd name="connsiteX1" fmla="*/ 294237 w 543605"/>
                    <a:gd name="connsiteY1" fmla="*/ 0 h 723900"/>
                    <a:gd name="connsiteX2" fmla="*/ 259248 w 543605"/>
                    <a:gd name="connsiteY2" fmla="*/ 99060 h 723900"/>
                    <a:gd name="connsiteX3" fmla="*/ 147939 w 543605"/>
                    <a:gd name="connsiteY3" fmla="*/ 99060 h 723900"/>
                    <a:gd name="connsiteX4" fmla="*/ 84747 w 543605"/>
                    <a:gd name="connsiteY4" fmla="*/ 162252 h 723900"/>
                    <a:gd name="connsiteX5" fmla="*/ 84747 w 543605"/>
                    <a:gd name="connsiteY5" fmla="*/ 561648 h 723900"/>
                    <a:gd name="connsiteX6" fmla="*/ 147939 w 543605"/>
                    <a:gd name="connsiteY6" fmla="*/ 624840 h 723900"/>
                    <a:gd name="connsiteX7" fmla="*/ 400702 w 543605"/>
                    <a:gd name="connsiteY7" fmla="*/ 624840 h 723900"/>
                    <a:gd name="connsiteX8" fmla="*/ 458928 w 543605"/>
                    <a:gd name="connsiteY8" fmla="*/ 586245 h 723900"/>
                    <a:gd name="connsiteX9" fmla="*/ 460480 w 543605"/>
                    <a:gd name="connsiteY9" fmla="*/ 578560 h 723900"/>
                    <a:gd name="connsiteX10" fmla="*/ 543605 w 543605"/>
                    <a:gd name="connsiteY10" fmla="*/ 657400 h 723900"/>
                    <a:gd name="connsiteX11" fmla="*/ 541454 w 543605"/>
                    <a:gd name="connsiteY11" fmla="*/ 668051 h 723900"/>
                    <a:gd name="connsiteX12" fmla="*/ 457198 w 543605"/>
                    <a:gd name="connsiteY12" fmla="*/ 723900 h 723900"/>
                    <a:gd name="connsiteX13" fmla="*/ 91442 w 543605"/>
                    <a:gd name="connsiteY13" fmla="*/ 723900 h 723900"/>
                    <a:gd name="connsiteX14" fmla="*/ 0 w 543605"/>
                    <a:gd name="connsiteY14" fmla="*/ 632458 h 723900"/>
                    <a:gd name="connsiteX15" fmla="*/ 0 w 543605"/>
                    <a:gd name="connsiteY15" fmla="*/ 91442 h 723900"/>
                    <a:gd name="connsiteX16" fmla="*/ 91442 w 543605"/>
                    <a:gd name="connsiteY1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43605" h="723900">
                      <a:moveTo>
                        <a:pt x="91442" y="0"/>
                      </a:moveTo>
                      <a:lnTo>
                        <a:pt x="294237" y="0"/>
                      </a:lnTo>
                      <a:lnTo>
                        <a:pt x="259248" y="99060"/>
                      </a:lnTo>
                      <a:lnTo>
                        <a:pt x="147939" y="99060"/>
                      </a:lnTo>
                      <a:cubicBezTo>
                        <a:pt x="113039" y="99060"/>
                        <a:pt x="84747" y="127352"/>
                        <a:pt x="84747" y="162252"/>
                      </a:cubicBezTo>
                      <a:lnTo>
                        <a:pt x="84747" y="561648"/>
                      </a:lnTo>
                      <a:cubicBezTo>
                        <a:pt x="84747" y="596548"/>
                        <a:pt x="113039" y="624840"/>
                        <a:pt x="147939" y="624840"/>
                      </a:cubicBezTo>
                      <a:lnTo>
                        <a:pt x="400702" y="624840"/>
                      </a:lnTo>
                      <a:cubicBezTo>
                        <a:pt x="426877" y="624840"/>
                        <a:pt x="449335" y="608926"/>
                        <a:pt x="458928" y="586245"/>
                      </a:cubicBezTo>
                      <a:lnTo>
                        <a:pt x="460480" y="578560"/>
                      </a:lnTo>
                      <a:lnTo>
                        <a:pt x="543605" y="657400"/>
                      </a:lnTo>
                      <a:lnTo>
                        <a:pt x="541454" y="668051"/>
                      </a:lnTo>
                      <a:cubicBezTo>
                        <a:pt x="527573" y="700871"/>
                        <a:pt x="495075" y="723900"/>
                        <a:pt x="457198" y="723900"/>
                      </a:cubicBezTo>
                      <a:lnTo>
                        <a:pt x="91442" y="723900"/>
                      </a:lnTo>
                      <a:cubicBezTo>
                        <a:pt x="40940" y="723900"/>
                        <a:pt x="0" y="682960"/>
                        <a:pt x="0" y="632458"/>
                      </a:cubicBezTo>
                      <a:lnTo>
                        <a:pt x="0" y="91442"/>
                      </a:lnTo>
                      <a:cubicBezTo>
                        <a:pt x="0" y="40940"/>
                        <a:pt x="40940" y="0"/>
                        <a:pt x="9144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4" name="Rectangle 20"/>
                <p:cNvSpPr/>
                <p:nvPr/>
              </p:nvSpPr>
              <p:spPr>
                <a:xfrm>
                  <a:off x="3267940" y="1957742"/>
                  <a:ext cx="878380" cy="946077"/>
                </a:xfrm>
                <a:custGeom>
                  <a:avLst/>
                  <a:gdLst>
                    <a:gd name="connsiteX0" fmla="*/ 0 w 910858"/>
                    <a:gd name="connsiteY0" fmla="*/ 0 h 1112520"/>
                    <a:gd name="connsiteX1" fmla="*/ 9108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10858"/>
                    <a:gd name="connsiteY0" fmla="*/ 0 h 1112520"/>
                    <a:gd name="connsiteX1" fmla="*/ 8727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94678"/>
                    <a:gd name="connsiteY0" fmla="*/ 0 h 1112520"/>
                    <a:gd name="connsiteX1" fmla="*/ 872758 w 994678"/>
                    <a:gd name="connsiteY1" fmla="*/ 0 h 1112520"/>
                    <a:gd name="connsiteX2" fmla="*/ 994678 w 994678"/>
                    <a:gd name="connsiteY2" fmla="*/ 68580 h 1112520"/>
                    <a:gd name="connsiteX3" fmla="*/ 0 w 994678"/>
                    <a:gd name="connsiteY3" fmla="*/ 1112520 h 1112520"/>
                    <a:gd name="connsiteX4" fmla="*/ 0 w 994678"/>
                    <a:gd name="connsiteY4" fmla="*/ 0 h 1112520"/>
                    <a:gd name="connsiteX0" fmla="*/ 0 w 994678"/>
                    <a:gd name="connsiteY0" fmla="*/ 0 h 883920"/>
                    <a:gd name="connsiteX1" fmla="*/ 872758 w 994678"/>
                    <a:gd name="connsiteY1" fmla="*/ 0 h 883920"/>
                    <a:gd name="connsiteX2" fmla="*/ 994678 w 994678"/>
                    <a:gd name="connsiteY2" fmla="*/ 68580 h 883920"/>
                    <a:gd name="connsiteX3" fmla="*/ 434340 w 994678"/>
                    <a:gd name="connsiteY3" fmla="*/ 883920 h 883920"/>
                    <a:gd name="connsiteX4" fmla="*/ 0 w 994678"/>
                    <a:gd name="connsiteY4" fmla="*/ 0 h 883920"/>
                    <a:gd name="connsiteX0" fmla="*/ 7620 w 560338"/>
                    <a:gd name="connsiteY0" fmla="*/ 548640 h 883920"/>
                    <a:gd name="connsiteX1" fmla="*/ 438418 w 560338"/>
                    <a:gd name="connsiteY1" fmla="*/ 0 h 883920"/>
                    <a:gd name="connsiteX2" fmla="*/ 560338 w 560338"/>
                    <a:gd name="connsiteY2" fmla="*/ 68580 h 883920"/>
                    <a:gd name="connsiteX3" fmla="*/ 0 w 560338"/>
                    <a:gd name="connsiteY3" fmla="*/ 883920 h 883920"/>
                    <a:gd name="connsiteX4" fmla="*/ 7620 w 560338"/>
                    <a:gd name="connsiteY4" fmla="*/ 548640 h 883920"/>
                    <a:gd name="connsiteX0" fmla="*/ 18782 w 571500"/>
                    <a:gd name="connsiteY0" fmla="*/ 548640 h 883920"/>
                    <a:gd name="connsiteX1" fmla="*/ 449580 w 571500"/>
                    <a:gd name="connsiteY1" fmla="*/ 0 h 883920"/>
                    <a:gd name="connsiteX2" fmla="*/ 571500 w 571500"/>
                    <a:gd name="connsiteY2" fmla="*/ 68580 h 883920"/>
                    <a:gd name="connsiteX3" fmla="*/ 11162 w 571500"/>
                    <a:gd name="connsiteY3" fmla="*/ 883920 h 883920"/>
                    <a:gd name="connsiteX4" fmla="*/ 0 w 571500"/>
                    <a:gd name="connsiteY4" fmla="*/ 739140 h 883920"/>
                    <a:gd name="connsiteX5" fmla="*/ 18782 w 5715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0 w 800100"/>
                    <a:gd name="connsiteY4" fmla="*/ 472440 h 883920"/>
                    <a:gd name="connsiteX5" fmla="*/ 247382 w 8001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129540 w 800100"/>
                    <a:gd name="connsiteY4" fmla="*/ 678180 h 883920"/>
                    <a:gd name="connsiteX5" fmla="*/ 0 w 800100"/>
                    <a:gd name="connsiteY5" fmla="*/ 472440 h 883920"/>
                    <a:gd name="connsiteX6" fmla="*/ 247382 w 8001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31596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27024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23582 w 876300"/>
                    <a:gd name="connsiteY6" fmla="*/ 548640 h 914400"/>
                    <a:gd name="connsiteX0" fmla="*/ 308342 w 876300"/>
                    <a:gd name="connsiteY0" fmla="*/ 60198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08342 w 876300"/>
                    <a:gd name="connsiteY6" fmla="*/ 601980 h 914400"/>
                    <a:gd name="connsiteX0" fmla="*/ 308342 w 876300"/>
                    <a:gd name="connsiteY0" fmla="*/ 601980 h 876300"/>
                    <a:gd name="connsiteX1" fmla="*/ 754380 w 876300"/>
                    <a:gd name="connsiteY1" fmla="*/ 0 h 876300"/>
                    <a:gd name="connsiteX2" fmla="*/ 876300 w 876300"/>
                    <a:gd name="connsiteY2" fmla="*/ 68580 h 876300"/>
                    <a:gd name="connsiteX3" fmla="*/ 285482 w 876300"/>
                    <a:gd name="connsiteY3" fmla="*/ 876300 h 876300"/>
                    <a:gd name="connsiteX4" fmla="*/ 0 w 876300"/>
                    <a:gd name="connsiteY4" fmla="*/ 609600 h 876300"/>
                    <a:gd name="connsiteX5" fmla="*/ 76200 w 876300"/>
                    <a:gd name="connsiteY5" fmla="*/ 472440 h 876300"/>
                    <a:gd name="connsiteX6" fmla="*/ 308342 w 876300"/>
                    <a:gd name="connsiteY6" fmla="*/ 601980 h 876300"/>
                    <a:gd name="connsiteX0" fmla="*/ 331202 w 899160"/>
                    <a:gd name="connsiteY0" fmla="*/ 60198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31202 w 899160"/>
                    <a:gd name="connsiteY6" fmla="*/ 601980 h 876300"/>
                    <a:gd name="connsiteX0" fmla="*/ 323582 w 899160"/>
                    <a:gd name="connsiteY0" fmla="*/ 65532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23582 w 899160"/>
                    <a:gd name="connsiteY6" fmla="*/ 655320 h 876300"/>
                    <a:gd name="connsiteX0" fmla="*/ 323582 w 899160"/>
                    <a:gd name="connsiteY0" fmla="*/ 67056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70560 h 891540"/>
                    <a:gd name="connsiteX0" fmla="*/ 323582 w 899160"/>
                    <a:gd name="connsiteY0" fmla="*/ 64008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40080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283538 w 899160"/>
                    <a:gd name="connsiteY6" fmla="*/ 700339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67025 w 899160"/>
                    <a:gd name="connsiteY5" fmla="*/ 514462 h 891540"/>
                    <a:gd name="connsiteX6" fmla="*/ 283538 w 899160"/>
                    <a:gd name="connsiteY6" fmla="*/ 700339 h 891540"/>
                    <a:gd name="connsiteX0" fmla="*/ 283538 w 891151"/>
                    <a:gd name="connsiteY0" fmla="*/ 700339 h 891540"/>
                    <a:gd name="connsiteX1" fmla="*/ 746760 w 891151"/>
                    <a:gd name="connsiteY1" fmla="*/ 0 h 891540"/>
                    <a:gd name="connsiteX2" fmla="*/ 891151 w 891151"/>
                    <a:gd name="connsiteY2" fmla="*/ 150774 h 891540"/>
                    <a:gd name="connsiteX3" fmla="*/ 308342 w 891151"/>
                    <a:gd name="connsiteY3" fmla="*/ 891540 h 891540"/>
                    <a:gd name="connsiteX4" fmla="*/ 0 w 891151"/>
                    <a:gd name="connsiteY4" fmla="*/ 647700 h 891540"/>
                    <a:gd name="connsiteX5" fmla="*/ 67025 w 891151"/>
                    <a:gd name="connsiteY5" fmla="*/ 514462 h 891540"/>
                    <a:gd name="connsiteX6" fmla="*/ 283538 w 891151"/>
                    <a:gd name="connsiteY6" fmla="*/ 700339 h 891540"/>
                    <a:gd name="connsiteX0" fmla="*/ 283538 w 891151"/>
                    <a:gd name="connsiteY0" fmla="*/ 640080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83538 w 891151"/>
                    <a:gd name="connsiteY6" fmla="*/ 640080 h 831281"/>
                    <a:gd name="connsiteX0" fmla="*/ 275530 w 891151"/>
                    <a:gd name="connsiteY0" fmla="*/ 599908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75530 w 891151"/>
                    <a:gd name="connsiteY6" fmla="*/ 599908 h 831281"/>
                    <a:gd name="connsiteX0" fmla="*/ 307565 w 923186"/>
                    <a:gd name="connsiteY0" fmla="*/ 599908 h 831281"/>
                    <a:gd name="connsiteX1" fmla="*/ 762778 w 923186"/>
                    <a:gd name="connsiteY1" fmla="*/ 0 h 831281"/>
                    <a:gd name="connsiteX2" fmla="*/ 923186 w 923186"/>
                    <a:gd name="connsiteY2" fmla="*/ 90515 h 831281"/>
                    <a:gd name="connsiteX3" fmla="*/ 340377 w 923186"/>
                    <a:gd name="connsiteY3" fmla="*/ 831281 h 831281"/>
                    <a:gd name="connsiteX4" fmla="*/ 0 w 923186"/>
                    <a:gd name="connsiteY4" fmla="*/ 620918 h 831281"/>
                    <a:gd name="connsiteX5" fmla="*/ 99060 w 923186"/>
                    <a:gd name="connsiteY5" fmla="*/ 454203 h 831281"/>
                    <a:gd name="connsiteX6" fmla="*/ 307565 w 923186"/>
                    <a:gd name="connsiteY6" fmla="*/ 599908 h 831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3186" h="831281">
                      <a:moveTo>
                        <a:pt x="307565" y="599908"/>
                      </a:moveTo>
                      <a:lnTo>
                        <a:pt x="762778" y="0"/>
                      </a:lnTo>
                      <a:lnTo>
                        <a:pt x="923186" y="90515"/>
                      </a:lnTo>
                      <a:lnTo>
                        <a:pt x="340377" y="831281"/>
                      </a:lnTo>
                      <a:lnTo>
                        <a:pt x="0" y="620918"/>
                      </a:lnTo>
                      <a:lnTo>
                        <a:pt x="99060" y="454203"/>
                      </a:lnTo>
                      <a:lnTo>
                        <a:pt x="307565" y="5999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8" name="Group 17"/>
              <p:cNvGrpSpPr/>
              <p:nvPr/>
            </p:nvGrpSpPr>
            <p:grpSpPr>
              <a:xfrm>
                <a:off x="2979287" y="3257864"/>
                <a:ext cx="1174521" cy="1120738"/>
                <a:chOff x="2971799" y="1957742"/>
                <a:chExt cx="1174521" cy="1120738"/>
              </a:xfrm>
              <a:grpFill/>
            </p:grpSpPr>
            <p:sp>
              <p:nvSpPr>
                <p:cNvPr id="31" name="Freeform 30"/>
                <p:cNvSpPr/>
                <p:nvPr/>
              </p:nvSpPr>
              <p:spPr>
                <a:xfrm>
                  <a:off x="2971799" y="2354580"/>
                  <a:ext cx="543605" cy="723900"/>
                </a:xfrm>
                <a:custGeom>
                  <a:avLst/>
                  <a:gdLst>
                    <a:gd name="connsiteX0" fmla="*/ 432877 w 546522"/>
                    <a:gd name="connsiteY0" fmla="*/ 0 h 723900"/>
                    <a:gd name="connsiteX1" fmla="*/ 457198 w 546522"/>
                    <a:gd name="connsiteY1" fmla="*/ 0 h 723900"/>
                    <a:gd name="connsiteX2" fmla="*/ 541454 w 546522"/>
                    <a:gd name="connsiteY2" fmla="*/ 55849 h 723900"/>
                    <a:gd name="connsiteX3" fmla="*/ 546522 w 546522"/>
                    <a:gd name="connsiteY3" fmla="*/ 80948 h 723900"/>
                    <a:gd name="connsiteX4" fmla="*/ 91442 w 546522"/>
                    <a:gd name="connsiteY4" fmla="*/ 0 h 723900"/>
                    <a:gd name="connsiteX5" fmla="*/ 294237 w 546522"/>
                    <a:gd name="connsiteY5" fmla="*/ 0 h 723900"/>
                    <a:gd name="connsiteX6" fmla="*/ 259248 w 546522"/>
                    <a:gd name="connsiteY6" fmla="*/ 99060 h 723900"/>
                    <a:gd name="connsiteX7" fmla="*/ 147939 w 546522"/>
                    <a:gd name="connsiteY7" fmla="*/ 99060 h 723900"/>
                    <a:gd name="connsiteX8" fmla="*/ 84747 w 546522"/>
                    <a:gd name="connsiteY8" fmla="*/ 162252 h 723900"/>
                    <a:gd name="connsiteX9" fmla="*/ 84747 w 546522"/>
                    <a:gd name="connsiteY9" fmla="*/ 561648 h 723900"/>
                    <a:gd name="connsiteX10" fmla="*/ 147939 w 546522"/>
                    <a:gd name="connsiteY10" fmla="*/ 624840 h 723900"/>
                    <a:gd name="connsiteX11" fmla="*/ 400702 w 546522"/>
                    <a:gd name="connsiteY11" fmla="*/ 624840 h 723900"/>
                    <a:gd name="connsiteX12" fmla="*/ 458928 w 546522"/>
                    <a:gd name="connsiteY12" fmla="*/ 586245 h 723900"/>
                    <a:gd name="connsiteX13" fmla="*/ 460480 w 546522"/>
                    <a:gd name="connsiteY13" fmla="*/ 578560 h 723900"/>
                    <a:gd name="connsiteX14" fmla="*/ 543605 w 546522"/>
                    <a:gd name="connsiteY14" fmla="*/ 657400 h 723900"/>
                    <a:gd name="connsiteX15" fmla="*/ 541454 w 546522"/>
                    <a:gd name="connsiteY15" fmla="*/ 668051 h 723900"/>
                    <a:gd name="connsiteX16" fmla="*/ 457198 w 546522"/>
                    <a:gd name="connsiteY16" fmla="*/ 723900 h 723900"/>
                    <a:gd name="connsiteX17" fmla="*/ 91442 w 546522"/>
                    <a:gd name="connsiteY17" fmla="*/ 723900 h 723900"/>
                    <a:gd name="connsiteX18" fmla="*/ 0 w 546522"/>
                    <a:gd name="connsiteY18" fmla="*/ 632458 h 723900"/>
                    <a:gd name="connsiteX19" fmla="*/ 0 w 546522"/>
                    <a:gd name="connsiteY19" fmla="*/ 91442 h 723900"/>
                    <a:gd name="connsiteX20" fmla="*/ 91442 w 546522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541454 w 543605"/>
                    <a:gd name="connsiteY2" fmla="*/ 55849 h 723900"/>
                    <a:gd name="connsiteX3" fmla="*/ 432877 w 543605"/>
                    <a:gd name="connsiteY3" fmla="*/ 0 h 723900"/>
                    <a:gd name="connsiteX4" fmla="*/ 91442 w 543605"/>
                    <a:gd name="connsiteY4" fmla="*/ 0 h 723900"/>
                    <a:gd name="connsiteX5" fmla="*/ 294237 w 543605"/>
                    <a:gd name="connsiteY5" fmla="*/ 0 h 723900"/>
                    <a:gd name="connsiteX6" fmla="*/ 259248 w 543605"/>
                    <a:gd name="connsiteY6" fmla="*/ 99060 h 723900"/>
                    <a:gd name="connsiteX7" fmla="*/ 147939 w 543605"/>
                    <a:gd name="connsiteY7" fmla="*/ 99060 h 723900"/>
                    <a:gd name="connsiteX8" fmla="*/ 84747 w 543605"/>
                    <a:gd name="connsiteY8" fmla="*/ 162252 h 723900"/>
                    <a:gd name="connsiteX9" fmla="*/ 84747 w 543605"/>
                    <a:gd name="connsiteY9" fmla="*/ 561648 h 723900"/>
                    <a:gd name="connsiteX10" fmla="*/ 147939 w 543605"/>
                    <a:gd name="connsiteY10" fmla="*/ 624840 h 723900"/>
                    <a:gd name="connsiteX11" fmla="*/ 400702 w 543605"/>
                    <a:gd name="connsiteY11" fmla="*/ 624840 h 723900"/>
                    <a:gd name="connsiteX12" fmla="*/ 458928 w 543605"/>
                    <a:gd name="connsiteY12" fmla="*/ 586245 h 723900"/>
                    <a:gd name="connsiteX13" fmla="*/ 460480 w 543605"/>
                    <a:gd name="connsiteY13" fmla="*/ 578560 h 723900"/>
                    <a:gd name="connsiteX14" fmla="*/ 543605 w 543605"/>
                    <a:gd name="connsiteY14" fmla="*/ 657400 h 723900"/>
                    <a:gd name="connsiteX15" fmla="*/ 541454 w 543605"/>
                    <a:gd name="connsiteY15" fmla="*/ 668051 h 723900"/>
                    <a:gd name="connsiteX16" fmla="*/ 457198 w 543605"/>
                    <a:gd name="connsiteY16" fmla="*/ 723900 h 723900"/>
                    <a:gd name="connsiteX17" fmla="*/ 91442 w 543605"/>
                    <a:gd name="connsiteY17" fmla="*/ 723900 h 723900"/>
                    <a:gd name="connsiteX18" fmla="*/ 0 w 543605"/>
                    <a:gd name="connsiteY18" fmla="*/ 632458 h 723900"/>
                    <a:gd name="connsiteX19" fmla="*/ 0 w 543605"/>
                    <a:gd name="connsiteY19" fmla="*/ 91442 h 723900"/>
                    <a:gd name="connsiteX20" fmla="*/ 91442 w 543605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432877 w 543605"/>
                    <a:gd name="connsiteY2" fmla="*/ 0 h 723900"/>
                    <a:gd name="connsiteX3" fmla="*/ 91442 w 543605"/>
                    <a:gd name="connsiteY3" fmla="*/ 0 h 723900"/>
                    <a:gd name="connsiteX4" fmla="*/ 294237 w 543605"/>
                    <a:gd name="connsiteY4" fmla="*/ 0 h 723900"/>
                    <a:gd name="connsiteX5" fmla="*/ 259248 w 543605"/>
                    <a:gd name="connsiteY5" fmla="*/ 99060 h 723900"/>
                    <a:gd name="connsiteX6" fmla="*/ 147939 w 543605"/>
                    <a:gd name="connsiteY6" fmla="*/ 99060 h 723900"/>
                    <a:gd name="connsiteX7" fmla="*/ 84747 w 543605"/>
                    <a:gd name="connsiteY7" fmla="*/ 162252 h 723900"/>
                    <a:gd name="connsiteX8" fmla="*/ 84747 w 543605"/>
                    <a:gd name="connsiteY8" fmla="*/ 561648 h 723900"/>
                    <a:gd name="connsiteX9" fmla="*/ 147939 w 543605"/>
                    <a:gd name="connsiteY9" fmla="*/ 624840 h 723900"/>
                    <a:gd name="connsiteX10" fmla="*/ 400702 w 543605"/>
                    <a:gd name="connsiteY10" fmla="*/ 624840 h 723900"/>
                    <a:gd name="connsiteX11" fmla="*/ 458928 w 543605"/>
                    <a:gd name="connsiteY11" fmla="*/ 586245 h 723900"/>
                    <a:gd name="connsiteX12" fmla="*/ 460480 w 543605"/>
                    <a:gd name="connsiteY12" fmla="*/ 578560 h 723900"/>
                    <a:gd name="connsiteX13" fmla="*/ 543605 w 543605"/>
                    <a:gd name="connsiteY13" fmla="*/ 657400 h 723900"/>
                    <a:gd name="connsiteX14" fmla="*/ 541454 w 543605"/>
                    <a:gd name="connsiteY14" fmla="*/ 668051 h 723900"/>
                    <a:gd name="connsiteX15" fmla="*/ 457198 w 543605"/>
                    <a:gd name="connsiteY15" fmla="*/ 723900 h 723900"/>
                    <a:gd name="connsiteX16" fmla="*/ 91442 w 543605"/>
                    <a:gd name="connsiteY16" fmla="*/ 723900 h 723900"/>
                    <a:gd name="connsiteX17" fmla="*/ 0 w 543605"/>
                    <a:gd name="connsiteY17" fmla="*/ 632458 h 723900"/>
                    <a:gd name="connsiteX18" fmla="*/ 0 w 543605"/>
                    <a:gd name="connsiteY18" fmla="*/ 91442 h 723900"/>
                    <a:gd name="connsiteX19" fmla="*/ 91442 w 543605"/>
                    <a:gd name="connsiteY19" fmla="*/ 0 h 723900"/>
                    <a:gd name="connsiteX0" fmla="*/ 91442 w 543605"/>
                    <a:gd name="connsiteY0" fmla="*/ 0 h 723900"/>
                    <a:gd name="connsiteX1" fmla="*/ 294237 w 543605"/>
                    <a:gd name="connsiteY1" fmla="*/ 0 h 723900"/>
                    <a:gd name="connsiteX2" fmla="*/ 259248 w 543605"/>
                    <a:gd name="connsiteY2" fmla="*/ 99060 h 723900"/>
                    <a:gd name="connsiteX3" fmla="*/ 147939 w 543605"/>
                    <a:gd name="connsiteY3" fmla="*/ 99060 h 723900"/>
                    <a:gd name="connsiteX4" fmla="*/ 84747 w 543605"/>
                    <a:gd name="connsiteY4" fmla="*/ 162252 h 723900"/>
                    <a:gd name="connsiteX5" fmla="*/ 84747 w 543605"/>
                    <a:gd name="connsiteY5" fmla="*/ 561648 h 723900"/>
                    <a:gd name="connsiteX6" fmla="*/ 147939 w 543605"/>
                    <a:gd name="connsiteY6" fmla="*/ 624840 h 723900"/>
                    <a:gd name="connsiteX7" fmla="*/ 400702 w 543605"/>
                    <a:gd name="connsiteY7" fmla="*/ 624840 h 723900"/>
                    <a:gd name="connsiteX8" fmla="*/ 458928 w 543605"/>
                    <a:gd name="connsiteY8" fmla="*/ 586245 h 723900"/>
                    <a:gd name="connsiteX9" fmla="*/ 460480 w 543605"/>
                    <a:gd name="connsiteY9" fmla="*/ 578560 h 723900"/>
                    <a:gd name="connsiteX10" fmla="*/ 543605 w 543605"/>
                    <a:gd name="connsiteY10" fmla="*/ 657400 h 723900"/>
                    <a:gd name="connsiteX11" fmla="*/ 541454 w 543605"/>
                    <a:gd name="connsiteY11" fmla="*/ 668051 h 723900"/>
                    <a:gd name="connsiteX12" fmla="*/ 457198 w 543605"/>
                    <a:gd name="connsiteY12" fmla="*/ 723900 h 723900"/>
                    <a:gd name="connsiteX13" fmla="*/ 91442 w 543605"/>
                    <a:gd name="connsiteY13" fmla="*/ 723900 h 723900"/>
                    <a:gd name="connsiteX14" fmla="*/ 0 w 543605"/>
                    <a:gd name="connsiteY14" fmla="*/ 632458 h 723900"/>
                    <a:gd name="connsiteX15" fmla="*/ 0 w 543605"/>
                    <a:gd name="connsiteY15" fmla="*/ 91442 h 723900"/>
                    <a:gd name="connsiteX16" fmla="*/ 91442 w 543605"/>
                    <a:gd name="connsiteY1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43605" h="723900">
                      <a:moveTo>
                        <a:pt x="91442" y="0"/>
                      </a:moveTo>
                      <a:lnTo>
                        <a:pt x="294237" y="0"/>
                      </a:lnTo>
                      <a:lnTo>
                        <a:pt x="259248" y="99060"/>
                      </a:lnTo>
                      <a:lnTo>
                        <a:pt x="147939" y="99060"/>
                      </a:lnTo>
                      <a:cubicBezTo>
                        <a:pt x="113039" y="99060"/>
                        <a:pt x="84747" y="127352"/>
                        <a:pt x="84747" y="162252"/>
                      </a:cubicBezTo>
                      <a:lnTo>
                        <a:pt x="84747" y="561648"/>
                      </a:lnTo>
                      <a:cubicBezTo>
                        <a:pt x="84747" y="596548"/>
                        <a:pt x="113039" y="624840"/>
                        <a:pt x="147939" y="624840"/>
                      </a:cubicBezTo>
                      <a:lnTo>
                        <a:pt x="400702" y="624840"/>
                      </a:lnTo>
                      <a:cubicBezTo>
                        <a:pt x="426877" y="624840"/>
                        <a:pt x="449335" y="608926"/>
                        <a:pt x="458928" y="586245"/>
                      </a:cubicBezTo>
                      <a:lnTo>
                        <a:pt x="460480" y="578560"/>
                      </a:lnTo>
                      <a:lnTo>
                        <a:pt x="543605" y="657400"/>
                      </a:lnTo>
                      <a:lnTo>
                        <a:pt x="541454" y="668051"/>
                      </a:lnTo>
                      <a:cubicBezTo>
                        <a:pt x="527573" y="700871"/>
                        <a:pt x="495075" y="723900"/>
                        <a:pt x="457198" y="723900"/>
                      </a:cubicBezTo>
                      <a:lnTo>
                        <a:pt x="91442" y="723900"/>
                      </a:lnTo>
                      <a:cubicBezTo>
                        <a:pt x="40940" y="723900"/>
                        <a:pt x="0" y="682960"/>
                        <a:pt x="0" y="632458"/>
                      </a:cubicBezTo>
                      <a:lnTo>
                        <a:pt x="0" y="91442"/>
                      </a:lnTo>
                      <a:cubicBezTo>
                        <a:pt x="0" y="40940"/>
                        <a:pt x="40940" y="0"/>
                        <a:pt x="9144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2" name="Rectangle 20"/>
                <p:cNvSpPr/>
                <p:nvPr/>
              </p:nvSpPr>
              <p:spPr>
                <a:xfrm>
                  <a:off x="3267940" y="1957742"/>
                  <a:ext cx="878380" cy="946077"/>
                </a:xfrm>
                <a:custGeom>
                  <a:avLst/>
                  <a:gdLst>
                    <a:gd name="connsiteX0" fmla="*/ 0 w 910858"/>
                    <a:gd name="connsiteY0" fmla="*/ 0 h 1112520"/>
                    <a:gd name="connsiteX1" fmla="*/ 9108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10858"/>
                    <a:gd name="connsiteY0" fmla="*/ 0 h 1112520"/>
                    <a:gd name="connsiteX1" fmla="*/ 8727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94678"/>
                    <a:gd name="connsiteY0" fmla="*/ 0 h 1112520"/>
                    <a:gd name="connsiteX1" fmla="*/ 872758 w 994678"/>
                    <a:gd name="connsiteY1" fmla="*/ 0 h 1112520"/>
                    <a:gd name="connsiteX2" fmla="*/ 994678 w 994678"/>
                    <a:gd name="connsiteY2" fmla="*/ 68580 h 1112520"/>
                    <a:gd name="connsiteX3" fmla="*/ 0 w 994678"/>
                    <a:gd name="connsiteY3" fmla="*/ 1112520 h 1112520"/>
                    <a:gd name="connsiteX4" fmla="*/ 0 w 994678"/>
                    <a:gd name="connsiteY4" fmla="*/ 0 h 1112520"/>
                    <a:gd name="connsiteX0" fmla="*/ 0 w 994678"/>
                    <a:gd name="connsiteY0" fmla="*/ 0 h 883920"/>
                    <a:gd name="connsiteX1" fmla="*/ 872758 w 994678"/>
                    <a:gd name="connsiteY1" fmla="*/ 0 h 883920"/>
                    <a:gd name="connsiteX2" fmla="*/ 994678 w 994678"/>
                    <a:gd name="connsiteY2" fmla="*/ 68580 h 883920"/>
                    <a:gd name="connsiteX3" fmla="*/ 434340 w 994678"/>
                    <a:gd name="connsiteY3" fmla="*/ 883920 h 883920"/>
                    <a:gd name="connsiteX4" fmla="*/ 0 w 994678"/>
                    <a:gd name="connsiteY4" fmla="*/ 0 h 883920"/>
                    <a:gd name="connsiteX0" fmla="*/ 7620 w 560338"/>
                    <a:gd name="connsiteY0" fmla="*/ 548640 h 883920"/>
                    <a:gd name="connsiteX1" fmla="*/ 438418 w 560338"/>
                    <a:gd name="connsiteY1" fmla="*/ 0 h 883920"/>
                    <a:gd name="connsiteX2" fmla="*/ 560338 w 560338"/>
                    <a:gd name="connsiteY2" fmla="*/ 68580 h 883920"/>
                    <a:gd name="connsiteX3" fmla="*/ 0 w 560338"/>
                    <a:gd name="connsiteY3" fmla="*/ 883920 h 883920"/>
                    <a:gd name="connsiteX4" fmla="*/ 7620 w 560338"/>
                    <a:gd name="connsiteY4" fmla="*/ 548640 h 883920"/>
                    <a:gd name="connsiteX0" fmla="*/ 18782 w 571500"/>
                    <a:gd name="connsiteY0" fmla="*/ 548640 h 883920"/>
                    <a:gd name="connsiteX1" fmla="*/ 449580 w 571500"/>
                    <a:gd name="connsiteY1" fmla="*/ 0 h 883920"/>
                    <a:gd name="connsiteX2" fmla="*/ 571500 w 571500"/>
                    <a:gd name="connsiteY2" fmla="*/ 68580 h 883920"/>
                    <a:gd name="connsiteX3" fmla="*/ 11162 w 571500"/>
                    <a:gd name="connsiteY3" fmla="*/ 883920 h 883920"/>
                    <a:gd name="connsiteX4" fmla="*/ 0 w 571500"/>
                    <a:gd name="connsiteY4" fmla="*/ 739140 h 883920"/>
                    <a:gd name="connsiteX5" fmla="*/ 18782 w 5715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0 w 800100"/>
                    <a:gd name="connsiteY4" fmla="*/ 472440 h 883920"/>
                    <a:gd name="connsiteX5" fmla="*/ 247382 w 8001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129540 w 800100"/>
                    <a:gd name="connsiteY4" fmla="*/ 678180 h 883920"/>
                    <a:gd name="connsiteX5" fmla="*/ 0 w 800100"/>
                    <a:gd name="connsiteY5" fmla="*/ 472440 h 883920"/>
                    <a:gd name="connsiteX6" fmla="*/ 247382 w 8001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31596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27024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23582 w 876300"/>
                    <a:gd name="connsiteY6" fmla="*/ 548640 h 914400"/>
                    <a:gd name="connsiteX0" fmla="*/ 308342 w 876300"/>
                    <a:gd name="connsiteY0" fmla="*/ 60198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08342 w 876300"/>
                    <a:gd name="connsiteY6" fmla="*/ 601980 h 914400"/>
                    <a:gd name="connsiteX0" fmla="*/ 308342 w 876300"/>
                    <a:gd name="connsiteY0" fmla="*/ 601980 h 876300"/>
                    <a:gd name="connsiteX1" fmla="*/ 754380 w 876300"/>
                    <a:gd name="connsiteY1" fmla="*/ 0 h 876300"/>
                    <a:gd name="connsiteX2" fmla="*/ 876300 w 876300"/>
                    <a:gd name="connsiteY2" fmla="*/ 68580 h 876300"/>
                    <a:gd name="connsiteX3" fmla="*/ 285482 w 876300"/>
                    <a:gd name="connsiteY3" fmla="*/ 876300 h 876300"/>
                    <a:gd name="connsiteX4" fmla="*/ 0 w 876300"/>
                    <a:gd name="connsiteY4" fmla="*/ 609600 h 876300"/>
                    <a:gd name="connsiteX5" fmla="*/ 76200 w 876300"/>
                    <a:gd name="connsiteY5" fmla="*/ 472440 h 876300"/>
                    <a:gd name="connsiteX6" fmla="*/ 308342 w 876300"/>
                    <a:gd name="connsiteY6" fmla="*/ 601980 h 876300"/>
                    <a:gd name="connsiteX0" fmla="*/ 331202 w 899160"/>
                    <a:gd name="connsiteY0" fmla="*/ 60198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31202 w 899160"/>
                    <a:gd name="connsiteY6" fmla="*/ 601980 h 876300"/>
                    <a:gd name="connsiteX0" fmla="*/ 323582 w 899160"/>
                    <a:gd name="connsiteY0" fmla="*/ 65532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23582 w 899160"/>
                    <a:gd name="connsiteY6" fmla="*/ 655320 h 876300"/>
                    <a:gd name="connsiteX0" fmla="*/ 323582 w 899160"/>
                    <a:gd name="connsiteY0" fmla="*/ 67056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70560 h 891540"/>
                    <a:gd name="connsiteX0" fmla="*/ 323582 w 899160"/>
                    <a:gd name="connsiteY0" fmla="*/ 64008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40080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283538 w 899160"/>
                    <a:gd name="connsiteY6" fmla="*/ 700339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67025 w 899160"/>
                    <a:gd name="connsiteY5" fmla="*/ 514462 h 891540"/>
                    <a:gd name="connsiteX6" fmla="*/ 283538 w 899160"/>
                    <a:gd name="connsiteY6" fmla="*/ 700339 h 891540"/>
                    <a:gd name="connsiteX0" fmla="*/ 283538 w 891151"/>
                    <a:gd name="connsiteY0" fmla="*/ 700339 h 891540"/>
                    <a:gd name="connsiteX1" fmla="*/ 746760 w 891151"/>
                    <a:gd name="connsiteY1" fmla="*/ 0 h 891540"/>
                    <a:gd name="connsiteX2" fmla="*/ 891151 w 891151"/>
                    <a:gd name="connsiteY2" fmla="*/ 150774 h 891540"/>
                    <a:gd name="connsiteX3" fmla="*/ 308342 w 891151"/>
                    <a:gd name="connsiteY3" fmla="*/ 891540 h 891540"/>
                    <a:gd name="connsiteX4" fmla="*/ 0 w 891151"/>
                    <a:gd name="connsiteY4" fmla="*/ 647700 h 891540"/>
                    <a:gd name="connsiteX5" fmla="*/ 67025 w 891151"/>
                    <a:gd name="connsiteY5" fmla="*/ 514462 h 891540"/>
                    <a:gd name="connsiteX6" fmla="*/ 283538 w 891151"/>
                    <a:gd name="connsiteY6" fmla="*/ 700339 h 891540"/>
                    <a:gd name="connsiteX0" fmla="*/ 283538 w 891151"/>
                    <a:gd name="connsiteY0" fmla="*/ 640080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83538 w 891151"/>
                    <a:gd name="connsiteY6" fmla="*/ 640080 h 831281"/>
                    <a:gd name="connsiteX0" fmla="*/ 275530 w 891151"/>
                    <a:gd name="connsiteY0" fmla="*/ 599908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75530 w 891151"/>
                    <a:gd name="connsiteY6" fmla="*/ 599908 h 831281"/>
                    <a:gd name="connsiteX0" fmla="*/ 307565 w 923186"/>
                    <a:gd name="connsiteY0" fmla="*/ 599908 h 831281"/>
                    <a:gd name="connsiteX1" fmla="*/ 762778 w 923186"/>
                    <a:gd name="connsiteY1" fmla="*/ 0 h 831281"/>
                    <a:gd name="connsiteX2" fmla="*/ 923186 w 923186"/>
                    <a:gd name="connsiteY2" fmla="*/ 90515 h 831281"/>
                    <a:gd name="connsiteX3" fmla="*/ 340377 w 923186"/>
                    <a:gd name="connsiteY3" fmla="*/ 831281 h 831281"/>
                    <a:gd name="connsiteX4" fmla="*/ 0 w 923186"/>
                    <a:gd name="connsiteY4" fmla="*/ 620918 h 831281"/>
                    <a:gd name="connsiteX5" fmla="*/ 99060 w 923186"/>
                    <a:gd name="connsiteY5" fmla="*/ 454203 h 831281"/>
                    <a:gd name="connsiteX6" fmla="*/ 307565 w 923186"/>
                    <a:gd name="connsiteY6" fmla="*/ 599908 h 831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3186" h="831281">
                      <a:moveTo>
                        <a:pt x="307565" y="599908"/>
                      </a:moveTo>
                      <a:lnTo>
                        <a:pt x="762778" y="0"/>
                      </a:lnTo>
                      <a:lnTo>
                        <a:pt x="923186" y="90515"/>
                      </a:lnTo>
                      <a:lnTo>
                        <a:pt x="340377" y="831281"/>
                      </a:lnTo>
                      <a:lnTo>
                        <a:pt x="0" y="620918"/>
                      </a:lnTo>
                      <a:lnTo>
                        <a:pt x="99060" y="454203"/>
                      </a:lnTo>
                      <a:lnTo>
                        <a:pt x="307565" y="5999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19" name="Group 18"/>
              <p:cNvGrpSpPr/>
              <p:nvPr/>
            </p:nvGrpSpPr>
            <p:grpSpPr>
              <a:xfrm>
                <a:off x="2979287" y="4557986"/>
                <a:ext cx="1174521" cy="1120738"/>
                <a:chOff x="2971799" y="1957742"/>
                <a:chExt cx="1174521" cy="1120738"/>
              </a:xfrm>
              <a:grpFill/>
            </p:grpSpPr>
            <p:sp>
              <p:nvSpPr>
                <p:cNvPr id="29" name="Freeform 28"/>
                <p:cNvSpPr/>
                <p:nvPr/>
              </p:nvSpPr>
              <p:spPr>
                <a:xfrm>
                  <a:off x="2971799" y="2354580"/>
                  <a:ext cx="543605" cy="723900"/>
                </a:xfrm>
                <a:custGeom>
                  <a:avLst/>
                  <a:gdLst>
                    <a:gd name="connsiteX0" fmla="*/ 432877 w 546522"/>
                    <a:gd name="connsiteY0" fmla="*/ 0 h 723900"/>
                    <a:gd name="connsiteX1" fmla="*/ 457198 w 546522"/>
                    <a:gd name="connsiteY1" fmla="*/ 0 h 723900"/>
                    <a:gd name="connsiteX2" fmla="*/ 541454 w 546522"/>
                    <a:gd name="connsiteY2" fmla="*/ 55849 h 723900"/>
                    <a:gd name="connsiteX3" fmla="*/ 546522 w 546522"/>
                    <a:gd name="connsiteY3" fmla="*/ 80948 h 723900"/>
                    <a:gd name="connsiteX4" fmla="*/ 91442 w 546522"/>
                    <a:gd name="connsiteY4" fmla="*/ 0 h 723900"/>
                    <a:gd name="connsiteX5" fmla="*/ 294237 w 546522"/>
                    <a:gd name="connsiteY5" fmla="*/ 0 h 723900"/>
                    <a:gd name="connsiteX6" fmla="*/ 259248 w 546522"/>
                    <a:gd name="connsiteY6" fmla="*/ 99060 h 723900"/>
                    <a:gd name="connsiteX7" fmla="*/ 147939 w 546522"/>
                    <a:gd name="connsiteY7" fmla="*/ 99060 h 723900"/>
                    <a:gd name="connsiteX8" fmla="*/ 84747 w 546522"/>
                    <a:gd name="connsiteY8" fmla="*/ 162252 h 723900"/>
                    <a:gd name="connsiteX9" fmla="*/ 84747 w 546522"/>
                    <a:gd name="connsiteY9" fmla="*/ 561648 h 723900"/>
                    <a:gd name="connsiteX10" fmla="*/ 147939 w 546522"/>
                    <a:gd name="connsiteY10" fmla="*/ 624840 h 723900"/>
                    <a:gd name="connsiteX11" fmla="*/ 400702 w 546522"/>
                    <a:gd name="connsiteY11" fmla="*/ 624840 h 723900"/>
                    <a:gd name="connsiteX12" fmla="*/ 458928 w 546522"/>
                    <a:gd name="connsiteY12" fmla="*/ 586245 h 723900"/>
                    <a:gd name="connsiteX13" fmla="*/ 460480 w 546522"/>
                    <a:gd name="connsiteY13" fmla="*/ 578560 h 723900"/>
                    <a:gd name="connsiteX14" fmla="*/ 543605 w 546522"/>
                    <a:gd name="connsiteY14" fmla="*/ 657400 h 723900"/>
                    <a:gd name="connsiteX15" fmla="*/ 541454 w 546522"/>
                    <a:gd name="connsiteY15" fmla="*/ 668051 h 723900"/>
                    <a:gd name="connsiteX16" fmla="*/ 457198 w 546522"/>
                    <a:gd name="connsiteY16" fmla="*/ 723900 h 723900"/>
                    <a:gd name="connsiteX17" fmla="*/ 91442 w 546522"/>
                    <a:gd name="connsiteY17" fmla="*/ 723900 h 723900"/>
                    <a:gd name="connsiteX18" fmla="*/ 0 w 546522"/>
                    <a:gd name="connsiteY18" fmla="*/ 632458 h 723900"/>
                    <a:gd name="connsiteX19" fmla="*/ 0 w 546522"/>
                    <a:gd name="connsiteY19" fmla="*/ 91442 h 723900"/>
                    <a:gd name="connsiteX20" fmla="*/ 91442 w 546522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541454 w 543605"/>
                    <a:gd name="connsiteY2" fmla="*/ 55849 h 723900"/>
                    <a:gd name="connsiteX3" fmla="*/ 432877 w 543605"/>
                    <a:gd name="connsiteY3" fmla="*/ 0 h 723900"/>
                    <a:gd name="connsiteX4" fmla="*/ 91442 w 543605"/>
                    <a:gd name="connsiteY4" fmla="*/ 0 h 723900"/>
                    <a:gd name="connsiteX5" fmla="*/ 294237 w 543605"/>
                    <a:gd name="connsiteY5" fmla="*/ 0 h 723900"/>
                    <a:gd name="connsiteX6" fmla="*/ 259248 w 543605"/>
                    <a:gd name="connsiteY6" fmla="*/ 99060 h 723900"/>
                    <a:gd name="connsiteX7" fmla="*/ 147939 w 543605"/>
                    <a:gd name="connsiteY7" fmla="*/ 99060 h 723900"/>
                    <a:gd name="connsiteX8" fmla="*/ 84747 w 543605"/>
                    <a:gd name="connsiteY8" fmla="*/ 162252 h 723900"/>
                    <a:gd name="connsiteX9" fmla="*/ 84747 w 543605"/>
                    <a:gd name="connsiteY9" fmla="*/ 561648 h 723900"/>
                    <a:gd name="connsiteX10" fmla="*/ 147939 w 543605"/>
                    <a:gd name="connsiteY10" fmla="*/ 624840 h 723900"/>
                    <a:gd name="connsiteX11" fmla="*/ 400702 w 543605"/>
                    <a:gd name="connsiteY11" fmla="*/ 624840 h 723900"/>
                    <a:gd name="connsiteX12" fmla="*/ 458928 w 543605"/>
                    <a:gd name="connsiteY12" fmla="*/ 586245 h 723900"/>
                    <a:gd name="connsiteX13" fmla="*/ 460480 w 543605"/>
                    <a:gd name="connsiteY13" fmla="*/ 578560 h 723900"/>
                    <a:gd name="connsiteX14" fmla="*/ 543605 w 543605"/>
                    <a:gd name="connsiteY14" fmla="*/ 657400 h 723900"/>
                    <a:gd name="connsiteX15" fmla="*/ 541454 w 543605"/>
                    <a:gd name="connsiteY15" fmla="*/ 668051 h 723900"/>
                    <a:gd name="connsiteX16" fmla="*/ 457198 w 543605"/>
                    <a:gd name="connsiteY16" fmla="*/ 723900 h 723900"/>
                    <a:gd name="connsiteX17" fmla="*/ 91442 w 543605"/>
                    <a:gd name="connsiteY17" fmla="*/ 723900 h 723900"/>
                    <a:gd name="connsiteX18" fmla="*/ 0 w 543605"/>
                    <a:gd name="connsiteY18" fmla="*/ 632458 h 723900"/>
                    <a:gd name="connsiteX19" fmla="*/ 0 w 543605"/>
                    <a:gd name="connsiteY19" fmla="*/ 91442 h 723900"/>
                    <a:gd name="connsiteX20" fmla="*/ 91442 w 543605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432877 w 543605"/>
                    <a:gd name="connsiteY2" fmla="*/ 0 h 723900"/>
                    <a:gd name="connsiteX3" fmla="*/ 91442 w 543605"/>
                    <a:gd name="connsiteY3" fmla="*/ 0 h 723900"/>
                    <a:gd name="connsiteX4" fmla="*/ 294237 w 543605"/>
                    <a:gd name="connsiteY4" fmla="*/ 0 h 723900"/>
                    <a:gd name="connsiteX5" fmla="*/ 259248 w 543605"/>
                    <a:gd name="connsiteY5" fmla="*/ 99060 h 723900"/>
                    <a:gd name="connsiteX6" fmla="*/ 147939 w 543605"/>
                    <a:gd name="connsiteY6" fmla="*/ 99060 h 723900"/>
                    <a:gd name="connsiteX7" fmla="*/ 84747 w 543605"/>
                    <a:gd name="connsiteY7" fmla="*/ 162252 h 723900"/>
                    <a:gd name="connsiteX8" fmla="*/ 84747 w 543605"/>
                    <a:gd name="connsiteY8" fmla="*/ 561648 h 723900"/>
                    <a:gd name="connsiteX9" fmla="*/ 147939 w 543605"/>
                    <a:gd name="connsiteY9" fmla="*/ 624840 h 723900"/>
                    <a:gd name="connsiteX10" fmla="*/ 400702 w 543605"/>
                    <a:gd name="connsiteY10" fmla="*/ 624840 h 723900"/>
                    <a:gd name="connsiteX11" fmla="*/ 458928 w 543605"/>
                    <a:gd name="connsiteY11" fmla="*/ 586245 h 723900"/>
                    <a:gd name="connsiteX12" fmla="*/ 460480 w 543605"/>
                    <a:gd name="connsiteY12" fmla="*/ 578560 h 723900"/>
                    <a:gd name="connsiteX13" fmla="*/ 543605 w 543605"/>
                    <a:gd name="connsiteY13" fmla="*/ 657400 h 723900"/>
                    <a:gd name="connsiteX14" fmla="*/ 541454 w 543605"/>
                    <a:gd name="connsiteY14" fmla="*/ 668051 h 723900"/>
                    <a:gd name="connsiteX15" fmla="*/ 457198 w 543605"/>
                    <a:gd name="connsiteY15" fmla="*/ 723900 h 723900"/>
                    <a:gd name="connsiteX16" fmla="*/ 91442 w 543605"/>
                    <a:gd name="connsiteY16" fmla="*/ 723900 h 723900"/>
                    <a:gd name="connsiteX17" fmla="*/ 0 w 543605"/>
                    <a:gd name="connsiteY17" fmla="*/ 632458 h 723900"/>
                    <a:gd name="connsiteX18" fmla="*/ 0 w 543605"/>
                    <a:gd name="connsiteY18" fmla="*/ 91442 h 723900"/>
                    <a:gd name="connsiteX19" fmla="*/ 91442 w 543605"/>
                    <a:gd name="connsiteY19" fmla="*/ 0 h 723900"/>
                    <a:gd name="connsiteX0" fmla="*/ 91442 w 543605"/>
                    <a:gd name="connsiteY0" fmla="*/ 0 h 723900"/>
                    <a:gd name="connsiteX1" fmla="*/ 294237 w 543605"/>
                    <a:gd name="connsiteY1" fmla="*/ 0 h 723900"/>
                    <a:gd name="connsiteX2" fmla="*/ 259248 w 543605"/>
                    <a:gd name="connsiteY2" fmla="*/ 99060 h 723900"/>
                    <a:gd name="connsiteX3" fmla="*/ 147939 w 543605"/>
                    <a:gd name="connsiteY3" fmla="*/ 99060 h 723900"/>
                    <a:gd name="connsiteX4" fmla="*/ 84747 w 543605"/>
                    <a:gd name="connsiteY4" fmla="*/ 162252 h 723900"/>
                    <a:gd name="connsiteX5" fmla="*/ 84747 w 543605"/>
                    <a:gd name="connsiteY5" fmla="*/ 561648 h 723900"/>
                    <a:gd name="connsiteX6" fmla="*/ 147939 w 543605"/>
                    <a:gd name="connsiteY6" fmla="*/ 624840 h 723900"/>
                    <a:gd name="connsiteX7" fmla="*/ 400702 w 543605"/>
                    <a:gd name="connsiteY7" fmla="*/ 624840 h 723900"/>
                    <a:gd name="connsiteX8" fmla="*/ 458928 w 543605"/>
                    <a:gd name="connsiteY8" fmla="*/ 586245 h 723900"/>
                    <a:gd name="connsiteX9" fmla="*/ 460480 w 543605"/>
                    <a:gd name="connsiteY9" fmla="*/ 578560 h 723900"/>
                    <a:gd name="connsiteX10" fmla="*/ 543605 w 543605"/>
                    <a:gd name="connsiteY10" fmla="*/ 657400 h 723900"/>
                    <a:gd name="connsiteX11" fmla="*/ 541454 w 543605"/>
                    <a:gd name="connsiteY11" fmla="*/ 668051 h 723900"/>
                    <a:gd name="connsiteX12" fmla="*/ 457198 w 543605"/>
                    <a:gd name="connsiteY12" fmla="*/ 723900 h 723900"/>
                    <a:gd name="connsiteX13" fmla="*/ 91442 w 543605"/>
                    <a:gd name="connsiteY13" fmla="*/ 723900 h 723900"/>
                    <a:gd name="connsiteX14" fmla="*/ 0 w 543605"/>
                    <a:gd name="connsiteY14" fmla="*/ 632458 h 723900"/>
                    <a:gd name="connsiteX15" fmla="*/ 0 w 543605"/>
                    <a:gd name="connsiteY15" fmla="*/ 91442 h 723900"/>
                    <a:gd name="connsiteX16" fmla="*/ 91442 w 543605"/>
                    <a:gd name="connsiteY1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43605" h="723900">
                      <a:moveTo>
                        <a:pt x="91442" y="0"/>
                      </a:moveTo>
                      <a:lnTo>
                        <a:pt x="294237" y="0"/>
                      </a:lnTo>
                      <a:lnTo>
                        <a:pt x="259248" y="99060"/>
                      </a:lnTo>
                      <a:lnTo>
                        <a:pt x="147939" y="99060"/>
                      </a:lnTo>
                      <a:cubicBezTo>
                        <a:pt x="113039" y="99060"/>
                        <a:pt x="84747" y="127352"/>
                        <a:pt x="84747" y="162252"/>
                      </a:cubicBezTo>
                      <a:lnTo>
                        <a:pt x="84747" y="561648"/>
                      </a:lnTo>
                      <a:cubicBezTo>
                        <a:pt x="84747" y="596548"/>
                        <a:pt x="113039" y="624840"/>
                        <a:pt x="147939" y="624840"/>
                      </a:cubicBezTo>
                      <a:lnTo>
                        <a:pt x="400702" y="624840"/>
                      </a:lnTo>
                      <a:cubicBezTo>
                        <a:pt x="426877" y="624840"/>
                        <a:pt x="449335" y="608926"/>
                        <a:pt x="458928" y="586245"/>
                      </a:cubicBezTo>
                      <a:lnTo>
                        <a:pt x="460480" y="578560"/>
                      </a:lnTo>
                      <a:lnTo>
                        <a:pt x="543605" y="657400"/>
                      </a:lnTo>
                      <a:lnTo>
                        <a:pt x="541454" y="668051"/>
                      </a:lnTo>
                      <a:cubicBezTo>
                        <a:pt x="527573" y="700871"/>
                        <a:pt x="495075" y="723900"/>
                        <a:pt x="457198" y="723900"/>
                      </a:cubicBezTo>
                      <a:lnTo>
                        <a:pt x="91442" y="723900"/>
                      </a:lnTo>
                      <a:cubicBezTo>
                        <a:pt x="40940" y="723900"/>
                        <a:pt x="0" y="682960"/>
                        <a:pt x="0" y="632458"/>
                      </a:cubicBezTo>
                      <a:lnTo>
                        <a:pt x="0" y="91442"/>
                      </a:lnTo>
                      <a:cubicBezTo>
                        <a:pt x="0" y="40940"/>
                        <a:pt x="40940" y="0"/>
                        <a:pt x="9144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30" name="Rectangle 20"/>
                <p:cNvSpPr/>
                <p:nvPr/>
              </p:nvSpPr>
              <p:spPr>
                <a:xfrm>
                  <a:off x="3267940" y="1957742"/>
                  <a:ext cx="878380" cy="946077"/>
                </a:xfrm>
                <a:custGeom>
                  <a:avLst/>
                  <a:gdLst>
                    <a:gd name="connsiteX0" fmla="*/ 0 w 910858"/>
                    <a:gd name="connsiteY0" fmla="*/ 0 h 1112520"/>
                    <a:gd name="connsiteX1" fmla="*/ 9108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10858"/>
                    <a:gd name="connsiteY0" fmla="*/ 0 h 1112520"/>
                    <a:gd name="connsiteX1" fmla="*/ 8727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94678"/>
                    <a:gd name="connsiteY0" fmla="*/ 0 h 1112520"/>
                    <a:gd name="connsiteX1" fmla="*/ 872758 w 994678"/>
                    <a:gd name="connsiteY1" fmla="*/ 0 h 1112520"/>
                    <a:gd name="connsiteX2" fmla="*/ 994678 w 994678"/>
                    <a:gd name="connsiteY2" fmla="*/ 68580 h 1112520"/>
                    <a:gd name="connsiteX3" fmla="*/ 0 w 994678"/>
                    <a:gd name="connsiteY3" fmla="*/ 1112520 h 1112520"/>
                    <a:gd name="connsiteX4" fmla="*/ 0 w 994678"/>
                    <a:gd name="connsiteY4" fmla="*/ 0 h 1112520"/>
                    <a:gd name="connsiteX0" fmla="*/ 0 w 994678"/>
                    <a:gd name="connsiteY0" fmla="*/ 0 h 883920"/>
                    <a:gd name="connsiteX1" fmla="*/ 872758 w 994678"/>
                    <a:gd name="connsiteY1" fmla="*/ 0 h 883920"/>
                    <a:gd name="connsiteX2" fmla="*/ 994678 w 994678"/>
                    <a:gd name="connsiteY2" fmla="*/ 68580 h 883920"/>
                    <a:gd name="connsiteX3" fmla="*/ 434340 w 994678"/>
                    <a:gd name="connsiteY3" fmla="*/ 883920 h 883920"/>
                    <a:gd name="connsiteX4" fmla="*/ 0 w 994678"/>
                    <a:gd name="connsiteY4" fmla="*/ 0 h 883920"/>
                    <a:gd name="connsiteX0" fmla="*/ 7620 w 560338"/>
                    <a:gd name="connsiteY0" fmla="*/ 548640 h 883920"/>
                    <a:gd name="connsiteX1" fmla="*/ 438418 w 560338"/>
                    <a:gd name="connsiteY1" fmla="*/ 0 h 883920"/>
                    <a:gd name="connsiteX2" fmla="*/ 560338 w 560338"/>
                    <a:gd name="connsiteY2" fmla="*/ 68580 h 883920"/>
                    <a:gd name="connsiteX3" fmla="*/ 0 w 560338"/>
                    <a:gd name="connsiteY3" fmla="*/ 883920 h 883920"/>
                    <a:gd name="connsiteX4" fmla="*/ 7620 w 560338"/>
                    <a:gd name="connsiteY4" fmla="*/ 548640 h 883920"/>
                    <a:gd name="connsiteX0" fmla="*/ 18782 w 571500"/>
                    <a:gd name="connsiteY0" fmla="*/ 548640 h 883920"/>
                    <a:gd name="connsiteX1" fmla="*/ 449580 w 571500"/>
                    <a:gd name="connsiteY1" fmla="*/ 0 h 883920"/>
                    <a:gd name="connsiteX2" fmla="*/ 571500 w 571500"/>
                    <a:gd name="connsiteY2" fmla="*/ 68580 h 883920"/>
                    <a:gd name="connsiteX3" fmla="*/ 11162 w 571500"/>
                    <a:gd name="connsiteY3" fmla="*/ 883920 h 883920"/>
                    <a:gd name="connsiteX4" fmla="*/ 0 w 571500"/>
                    <a:gd name="connsiteY4" fmla="*/ 739140 h 883920"/>
                    <a:gd name="connsiteX5" fmla="*/ 18782 w 5715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0 w 800100"/>
                    <a:gd name="connsiteY4" fmla="*/ 472440 h 883920"/>
                    <a:gd name="connsiteX5" fmla="*/ 247382 w 8001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129540 w 800100"/>
                    <a:gd name="connsiteY4" fmla="*/ 678180 h 883920"/>
                    <a:gd name="connsiteX5" fmla="*/ 0 w 800100"/>
                    <a:gd name="connsiteY5" fmla="*/ 472440 h 883920"/>
                    <a:gd name="connsiteX6" fmla="*/ 247382 w 8001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31596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27024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23582 w 876300"/>
                    <a:gd name="connsiteY6" fmla="*/ 548640 h 914400"/>
                    <a:gd name="connsiteX0" fmla="*/ 308342 w 876300"/>
                    <a:gd name="connsiteY0" fmla="*/ 60198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08342 w 876300"/>
                    <a:gd name="connsiteY6" fmla="*/ 601980 h 914400"/>
                    <a:gd name="connsiteX0" fmla="*/ 308342 w 876300"/>
                    <a:gd name="connsiteY0" fmla="*/ 601980 h 876300"/>
                    <a:gd name="connsiteX1" fmla="*/ 754380 w 876300"/>
                    <a:gd name="connsiteY1" fmla="*/ 0 h 876300"/>
                    <a:gd name="connsiteX2" fmla="*/ 876300 w 876300"/>
                    <a:gd name="connsiteY2" fmla="*/ 68580 h 876300"/>
                    <a:gd name="connsiteX3" fmla="*/ 285482 w 876300"/>
                    <a:gd name="connsiteY3" fmla="*/ 876300 h 876300"/>
                    <a:gd name="connsiteX4" fmla="*/ 0 w 876300"/>
                    <a:gd name="connsiteY4" fmla="*/ 609600 h 876300"/>
                    <a:gd name="connsiteX5" fmla="*/ 76200 w 876300"/>
                    <a:gd name="connsiteY5" fmla="*/ 472440 h 876300"/>
                    <a:gd name="connsiteX6" fmla="*/ 308342 w 876300"/>
                    <a:gd name="connsiteY6" fmla="*/ 601980 h 876300"/>
                    <a:gd name="connsiteX0" fmla="*/ 331202 w 899160"/>
                    <a:gd name="connsiteY0" fmla="*/ 60198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31202 w 899160"/>
                    <a:gd name="connsiteY6" fmla="*/ 601980 h 876300"/>
                    <a:gd name="connsiteX0" fmla="*/ 323582 w 899160"/>
                    <a:gd name="connsiteY0" fmla="*/ 65532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23582 w 899160"/>
                    <a:gd name="connsiteY6" fmla="*/ 655320 h 876300"/>
                    <a:gd name="connsiteX0" fmla="*/ 323582 w 899160"/>
                    <a:gd name="connsiteY0" fmla="*/ 67056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70560 h 891540"/>
                    <a:gd name="connsiteX0" fmla="*/ 323582 w 899160"/>
                    <a:gd name="connsiteY0" fmla="*/ 64008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40080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283538 w 899160"/>
                    <a:gd name="connsiteY6" fmla="*/ 700339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67025 w 899160"/>
                    <a:gd name="connsiteY5" fmla="*/ 514462 h 891540"/>
                    <a:gd name="connsiteX6" fmla="*/ 283538 w 899160"/>
                    <a:gd name="connsiteY6" fmla="*/ 700339 h 891540"/>
                    <a:gd name="connsiteX0" fmla="*/ 283538 w 891151"/>
                    <a:gd name="connsiteY0" fmla="*/ 700339 h 891540"/>
                    <a:gd name="connsiteX1" fmla="*/ 746760 w 891151"/>
                    <a:gd name="connsiteY1" fmla="*/ 0 h 891540"/>
                    <a:gd name="connsiteX2" fmla="*/ 891151 w 891151"/>
                    <a:gd name="connsiteY2" fmla="*/ 150774 h 891540"/>
                    <a:gd name="connsiteX3" fmla="*/ 308342 w 891151"/>
                    <a:gd name="connsiteY3" fmla="*/ 891540 h 891540"/>
                    <a:gd name="connsiteX4" fmla="*/ 0 w 891151"/>
                    <a:gd name="connsiteY4" fmla="*/ 647700 h 891540"/>
                    <a:gd name="connsiteX5" fmla="*/ 67025 w 891151"/>
                    <a:gd name="connsiteY5" fmla="*/ 514462 h 891540"/>
                    <a:gd name="connsiteX6" fmla="*/ 283538 w 891151"/>
                    <a:gd name="connsiteY6" fmla="*/ 700339 h 891540"/>
                    <a:gd name="connsiteX0" fmla="*/ 283538 w 891151"/>
                    <a:gd name="connsiteY0" fmla="*/ 640080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83538 w 891151"/>
                    <a:gd name="connsiteY6" fmla="*/ 640080 h 831281"/>
                    <a:gd name="connsiteX0" fmla="*/ 275530 w 891151"/>
                    <a:gd name="connsiteY0" fmla="*/ 599908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75530 w 891151"/>
                    <a:gd name="connsiteY6" fmla="*/ 599908 h 831281"/>
                    <a:gd name="connsiteX0" fmla="*/ 307565 w 923186"/>
                    <a:gd name="connsiteY0" fmla="*/ 599908 h 831281"/>
                    <a:gd name="connsiteX1" fmla="*/ 762778 w 923186"/>
                    <a:gd name="connsiteY1" fmla="*/ 0 h 831281"/>
                    <a:gd name="connsiteX2" fmla="*/ 923186 w 923186"/>
                    <a:gd name="connsiteY2" fmla="*/ 90515 h 831281"/>
                    <a:gd name="connsiteX3" fmla="*/ 340377 w 923186"/>
                    <a:gd name="connsiteY3" fmla="*/ 831281 h 831281"/>
                    <a:gd name="connsiteX4" fmla="*/ 0 w 923186"/>
                    <a:gd name="connsiteY4" fmla="*/ 620918 h 831281"/>
                    <a:gd name="connsiteX5" fmla="*/ 99060 w 923186"/>
                    <a:gd name="connsiteY5" fmla="*/ 454203 h 831281"/>
                    <a:gd name="connsiteX6" fmla="*/ 307565 w 923186"/>
                    <a:gd name="connsiteY6" fmla="*/ 599908 h 831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3186" h="831281">
                      <a:moveTo>
                        <a:pt x="307565" y="599908"/>
                      </a:moveTo>
                      <a:lnTo>
                        <a:pt x="762778" y="0"/>
                      </a:lnTo>
                      <a:lnTo>
                        <a:pt x="923186" y="90515"/>
                      </a:lnTo>
                      <a:lnTo>
                        <a:pt x="340377" y="831281"/>
                      </a:lnTo>
                      <a:lnTo>
                        <a:pt x="0" y="620918"/>
                      </a:lnTo>
                      <a:lnTo>
                        <a:pt x="99060" y="454203"/>
                      </a:lnTo>
                      <a:lnTo>
                        <a:pt x="307565" y="5999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20" name="Group 19"/>
              <p:cNvGrpSpPr/>
              <p:nvPr/>
            </p:nvGrpSpPr>
            <p:grpSpPr>
              <a:xfrm>
                <a:off x="4060893" y="2430780"/>
                <a:ext cx="1403798" cy="430745"/>
                <a:chOff x="4043965" y="2430780"/>
                <a:chExt cx="1403798" cy="430745"/>
              </a:xfrm>
              <a:grpFill/>
            </p:grpSpPr>
            <p:sp>
              <p:nvSpPr>
                <p:cNvPr id="27" name="Rectangle 26"/>
                <p:cNvSpPr/>
                <p:nvPr/>
              </p:nvSpPr>
              <p:spPr>
                <a:xfrm>
                  <a:off x="4043966" y="243078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8" name="Rectangle 27"/>
                <p:cNvSpPr/>
                <p:nvPr/>
              </p:nvSpPr>
              <p:spPr>
                <a:xfrm>
                  <a:off x="4043965" y="271653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21" name="Group 20"/>
              <p:cNvGrpSpPr/>
              <p:nvPr/>
            </p:nvGrpSpPr>
            <p:grpSpPr>
              <a:xfrm>
                <a:off x="4060893" y="3771968"/>
                <a:ext cx="1403798" cy="430745"/>
                <a:chOff x="4043965" y="2430780"/>
                <a:chExt cx="1403798" cy="430745"/>
              </a:xfrm>
              <a:grpFill/>
            </p:grpSpPr>
            <p:sp>
              <p:nvSpPr>
                <p:cNvPr id="25" name="Rectangle 24"/>
                <p:cNvSpPr/>
                <p:nvPr/>
              </p:nvSpPr>
              <p:spPr>
                <a:xfrm>
                  <a:off x="4043966" y="243078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6" name="Rectangle 25"/>
                <p:cNvSpPr/>
                <p:nvPr/>
              </p:nvSpPr>
              <p:spPr>
                <a:xfrm>
                  <a:off x="4043965" y="271653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22" name="Group 21"/>
              <p:cNvGrpSpPr/>
              <p:nvPr/>
            </p:nvGrpSpPr>
            <p:grpSpPr>
              <a:xfrm>
                <a:off x="4060893" y="5113157"/>
                <a:ext cx="1403798" cy="430745"/>
                <a:chOff x="4043965" y="2430780"/>
                <a:chExt cx="1403798" cy="430745"/>
              </a:xfrm>
              <a:grpFill/>
            </p:grpSpPr>
            <p:sp>
              <p:nvSpPr>
                <p:cNvPr id="23" name="Rectangle 22"/>
                <p:cNvSpPr/>
                <p:nvPr/>
              </p:nvSpPr>
              <p:spPr>
                <a:xfrm>
                  <a:off x="4043966" y="243078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24" name="Rectangle 23"/>
                <p:cNvSpPr/>
                <p:nvPr/>
              </p:nvSpPr>
              <p:spPr>
                <a:xfrm>
                  <a:off x="4043965" y="271653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</p:grpSp>
        <p:grpSp>
          <p:nvGrpSpPr>
            <p:cNvPr id="8" name="Group 7"/>
            <p:cNvGrpSpPr/>
            <p:nvPr/>
          </p:nvGrpSpPr>
          <p:grpSpPr>
            <a:xfrm rot="21219949">
              <a:off x="4596429" y="4634545"/>
              <a:ext cx="421721" cy="387807"/>
              <a:chOff x="7862023" y="5744193"/>
              <a:chExt cx="561310" cy="516172"/>
            </a:xfrm>
            <a:grpFill/>
          </p:grpSpPr>
          <p:sp>
            <p:nvSpPr>
              <p:cNvPr id="9" name="Round Same Side Corner Rectangle 8"/>
              <p:cNvSpPr/>
              <p:nvPr/>
            </p:nvSpPr>
            <p:spPr>
              <a:xfrm rot="2819098">
                <a:off x="8360133" y="5766821"/>
                <a:ext cx="85827" cy="4057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Rectangle 87"/>
              <p:cNvSpPr/>
              <p:nvPr/>
            </p:nvSpPr>
            <p:spPr>
              <a:xfrm rot="18993470">
                <a:off x="8258931" y="5801083"/>
                <a:ext cx="138649" cy="102307"/>
              </a:xfrm>
              <a:custGeom>
                <a:avLst/>
                <a:gdLst>
                  <a:gd name="connsiteX0" fmla="*/ 0 w 1067195"/>
                  <a:gd name="connsiteY0" fmla="*/ 0 h 767452"/>
                  <a:gd name="connsiteX1" fmla="*/ 1067195 w 1067195"/>
                  <a:gd name="connsiteY1" fmla="*/ 0 h 767452"/>
                  <a:gd name="connsiteX2" fmla="*/ 1067195 w 1067195"/>
                  <a:gd name="connsiteY2" fmla="*/ 767452 h 767452"/>
                  <a:gd name="connsiteX3" fmla="*/ 0 w 1067195"/>
                  <a:gd name="connsiteY3" fmla="*/ 767452 h 767452"/>
                  <a:gd name="connsiteX4" fmla="*/ 0 w 1067195"/>
                  <a:gd name="connsiteY4" fmla="*/ 0 h 767452"/>
                  <a:gd name="connsiteX0" fmla="*/ 0 w 1077007"/>
                  <a:gd name="connsiteY0" fmla="*/ 0 h 767452"/>
                  <a:gd name="connsiteX1" fmla="*/ 1077007 w 1077007"/>
                  <a:gd name="connsiteY1" fmla="*/ 4141 h 767452"/>
                  <a:gd name="connsiteX2" fmla="*/ 1067195 w 1077007"/>
                  <a:gd name="connsiteY2" fmla="*/ 767452 h 767452"/>
                  <a:gd name="connsiteX3" fmla="*/ 0 w 1077007"/>
                  <a:gd name="connsiteY3" fmla="*/ 767452 h 767452"/>
                  <a:gd name="connsiteX4" fmla="*/ 0 w 1077007"/>
                  <a:gd name="connsiteY4" fmla="*/ 0 h 767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77007" h="767452">
                    <a:moveTo>
                      <a:pt x="0" y="0"/>
                    </a:moveTo>
                    <a:lnTo>
                      <a:pt x="1077007" y="4141"/>
                    </a:lnTo>
                    <a:lnTo>
                      <a:pt x="1067195" y="767452"/>
                    </a:lnTo>
                    <a:lnTo>
                      <a:pt x="0" y="76745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Rectangle 88"/>
              <p:cNvSpPr/>
              <p:nvPr/>
            </p:nvSpPr>
            <p:spPr>
              <a:xfrm rot="18964861">
                <a:off x="8385144" y="5858800"/>
                <a:ext cx="34828" cy="40222"/>
              </a:xfrm>
              <a:custGeom>
                <a:avLst/>
                <a:gdLst>
                  <a:gd name="connsiteX0" fmla="*/ 0 w 270532"/>
                  <a:gd name="connsiteY0" fmla="*/ 0 h 333375"/>
                  <a:gd name="connsiteX1" fmla="*/ 270532 w 270532"/>
                  <a:gd name="connsiteY1" fmla="*/ 0 h 333375"/>
                  <a:gd name="connsiteX2" fmla="*/ 270532 w 270532"/>
                  <a:gd name="connsiteY2" fmla="*/ 333375 h 333375"/>
                  <a:gd name="connsiteX3" fmla="*/ 0 w 270532"/>
                  <a:gd name="connsiteY3" fmla="*/ 333375 h 333375"/>
                  <a:gd name="connsiteX4" fmla="*/ 0 w 270532"/>
                  <a:gd name="connsiteY4" fmla="*/ 0 h 333375"/>
                  <a:gd name="connsiteX0" fmla="*/ 0 w 270532"/>
                  <a:gd name="connsiteY0" fmla="*/ 0 h 333375"/>
                  <a:gd name="connsiteX1" fmla="*/ 270532 w 270532"/>
                  <a:gd name="connsiteY1" fmla="*/ 0 h 333375"/>
                  <a:gd name="connsiteX2" fmla="*/ 256354 w 270532"/>
                  <a:gd name="connsiteY2" fmla="*/ 301734 h 333375"/>
                  <a:gd name="connsiteX3" fmla="*/ 0 w 270532"/>
                  <a:gd name="connsiteY3" fmla="*/ 333375 h 333375"/>
                  <a:gd name="connsiteX4" fmla="*/ 0 w 270532"/>
                  <a:gd name="connsiteY4" fmla="*/ 0 h 333375"/>
                  <a:gd name="connsiteX0" fmla="*/ 0 w 270532"/>
                  <a:gd name="connsiteY0" fmla="*/ 0 h 301734"/>
                  <a:gd name="connsiteX1" fmla="*/ 270532 w 270532"/>
                  <a:gd name="connsiteY1" fmla="*/ 0 h 301734"/>
                  <a:gd name="connsiteX2" fmla="*/ 256354 w 270532"/>
                  <a:gd name="connsiteY2" fmla="*/ 301734 h 301734"/>
                  <a:gd name="connsiteX3" fmla="*/ 21107 w 270532"/>
                  <a:gd name="connsiteY3" fmla="*/ 284491 h 301734"/>
                  <a:gd name="connsiteX4" fmla="*/ 0 w 270532"/>
                  <a:gd name="connsiteY4" fmla="*/ 0 h 301734"/>
                  <a:gd name="connsiteX0" fmla="*/ 0 w 270532"/>
                  <a:gd name="connsiteY0" fmla="*/ 0 h 301734"/>
                  <a:gd name="connsiteX1" fmla="*/ 270532 w 270532"/>
                  <a:gd name="connsiteY1" fmla="*/ 0 h 301734"/>
                  <a:gd name="connsiteX2" fmla="*/ 256354 w 270532"/>
                  <a:gd name="connsiteY2" fmla="*/ 301734 h 301734"/>
                  <a:gd name="connsiteX3" fmla="*/ 18040 w 270532"/>
                  <a:gd name="connsiteY3" fmla="*/ 280847 h 301734"/>
                  <a:gd name="connsiteX4" fmla="*/ 0 w 270532"/>
                  <a:gd name="connsiteY4" fmla="*/ 0 h 301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532" h="301734">
                    <a:moveTo>
                      <a:pt x="0" y="0"/>
                    </a:moveTo>
                    <a:lnTo>
                      <a:pt x="270532" y="0"/>
                    </a:lnTo>
                    <a:lnTo>
                      <a:pt x="256354" y="301734"/>
                    </a:lnTo>
                    <a:lnTo>
                      <a:pt x="18040" y="28084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89"/>
              <p:cNvSpPr/>
              <p:nvPr/>
            </p:nvSpPr>
            <p:spPr>
              <a:xfrm rot="3060000">
                <a:off x="8298191" y="5848534"/>
                <a:ext cx="23943" cy="220137"/>
              </a:xfrm>
              <a:custGeom>
                <a:avLst/>
                <a:gdLst>
                  <a:gd name="connsiteX0" fmla="*/ 0 w 111898"/>
                  <a:gd name="connsiteY0" fmla="*/ 0 h 1644627"/>
                  <a:gd name="connsiteX1" fmla="*/ 111898 w 111898"/>
                  <a:gd name="connsiteY1" fmla="*/ 0 h 1644627"/>
                  <a:gd name="connsiteX2" fmla="*/ 111898 w 111898"/>
                  <a:gd name="connsiteY2" fmla="*/ 1644627 h 1644627"/>
                  <a:gd name="connsiteX3" fmla="*/ 0 w 111898"/>
                  <a:gd name="connsiteY3" fmla="*/ 1644627 h 1644627"/>
                  <a:gd name="connsiteX4" fmla="*/ 0 w 111898"/>
                  <a:gd name="connsiteY4" fmla="*/ 0 h 1644627"/>
                  <a:gd name="connsiteX0" fmla="*/ 0 w 148942"/>
                  <a:gd name="connsiteY0" fmla="*/ 23574 h 1668201"/>
                  <a:gd name="connsiteX1" fmla="*/ 148942 w 148942"/>
                  <a:gd name="connsiteY1" fmla="*/ 0 h 1668201"/>
                  <a:gd name="connsiteX2" fmla="*/ 111898 w 148942"/>
                  <a:gd name="connsiteY2" fmla="*/ 1668201 h 1668201"/>
                  <a:gd name="connsiteX3" fmla="*/ 0 w 148942"/>
                  <a:gd name="connsiteY3" fmla="*/ 1668201 h 1668201"/>
                  <a:gd name="connsiteX4" fmla="*/ 0 w 148942"/>
                  <a:gd name="connsiteY4" fmla="*/ 23574 h 1668201"/>
                  <a:gd name="connsiteX0" fmla="*/ 0 w 185985"/>
                  <a:gd name="connsiteY0" fmla="*/ 26941 h 1668201"/>
                  <a:gd name="connsiteX1" fmla="*/ 185985 w 185985"/>
                  <a:gd name="connsiteY1" fmla="*/ 0 h 1668201"/>
                  <a:gd name="connsiteX2" fmla="*/ 148941 w 185985"/>
                  <a:gd name="connsiteY2" fmla="*/ 1668201 h 1668201"/>
                  <a:gd name="connsiteX3" fmla="*/ 37043 w 185985"/>
                  <a:gd name="connsiteY3" fmla="*/ 1668201 h 1668201"/>
                  <a:gd name="connsiteX4" fmla="*/ 0 w 185985"/>
                  <a:gd name="connsiteY4" fmla="*/ 26941 h 1668201"/>
                  <a:gd name="connsiteX0" fmla="*/ 0 w 185985"/>
                  <a:gd name="connsiteY0" fmla="*/ 26941 h 1668201"/>
                  <a:gd name="connsiteX1" fmla="*/ 185985 w 185985"/>
                  <a:gd name="connsiteY1" fmla="*/ 0 h 1668201"/>
                  <a:gd name="connsiteX2" fmla="*/ 145574 w 185985"/>
                  <a:gd name="connsiteY2" fmla="*/ 1631158 h 1668201"/>
                  <a:gd name="connsiteX3" fmla="*/ 37043 w 185985"/>
                  <a:gd name="connsiteY3" fmla="*/ 1668201 h 1668201"/>
                  <a:gd name="connsiteX4" fmla="*/ 0 w 185985"/>
                  <a:gd name="connsiteY4" fmla="*/ 26941 h 1668201"/>
                  <a:gd name="connsiteX0" fmla="*/ 0 w 185985"/>
                  <a:gd name="connsiteY0" fmla="*/ 26941 h 1651362"/>
                  <a:gd name="connsiteX1" fmla="*/ 185985 w 185985"/>
                  <a:gd name="connsiteY1" fmla="*/ 0 h 1651362"/>
                  <a:gd name="connsiteX2" fmla="*/ 145574 w 185985"/>
                  <a:gd name="connsiteY2" fmla="*/ 1631158 h 1651362"/>
                  <a:gd name="connsiteX3" fmla="*/ 67352 w 185985"/>
                  <a:gd name="connsiteY3" fmla="*/ 1651362 h 1651362"/>
                  <a:gd name="connsiteX4" fmla="*/ 0 w 185985"/>
                  <a:gd name="connsiteY4" fmla="*/ 26941 h 1651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985" h="1651362">
                    <a:moveTo>
                      <a:pt x="0" y="26941"/>
                    </a:moveTo>
                    <a:lnTo>
                      <a:pt x="185985" y="0"/>
                    </a:lnTo>
                    <a:lnTo>
                      <a:pt x="145574" y="1631158"/>
                    </a:lnTo>
                    <a:lnTo>
                      <a:pt x="67352" y="1651362"/>
                    </a:lnTo>
                    <a:lnTo>
                      <a:pt x="0" y="26941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09"/>
              <p:cNvSpPr/>
              <p:nvPr/>
            </p:nvSpPr>
            <p:spPr>
              <a:xfrm rot="19015320">
                <a:off x="7883921" y="6003368"/>
                <a:ext cx="441960" cy="100976"/>
              </a:xfrm>
              <a:custGeom>
                <a:avLst/>
                <a:gdLst>
                  <a:gd name="connsiteX0" fmla="*/ 0 w 3429000"/>
                  <a:gd name="connsiteY0" fmla="*/ 0 h 772673"/>
                  <a:gd name="connsiteX1" fmla="*/ 3429000 w 3429000"/>
                  <a:gd name="connsiteY1" fmla="*/ 0 h 772673"/>
                  <a:gd name="connsiteX2" fmla="*/ 3429000 w 3429000"/>
                  <a:gd name="connsiteY2" fmla="*/ 772673 h 772673"/>
                  <a:gd name="connsiteX3" fmla="*/ 0 w 3429000"/>
                  <a:gd name="connsiteY3" fmla="*/ 772673 h 772673"/>
                  <a:gd name="connsiteX4" fmla="*/ 0 w 3429000"/>
                  <a:gd name="connsiteY4" fmla="*/ 0 h 772673"/>
                  <a:gd name="connsiteX0" fmla="*/ 18453 w 3447453"/>
                  <a:gd name="connsiteY0" fmla="*/ 0 h 772673"/>
                  <a:gd name="connsiteX1" fmla="*/ 3447453 w 3447453"/>
                  <a:gd name="connsiteY1" fmla="*/ 0 h 772673"/>
                  <a:gd name="connsiteX2" fmla="*/ 3447453 w 3447453"/>
                  <a:gd name="connsiteY2" fmla="*/ 772673 h 772673"/>
                  <a:gd name="connsiteX3" fmla="*/ 0 w 3447453"/>
                  <a:gd name="connsiteY3" fmla="*/ 576890 h 772673"/>
                  <a:gd name="connsiteX4" fmla="*/ 18453 w 3447453"/>
                  <a:gd name="connsiteY4" fmla="*/ 0 h 772673"/>
                  <a:gd name="connsiteX0" fmla="*/ 28456 w 3447453"/>
                  <a:gd name="connsiteY0" fmla="*/ 162768 h 772673"/>
                  <a:gd name="connsiteX1" fmla="*/ 3447453 w 3447453"/>
                  <a:gd name="connsiteY1" fmla="*/ 0 h 772673"/>
                  <a:gd name="connsiteX2" fmla="*/ 3447453 w 3447453"/>
                  <a:gd name="connsiteY2" fmla="*/ 772673 h 772673"/>
                  <a:gd name="connsiteX3" fmla="*/ 0 w 3447453"/>
                  <a:gd name="connsiteY3" fmla="*/ 576890 h 772673"/>
                  <a:gd name="connsiteX4" fmla="*/ 28456 w 3447453"/>
                  <a:gd name="connsiteY4" fmla="*/ 162768 h 772673"/>
                  <a:gd name="connsiteX0" fmla="*/ 28456 w 3447453"/>
                  <a:gd name="connsiteY0" fmla="*/ 161327 h 771232"/>
                  <a:gd name="connsiteX1" fmla="*/ 3436096 w 3447453"/>
                  <a:gd name="connsiteY1" fmla="*/ 0 h 771232"/>
                  <a:gd name="connsiteX2" fmla="*/ 3447453 w 3447453"/>
                  <a:gd name="connsiteY2" fmla="*/ 771232 h 771232"/>
                  <a:gd name="connsiteX3" fmla="*/ 0 w 3447453"/>
                  <a:gd name="connsiteY3" fmla="*/ 575449 h 771232"/>
                  <a:gd name="connsiteX4" fmla="*/ 28456 w 3447453"/>
                  <a:gd name="connsiteY4" fmla="*/ 161327 h 771232"/>
                  <a:gd name="connsiteX0" fmla="*/ 28456 w 3443932"/>
                  <a:gd name="connsiteY0" fmla="*/ 161327 h 757477"/>
                  <a:gd name="connsiteX1" fmla="*/ 3436096 w 3443932"/>
                  <a:gd name="connsiteY1" fmla="*/ 0 h 757477"/>
                  <a:gd name="connsiteX2" fmla="*/ 3443932 w 3443932"/>
                  <a:gd name="connsiteY2" fmla="*/ 757477 h 757477"/>
                  <a:gd name="connsiteX3" fmla="*/ 0 w 3443932"/>
                  <a:gd name="connsiteY3" fmla="*/ 575449 h 757477"/>
                  <a:gd name="connsiteX4" fmla="*/ 28456 w 3443932"/>
                  <a:gd name="connsiteY4" fmla="*/ 161327 h 757477"/>
                  <a:gd name="connsiteX0" fmla="*/ 22217 w 3443932"/>
                  <a:gd name="connsiteY0" fmla="*/ 154130 h 757477"/>
                  <a:gd name="connsiteX1" fmla="*/ 3436096 w 3443932"/>
                  <a:gd name="connsiteY1" fmla="*/ 0 h 757477"/>
                  <a:gd name="connsiteX2" fmla="*/ 3443932 w 3443932"/>
                  <a:gd name="connsiteY2" fmla="*/ 757477 h 757477"/>
                  <a:gd name="connsiteX3" fmla="*/ 0 w 3443932"/>
                  <a:gd name="connsiteY3" fmla="*/ 575449 h 757477"/>
                  <a:gd name="connsiteX4" fmla="*/ 22217 w 3443932"/>
                  <a:gd name="connsiteY4" fmla="*/ 154130 h 757477"/>
                  <a:gd name="connsiteX0" fmla="*/ 10222 w 3431937"/>
                  <a:gd name="connsiteY0" fmla="*/ 154130 h 757477"/>
                  <a:gd name="connsiteX1" fmla="*/ 3424101 w 3431937"/>
                  <a:gd name="connsiteY1" fmla="*/ 0 h 757477"/>
                  <a:gd name="connsiteX2" fmla="*/ 3431937 w 3431937"/>
                  <a:gd name="connsiteY2" fmla="*/ 757477 h 757477"/>
                  <a:gd name="connsiteX3" fmla="*/ 0 w 3431937"/>
                  <a:gd name="connsiteY3" fmla="*/ 565050 h 757477"/>
                  <a:gd name="connsiteX4" fmla="*/ 10222 w 3431937"/>
                  <a:gd name="connsiteY4" fmla="*/ 154130 h 757477"/>
                  <a:gd name="connsiteX0" fmla="*/ 0 w 3433071"/>
                  <a:gd name="connsiteY0" fmla="*/ 155571 h 757477"/>
                  <a:gd name="connsiteX1" fmla="*/ 3425235 w 3433071"/>
                  <a:gd name="connsiteY1" fmla="*/ 0 h 757477"/>
                  <a:gd name="connsiteX2" fmla="*/ 3433071 w 3433071"/>
                  <a:gd name="connsiteY2" fmla="*/ 757477 h 757477"/>
                  <a:gd name="connsiteX3" fmla="*/ 1134 w 3433071"/>
                  <a:gd name="connsiteY3" fmla="*/ 565050 h 757477"/>
                  <a:gd name="connsiteX4" fmla="*/ 0 w 3433071"/>
                  <a:gd name="connsiteY4" fmla="*/ 155571 h 757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33071" h="757477">
                    <a:moveTo>
                      <a:pt x="0" y="155571"/>
                    </a:moveTo>
                    <a:lnTo>
                      <a:pt x="3425235" y="0"/>
                    </a:lnTo>
                    <a:lnTo>
                      <a:pt x="3433071" y="757477"/>
                    </a:lnTo>
                    <a:lnTo>
                      <a:pt x="1134" y="565050"/>
                    </a:lnTo>
                    <a:lnTo>
                      <a:pt x="0" y="155571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Isosceles Triangle 110"/>
              <p:cNvSpPr/>
              <p:nvPr/>
            </p:nvSpPr>
            <p:spPr>
              <a:xfrm rot="13692272">
                <a:off x="7875737" y="6192469"/>
                <a:ext cx="54182" cy="81609"/>
              </a:xfrm>
              <a:custGeom>
                <a:avLst/>
                <a:gdLst>
                  <a:gd name="connsiteX0" fmla="*/ 0 w 405957"/>
                  <a:gd name="connsiteY0" fmla="*/ 609600 h 609600"/>
                  <a:gd name="connsiteX1" fmla="*/ 202979 w 405957"/>
                  <a:gd name="connsiteY1" fmla="*/ 0 h 609600"/>
                  <a:gd name="connsiteX2" fmla="*/ 405957 w 405957"/>
                  <a:gd name="connsiteY2" fmla="*/ 609600 h 609600"/>
                  <a:gd name="connsiteX3" fmla="*/ 0 w 405957"/>
                  <a:gd name="connsiteY3" fmla="*/ 609600 h 609600"/>
                  <a:gd name="connsiteX0" fmla="*/ 0 w 389754"/>
                  <a:gd name="connsiteY0" fmla="*/ 609600 h 630725"/>
                  <a:gd name="connsiteX1" fmla="*/ 202979 w 389754"/>
                  <a:gd name="connsiteY1" fmla="*/ 0 h 630725"/>
                  <a:gd name="connsiteX2" fmla="*/ 389754 w 389754"/>
                  <a:gd name="connsiteY2" fmla="*/ 630725 h 630725"/>
                  <a:gd name="connsiteX3" fmla="*/ 0 w 389754"/>
                  <a:gd name="connsiteY3" fmla="*/ 609600 h 630725"/>
                  <a:gd name="connsiteX0" fmla="*/ 0 w 406450"/>
                  <a:gd name="connsiteY0" fmla="*/ 640815 h 640815"/>
                  <a:gd name="connsiteX1" fmla="*/ 219675 w 406450"/>
                  <a:gd name="connsiteY1" fmla="*/ 0 h 640815"/>
                  <a:gd name="connsiteX2" fmla="*/ 406450 w 406450"/>
                  <a:gd name="connsiteY2" fmla="*/ 630725 h 640815"/>
                  <a:gd name="connsiteX3" fmla="*/ 0 w 406450"/>
                  <a:gd name="connsiteY3" fmla="*/ 640815 h 640815"/>
                  <a:gd name="connsiteX0" fmla="*/ 0 w 406450"/>
                  <a:gd name="connsiteY0" fmla="*/ 633759 h 633759"/>
                  <a:gd name="connsiteX1" fmla="*/ 226073 w 406450"/>
                  <a:gd name="connsiteY1" fmla="*/ 0 h 633759"/>
                  <a:gd name="connsiteX2" fmla="*/ 406450 w 406450"/>
                  <a:gd name="connsiteY2" fmla="*/ 623669 h 633759"/>
                  <a:gd name="connsiteX3" fmla="*/ 0 w 406450"/>
                  <a:gd name="connsiteY3" fmla="*/ 633759 h 633759"/>
                  <a:gd name="connsiteX0" fmla="*/ 0 w 406450"/>
                  <a:gd name="connsiteY0" fmla="*/ 633923 h 633923"/>
                  <a:gd name="connsiteX1" fmla="*/ 222709 w 406450"/>
                  <a:gd name="connsiteY1" fmla="*/ 0 h 633923"/>
                  <a:gd name="connsiteX2" fmla="*/ 406450 w 406450"/>
                  <a:gd name="connsiteY2" fmla="*/ 623833 h 633923"/>
                  <a:gd name="connsiteX3" fmla="*/ 0 w 406450"/>
                  <a:gd name="connsiteY3" fmla="*/ 633923 h 633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6450" h="633923">
                    <a:moveTo>
                      <a:pt x="0" y="633923"/>
                    </a:moveTo>
                    <a:lnTo>
                      <a:pt x="222709" y="0"/>
                    </a:lnTo>
                    <a:lnTo>
                      <a:pt x="406450" y="623833"/>
                    </a:lnTo>
                    <a:lnTo>
                      <a:pt x="0" y="63392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729554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SSETS DIFFICULT TO VALU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18</a:t>
            </a:fld>
            <a:endParaRPr lang="en-US"/>
          </a:p>
        </p:txBody>
      </p:sp>
      <p:grpSp>
        <p:nvGrpSpPr>
          <p:cNvPr id="68" name="Group 67"/>
          <p:cNvGrpSpPr/>
          <p:nvPr/>
        </p:nvGrpSpPr>
        <p:grpSpPr>
          <a:xfrm>
            <a:off x="609600" y="1177028"/>
            <a:ext cx="10972800" cy="732745"/>
            <a:chOff x="609600" y="1162514"/>
            <a:chExt cx="10972800" cy="732745"/>
          </a:xfrm>
        </p:grpSpPr>
        <p:sp>
          <p:nvSpPr>
            <p:cNvPr id="5" name="Rectangle 4"/>
            <p:cNvSpPr/>
            <p:nvPr/>
          </p:nvSpPr>
          <p:spPr>
            <a:xfrm>
              <a:off x="758190" y="1162514"/>
              <a:ext cx="10824210" cy="7301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osely held corporations</a:t>
              </a:r>
            </a:p>
          </p:txBody>
        </p:sp>
        <p:sp>
          <p:nvSpPr>
            <p:cNvPr id="10" name="Rectangle 9"/>
            <p:cNvSpPr/>
            <p:nvPr/>
          </p:nvSpPr>
          <p:spPr>
            <a:xfrm>
              <a:off x="609600" y="1162514"/>
              <a:ext cx="91440" cy="730133"/>
            </a:xfrm>
            <a:prstGeom prst="rect">
              <a:avLst/>
            </a:prstGeom>
            <a:solidFill>
              <a:srgbClr val="005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0668000" y="1870384"/>
              <a:ext cx="914400" cy="24875"/>
            </a:xfrm>
            <a:prstGeom prst="rect">
              <a:avLst/>
            </a:prstGeom>
            <a:solidFill>
              <a:srgbClr val="26867C">
                <a:alpha val="5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609600" y="2107712"/>
            <a:ext cx="10972800" cy="732745"/>
            <a:chOff x="609600" y="2122749"/>
            <a:chExt cx="10972800" cy="732745"/>
          </a:xfrm>
        </p:grpSpPr>
        <p:sp>
          <p:nvSpPr>
            <p:cNvPr id="6" name="Rectangle 5"/>
            <p:cNvSpPr/>
            <p:nvPr/>
          </p:nvSpPr>
          <p:spPr>
            <a:xfrm>
              <a:off x="758190" y="2122749"/>
              <a:ext cx="10824210" cy="7301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Future inheritance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09600" y="2122749"/>
              <a:ext cx="91440" cy="730133"/>
            </a:xfrm>
            <a:prstGeom prst="rect">
              <a:avLst/>
            </a:prstGeom>
            <a:solidFill>
              <a:srgbClr val="005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0668000" y="2830619"/>
              <a:ext cx="914400" cy="24875"/>
            </a:xfrm>
            <a:prstGeom prst="rect">
              <a:avLst/>
            </a:prstGeom>
            <a:solidFill>
              <a:srgbClr val="26867C">
                <a:alpha val="5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6" name="Group 65"/>
          <p:cNvGrpSpPr/>
          <p:nvPr/>
        </p:nvGrpSpPr>
        <p:grpSpPr>
          <a:xfrm>
            <a:off x="609600" y="3038396"/>
            <a:ext cx="10972800" cy="732746"/>
            <a:chOff x="609600" y="3082983"/>
            <a:chExt cx="10972800" cy="732746"/>
          </a:xfrm>
        </p:grpSpPr>
        <p:sp>
          <p:nvSpPr>
            <p:cNvPr id="7" name="Rectangle 6"/>
            <p:cNvSpPr/>
            <p:nvPr/>
          </p:nvSpPr>
          <p:spPr>
            <a:xfrm>
              <a:off x="758190" y="3082983"/>
              <a:ext cx="10824210" cy="7301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How value is determined</a:t>
              </a: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609600" y="3082983"/>
              <a:ext cx="91440" cy="730133"/>
            </a:xfrm>
            <a:prstGeom prst="rect">
              <a:avLst/>
            </a:prstGeom>
            <a:solidFill>
              <a:srgbClr val="005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0668000" y="3790854"/>
              <a:ext cx="914400" cy="24875"/>
            </a:xfrm>
            <a:prstGeom prst="rect">
              <a:avLst/>
            </a:prstGeom>
            <a:solidFill>
              <a:srgbClr val="26867C">
                <a:alpha val="5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609600" y="3969081"/>
            <a:ext cx="10972800" cy="732746"/>
            <a:chOff x="609600" y="4043218"/>
            <a:chExt cx="10972800" cy="732746"/>
          </a:xfrm>
        </p:grpSpPr>
        <p:sp>
          <p:nvSpPr>
            <p:cNvPr id="8" name="Rectangle 7"/>
            <p:cNvSpPr/>
            <p:nvPr/>
          </p:nvSpPr>
          <p:spPr>
            <a:xfrm>
              <a:off x="758190" y="4043218"/>
              <a:ext cx="10824210" cy="7301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nterest in a trust</a:t>
              </a: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609600" y="4043218"/>
              <a:ext cx="91440" cy="730133"/>
            </a:xfrm>
            <a:prstGeom prst="rect">
              <a:avLst/>
            </a:prstGeom>
            <a:solidFill>
              <a:srgbClr val="005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0668000" y="4751089"/>
              <a:ext cx="914400" cy="24875"/>
            </a:xfrm>
            <a:prstGeom prst="rect">
              <a:avLst/>
            </a:prstGeom>
            <a:solidFill>
              <a:srgbClr val="26867C">
                <a:alpha val="5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4" name="Group 63"/>
          <p:cNvGrpSpPr/>
          <p:nvPr/>
        </p:nvGrpSpPr>
        <p:grpSpPr>
          <a:xfrm>
            <a:off x="609600" y="4899766"/>
            <a:ext cx="10972800" cy="732745"/>
            <a:chOff x="609600" y="5003453"/>
            <a:chExt cx="10972800" cy="732745"/>
          </a:xfrm>
        </p:grpSpPr>
        <p:sp>
          <p:nvSpPr>
            <p:cNvPr id="9" name="Rectangle 8"/>
            <p:cNvSpPr/>
            <p:nvPr/>
          </p:nvSpPr>
          <p:spPr>
            <a:xfrm>
              <a:off x="758190" y="5003453"/>
              <a:ext cx="10824210" cy="7301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learly set forth financial disclosures</a:t>
              </a: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609600" y="5003453"/>
              <a:ext cx="91440" cy="730133"/>
            </a:xfrm>
            <a:prstGeom prst="rect">
              <a:avLst/>
            </a:prstGeom>
            <a:solidFill>
              <a:srgbClr val="005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0668000" y="5711323"/>
              <a:ext cx="914400" cy="24875"/>
            </a:xfrm>
            <a:prstGeom prst="rect">
              <a:avLst/>
            </a:prstGeom>
            <a:solidFill>
              <a:srgbClr val="26867C">
                <a:alpha val="5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609600" y="5830449"/>
            <a:ext cx="10972800" cy="732745"/>
            <a:chOff x="609600" y="5815935"/>
            <a:chExt cx="10972800" cy="732745"/>
          </a:xfrm>
        </p:grpSpPr>
        <p:sp>
          <p:nvSpPr>
            <p:cNvPr id="61" name="Rectangle 60"/>
            <p:cNvSpPr/>
            <p:nvPr/>
          </p:nvSpPr>
          <p:spPr>
            <a:xfrm>
              <a:off x="758190" y="5815935"/>
              <a:ext cx="10824210" cy="73013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20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Offer back up information to other party</a:t>
              </a:r>
            </a:p>
          </p:txBody>
        </p:sp>
        <p:sp>
          <p:nvSpPr>
            <p:cNvPr id="62" name="Rectangle 61"/>
            <p:cNvSpPr/>
            <p:nvPr/>
          </p:nvSpPr>
          <p:spPr>
            <a:xfrm>
              <a:off x="609600" y="5815935"/>
              <a:ext cx="91440" cy="730133"/>
            </a:xfrm>
            <a:prstGeom prst="rect">
              <a:avLst/>
            </a:prstGeom>
            <a:solidFill>
              <a:srgbClr val="005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3" name="Rectangle 62"/>
            <p:cNvSpPr/>
            <p:nvPr/>
          </p:nvSpPr>
          <p:spPr>
            <a:xfrm>
              <a:off x="10668000" y="6523805"/>
              <a:ext cx="914400" cy="24875"/>
            </a:xfrm>
            <a:prstGeom prst="rect">
              <a:avLst/>
            </a:prstGeom>
            <a:solidFill>
              <a:srgbClr val="26867C">
                <a:alpha val="54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10969645" y="5998735"/>
            <a:ext cx="391637" cy="396172"/>
            <a:chOff x="2628679" y="835340"/>
            <a:chExt cx="5348288" cy="5410202"/>
          </a:xfrm>
          <a:solidFill>
            <a:srgbClr val="26867C"/>
          </a:solidFill>
        </p:grpSpPr>
        <p:sp>
          <p:nvSpPr>
            <p:cNvPr id="35" name="Freeform 14"/>
            <p:cNvSpPr>
              <a:spLocks noEditPoints="1"/>
            </p:cNvSpPr>
            <p:nvPr/>
          </p:nvSpPr>
          <p:spPr bwMode="auto">
            <a:xfrm>
              <a:off x="4467004" y="1590990"/>
              <a:ext cx="3509963" cy="3517900"/>
            </a:xfrm>
            <a:custGeom>
              <a:avLst/>
              <a:gdLst>
                <a:gd name="T0" fmla="*/ 5376 w 9737"/>
                <a:gd name="T1" fmla="*/ 1206 h 9757"/>
                <a:gd name="T2" fmla="*/ 1037 w 9737"/>
                <a:gd name="T3" fmla="*/ 1312 h 9757"/>
                <a:gd name="T4" fmla="*/ 995 w 9737"/>
                <a:gd name="T5" fmla="*/ 5291 h 9757"/>
                <a:gd name="T6" fmla="*/ 5059 w 9737"/>
                <a:gd name="T7" fmla="*/ 5736 h 9757"/>
                <a:gd name="T8" fmla="*/ 5207 w 9737"/>
                <a:gd name="T9" fmla="*/ 5736 h 9757"/>
                <a:gd name="T10" fmla="*/ 5821 w 9737"/>
                <a:gd name="T11" fmla="*/ 6350 h 9757"/>
                <a:gd name="T12" fmla="*/ 5842 w 9737"/>
                <a:gd name="T13" fmla="*/ 6477 h 9757"/>
                <a:gd name="T14" fmla="*/ 6033 w 9737"/>
                <a:gd name="T15" fmla="*/ 7175 h 9757"/>
                <a:gd name="T16" fmla="*/ 8361 w 9737"/>
                <a:gd name="T17" fmla="*/ 9461 h 9757"/>
                <a:gd name="T18" fmla="*/ 9292 w 9737"/>
                <a:gd name="T19" fmla="*/ 9567 h 9757"/>
                <a:gd name="T20" fmla="*/ 9419 w 9737"/>
                <a:gd name="T21" fmla="*/ 8424 h 9757"/>
                <a:gd name="T22" fmla="*/ 7091 w 9737"/>
                <a:gd name="T23" fmla="*/ 6096 h 9757"/>
                <a:gd name="T24" fmla="*/ 6392 w 9737"/>
                <a:gd name="T25" fmla="*/ 5905 h 9757"/>
                <a:gd name="T26" fmla="*/ 6265 w 9737"/>
                <a:gd name="T27" fmla="*/ 5884 h 9757"/>
                <a:gd name="T28" fmla="*/ 5652 w 9737"/>
                <a:gd name="T29" fmla="*/ 5270 h 9757"/>
                <a:gd name="T30" fmla="*/ 5652 w 9737"/>
                <a:gd name="T31" fmla="*/ 5101 h 9757"/>
                <a:gd name="T32" fmla="*/ 5376 w 9737"/>
                <a:gd name="T33" fmla="*/ 1206 h 9757"/>
                <a:gd name="T34" fmla="*/ 1588 w 9737"/>
                <a:gd name="T35" fmla="*/ 4995 h 9757"/>
                <a:gd name="T36" fmla="*/ 1588 w 9737"/>
                <a:gd name="T37" fmla="*/ 1651 h 9757"/>
                <a:gd name="T38" fmla="*/ 4932 w 9737"/>
                <a:gd name="T39" fmla="*/ 1651 h 9757"/>
                <a:gd name="T40" fmla="*/ 4932 w 9737"/>
                <a:gd name="T41" fmla="*/ 4995 h 9757"/>
                <a:gd name="T42" fmla="*/ 1588 w 9737"/>
                <a:gd name="T43" fmla="*/ 4995 h 97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737" h="9757">
                  <a:moveTo>
                    <a:pt x="5376" y="1206"/>
                  </a:moveTo>
                  <a:cubicBezTo>
                    <a:pt x="4170" y="0"/>
                    <a:pt x="2202" y="42"/>
                    <a:pt x="1037" y="1312"/>
                  </a:cubicBezTo>
                  <a:cubicBezTo>
                    <a:pt x="21" y="2413"/>
                    <a:pt x="0" y="4169"/>
                    <a:pt x="995" y="5291"/>
                  </a:cubicBezTo>
                  <a:cubicBezTo>
                    <a:pt x="2053" y="6498"/>
                    <a:pt x="3831" y="6646"/>
                    <a:pt x="5059" y="5736"/>
                  </a:cubicBezTo>
                  <a:cubicBezTo>
                    <a:pt x="5101" y="5693"/>
                    <a:pt x="5165" y="5693"/>
                    <a:pt x="5207" y="5736"/>
                  </a:cubicBezTo>
                  <a:lnTo>
                    <a:pt x="5821" y="6350"/>
                  </a:lnTo>
                  <a:cubicBezTo>
                    <a:pt x="5842" y="6371"/>
                    <a:pt x="5863" y="6434"/>
                    <a:pt x="5842" y="6477"/>
                  </a:cubicBezTo>
                  <a:cubicBezTo>
                    <a:pt x="5779" y="6709"/>
                    <a:pt x="5842" y="6985"/>
                    <a:pt x="6033" y="7175"/>
                  </a:cubicBezTo>
                  <a:lnTo>
                    <a:pt x="8361" y="9461"/>
                  </a:lnTo>
                  <a:cubicBezTo>
                    <a:pt x="8615" y="9715"/>
                    <a:pt x="8996" y="9757"/>
                    <a:pt x="9292" y="9567"/>
                  </a:cubicBezTo>
                  <a:cubicBezTo>
                    <a:pt x="9694" y="9292"/>
                    <a:pt x="9737" y="8741"/>
                    <a:pt x="9419" y="8424"/>
                  </a:cubicBezTo>
                  <a:lnTo>
                    <a:pt x="7091" y="6096"/>
                  </a:lnTo>
                  <a:cubicBezTo>
                    <a:pt x="6900" y="5905"/>
                    <a:pt x="6646" y="5842"/>
                    <a:pt x="6392" y="5905"/>
                  </a:cubicBezTo>
                  <a:cubicBezTo>
                    <a:pt x="6350" y="5905"/>
                    <a:pt x="6308" y="5905"/>
                    <a:pt x="6265" y="5884"/>
                  </a:cubicBezTo>
                  <a:lnTo>
                    <a:pt x="5652" y="5270"/>
                  </a:lnTo>
                  <a:cubicBezTo>
                    <a:pt x="5609" y="5228"/>
                    <a:pt x="5609" y="5164"/>
                    <a:pt x="5652" y="5101"/>
                  </a:cubicBezTo>
                  <a:cubicBezTo>
                    <a:pt x="6541" y="3937"/>
                    <a:pt x="6456" y="2264"/>
                    <a:pt x="5376" y="1206"/>
                  </a:cubicBezTo>
                  <a:close/>
                  <a:moveTo>
                    <a:pt x="1588" y="4995"/>
                  </a:moveTo>
                  <a:cubicBezTo>
                    <a:pt x="656" y="4064"/>
                    <a:pt x="656" y="2582"/>
                    <a:pt x="1588" y="1651"/>
                  </a:cubicBezTo>
                  <a:cubicBezTo>
                    <a:pt x="2519" y="719"/>
                    <a:pt x="4001" y="719"/>
                    <a:pt x="4932" y="1651"/>
                  </a:cubicBezTo>
                  <a:cubicBezTo>
                    <a:pt x="5863" y="2582"/>
                    <a:pt x="5863" y="4064"/>
                    <a:pt x="4932" y="4995"/>
                  </a:cubicBezTo>
                  <a:cubicBezTo>
                    <a:pt x="4022" y="5905"/>
                    <a:pt x="2519" y="5905"/>
                    <a:pt x="1588" y="499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5"/>
            <p:cNvSpPr>
              <a:spLocks noEditPoints="1"/>
            </p:cNvSpPr>
            <p:nvPr/>
          </p:nvSpPr>
          <p:spPr bwMode="auto">
            <a:xfrm>
              <a:off x="2628679" y="835340"/>
              <a:ext cx="4317999" cy="5410202"/>
            </a:xfrm>
            <a:custGeom>
              <a:avLst/>
              <a:gdLst>
                <a:gd name="T0" fmla="*/ 10710 w 11980"/>
                <a:gd name="T1" fmla="*/ 9694 h 15007"/>
                <a:gd name="T2" fmla="*/ 10308 w 11980"/>
                <a:gd name="T3" fmla="*/ 8721 h 15007"/>
                <a:gd name="T4" fmla="*/ 10287 w 11980"/>
                <a:gd name="T5" fmla="*/ 8678 h 15007"/>
                <a:gd name="T6" fmla="*/ 10202 w 11980"/>
                <a:gd name="T7" fmla="*/ 8594 h 15007"/>
                <a:gd name="T8" fmla="*/ 10139 w 11980"/>
                <a:gd name="T9" fmla="*/ 8594 h 15007"/>
                <a:gd name="T10" fmla="*/ 8361 w 11980"/>
                <a:gd name="T11" fmla="*/ 9059 h 15007"/>
                <a:gd name="T12" fmla="*/ 6646 w 11980"/>
                <a:gd name="T13" fmla="*/ 8615 h 15007"/>
                <a:gd name="T14" fmla="*/ 6329 w 11980"/>
                <a:gd name="T15" fmla="*/ 8530 h 15007"/>
                <a:gd name="T16" fmla="*/ 2561 w 11980"/>
                <a:gd name="T17" fmla="*/ 8530 h 15007"/>
                <a:gd name="T18" fmla="*/ 2244 w 11980"/>
                <a:gd name="T19" fmla="*/ 8192 h 15007"/>
                <a:gd name="T20" fmla="*/ 2561 w 11980"/>
                <a:gd name="T21" fmla="*/ 7895 h 15007"/>
                <a:gd name="T22" fmla="*/ 5482 w 11980"/>
                <a:gd name="T23" fmla="*/ 7895 h 15007"/>
                <a:gd name="T24" fmla="*/ 5567 w 11980"/>
                <a:gd name="T25" fmla="*/ 7705 h 15007"/>
                <a:gd name="T26" fmla="*/ 5292 w 11980"/>
                <a:gd name="T27" fmla="*/ 7324 h 15007"/>
                <a:gd name="T28" fmla="*/ 4763 w 11980"/>
                <a:gd name="T29" fmla="*/ 5715 h 15007"/>
                <a:gd name="T30" fmla="*/ 4614 w 11980"/>
                <a:gd name="T31" fmla="*/ 5567 h 15007"/>
                <a:gd name="T32" fmla="*/ 2561 w 11980"/>
                <a:gd name="T33" fmla="*/ 5567 h 15007"/>
                <a:gd name="T34" fmla="*/ 2244 w 11980"/>
                <a:gd name="T35" fmla="*/ 5271 h 15007"/>
                <a:gd name="T36" fmla="*/ 2561 w 11980"/>
                <a:gd name="T37" fmla="*/ 4932 h 15007"/>
                <a:gd name="T38" fmla="*/ 4657 w 11980"/>
                <a:gd name="T39" fmla="*/ 4932 h 15007"/>
                <a:gd name="T40" fmla="*/ 4826 w 11980"/>
                <a:gd name="T41" fmla="*/ 4784 h 15007"/>
                <a:gd name="T42" fmla="*/ 5440 w 11980"/>
                <a:gd name="T43" fmla="*/ 3260 h 15007"/>
                <a:gd name="T44" fmla="*/ 5863 w 11980"/>
                <a:gd name="T45" fmla="*/ 2794 h 15007"/>
                <a:gd name="T46" fmla="*/ 5778 w 11980"/>
                <a:gd name="T47" fmla="*/ 2625 h 15007"/>
                <a:gd name="T48" fmla="*/ 2540 w 11980"/>
                <a:gd name="T49" fmla="*/ 2625 h 15007"/>
                <a:gd name="T50" fmla="*/ 2223 w 11980"/>
                <a:gd name="T51" fmla="*/ 2328 h 15007"/>
                <a:gd name="T52" fmla="*/ 2540 w 11980"/>
                <a:gd name="T53" fmla="*/ 1990 h 15007"/>
                <a:gd name="T54" fmla="*/ 7049 w 11980"/>
                <a:gd name="T55" fmla="*/ 1990 h 15007"/>
                <a:gd name="T56" fmla="*/ 7154 w 11980"/>
                <a:gd name="T57" fmla="*/ 1969 h 15007"/>
                <a:gd name="T58" fmla="*/ 8361 w 11980"/>
                <a:gd name="T59" fmla="*/ 1757 h 15007"/>
                <a:gd name="T60" fmla="*/ 10922 w 11980"/>
                <a:gd name="T61" fmla="*/ 2815 h 15007"/>
                <a:gd name="T62" fmla="*/ 11832 w 11980"/>
                <a:gd name="T63" fmla="*/ 4360 h 15007"/>
                <a:gd name="T64" fmla="*/ 11980 w 11980"/>
                <a:gd name="T65" fmla="*/ 4339 h 15007"/>
                <a:gd name="T66" fmla="*/ 11980 w 11980"/>
                <a:gd name="T67" fmla="*/ 275 h 15007"/>
                <a:gd name="T68" fmla="*/ 11705 w 11980"/>
                <a:gd name="T69" fmla="*/ 0 h 15007"/>
                <a:gd name="T70" fmla="*/ 275 w 11980"/>
                <a:gd name="T71" fmla="*/ 0 h 15007"/>
                <a:gd name="T72" fmla="*/ 0 w 11980"/>
                <a:gd name="T73" fmla="*/ 275 h 15007"/>
                <a:gd name="T74" fmla="*/ 0 w 11980"/>
                <a:gd name="T75" fmla="*/ 12129 h 15007"/>
                <a:gd name="T76" fmla="*/ 127 w 11980"/>
                <a:gd name="T77" fmla="*/ 12446 h 15007"/>
                <a:gd name="T78" fmla="*/ 2561 w 11980"/>
                <a:gd name="T79" fmla="*/ 14880 h 15007"/>
                <a:gd name="T80" fmla="*/ 2879 w 11980"/>
                <a:gd name="T81" fmla="*/ 15007 h 15007"/>
                <a:gd name="T82" fmla="*/ 11705 w 11980"/>
                <a:gd name="T83" fmla="*/ 15007 h 15007"/>
                <a:gd name="T84" fmla="*/ 11980 w 11980"/>
                <a:gd name="T85" fmla="*/ 14732 h 15007"/>
                <a:gd name="T86" fmla="*/ 11980 w 11980"/>
                <a:gd name="T87" fmla="*/ 11028 h 15007"/>
                <a:gd name="T88" fmla="*/ 11938 w 11980"/>
                <a:gd name="T89" fmla="*/ 10943 h 15007"/>
                <a:gd name="T90" fmla="*/ 10710 w 11980"/>
                <a:gd name="T91" fmla="*/ 9694 h 15007"/>
                <a:gd name="T92" fmla="*/ 3471 w 11980"/>
                <a:gd name="T93" fmla="*/ 13991 h 15007"/>
                <a:gd name="T94" fmla="*/ 3196 w 11980"/>
                <a:gd name="T95" fmla="*/ 14097 h 15007"/>
                <a:gd name="T96" fmla="*/ 1058 w 11980"/>
                <a:gd name="T97" fmla="*/ 11959 h 15007"/>
                <a:gd name="T98" fmla="*/ 1164 w 11980"/>
                <a:gd name="T99" fmla="*/ 11684 h 15007"/>
                <a:gd name="T100" fmla="*/ 3323 w 11980"/>
                <a:gd name="T101" fmla="*/ 11684 h 15007"/>
                <a:gd name="T102" fmla="*/ 3493 w 11980"/>
                <a:gd name="T103" fmla="*/ 11853 h 15007"/>
                <a:gd name="T104" fmla="*/ 3493 w 11980"/>
                <a:gd name="T105" fmla="*/ 13991 h 15007"/>
                <a:gd name="T106" fmla="*/ 3471 w 11980"/>
                <a:gd name="T107" fmla="*/ 13991 h 150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1980" h="15007">
                  <a:moveTo>
                    <a:pt x="10710" y="9694"/>
                  </a:moveTo>
                  <a:cubicBezTo>
                    <a:pt x="10456" y="9440"/>
                    <a:pt x="10308" y="9081"/>
                    <a:pt x="10308" y="8721"/>
                  </a:cubicBezTo>
                  <a:cubicBezTo>
                    <a:pt x="10308" y="8700"/>
                    <a:pt x="10308" y="8700"/>
                    <a:pt x="10287" y="8678"/>
                  </a:cubicBezTo>
                  <a:lnTo>
                    <a:pt x="10202" y="8594"/>
                  </a:lnTo>
                  <a:cubicBezTo>
                    <a:pt x="10181" y="8573"/>
                    <a:pt x="10160" y="8573"/>
                    <a:pt x="10139" y="8594"/>
                  </a:cubicBezTo>
                  <a:cubicBezTo>
                    <a:pt x="9610" y="8890"/>
                    <a:pt x="8996" y="9059"/>
                    <a:pt x="8361" y="9059"/>
                  </a:cubicBezTo>
                  <a:cubicBezTo>
                    <a:pt x="7747" y="9059"/>
                    <a:pt x="7154" y="8911"/>
                    <a:pt x="6646" y="8615"/>
                  </a:cubicBezTo>
                  <a:cubicBezTo>
                    <a:pt x="6541" y="8551"/>
                    <a:pt x="6435" y="8530"/>
                    <a:pt x="6329" y="8530"/>
                  </a:cubicBezTo>
                  <a:lnTo>
                    <a:pt x="2561" y="8530"/>
                  </a:lnTo>
                  <a:cubicBezTo>
                    <a:pt x="2392" y="8530"/>
                    <a:pt x="2244" y="8382"/>
                    <a:pt x="2244" y="8192"/>
                  </a:cubicBezTo>
                  <a:cubicBezTo>
                    <a:pt x="2244" y="8022"/>
                    <a:pt x="2392" y="7895"/>
                    <a:pt x="2561" y="7895"/>
                  </a:cubicBezTo>
                  <a:lnTo>
                    <a:pt x="5482" y="7895"/>
                  </a:lnTo>
                  <a:cubicBezTo>
                    <a:pt x="5567" y="7895"/>
                    <a:pt x="5630" y="7789"/>
                    <a:pt x="5567" y="7705"/>
                  </a:cubicBezTo>
                  <a:cubicBezTo>
                    <a:pt x="5461" y="7578"/>
                    <a:pt x="5334" y="7430"/>
                    <a:pt x="5292" y="7324"/>
                  </a:cubicBezTo>
                  <a:cubicBezTo>
                    <a:pt x="4995" y="6837"/>
                    <a:pt x="4826" y="6287"/>
                    <a:pt x="4763" y="5715"/>
                  </a:cubicBezTo>
                  <a:cubicBezTo>
                    <a:pt x="4763" y="5630"/>
                    <a:pt x="4699" y="5567"/>
                    <a:pt x="4614" y="5567"/>
                  </a:cubicBezTo>
                  <a:lnTo>
                    <a:pt x="2561" y="5567"/>
                  </a:lnTo>
                  <a:cubicBezTo>
                    <a:pt x="2392" y="5567"/>
                    <a:pt x="2244" y="5440"/>
                    <a:pt x="2244" y="5271"/>
                  </a:cubicBezTo>
                  <a:cubicBezTo>
                    <a:pt x="2244" y="5080"/>
                    <a:pt x="2392" y="4932"/>
                    <a:pt x="2561" y="4932"/>
                  </a:cubicBezTo>
                  <a:lnTo>
                    <a:pt x="4657" y="4932"/>
                  </a:lnTo>
                  <a:cubicBezTo>
                    <a:pt x="4741" y="4932"/>
                    <a:pt x="4805" y="4868"/>
                    <a:pt x="4826" y="4784"/>
                  </a:cubicBezTo>
                  <a:cubicBezTo>
                    <a:pt x="4911" y="4255"/>
                    <a:pt x="5122" y="3725"/>
                    <a:pt x="5440" y="3260"/>
                  </a:cubicBezTo>
                  <a:cubicBezTo>
                    <a:pt x="5503" y="3175"/>
                    <a:pt x="5694" y="2963"/>
                    <a:pt x="5863" y="2794"/>
                  </a:cubicBezTo>
                  <a:cubicBezTo>
                    <a:pt x="5927" y="2731"/>
                    <a:pt x="5884" y="2625"/>
                    <a:pt x="5778" y="2625"/>
                  </a:cubicBezTo>
                  <a:lnTo>
                    <a:pt x="2540" y="2625"/>
                  </a:lnTo>
                  <a:cubicBezTo>
                    <a:pt x="2371" y="2625"/>
                    <a:pt x="2223" y="2498"/>
                    <a:pt x="2223" y="2328"/>
                  </a:cubicBezTo>
                  <a:cubicBezTo>
                    <a:pt x="2223" y="2138"/>
                    <a:pt x="2371" y="1990"/>
                    <a:pt x="2540" y="1990"/>
                  </a:cubicBezTo>
                  <a:lnTo>
                    <a:pt x="7049" y="1990"/>
                  </a:lnTo>
                  <a:cubicBezTo>
                    <a:pt x="7091" y="1990"/>
                    <a:pt x="7112" y="1990"/>
                    <a:pt x="7154" y="1969"/>
                  </a:cubicBezTo>
                  <a:cubicBezTo>
                    <a:pt x="7535" y="1842"/>
                    <a:pt x="7959" y="1757"/>
                    <a:pt x="8361" y="1757"/>
                  </a:cubicBezTo>
                  <a:cubicBezTo>
                    <a:pt x="9334" y="1757"/>
                    <a:pt x="10245" y="2138"/>
                    <a:pt x="10922" y="2815"/>
                  </a:cubicBezTo>
                  <a:cubicBezTo>
                    <a:pt x="11366" y="3260"/>
                    <a:pt x="11663" y="3789"/>
                    <a:pt x="11832" y="4360"/>
                  </a:cubicBezTo>
                  <a:cubicBezTo>
                    <a:pt x="11853" y="4445"/>
                    <a:pt x="11980" y="4424"/>
                    <a:pt x="11980" y="4339"/>
                  </a:cubicBezTo>
                  <a:lnTo>
                    <a:pt x="11980" y="275"/>
                  </a:lnTo>
                  <a:cubicBezTo>
                    <a:pt x="11980" y="127"/>
                    <a:pt x="11853" y="0"/>
                    <a:pt x="11705" y="0"/>
                  </a:cubicBezTo>
                  <a:lnTo>
                    <a:pt x="275" y="0"/>
                  </a:lnTo>
                  <a:cubicBezTo>
                    <a:pt x="127" y="0"/>
                    <a:pt x="0" y="127"/>
                    <a:pt x="0" y="275"/>
                  </a:cubicBezTo>
                  <a:lnTo>
                    <a:pt x="0" y="12129"/>
                  </a:lnTo>
                  <a:cubicBezTo>
                    <a:pt x="0" y="12256"/>
                    <a:pt x="42" y="12361"/>
                    <a:pt x="127" y="12446"/>
                  </a:cubicBezTo>
                  <a:lnTo>
                    <a:pt x="2561" y="14880"/>
                  </a:lnTo>
                  <a:cubicBezTo>
                    <a:pt x="2646" y="14965"/>
                    <a:pt x="2752" y="15007"/>
                    <a:pt x="2879" y="15007"/>
                  </a:cubicBezTo>
                  <a:lnTo>
                    <a:pt x="11705" y="15007"/>
                  </a:lnTo>
                  <a:cubicBezTo>
                    <a:pt x="11853" y="15007"/>
                    <a:pt x="11980" y="14880"/>
                    <a:pt x="11980" y="14732"/>
                  </a:cubicBezTo>
                  <a:lnTo>
                    <a:pt x="11980" y="11028"/>
                  </a:lnTo>
                  <a:cubicBezTo>
                    <a:pt x="11980" y="11007"/>
                    <a:pt x="11959" y="10964"/>
                    <a:pt x="11938" y="10943"/>
                  </a:cubicBezTo>
                  <a:lnTo>
                    <a:pt x="10710" y="9694"/>
                  </a:lnTo>
                  <a:close/>
                  <a:moveTo>
                    <a:pt x="3471" y="13991"/>
                  </a:moveTo>
                  <a:cubicBezTo>
                    <a:pt x="3471" y="14139"/>
                    <a:pt x="3302" y="14203"/>
                    <a:pt x="3196" y="14097"/>
                  </a:cubicBezTo>
                  <a:lnTo>
                    <a:pt x="1058" y="11959"/>
                  </a:lnTo>
                  <a:cubicBezTo>
                    <a:pt x="953" y="11853"/>
                    <a:pt x="1037" y="11684"/>
                    <a:pt x="1164" y="11684"/>
                  </a:cubicBezTo>
                  <a:lnTo>
                    <a:pt x="3323" y="11684"/>
                  </a:lnTo>
                  <a:cubicBezTo>
                    <a:pt x="3408" y="11684"/>
                    <a:pt x="3493" y="11748"/>
                    <a:pt x="3493" y="11853"/>
                  </a:cubicBezTo>
                  <a:lnTo>
                    <a:pt x="3493" y="13991"/>
                  </a:lnTo>
                  <a:lnTo>
                    <a:pt x="3471" y="139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6"/>
            <p:cNvSpPr>
              <a:spLocks/>
            </p:cNvSpPr>
            <p:nvPr/>
          </p:nvSpPr>
          <p:spPr bwMode="auto">
            <a:xfrm>
              <a:off x="6778404" y="3002278"/>
              <a:ext cx="168275" cy="488950"/>
            </a:xfrm>
            <a:custGeom>
              <a:avLst/>
              <a:gdLst>
                <a:gd name="T0" fmla="*/ 423 w 465"/>
                <a:gd name="T1" fmla="*/ 22 h 1355"/>
                <a:gd name="T2" fmla="*/ 21 w 465"/>
                <a:gd name="T3" fmla="*/ 1165 h 1355"/>
                <a:gd name="T4" fmla="*/ 21 w 465"/>
                <a:gd name="T5" fmla="*/ 1228 h 1355"/>
                <a:gd name="T6" fmla="*/ 105 w 465"/>
                <a:gd name="T7" fmla="*/ 1313 h 1355"/>
                <a:gd name="T8" fmla="*/ 148 w 465"/>
                <a:gd name="T9" fmla="*/ 1334 h 1355"/>
                <a:gd name="T10" fmla="*/ 148 w 465"/>
                <a:gd name="T11" fmla="*/ 1334 h 1355"/>
                <a:gd name="T12" fmla="*/ 402 w 465"/>
                <a:gd name="T13" fmla="*/ 1355 h 1355"/>
                <a:gd name="T14" fmla="*/ 465 w 465"/>
                <a:gd name="T15" fmla="*/ 1292 h 1355"/>
                <a:gd name="T16" fmla="*/ 465 w 465"/>
                <a:gd name="T17" fmla="*/ 22 h 1355"/>
                <a:gd name="T18" fmla="*/ 423 w 465"/>
                <a:gd name="T19" fmla="*/ 22 h 1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5" h="1355">
                  <a:moveTo>
                    <a:pt x="423" y="22"/>
                  </a:moveTo>
                  <a:cubicBezTo>
                    <a:pt x="359" y="424"/>
                    <a:pt x="232" y="805"/>
                    <a:pt x="21" y="1165"/>
                  </a:cubicBezTo>
                  <a:cubicBezTo>
                    <a:pt x="0" y="1186"/>
                    <a:pt x="21" y="1207"/>
                    <a:pt x="21" y="1228"/>
                  </a:cubicBezTo>
                  <a:lnTo>
                    <a:pt x="105" y="1313"/>
                  </a:lnTo>
                  <a:cubicBezTo>
                    <a:pt x="127" y="1334"/>
                    <a:pt x="127" y="1334"/>
                    <a:pt x="148" y="1334"/>
                  </a:cubicBezTo>
                  <a:lnTo>
                    <a:pt x="148" y="1334"/>
                  </a:lnTo>
                  <a:cubicBezTo>
                    <a:pt x="232" y="1334"/>
                    <a:pt x="317" y="1334"/>
                    <a:pt x="402" y="1355"/>
                  </a:cubicBezTo>
                  <a:cubicBezTo>
                    <a:pt x="444" y="1355"/>
                    <a:pt x="465" y="1334"/>
                    <a:pt x="465" y="1292"/>
                  </a:cubicBezTo>
                  <a:lnTo>
                    <a:pt x="465" y="22"/>
                  </a:lnTo>
                  <a:cubicBezTo>
                    <a:pt x="465" y="0"/>
                    <a:pt x="423" y="0"/>
                    <a:pt x="423" y="2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" name="Group 37"/>
          <p:cNvGrpSpPr>
            <a:grpSpLocks noChangeAspect="1"/>
          </p:cNvGrpSpPr>
          <p:nvPr/>
        </p:nvGrpSpPr>
        <p:grpSpPr bwMode="auto">
          <a:xfrm>
            <a:off x="10963055" y="5065067"/>
            <a:ext cx="404816" cy="402142"/>
            <a:chOff x="-737" y="2406"/>
            <a:chExt cx="303" cy="301"/>
          </a:xfrm>
          <a:solidFill>
            <a:srgbClr val="26867C"/>
          </a:solidFill>
        </p:grpSpPr>
        <p:sp>
          <p:nvSpPr>
            <p:cNvPr id="39" name="Freeform 20"/>
            <p:cNvSpPr>
              <a:spLocks/>
            </p:cNvSpPr>
            <p:nvPr/>
          </p:nvSpPr>
          <p:spPr bwMode="auto">
            <a:xfrm>
              <a:off x="-512" y="2475"/>
              <a:ext cx="78" cy="27"/>
            </a:xfrm>
            <a:custGeom>
              <a:avLst/>
              <a:gdLst>
                <a:gd name="T0" fmla="*/ 0 w 860"/>
                <a:gd name="T1" fmla="*/ 0 h 300"/>
                <a:gd name="T2" fmla="*/ 709 w 860"/>
                <a:gd name="T3" fmla="*/ 0 h 300"/>
                <a:gd name="T4" fmla="*/ 739 w 860"/>
                <a:gd name="T5" fmla="*/ 3 h 300"/>
                <a:gd name="T6" fmla="*/ 768 w 860"/>
                <a:gd name="T7" fmla="*/ 11 h 300"/>
                <a:gd name="T8" fmla="*/ 793 w 860"/>
                <a:gd name="T9" fmla="*/ 26 h 300"/>
                <a:gd name="T10" fmla="*/ 816 w 860"/>
                <a:gd name="T11" fmla="*/ 43 h 300"/>
                <a:gd name="T12" fmla="*/ 834 w 860"/>
                <a:gd name="T13" fmla="*/ 66 h 300"/>
                <a:gd name="T14" fmla="*/ 849 w 860"/>
                <a:gd name="T15" fmla="*/ 91 h 300"/>
                <a:gd name="T16" fmla="*/ 857 w 860"/>
                <a:gd name="T17" fmla="*/ 119 h 300"/>
                <a:gd name="T18" fmla="*/ 860 w 860"/>
                <a:gd name="T19" fmla="*/ 149 h 300"/>
                <a:gd name="T20" fmla="*/ 857 w 860"/>
                <a:gd name="T21" fmla="*/ 180 h 300"/>
                <a:gd name="T22" fmla="*/ 849 w 860"/>
                <a:gd name="T23" fmla="*/ 209 h 300"/>
                <a:gd name="T24" fmla="*/ 834 w 860"/>
                <a:gd name="T25" fmla="*/ 234 h 300"/>
                <a:gd name="T26" fmla="*/ 816 w 860"/>
                <a:gd name="T27" fmla="*/ 256 h 300"/>
                <a:gd name="T28" fmla="*/ 793 w 860"/>
                <a:gd name="T29" fmla="*/ 274 h 300"/>
                <a:gd name="T30" fmla="*/ 768 w 860"/>
                <a:gd name="T31" fmla="*/ 289 h 300"/>
                <a:gd name="T32" fmla="*/ 739 w 860"/>
                <a:gd name="T33" fmla="*/ 297 h 300"/>
                <a:gd name="T34" fmla="*/ 709 w 860"/>
                <a:gd name="T35" fmla="*/ 300 h 300"/>
                <a:gd name="T36" fmla="*/ 246 w 860"/>
                <a:gd name="T37" fmla="*/ 300 h 300"/>
                <a:gd name="T38" fmla="*/ 205 w 860"/>
                <a:gd name="T39" fmla="*/ 234 h 300"/>
                <a:gd name="T40" fmla="*/ 159 w 860"/>
                <a:gd name="T41" fmla="*/ 170 h 300"/>
                <a:gd name="T42" fmla="*/ 110 w 860"/>
                <a:gd name="T43" fmla="*/ 110 h 300"/>
                <a:gd name="T44" fmla="*/ 57 w 860"/>
                <a:gd name="T45" fmla="*/ 53 h 300"/>
                <a:gd name="T46" fmla="*/ 0 w 860"/>
                <a:gd name="T4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0" h="300">
                  <a:moveTo>
                    <a:pt x="0" y="0"/>
                  </a:moveTo>
                  <a:lnTo>
                    <a:pt x="709" y="0"/>
                  </a:lnTo>
                  <a:lnTo>
                    <a:pt x="739" y="3"/>
                  </a:lnTo>
                  <a:lnTo>
                    <a:pt x="768" y="11"/>
                  </a:lnTo>
                  <a:lnTo>
                    <a:pt x="793" y="26"/>
                  </a:lnTo>
                  <a:lnTo>
                    <a:pt x="816" y="43"/>
                  </a:lnTo>
                  <a:lnTo>
                    <a:pt x="834" y="66"/>
                  </a:lnTo>
                  <a:lnTo>
                    <a:pt x="849" y="91"/>
                  </a:lnTo>
                  <a:lnTo>
                    <a:pt x="857" y="119"/>
                  </a:lnTo>
                  <a:lnTo>
                    <a:pt x="860" y="149"/>
                  </a:lnTo>
                  <a:lnTo>
                    <a:pt x="857" y="180"/>
                  </a:lnTo>
                  <a:lnTo>
                    <a:pt x="849" y="209"/>
                  </a:lnTo>
                  <a:lnTo>
                    <a:pt x="834" y="234"/>
                  </a:lnTo>
                  <a:lnTo>
                    <a:pt x="816" y="256"/>
                  </a:lnTo>
                  <a:lnTo>
                    <a:pt x="793" y="274"/>
                  </a:lnTo>
                  <a:lnTo>
                    <a:pt x="768" y="289"/>
                  </a:lnTo>
                  <a:lnTo>
                    <a:pt x="739" y="297"/>
                  </a:lnTo>
                  <a:lnTo>
                    <a:pt x="709" y="300"/>
                  </a:lnTo>
                  <a:lnTo>
                    <a:pt x="246" y="300"/>
                  </a:lnTo>
                  <a:lnTo>
                    <a:pt x="205" y="234"/>
                  </a:lnTo>
                  <a:lnTo>
                    <a:pt x="159" y="170"/>
                  </a:lnTo>
                  <a:lnTo>
                    <a:pt x="110" y="110"/>
                  </a:lnTo>
                  <a:lnTo>
                    <a:pt x="57" y="5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21"/>
            <p:cNvSpPr>
              <a:spLocks/>
            </p:cNvSpPr>
            <p:nvPr/>
          </p:nvSpPr>
          <p:spPr bwMode="auto">
            <a:xfrm>
              <a:off x="-486" y="2510"/>
              <a:ext cx="52" cy="27"/>
            </a:xfrm>
            <a:custGeom>
              <a:avLst/>
              <a:gdLst>
                <a:gd name="T0" fmla="*/ 0 w 573"/>
                <a:gd name="T1" fmla="*/ 0 h 301"/>
                <a:gd name="T2" fmla="*/ 422 w 573"/>
                <a:gd name="T3" fmla="*/ 0 h 301"/>
                <a:gd name="T4" fmla="*/ 452 w 573"/>
                <a:gd name="T5" fmla="*/ 3 h 301"/>
                <a:gd name="T6" fmla="*/ 481 w 573"/>
                <a:gd name="T7" fmla="*/ 12 h 301"/>
                <a:gd name="T8" fmla="*/ 506 w 573"/>
                <a:gd name="T9" fmla="*/ 25 h 301"/>
                <a:gd name="T10" fmla="*/ 529 w 573"/>
                <a:gd name="T11" fmla="*/ 44 h 301"/>
                <a:gd name="T12" fmla="*/ 547 w 573"/>
                <a:gd name="T13" fmla="*/ 66 h 301"/>
                <a:gd name="T14" fmla="*/ 562 w 573"/>
                <a:gd name="T15" fmla="*/ 92 h 301"/>
                <a:gd name="T16" fmla="*/ 570 w 573"/>
                <a:gd name="T17" fmla="*/ 120 h 301"/>
                <a:gd name="T18" fmla="*/ 573 w 573"/>
                <a:gd name="T19" fmla="*/ 150 h 301"/>
                <a:gd name="T20" fmla="*/ 570 w 573"/>
                <a:gd name="T21" fmla="*/ 180 h 301"/>
                <a:gd name="T22" fmla="*/ 562 w 573"/>
                <a:gd name="T23" fmla="*/ 208 h 301"/>
                <a:gd name="T24" fmla="*/ 547 w 573"/>
                <a:gd name="T25" fmla="*/ 234 h 301"/>
                <a:gd name="T26" fmla="*/ 529 w 573"/>
                <a:gd name="T27" fmla="*/ 256 h 301"/>
                <a:gd name="T28" fmla="*/ 506 w 573"/>
                <a:gd name="T29" fmla="*/ 275 h 301"/>
                <a:gd name="T30" fmla="*/ 481 w 573"/>
                <a:gd name="T31" fmla="*/ 288 h 301"/>
                <a:gd name="T32" fmla="*/ 452 w 573"/>
                <a:gd name="T33" fmla="*/ 298 h 301"/>
                <a:gd name="T34" fmla="*/ 422 w 573"/>
                <a:gd name="T35" fmla="*/ 301 h 301"/>
                <a:gd name="T36" fmla="*/ 98 w 573"/>
                <a:gd name="T37" fmla="*/ 301 h 301"/>
                <a:gd name="T38" fmla="*/ 81 w 573"/>
                <a:gd name="T39" fmla="*/ 222 h 301"/>
                <a:gd name="T40" fmla="*/ 59 w 573"/>
                <a:gd name="T41" fmla="*/ 146 h 301"/>
                <a:gd name="T42" fmla="*/ 32 w 573"/>
                <a:gd name="T43" fmla="*/ 72 h 301"/>
                <a:gd name="T44" fmla="*/ 0 w 573"/>
                <a:gd name="T45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73" h="301">
                  <a:moveTo>
                    <a:pt x="0" y="0"/>
                  </a:moveTo>
                  <a:lnTo>
                    <a:pt x="422" y="0"/>
                  </a:lnTo>
                  <a:lnTo>
                    <a:pt x="452" y="3"/>
                  </a:lnTo>
                  <a:lnTo>
                    <a:pt x="481" y="12"/>
                  </a:lnTo>
                  <a:lnTo>
                    <a:pt x="506" y="25"/>
                  </a:lnTo>
                  <a:lnTo>
                    <a:pt x="529" y="44"/>
                  </a:lnTo>
                  <a:lnTo>
                    <a:pt x="547" y="66"/>
                  </a:lnTo>
                  <a:lnTo>
                    <a:pt x="562" y="92"/>
                  </a:lnTo>
                  <a:lnTo>
                    <a:pt x="570" y="120"/>
                  </a:lnTo>
                  <a:lnTo>
                    <a:pt x="573" y="150"/>
                  </a:lnTo>
                  <a:lnTo>
                    <a:pt x="570" y="180"/>
                  </a:lnTo>
                  <a:lnTo>
                    <a:pt x="562" y="208"/>
                  </a:lnTo>
                  <a:lnTo>
                    <a:pt x="547" y="234"/>
                  </a:lnTo>
                  <a:lnTo>
                    <a:pt x="529" y="256"/>
                  </a:lnTo>
                  <a:lnTo>
                    <a:pt x="506" y="275"/>
                  </a:lnTo>
                  <a:lnTo>
                    <a:pt x="481" y="288"/>
                  </a:lnTo>
                  <a:lnTo>
                    <a:pt x="452" y="298"/>
                  </a:lnTo>
                  <a:lnTo>
                    <a:pt x="422" y="301"/>
                  </a:lnTo>
                  <a:lnTo>
                    <a:pt x="98" y="301"/>
                  </a:lnTo>
                  <a:lnTo>
                    <a:pt x="81" y="222"/>
                  </a:lnTo>
                  <a:lnTo>
                    <a:pt x="59" y="146"/>
                  </a:lnTo>
                  <a:lnTo>
                    <a:pt x="32" y="7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2"/>
            <p:cNvSpPr>
              <a:spLocks/>
            </p:cNvSpPr>
            <p:nvPr/>
          </p:nvSpPr>
          <p:spPr bwMode="auto">
            <a:xfrm>
              <a:off x="-563" y="2441"/>
              <a:ext cx="129" cy="27"/>
            </a:xfrm>
            <a:custGeom>
              <a:avLst/>
              <a:gdLst>
                <a:gd name="T0" fmla="*/ 142 w 1414"/>
                <a:gd name="T1" fmla="*/ 0 h 302"/>
                <a:gd name="T2" fmla="*/ 1263 w 1414"/>
                <a:gd name="T3" fmla="*/ 0 h 302"/>
                <a:gd name="T4" fmla="*/ 1293 w 1414"/>
                <a:gd name="T5" fmla="*/ 3 h 302"/>
                <a:gd name="T6" fmla="*/ 1322 w 1414"/>
                <a:gd name="T7" fmla="*/ 12 h 302"/>
                <a:gd name="T8" fmla="*/ 1347 w 1414"/>
                <a:gd name="T9" fmla="*/ 26 h 302"/>
                <a:gd name="T10" fmla="*/ 1370 w 1414"/>
                <a:gd name="T11" fmla="*/ 45 h 302"/>
                <a:gd name="T12" fmla="*/ 1388 w 1414"/>
                <a:gd name="T13" fmla="*/ 66 h 302"/>
                <a:gd name="T14" fmla="*/ 1403 w 1414"/>
                <a:gd name="T15" fmla="*/ 92 h 302"/>
                <a:gd name="T16" fmla="*/ 1411 w 1414"/>
                <a:gd name="T17" fmla="*/ 121 h 302"/>
                <a:gd name="T18" fmla="*/ 1414 w 1414"/>
                <a:gd name="T19" fmla="*/ 151 h 302"/>
                <a:gd name="T20" fmla="*/ 1411 w 1414"/>
                <a:gd name="T21" fmla="*/ 181 h 302"/>
                <a:gd name="T22" fmla="*/ 1403 w 1414"/>
                <a:gd name="T23" fmla="*/ 209 h 302"/>
                <a:gd name="T24" fmla="*/ 1388 w 1414"/>
                <a:gd name="T25" fmla="*/ 235 h 302"/>
                <a:gd name="T26" fmla="*/ 1370 w 1414"/>
                <a:gd name="T27" fmla="*/ 257 h 302"/>
                <a:gd name="T28" fmla="*/ 1347 w 1414"/>
                <a:gd name="T29" fmla="*/ 276 h 302"/>
                <a:gd name="T30" fmla="*/ 1322 w 1414"/>
                <a:gd name="T31" fmla="*/ 289 h 302"/>
                <a:gd name="T32" fmla="*/ 1293 w 1414"/>
                <a:gd name="T33" fmla="*/ 298 h 302"/>
                <a:gd name="T34" fmla="*/ 1263 w 1414"/>
                <a:gd name="T35" fmla="*/ 302 h 302"/>
                <a:gd name="T36" fmla="*/ 456 w 1414"/>
                <a:gd name="T37" fmla="*/ 302 h 302"/>
                <a:gd name="T38" fmla="*/ 387 w 1414"/>
                <a:gd name="T39" fmla="*/ 255 h 302"/>
                <a:gd name="T40" fmla="*/ 316 w 1414"/>
                <a:gd name="T41" fmla="*/ 213 h 302"/>
                <a:gd name="T42" fmla="*/ 241 w 1414"/>
                <a:gd name="T43" fmla="*/ 177 h 302"/>
                <a:gd name="T44" fmla="*/ 163 w 1414"/>
                <a:gd name="T45" fmla="*/ 146 h 302"/>
                <a:gd name="T46" fmla="*/ 83 w 1414"/>
                <a:gd name="T47" fmla="*/ 120 h 302"/>
                <a:gd name="T48" fmla="*/ 0 w 1414"/>
                <a:gd name="T49" fmla="*/ 99 h 302"/>
                <a:gd name="T50" fmla="*/ 11 w 1414"/>
                <a:gd name="T51" fmla="*/ 75 h 302"/>
                <a:gd name="T52" fmla="*/ 26 w 1414"/>
                <a:gd name="T53" fmla="*/ 54 h 302"/>
                <a:gd name="T54" fmla="*/ 44 w 1414"/>
                <a:gd name="T55" fmla="*/ 36 h 302"/>
                <a:gd name="T56" fmla="*/ 66 w 1414"/>
                <a:gd name="T57" fmla="*/ 21 h 302"/>
                <a:gd name="T58" fmla="*/ 89 w 1414"/>
                <a:gd name="T59" fmla="*/ 10 h 302"/>
                <a:gd name="T60" fmla="*/ 115 w 1414"/>
                <a:gd name="T61" fmla="*/ 3 h 302"/>
                <a:gd name="T62" fmla="*/ 142 w 1414"/>
                <a:gd name="T63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14" h="302">
                  <a:moveTo>
                    <a:pt x="142" y="0"/>
                  </a:moveTo>
                  <a:lnTo>
                    <a:pt x="1263" y="0"/>
                  </a:lnTo>
                  <a:lnTo>
                    <a:pt x="1293" y="3"/>
                  </a:lnTo>
                  <a:lnTo>
                    <a:pt x="1322" y="12"/>
                  </a:lnTo>
                  <a:lnTo>
                    <a:pt x="1347" y="26"/>
                  </a:lnTo>
                  <a:lnTo>
                    <a:pt x="1370" y="45"/>
                  </a:lnTo>
                  <a:lnTo>
                    <a:pt x="1388" y="66"/>
                  </a:lnTo>
                  <a:lnTo>
                    <a:pt x="1403" y="92"/>
                  </a:lnTo>
                  <a:lnTo>
                    <a:pt x="1411" y="121"/>
                  </a:lnTo>
                  <a:lnTo>
                    <a:pt x="1414" y="151"/>
                  </a:lnTo>
                  <a:lnTo>
                    <a:pt x="1411" y="181"/>
                  </a:lnTo>
                  <a:lnTo>
                    <a:pt x="1403" y="209"/>
                  </a:lnTo>
                  <a:lnTo>
                    <a:pt x="1388" y="235"/>
                  </a:lnTo>
                  <a:lnTo>
                    <a:pt x="1370" y="257"/>
                  </a:lnTo>
                  <a:lnTo>
                    <a:pt x="1347" y="276"/>
                  </a:lnTo>
                  <a:lnTo>
                    <a:pt x="1322" y="289"/>
                  </a:lnTo>
                  <a:lnTo>
                    <a:pt x="1293" y="298"/>
                  </a:lnTo>
                  <a:lnTo>
                    <a:pt x="1263" y="302"/>
                  </a:lnTo>
                  <a:lnTo>
                    <a:pt x="456" y="302"/>
                  </a:lnTo>
                  <a:lnTo>
                    <a:pt x="387" y="255"/>
                  </a:lnTo>
                  <a:lnTo>
                    <a:pt x="316" y="213"/>
                  </a:lnTo>
                  <a:lnTo>
                    <a:pt x="241" y="177"/>
                  </a:lnTo>
                  <a:lnTo>
                    <a:pt x="163" y="146"/>
                  </a:lnTo>
                  <a:lnTo>
                    <a:pt x="83" y="120"/>
                  </a:lnTo>
                  <a:lnTo>
                    <a:pt x="0" y="99"/>
                  </a:lnTo>
                  <a:lnTo>
                    <a:pt x="11" y="75"/>
                  </a:lnTo>
                  <a:lnTo>
                    <a:pt x="26" y="54"/>
                  </a:lnTo>
                  <a:lnTo>
                    <a:pt x="44" y="36"/>
                  </a:lnTo>
                  <a:lnTo>
                    <a:pt x="66" y="21"/>
                  </a:lnTo>
                  <a:lnTo>
                    <a:pt x="89" y="10"/>
                  </a:lnTo>
                  <a:lnTo>
                    <a:pt x="115" y="3"/>
                  </a:lnTo>
                  <a:lnTo>
                    <a:pt x="1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3"/>
            <p:cNvSpPr>
              <a:spLocks/>
            </p:cNvSpPr>
            <p:nvPr/>
          </p:nvSpPr>
          <p:spPr bwMode="auto">
            <a:xfrm>
              <a:off x="-564" y="2406"/>
              <a:ext cx="130" cy="28"/>
            </a:xfrm>
            <a:custGeom>
              <a:avLst/>
              <a:gdLst>
                <a:gd name="T0" fmla="*/ 151 w 1423"/>
                <a:gd name="T1" fmla="*/ 0 h 301"/>
                <a:gd name="T2" fmla="*/ 1272 w 1423"/>
                <a:gd name="T3" fmla="*/ 0 h 301"/>
                <a:gd name="T4" fmla="*/ 1302 w 1423"/>
                <a:gd name="T5" fmla="*/ 3 h 301"/>
                <a:gd name="T6" fmla="*/ 1331 w 1423"/>
                <a:gd name="T7" fmla="*/ 12 h 301"/>
                <a:gd name="T8" fmla="*/ 1356 w 1423"/>
                <a:gd name="T9" fmla="*/ 26 h 301"/>
                <a:gd name="T10" fmla="*/ 1379 w 1423"/>
                <a:gd name="T11" fmla="*/ 44 h 301"/>
                <a:gd name="T12" fmla="*/ 1397 w 1423"/>
                <a:gd name="T13" fmla="*/ 67 h 301"/>
                <a:gd name="T14" fmla="*/ 1412 w 1423"/>
                <a:gd name="T15" fmla="*/ 92 h 301"/>
                <a:gd name="T16" fmla="*/ 1420 w 1423"/>
                <a:gd name="T17" fmla="*/ 120 h 301"/>
                <a:gd name="T18" fmla="*/ 1423 w 1423"/>
                <a:gd name="T19" fmla="*/ 150 h 301"/>
                <a:gd name="T20" fmla="*/ 1420 w 1423"/>
                <a:gd name="T21" fmla="*/ 180 h 301"/>
                <a:gd name="T22" fmla="*/ 1412 w 1423"/>
                <a:gd name="T23" fmla="*/ 209 h 301"/>
                <a:gd name="T24" fmla="*/ 1397 w 1423"/>
                <a:gd name="T25" fmla="*/ 234 h 301"/>
                <a:gd name="T26" fmla="*/ 1379 w 1423"/>
                <a:gd name="T27" fmla="*/ 257 h 301"/>
                <a:gd name="T28" fmla="*/ 1356 w 1423"/>
                <a:gd name="T29" fmla="*/ 275 h 301"/>
                <a:gd name="T30" fmla="*/ 1331 w 1423"/>
                <a:gd name="T31" fmla="*/ 289 h 301"/>
                <a:gd name="T32" fmla="*/ 1302 w 1423"/>
                <a:gd name="T33" fmla="*/ 298 h 301"/>
                <a:gd name="T34" fmla="*/ 1272 w 1423"/>
                <a:gd name="T35" fmla="*/ 301 h 301"/>
                <a:gd name="T36" fmla="*/ 151 w 1423"/>
                <a:gd name="T37" fmla="*/ 301 h 301"/>
                <a:gd name="T38" fmla="*/ 120 w 1423"/>
                <a:gd name="T39" fmla="*/ 298 h 301"/>
                <a:gd name="T40" fmla="*/ 92 w 1423"/>
                <a:gd name="T41" fmla="*/ 289 h 301"/>
                <a:gd name="T42" fmla="*/ 67 w 1423"/>
                <a:gd name="T43" fmla="*/ 275 h 301"/>
                <a:gd name="T44" fmla="*/ 44 w 1423"/>
                <a:gd name="T45" fmla="*/ 257 h 301"/>
                <a:gd name="T46" fmla="*/ 26 w 1423"/>
                <a:gd name="T47" fmla="*/ 234 h 301"/>
                <a:gd name="T48" fmla="*/ 11 w 1423"/>
                <a:gd name="T49" fmla="*/ 209 h 301"/>
                <a:gd name="T50" fmla="*/ 3 w 1423"/>
                <a:gd name="T51" fmla="*/ 181 h 301"/>
                <a:gd name="T52" fmla="*/ 0 w 1423"/>
                <a:gd name="T53" fmla="*/ 151 h 301"/>
                <a:gd name="T54" fmla="*/ 3 w 1423"/>
                <a:gd name="T55" fmla="*/ 120 h 301"/>
                <a:gd name="T56" fmla="*/ 11 w 1423"/>
                <a:gd name="T57" fmla="*/ 92 h 301"/>
                <a:gd name="T58" fmla="*/ 26 w 1423"/>
                <a:gd name="T59" fmla="*/ 67 h 301"/>
                <a:gd name="T60" fmla="*/ 44 w 1423"/>
                <a:gd name="T61" fmla="*/ 44 h 301"/>
                <a:gd name="T62" fmla="*/ 67 w 1423"/>
                <a:gd name="T63" fmla="*/ 26 h 301"/>
                <a:gd name="T64" fmla="*/ 92 w 1423"/>
                <a:gd name="T65" fmla="*/ 12 h 301"/>
                <a:gd name="T66" fmla="*/ 120 w 1423"/>
                <a:gd name="T67" fmla="*/ 3 h 301"/>
                <a:gd name="T68" fmla="*/ 151 w 1423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3" h="301">
                  <a:moveTo>
                    <a:pt x="151" y="0"/>
                  </a:moveTo>
                  <a:lnTo>
                    <a:pt x="1272" y="0"/>
                  </a:lnTo>
                  <a:lnTo>
                    <a:pt x="1302" y="3"/>
                  </a:lnTo>
                  <a:lnTo>
                    <a:pt x="1331" y="12"/>
                  </a:lnTo>
                  <a:lnTo>
                    <a:pt x="1356" y="26"/>
                  </a:lnTo>
                  <a:lnTo>
                    <a:pt x="1379" y="44"/>
                  </a:lnTo>
                  <a:lnTo>
                    <a:pt x="1397" y="67"/>
                  </a:lnTo>
                  <a:lnTo>
                    <a:pt x="1412" y="92"/>
                  </a:lnTo>
                  <a:lnTo>
                    <a:pt x="1420" y="120"/>
                  </a:lnTo>
                  <a:lnTo>
                    <a:pt x="1423" y="150"/>
                  </a:lnTo>
                  <a:lnTo>
                    <a:pt x="1420" y="180"/>
                  </a:lnTo>
                  <a:lnTo>
                    <a:pt x="1412" y="209"/>
                  </a:lnTo>
                  <a:lnTo>
                    <a:pt x="1397" y="234"/>
                  </a:lnTo>
                  <a:lnTo>
                    <a:pt x="1379" y="257"/>
                  </a:lnTo>
                  <a:lnTo>
                    <a:pt x="1356" y="275"/>
                  </a:lnTo>
                  <a:lnTo>
                    <a:pt x="1331" y="289"/>
                  </a:lnTo>
                  <a:lnTo>
                    <a:pt x="1302" y="298"/>
                  </a:lnTo>
                  <a:lnTo>
                    <a:pt x="1272" y="301"/>
                  </a:lnTo>
                  <a:lnTo>
                    <a:pt x="151" y="301"/>
                  </a:lnTo>
                  <a:lnTo>
                    <a:pt x="120" y="298"/>
                  </a:lnTo>
                  <a:lnTo>
                    <a:pt x="92" y="289"/>
                  </a:lnTo>
                  <a:lnTo>
                    <a:pt x="67" y="275"/>
                  </a:lnTo>
                  <a:lnTo>
                    <a:pt x="44" y="257"/>
                  </a:lnTo>
                  <a:lnTo>
                    <a:pt x="26" y="234"/>
                  </a:lnTo>
                  <a:lnTo>
                    <a:pt x="11" y="209"/>
                  </a:lnTo>
                  <a:lnTo>
                    <a:pt x="3" y="181"/>
                  </a:lnTo>
                  <a:lnTo>
                    <a:pt x="0" y="151"/>
                  </a:lnTo>
                  <a:lnTo>
                    <a:pt x="3" y="120"/>
                  </a:lnTo>
                  <a:lnTo>
                    <a:pt x="11" y="92"/>
                  </a:lnTo>
                  <a:lnTo>
                    <a:pt x="26" y="67"/>
                  </a:lnTo>
                  <a:lnTo>
                    <a:pt x="44" y="44"/>
                  </a:lnTo>
                  <a:lnTo>
                    <a:pt x="67" y="26"/>
                  </a:lnTo>
                  <a:lnTo>
                    <a:pt x="92" y="12"/>
                  </a:lnTo>
                  <a:lnTo>
                    <a:pt x="120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4"/>
            <p:cNvSpPr>
              <a:spLocks/>
            </p:cNvSpPr>
            <p:nvPr/>
          </p:nvSpPr>
          <p:spPr bwMode="auto">
            <a:xfrm>
              <a:off x="-477" y="2544"/>
              <a:ext cx="43" cy="27"/>
            </a:xfrm>
            <a:custGeom>
              <a:avLst/>
              <a:gdLst>
                <a:gd name="T0" fmla="*/ 5 w 467"/>
                <a:gd name="T1" fmla="*/ 0 h 300"/>
                <a:gd name="T2" fmla="*/ 316 w 467"/>
                <a:gd name="T3" fmla="*/ 0 h 300"/>
                <a:gd name="T4" fmla="*/ 346 w 467"/>
                <a:gd name="T5" fmla="*/ 3 h 300"/>
                <a:gd name="T6" fmla="*/ 375 w 467"/>
                <a:gd name="T7" fmla="*/ 11 h 300"/>
                <a:gd name="T8" fmla="*/ 400 w 467"/>
                <a:gd name="T9" fmla="*/ 26 h 300"/>
                <a:gd name="T10" fmla="*/ 423 w 467"/>
                <a:gd name="T11" fmla="*/ 43 h 300"/>
                <a:gd name="T12" fmla="*/ 441 w 467"/>
                <a:gd name="T13" fmla="*/ 66 h 300"/>
                <a:gd name="T14" fmla="*/ 456 w 467"/>
                <a:gd name="T15" fmla="*/ 91 h 300"/>
                <a:gd name="T16" fmla="*/ 464 w 467"/>
                <a:gd name="T17" fmla="*/ 119 h 300"/>
                <a:gd name="T18" fmla="*/ 467 w 467"/>
                <a:gd name="T19" fmla="*/ 150 h 300"/>
                <a:gd name="T20" fmla="*/ 464 w 467"/>
                <a:gd name="T21" fmla="*/ 181 h 300"/>
                <a:gd name="T22" fmla="*/ 456 w 467"/>
                <a:gd name="T23" fmla="*/ 209 h 300"/>
                <a:gd name="T24" fmla="*/ 441 w 467"/>
                <a:gd name="T25" fmla="*/ 235 h 300"/>
                <a:gd name="T26" fmla="*/ 423 w 467"/>
                <a:gd name="T27" fmla="*/ 257 h 300"/>
                <a:gd name="T28" fmla="*/ 400 w 467"/>
                <a:gd name="T29" fmla="*/ 275 h 300"/>
                <a:gd name="T30" fmla="*/ 375 w 467"/>
                <a:gd name="T31" fmla="*/ 289 h 300"/>
                <a:gd name="T32" fmla="*/ 346 w 467"/>
                <a:gd name="T33" fmla="*/ 297 h 300"/>
                <a:gd name="T34" fmla="*/ 316 w 467"/>
                <a:gd name="T35" fmla="*/ 300 h 300"/>
                <a:gd name="T36" fmla="*/ 0 w 467"/>
                <a:gd name="T37" fmla="*/ 300 h 300"/>
                <a:gd name="T38" fmla="*/ 7 w 467"/>
                <a:gd name="T39" fmla="*/ 247 h 300"/>
                <a:gd name="T40" fmla="*/ 11 w 467"/>
                <a:gd name="T41" fmla="*/ 193 h 300"/>
                <a:gd name="T42" fmla="*/ 13 w 467"/>
                <a:gd name="T43" fmla="*/ 138 h 300"/>
                <a:gd name="T44" fmla="*/ 11 w 467"/>
                <a:gd name="T45" fmla="*/ 68 h 300"/>
                <a:gd name="T46" fmla="*/ 5 w 467"/>
                <a:gd name="T4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7" h="300">
                  <a:moveTo>
                    <a:pt x="5" y="0"/>
                  </a:moveTo>
                  <a:lnTo>
                    <a:pt x="316" y="0"/>
                  </a:lnTo>
                  <a:lnTo>
                    <a:pt x="346" y="3"/>
                  </a:lnTo>
                  <a:lnTo>
                    <a:pt x="375" y="11"/>
                  </a:lnTo>
                  <a:lnTo>
                    <a:pt x="400" y="26"/>
                  </a:lnTo>
                  <a:lnTo>
                    <a:pt x="423" y="43"/>
                  </a:lnTo>
                  <a:lnTo>
                    <a:pt x="441" y="66"/>
                  </a:lnTo>
                  <a:lnTo>
                    <a:pt x="456" y="91"/>
                  </a:lnTo>
                  <a:lnTo>
                    <a:pt x="464" y="119"/>
                  </a:lnTo>
                  <a:lnTo>
                    <a:pt x="467" y="150"/>
                  </a:lnTo>
                  <a:lnTo>
                    <a:pt x="464" y="181"/>
                  </a:lnTo>
                  <a:lnTo>
                    <a:pt x="456" y="209"/>
                  </a:lnTo>
                  <a:lnTo>
                    <a:pt x="441" y="235"/>
                  </a:lnTo>
                  <a:lnTo>
                    <a:pt x="423" y="257"/>
                  </a:lnTo>
                  <a:lnTo>
                    <a:pt x="400" y="275"/>
                  </a:lnTo>
                  <a:lnTo>
                    <a:pt x="375" y="289"/>
                  </a:lnTo>
                  <a:lnTo>
                    <a:pt x="346" y="297"/>
                  </a:lnTo>
                  <a:lnTo>
                    <a:pt x="316" y="300"/>
                  </a:lnTo>
                  <a:lnTo>
                    <a:pt x="0" y="300"/>
                  </a:lnTo>
                  <a:lnTo>
                    <a:pt x="7" y="247"/>
                  </a:lnTo>
                  <a:lnTo>
                    <a:pt x="11" y="193"/>
                  </a:lnTo>
                  <a:lnTo>
                    <a:pt x="13" y="138"/>
                  </a:lnTo>
                  <a:lnTo>
                    <a:pt x="11" y="68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5"/>
            <p:cNvSpPr>
              <a:spLocks/>
            </p:cNvSpPr>
            <p:nvPr/>
          </p:nvSpPr>
          <p:spPr bwMode="auto">
            <a:xfrm>
              <a:off x="-488" y="2579"/>
              <a:ext cx="54" cy="27"/>
            </a:xfrm>
            <a:custGeom>
              <a:avLst/>
              <a:gdLst>
                <a:gd name="T0" fmla="*/ 108 w 586"/>
                <a:gd name="T1" fmla="*/ 0 h 301"/>
                <a:gd name="T2" fmla="*/ 435 w 586"/>
                <a:gd name="T3" fmla="*/ 0 h 301"/>
                <a:gd name="T4" fmla="*/ 465 w 586"/>
                <a:gd name="T5" fmla="*/ 3 h 301"/>
                <a:gd name="T6" fmla="*/ 494 w 586"/>
                <a:gd name="T7" fmla="*/ 12 h 301"/>
                <a:gd name="T8" fmla="*/ 519 w 586"/>
                <a:gd name="T9" fmla="*/ 25 h 301"/>
                <a:gd name="T10" fmla="*/ 542 w 586"/>
                <a:gd name="T11" fmla="*/ 44 h 301"/>
                <a:gd name="T12" fmla="*/ 560 w 586"/>
                <a:gd name="T13" fmla="*/ 66 h 301"/>
                <a:gd name="T14" fmla="*/ 575 w 586"/>
                <a:gd name="T15" fmla="*/ 92 h 301"/>
                <a:gd name="T16" fmla="*/ 583 w 586"/>
                <a:gd name="T17" fmla="*/ 120 h 301"/>
                <a:gd name="T18" fmla="*/ 586 w 586"/>
                <a:gd name="T19" fmla="*/ 150 h 301"/>
                <a:gd name="T20" fmla="*/ 583 w 586"/>
                <a:gd name="T21" fmla="*/ 180 h 301"/>
                <a:gd name="T22" fmla="*/ 575 w 586"/>
                <a:gd name="T23" fmla="*/ 209 h 301"/>
                <a:gd name="T24" fmla="*/ 560 w 586"/>
                <a:gd name="T25" fmla="*/ 234 h 301"/>
                <a:gd name="T26" fmla="*/ 542 w 586"/>
                <a:gd name="T27" fmla="*/ 257 h 301"/>
                <a:gd name="T28" fmla="*/ 519 w 586"/>
                <a:gd name="T29" fmla="*/ 275 h 301"/>
                <a:gd name="T30" fmla="*/ 494 w 586"/>
                <a:gd name="T31" fmla="*/ 289 h 301"/>
                <a:gd name="T32" fmla="*/ 465 w 586"/>
                <a:gd name="T33" fmla="*/ 298 h 301"/>
                <a:gd name="T34" fmla="*/ 435 w 586"/>
                <a:gd name="T35" fmla="*/ 301 h 301"/>
                <a:gd name="T36" fmla="*/ 0 w 586"/>
                <a:gd name="T37" fmla="*/ 301 h 301"/>
                <a:gd name="T38" fmla="*/ 35 w 586"/>
                <a:gd name="T39" fmla="*/ 229 h 301"/>
                <a:gd name="T40" fmla="*/ 64 w 586"/>
                <a:gd name="T41" fmla="*/ 155 h 301"/>
                <a:gd name="T42" fmla="*/ 88 w 586"/>
                <a:gd name="T43" fmla="*/ 78 h 301"/>
                <a:gd name="T44" fmla="*/ 108 w 586"/>
                <a:gd name="T45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6" h="301">
                  <a:moveTo>
                    <a:pt x="108" y="0"/>
                  </a:moveTo>
                  <a:lnTo>
                    <a:pt x="435" y="0"/>
                  </a:lnTo>
                  <a:lnTo>
                    <a:pt x="465" y="3"/>
                  </a:lnTo>
                  <a:lnTo>
                    <a:pt x="494" y="12"/>
                  </a:lnTo>
                  <a:lnTo>
                    <a:pt x="519" y="25"/>
                  </a:lnTo>
                  <a:lnTo>
                    <a:pt x="542" y="44"/>
                  </a:lnTo>
                  <a:lnTo>
                    <a:pt x="560" y="66"/>
                  </a:lnTo>
                  <a:lnTo>
                    <a:pt x="575" y="92"/>
                  </a:lnTo>
                  <a:lnTo>
                    <a:pt x="583" y="120"/>
                  </a:lnTo>
                  <a:lnTo>
                    <a:pt x="586" y="150"/>
                  </a:lnTo>
                  <a:lnTo>
                    <a:pt x="583" y="180"/>
                  </a:lnTo>
                  <a:lnTo>
                    <a:pt x="575" y="209"/>
                  </a:lnTo>
                  <a:lnTo>
                    <a:pt x="560" y="234"/>
                  </a:lnTo>
                  <a:lnTo>
                    <a:pt x="542" y="257"/>
                  </a:lnTo>
                  <a:lnTo>
                    <a:pt x="519" y="275"/>
                  </a:lnTo>
                  <a:lnTo>
                    <a:pt x="494" y="289"/>
                  </a:lnTo>
                  <a:lnTo>
                    <a:pt x="465" y="298"/>
                  </a:lnTo>
                  <a:lnTo>
                    <a:pt x="435" y="301"/>
                  </a:lnTo>
                  <a:lnTo>
                    <a:pt x="0" y="301"/>
                  </a:lnTo>
                  <a:lnTo>
                    <a:pt x="35" y="229"/>
                  </a:lnTo>
                  <a:lnTo>
                    <a:pt x="64" y="155"/>
                  </a:lnTo>
                  <a:lnTo>
                    <a:pt x="88" y="78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6"/>
            <p:cNvSpPr>
              <a:spLocks/>
            </p:cNvSpPr>
            <p:nvPr/>
          </p:nvSpPr>
          <p:spPr bwMode="auto">
            <a:xfrm>
              <a:off x="-515" y="2613"/>
              <a:ext cx="81" cy="27"/>
            </a:xfrm>
            <a:custGeom>
              <a:avLst/>
              <a:gdLst>
                <a:gd name="T0" fmla="*/ 257 w 887"/>
                <a:gd name="T1" fmla="*/ 0 h 301"/>
                <a:gd name="T2" fmla="*/ 736 w 887"/>
                <a:gd name="T3" fmla="*/ 0 h 301"/>
                <a:gd name="T4" fmla="*/ 766 w 887"/>
                <a:gd name="T5" fmla="*/ 3 h 301"/>
                <a:gd name="T6" fmla="*/ 795 w 887"/>
                <a:gd name="T7" fmla="*/ 12 h 301"/>
                <a:gd name="T8" fmla="*/ 820 w 887"/>
                <a:gd name="T9" fmla="*/ 26 h 301"/>
                <a:gd name="T10" fmla="*/ 843 w 887"/>
                <a:gd name="T11" fmla="*/ 45 h 301"/>
                <a:gd name="T12" fmla="*/ 861 w 887"/>
                <a:gd name="T13" fmla="*/ 66 h 301"/>
                <a:gd name="T14" fmla="*/ 876 w 887"/>
                <a:gd name="T15" fmla="*/ 91 h 301"/>
                <a:gd name="T16" fmla="*/ 884 w 887"/>
                <a:gd name="T17" fmla="*/ 120 h 301"/>
                <a:gd name="T18" fmla="*/ 887 w 887"/>
                <a:gd name="T19" fmla="*/ 151 h 301"/>
                <a:gd name="T20" fmla="*/ 884 w 887"/>
                <a:gd name="T21" fmla="*/ 181 h 301"/>
                <a:gd name="T22" fmla="*/ 876 w 887"/>
                <a:gd name="T23" fmla="*/ 209 h 301"/>
                <a:gd name="T24" fmla="*/ 861 w 887"/>
                <a:gd name="T25" fmla="*/ 235 h 301"/>
                <a:gd name="T26" fmla="*/ 843 w 887"/>
                <a:gd name="T27" fmla="*/ 257 h 301"/>
                <a:gd name="T28" fmla="*/ 820 w 887"/>
                <a:gd name="T29" fmla="*/ 275 h 301"/>
                <a:gd name="T30" fmla="*/ 795 w 887"/>
                <a:gd name="T31" fmla="*/ 289 h 301"/>
                <a:gd name="T32" fmla="*/ 766 w 887"/>
                <a:gd name="T33" fmla="*/ 298 h 301"/>
                <a:gd name="T34" fmla="*/ 736 w 887"/>
                <a:gd name="T35" fmla="*/ 301 h 301"/>
                <a:gd name="T36" fmla="*/ 0 w 887"/>
                <a:gd name="T37" fmla="*/ 301 h 301"/>
                <a:gd name="T38" fmla="*/ 59 w 887"/>
                <a:gd name="T39" fmla="*/ 247 h 301"/>
                <a:gd name="T40" fmla="*/ 115 w 887"/>
                <a:gd name="T41" fmla="*/ 191 h 301"/>
                <a:gd name="T42" fmla="*/ 166 w 887"/>
                <a:gd name="T43" fmla="*/ 131 h 301"/>
                <a:gd name="T44" fmla="*/ 214 w 887"/>
                <a:gd name="T45" fmla="*/ 67 h 301"/>
                <a:gd name="T46" fmla="*/ 257 w 887"/>
                <a:gd name="T47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87" h="301">
                  <a:moveTo>
                    <a:pt x="257" y="0"/>
                  </a:moveTo>
                  <a:lnTo>
                    <a:pt x="736" y="0"/>
                  </a:lnTo>
                  <a:lnTo>
                    <a:pt x="766" y="3"/>
                  </a:lnTo>
                  <a:lnTo>
                    <a:pt x="795" y="12"/>
                  </a:lnTo>
                  <a:lnTo>
                    <a:pt x="820" y="26"/>
                  </a:lnTo>
                  <a:lnTo>
                    <a:pt x="843" y="45"/>
                  </a:lnTo>
                  <a:lnTo>
                    <a:pt x="861" y="66"/>
                  </a:lnTo>
                  <a:lnTo>
                    <a:pt x="876" y="91"/>
                  </a:lnTo>
                  <a:lnTo>
                    <a:pt x="884" y="120"/>
                  </a:lnTo>
                  <a:lnTo>
                    <a:pt x="887" y="151"/>
                  </a:lnTo>
                  <a:lnTo>
                    <a:pt x="884" y="181"/>
                  </a:lnTo>
                  <a:lnTo>
                    <a:pt x="876" y="209"/>
                  </a:lnTo>
                  <a:lnTo>
                    <a:pt x="861" y="235"/>
                  </a:lnTo>
                  <a:lnTo>
                    <a:pt x="843" y="257"/>
                  </a:lnTo>
                  <a:lnTo>
                    <a:pt x="820" y="275"/>
                  </a:lnTo>
                  <a:lnTo>
                    <a:pt x="795" y="289"/>
                  </a:lnTo>
                  <a:lnTo>
                    <a:pt x="766" y="298"/>
                  </a:lnTo>
                  <a:lnTo>
                    <a:pt x="736" y="301"/>
                  </a:lnTo>
                  <a:lnTo>
                    <a:pt x="0" y="301"/>
                  </a:lnTo>
                  <a:lnTo>
                    <a:pt x="59" y="247"/>
                  </a:lnTo>
                  <a:lnTo>
                    <a:pt x="115" y="191"/>
                  </a:lnTo>
                  <a:lnTo>
                    <a:pt x="166" y="131"/>
                  </a:lnTo>
                  <a:lnTo>
                    <a:pt x="214" y="67"/>
                  </a:lnTo>
                  <a:lnTo>
                    <a:pt x="2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7"/>
            <p:cNvSpPr>
              <a:spLocks/>
            </p:cNvSpPr>
            <p:nvPr/>
          </p:nvSpPr>
          <p:spPr bwMode="auto">
            <a:xfrm>
              <a:off x="-737" y="2542"/>
              <a:ext cx="42" cy="27"/>
            </a:xfrm>
            <a:custGeom>
              <a:avLst/>
              <a:gdLst>
                <a:gd name="T0" fmla="*/ 152 w 467"/>
                <a:gd name="T1" fmla="*/ 0 h 300"/>
                <a:gd name="T2" fmla="*/ 467 w 467"/>
                <a:gd name="T3" fmla="*/ 0 h 300"/>
                <a:gd name="T4" fmla="*/ 461 w 467"/>
                <a:gd name="T5" fmla="*/ 54 h 300"/>
                <a:gd name="T6" fmla="*/ 456 w 467"/>
                <a:gd name="T7" fmla="*/ 108 h 300"/>
                <a:gd name="T8" fmla="*/ 454 w 467"/>
                <a:gd name="T9" fmla="*/ 163 h 300"/>
                <a:gd name="T10" fmla="*/ 456 w 467"/>
                <a:gd name="T11" fmla="*/ 232 h 300"/>
                <a:gd name="T12" fmla="*/ 463 w 467"/>
                <a:gd name="T13" fmla="*/ 300 h 300"/>
                <a:gd name="T14" fmla="*/ 152 w 467"/>
                <a:gd name="T15" fmla="*/ 300 h 300"/>
                <a:gd name="T16" fmla="*/ 121 w 467"/>
                <a:gd name="T17" fmla="*/ 297 h 300"/>
                <a:gd name="T18" fmla="*/ 93 w 467"/>
                <a:gd name="T19" fmla="*/ 289 h 300"/>
                <a:gd name="T20" fmla="*/ 67 w 467"/>
                <a:gd name="T21" fmla="*/ 275 h 300"/>
                <a:gd name="T22" fmla="*/ 45 w 467"/>
                <a:gd name="T23" fmla="*/ 257 h 300"/>
                <a:gd name="T24" fmla="*/ 26 w 467"/>
                <a:gd name="T25" fmla="*/ 234 h 300"/>
                <a:gd name="T26" fmla="*/ 13 w 467"/>
                <a:gd name="T27" fmla="*/ 209 h 300"/>
                <a:gd name="T28" fmla="*/ 3 w 467"/>
                <a:gd name="T29" fmla="*/ 181 h 300"/>
                <a:gd name="T30" fmla="*/ 0 w 467"/>
                <a:gd name="T31" fmla="*/ 149 h 300"/>
                <a:gd name="T32" fmla="*/ 3 w 467"/>
                <a:gd name="T33" fmla="*/ 119 h 300"/>
                <a:gd name="T34" fmla="*/ 13 w 467"/>
                <a:gd name="T35" fmla="*/ 91 h 300"/>
                <a:gd name="T36" fmla="*/ 26 w 467"/>
                <a:gd name="T37" fmla="*/ 66 h 300"/>
                <a:gd name="T38" fmla="*/ 45 w 467"/>
                <a:gd name="T39" fmla="*/ 43 h 300"/>
                <a:gd name="T40" fmla="*/ 67 w 467"/>
                <a:gd name="T41" fmla="*/ 26 h 300"/>
                <a:gd name="T42" fmla="*/ 93 w 467"/>
                <a:gd name="T43" fmla="*/ 11 h 300"/>
                <a:gd name="T44" fmla="*/ 121 w 467"/>
                <a:gd name="T45" fmla="*/ 3 h 300"/>
                <a:gd name="T46" fmla="*/ 152 w 467"/>
                <a:gd name="T4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7" h="300">
                  <a:moveTo>
                    <a:pt x="152" y="0"/>
                  </a:moveTo>
                  <a:lnTo>
                    <a:pt x="467" y="0"/>
                  </a:lnTo>
                  <a:lnTo>
                    <a:pt x="461" y="54"/>
                  </a:lnTo>
                  <a:lnTo>
                    <a:pt x="456" y="108"/>
                  </a:lnTo>
                  <a:lnTo>
                    <a:pt x="454" y="163"/>
                  </a:lnTo>
                  <a:lnTo>
                    <a:pt x="456" y="232"/>
                  </a:lnTo>
                  <a:lnTo>
                    <a:pt x="463" y="300"/>
                  </a:lnTo>
                  <a:lnTo>
                    <a:pt x="152" y="300"/>
                  </a:lnTo>
                  <a:lnTo>
                    <a:pt x="121" y="297"/>
                  </a:lnTo>
                  <a:lnTo>
                    <a:pt x="93" y="289"/>
                  </a:lnTo>
                  <a:lnTo>
                    <a:pt x="67" y="275"/>
                  </a:lnTo>
                  <a:lnTo>
                    <a:pt x="45" y="257"/>
                  </a:lnTo>
                  <a:lnTo>
                    <a:pt x="26" y="234"/>
                  </a:lnTo>
                  <a:lnTo>
                    <a:pt x="13" y="209"/>
                  </a:lnTo>
                  <a:lnTo>
                    <a:pt x="3" y="181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3" y="91"/>
                  </a:lnTo>
                  <a:lnTo>
                    <a:pt x="26" y="66"/>
                  </a:lnTo>
                  <a:lnTo>
                    <a:pt x="45" y="43"/>
                  </a:lnTo>
                  <a:lnTo>
                    <a:pt x="67" y="26"/>
                  </a:lnTo>
                  <a:lnTo>
                    <a:pt x="93" y="11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28"/>
            <p:cNvSpPr>
              <a:spLocks/>
            </p:cNvSpPr>
            <p:nvPr/>
          </p:nvSpPr>
          <p:spPr bwMode="auto">
            <a:xfrm>
              <a:off x="-737" y="2576"/>
              <a:ext cx="52" cy="28"/>
            </a:xfrm>
            <a:custGeom>
              <a:avLst/>
              <a:gdLst>
                <a:gd name="T0" fmla="*/ 152 w 574"/>
                <a:gd name="T1" fmla="*/ 0 h 301"/>
                <a:gd name="T2" fmla="*/ 475 w 574"/>
                <a:gd name="T3" fmla="*/ 0 h 301"/>
                <a:gd name="T4" fmla="*/ 492 w 574"/>
                <a:gd name="T5" fmla="*/ 78 h 301"/>
                <a:gd name="T6" fmla="*/ 515 w 574"/>
                <a:gd name="T7" fmla="*/ 154 h 301"/>
                <a:gd name="T8" fmla="*/ 542 w 574"/>
                <a:gd name="T9" fmla="*/ 229 h 301"/>
                <a:gd name="T10" fmla="*/ 574 w 574"/>
                <a:gd name="T11" fmla="*/ 301 h 301"/>
                <a:gd name="T12" fmla="*/ 152 w 574"/>
                <a:gd name="T13" fmla="*/ 301 h 301"/>
                <a:gd name="T14" fmla="*/ 121 w 574"/>
                <a:gd name="T15" fmla="*/ 298 h 301"/>
                <a:gd name="T16" fmla="*/ 93 w 574"/>
                <a:gd name="T17" fmla="*/ 288 h 301"/>
                <a:gd name="T18" fmla="*/ 67 w 574"/>
                <a:gd name="T19" fmla="*/ 275 h 301"/>
                <a:gd name="T20" fmla="*/ 45 w 574"/>
                <a:gd name="T21" fmla="*/ 256 h 301"/>
                <a:gd name="T22" fmla="*/ 26 w 574"/>
                <a:gd name="T23" fmla="*/ 234 h 301"/>
                <a:gd name="T24" fmla="*/ 13 w 574"/>
                <a:gd name="T25" fmla="*/ 208 h 301"/>
                <a:gd name="T26" fmla="*/ 3 w 574"/>
                <a:gd name="T27" fmla="*/ 180 h 301"/>
                <a:gd name="T28" fmla="*/ 0 w 574"/>
                <a:gd name="T29" fmla="*/ 150 h 301"/>
                <a:gd name="T30" fmla="*/ 3 w 574"/>
                <a:gd name="T31" fmla="*/ 120 h 301"/>
                <a:gd name="T32" fmla="*/ 13 w 574"/>
                <a:gd name="T33" fmla="*/ 92 h 301"/>
                <a:gd name="T34" fmla="*/ 26 w 574"/>
                <a:gd name="T35" fmla="*/ 66 h 301"/>
                <a:gd name="T36" fmla="*/ 45 w 574"/>
                <a:gd name="T37" fmla="*/ 44 h 301"/>
                <a:gd name="T38" fmla="*/ 67 w 574"/>
                <a:gd name="T39" fmla="*/ 25 h 301"/>
                <a:gd name="T40" fmla="*/ 93 w 574"/>
                <a:gd name="T41" fmla="*/ 12 h 301"/>
                <a:gd name="T42" fmla="*/ 121 w 574"/>
                <a:gd name="T43" fmla="*/ 3 h 301"/>
                <a:gd name="T44" fmla="*/ 152 w 574"/>
                <a:gd name="T45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74" h="301">
                  <a:moveTo>
                    <a:pt x="152" y="0"/>
                  </a:moveTo>
                  <a:lnTo>
                    <a:pt x="475" y="0"/>
                  </a:lnTo>
                  <a:lnTo>
                    <a:pt x="492" y="78"/>
                  </a:lnTo>
                  <a:lnTo>
                    <a:pt x="515" y="154"/>
                  </a:lnTo>
                  <a:lnTo>
                    <a:pt x="542" y="229"/>
                  </a:lnTo>
                  <a:lnTo>
                    <a:pt x="574" y="301"/>
                  </a:lnTo>
                  <a:lnTo>
                    <a:pt x="152" y="301"/>
                  </a:lnTo>
                  <a:lnTo>
                    <a:pt x="121" y="298"/>
                  </a:lnTo>
                  <a:lnTo>
                    <a:pt x="93" y="288"/>
                  </a:lnTo>
                  <a:lnTo>
                    <a:pt x="67" y="275"/>
                  </a:lnTo>
                  <a:lnTo>
                    <a:pt x="45" y="256"/>
                  </a:lnTo>
                  <a:lnTo>
                    <a:pt x="26" y="234"/>
                  </a:lnTo>
                  <a:lnTo>
                    <a:pt x="13" y="208"/>
                  </a:lnTo>
                  <a:lnTo>
                    <a:pt x="3" y="180"/>
                  </a:lnTo>
                  <a:lnTo>
                    <a:pt x="0" y="150"/>
                  </a:lnTo>
                  <a:lnTo>
                    <a:pt x="3" y="120"/>
                  </a:lnTo>
                  <a:lnTo>
                    <a:pt x="13" y="92"/>
                  </a:lnTo>
                  <a:lnTo>
                    <a:pt x="26" y="66"/>
                  </a:lnTo>
                  <a:lnTo>
                    <a:pt x="45" y="44"/>
                  </a:lnTo>
                  <a:lnTo>
                    <a:pt x="67" y="25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29"/>
            <p:cNvSpPr>
              <a:spLocks/>
            </p:cNvSpPr>
            <p:nvPr/>
          </p:nvSpPr>
          <p:spPr bwMode="auto">
            <a:xfrm>
              <a:off x="-737" y="2507"/>
              <a:ext cx="53" cy="28"/>
            </a:xfrm>
            <a:custGeom>
              <a:avLst/>
              <a:gdLst>
                <a:gd name="T0" fmla="*/ 152 w 586"/>
                <a:gd name="T1" fmla="*/ 0 h 302"/>
                <a:gd name="T2" fmla="*/ 586 w 586"/>
                <a:gd name="T3" fmla="*/ 0 h 302"/>
                <a:gd name="T4" fmla="*/ 552 w 586"/>
                <a:gd name="T5" fmla="*/ 72 h 302"/>
                <a:gd name="T6" fmla="*/ 522 w 586"/>
                <a:gd name="T7" fmla="*/ 147 h 302"/>
                <a:gd name="T8" fmla="*/ 498 w 586"/>
                <a:gd name="T9" fmla="*/ 223 h 302"/>
                <a:gd name="T10" fmla="*/ 479 w 586"/>
                <a:gd name="T11" fmla="*/ 302 h 302"/>
                <a:gd name="T12" fmla="*/ 152 w 586"/>
                <a:gd name="T13" fmla="*/ 302 h 302"/>
                <a:gd name="T14" fmla="*/ 121 w 586"/>
                <a:gd name="T15" fmla="*/ 299 h 302"/>
                <a:gd name="T16" fmla="*/ 93 w 586"/>
                <a:gd name="T17" fmla="*/ 289 h 302"/>
                <a:gd name="T18" fmla="*/ 67 w 586"/>
                <a:gd name="T19" fmla="*/ 276 h 302"/>
                <a:gd name="T20" fmla="*/ 45 w 586"/>
                <a:gd name="T21" fmla="*/ 257 h 302"/>
                <a:gd name="T22" fmla="*/ 26 w 586"/>
                <a:gd name="T23" fmla="*/ 235 h 302"/>
                <a:gd name="T24" fmla="*/ 13 w 586"/>
                <a:gd name="T25" fmla="*/ 209 h 302"/>
                <a:gd name="T26" fmla="*/ 3 w 586"/>
                <a:gd name="T27" fmla="*/ 181 h 302"/>
                <a:gd name="T28" fmla="*/ 0 w 586"/>
                <a:gd name="T29" fmla="*/ 151 h 302"/>
                <a:gd name="T30" fmla="*/ 3 w 586"/>
                <a:gd name="T31" fmla="*/ 121 h 302"/>
                <a:gd name="T32" fmla="*/ 13 w 586"/>
                <a:gd name="T33" fmla="*/ 93 h 302"/>
                <a:gd name="T34" fmla="*/ 26 w 586"/>
                <a:gd name="T35" fmla="*/ 67 h 302"/>
                <a:gd name="T36" fmla="*/ 45 w 586"/>
                <a:gd name="T37" fmla="*/ 45 h 302"/>
                <a:gd name="T38" fmla="*/ 67 w 586"/>
                <a:gd name="T39" fmla="*/ 26 h 302"/>
                <a:gd name="T40" fmla="*/ 93 w 586"/>
                <a:gd name="T41" fmla="*/ 13 h 302"/>
                <a:gd name="T42" fmla="*/ 121 w 586"/>
                <a:gd name="T43" fmla="*/ 3 h 302"/>
                <a:gd name="T44" fmla="*/ 152 w 586"/>
                <a:gd name="T45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6" h="302">
                  <a:moveTo>
                    <a:pt x="152" y="0"/>
                  </a:moveTo>
                  <a:lnTo>
                    <a:pt x="586" y="0"/>
                  </a:lnTo>
                  <a:lnTo>
                    <a:pt x="552" y="72"/>
                  </a:lnTo>
                  <a:lnTo>
                    <a:pt x="522" y="147"/>
                  </a:lnTo>
                  <a:lnTo>
                    <a:pt x="498" y="223"/>
                  </a:lnTo>
                  <a:lnTo>
                    <a:pt x="479" y="302"/>
                  </a:lnTo>
                  <a:lnTo>
                    <a:pt x="152" y="302"/>
                  </a:lnTo>
                  <a:lnTo>
                    <a:pt x="121" y="299"/>
                  </a:lnTo>
                  <a:lnTo>
                    <a:pt x="93" y="289"/>
                  </a:lnTo>
                  <a:lnTo>
                    <a:pt x="67" y="276"/>
                  </a:lnTo>
                  <a:lnTo>
                    <a:pt x="45" y="257"/>
                  </a:lnTo>
                  <a:lnTo>
                    <a:pt x="26" y="235"/>
                  </a:lnTo>
                  <a:lnTo>
                    <a:pt x="13" y="209"/>
                  </a:lnTo>
                  <a:lnTo>
                    <a:pt x="3" y="181"/>
                  </a:lnTo>
                  <a:lnTo>
                    <a:pt x="0" y="151"/>
                  </a:lnTo>
                  <a:lnTo>
                    <a:pt x="3" y="121"/>
                  </a:lnTo>
                  <a:lnTo>
                    <a:pt x="13" y="93"/>
                  </a:lnTo>
                  <a:lnTo>
                    <a:pt x="26" y="67"/>
                  </a:lnTo>
                  <a:lnTo>
                    <a:pt x="45" y="45"/>
                  </a:lnTo>
                  <a:lnTo>
                    <a:pt x="67" y="26"/>
                  </a:lnTo>
                  <a:lnTo>
                    <a:pt x="93" y="13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30"/>
            <p:cNvSpPr>
              <a:spLocks/>
            </p:cNvSpPr>
            <p:nvPr/>
          </p:nvSpPr>
          <p:spPr bwMode="auto">
            <a:xfrm>
              <a:off x="-737" y="2473"/>
              <a:ext cx="81" cy="27"/>
            </a:xfrm>
            <a:custGeom>
              <a:avLst/>
              <a:gdLst>
                <a:gd name="T0" fmla="*/ 152 w 888"/>
                <a:gd name="T1" fmla="*/ 0 h 300"/>
                <a:gd name="T2" fmla="*/ 888 w 888"/>
                <a:gd name="T3" fmla="*/ 0 h 300"/>
                <a:gd name="T4" fmla="*/ 829 w 888"/>
                <a:gd name="T5" fmla="*/ 53 h 300"/>
                <a:gd name="T6" fmla="*/ 774 w 888"/>
                <a:gd name="T7" fmla="*/ 110 h 300"/>
                <a:gd name="T8" fmla="*/ 721 w 888"/>
                <a:gd name="T9" fmla="*/ 170 h 300"/>
                <a:gd name="T10" fmla="*/ 674 w 888"/>
                <a:gd name="T11" fmla="*/ 234 h 300"/>
                <a:gd name="T12" fmla="*/ 630 w 888"/>
                <a:gd name="T13" fmla="*/ 300 h 300"/>
                <a:gd name="T14" fmla="*/ 152 w 888"/>
                <a:gd name="T15" fmla="*/ 300 h 300"/>
                <a:gd name="T16" fmla="*/ 121 w 888"/>
                <a:gd name="T17" fmla="*/ 297 h 300"/>
                <a:gd name="T18" fmla="*/ 93 w 888"/>
                <a:gd name="T19" fmla="*/ 289 h 300"/>
                <a:gd name="T20" fmla="*/ 67 w 888"/>
                <a:gd name="T21" fmla="*/ 274 h 300"/>
                <a:gd name="T22" fmla="*/ 45 w 888"/>
                <a:gd name="T23" fmla="*/ 256 h 300"/>
                <a:gd name="T24" fmla="*/ 26 w 888"/>
                <a:gd name="T25" fmla="*/ 234 h 300"/>
                <a:gd name="T26" fmla="*/ 13 w 888"/>
                <a:gd name="T27" fmla="*/ 209 h 300"/>
                <a:gd name="T28" fmla="*/ 3 w 888"/>
                <a:gd name="T29" fmla="*/ 179 h 300"/>
                <a:gd name="T30" fmla="*/ 0 w 888"/>
                <a:gd name="T31" fmla="*/ 149 h 300"/>
                <a:gd name="T32" fmla="*/ 3 w 888"/>
                <a:gd name="T33" fmla="*/ 119 h 300"/>
                <a:gd name="T34" fmla="*/ 13 w 888"/>
                <a:gd name="T35" fmla="*/ 91 h 300"/>
                <a:gd name="T36" fmla="*/ 26 w 888"/>
                <a:gd name="T37" fmla="*/ 66 h 300"/>
                <a:gd name="T38" fmla="*/ 45 w 888"/>
                <a:gd name="T39" fmla="*/ 43 h 300"/>
                <a:gd name="T40" fmla="*/ 67 w 888"/>
                <a:gd name="T41" fmla="*/ 26 h 300"/>
                <a:gd name="T42" fmla="*/ 93 w 888"/>
                <a:gd name="T43" fmla="*/ 11 h 300"/>
                <a:gd name="T44" fmla="*/ 121 w 888"/>
                <a:gd name="T45" fmla="*/ 3 h 300"/>
                <a:gd name="T46" fmla="*/ 152 w 888"/>
                <a:gd name="T4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88" h="300">
                  <a:moveTo>
                    <a:pt x="152" y="0"/>
                  </a:moveTo>
                  <a:lnTo>
                    <a:pt x="888" y="0"/>
                  </a:lnTo>
                  <a:lnTo>
                    <a:pt x="829" y="53"/>
                  </a:lnTo>
                  <a:lnTo>
                    <a:pt x="774" y="110"/>
                  </a:lnTo>
                  <a:lnTo>
                    <a:pt x="721" y="170"/>
                  </a:lnTo>
                  <a:lnTo>
                    <a:pt x="674" y="234"/>
                  </a:lnTo>
                  <a:lnTo>
                    <a:pt x="630" y="300"/>
                  </a:lnTo>
                  <a:lnTo>
                    <a:pt x="152" y="300"/>
                  </a:lnTo>
                  <a:lnTo>
                    <a:pt x="121" y="297"/>
                  </a:lnTo>
                  <a:lnTo>
                    <a:pt x="93" y="289"/>
                  </a:lnTo>
                  <a:lnTo>
                    <a:pt x="67" y="274"/>
                  </a:lnTo>
                  <a:lnTo>
                    <a:pt x="45" y="256"/>
                  </a:lnTo>
                  <a:lnTo>
                    <a:pt x="26" y="234"/>
                  </a:lnTo>
                  <a:lnTo>
                    <a:pt x="13" y="209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3" y="91"/>
                  </a:lnTo>
                  <a:lnTo>
                    <a:pt x="26" y="66"/>
                  </a:lnTo>
                  <a:lnTo>
                    <a:pt x="45" y="43"/>
                  </a:lnTo>
                  <a:lnTo>
                    <a:pt x="67" y="26"/>
                  </a:lnTo>
                  <a:lnTo>
                    <a:pt x="93" y="11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31"/>
            <p:cNvSpPr>
              <a:spLocks/>
            </p:cNvSpPr>
            <p:nvPr/>
          </p:nvSpPr>
          <p:spPr bwMode="auto">
            <a:xfrm>
              <a:off x="-737" y="2611"/>
              <a:ext cx="78" cy="27"/>
            </a:xfrm>
            <a:custGeom>
              <a:avLst/>
              <a:gdLst>
                <a:gd name="T0" fmla="*/ 152 w 861"/>
                <a:gd name="T1" fmla="*/ 0 h 300"/>
                <a:gd name="T2" fmla="*/ 615 w 861"/>
                <a:gd name="T3" fmla="*/ 0 h 300"/>
                <a:gd name="T4" fmla="*/ 655 w 861"/>
                <a:gd name="T5" fmla="*/ 66 h 300"/>
                <a:gd name="T6" fmla="*/ 701 w 861"/>
                <a:gd name="T7" fmla="*/ 130 h 300"/>
                <a:gd name="T8" fmla="*/ 751 w 861"/>
                <a:gd name="T9" fmla="*/ 190 h 300"/>
                <a:gd name="T10" fmla="*/ 804 w 861"/>
                <a:gd name="T11" fmla="*/ 247 h 300"/>
                <a:gd name="T12" fmla="*/ 861 w 861"/>
                <a:gd name="T13" fmla="*/ 300 h 300"/>
                <a:gd name="T14" fmla="*/ 152 w 861"/>
                <a:gd name="T15" fmla="*/ 300 h 300"/>
                <a:gd name="T16" fmla="*/ 121 w 861"/>
                <a:gd name="T17" fmla="*/ 297 h 300"/>
                <a:gd name="T18" fmla="*/ 93 w 861"/>
                <a:gd name="T19" fmla="*/ 289 h 300"/>
                <a:gd name="T20" fmla="*/ 67 w 861"/>
                <a:gd name="T21" fmla="*/ 275 h 300"/>
                <a:gd name="T22" fmla="*/ 45 w 861"/>
                <a:gd name="T23" fmla="*/ 257 h 300"/>
                <a:gd name="T24" fmla="*/ 26 w 861"/>
                <a:gd name="T25" fmla="*/ 235 h 300"/>
                <a:gd name="T26" fmla="*/ 13 w 861"/>
                <a:gd name="T27" fmla="*/ 209 h 300"/>
                <a:gd name="T28" fmla="*/ 3 w 861"/>
                <a:gd name="T29" fmla="*/ 181 h 300"/>
                <a:gd name="T30" fmla="*/ 0 w 861"/>
                <a:gd name="T31" fmla="*/ 151 h 300"/>
                <a:gd name="T32" fmla="*/ 3 w 861"/>
                <a:gd name="T33" fmla="*/ 119 h 300"/>
                <a:gd name="T34" fmla="*/ 13 w 861"/>
                <a:gd name="T35" fmla="*/ 91 h 300"/>
                <a:gd name="T36" fmla="*/ 26 w 861"/>
                <a:gd name="T37" fmla="*/ 66 h 300"/>
                <a:gd name="T38" fmla="*/ 45 w 861"/>
                <a:gd name="T39" fmla="*/ 44 h 300"/>
                <a:gd name="T40" fmla="*/ 67 w 861"/>
                <a:gd name="T41" fmla="*/ 26 h 300"/>
                <a:gd name="T42" fmla="*/ 93 w 861"/>
                <a:gd name="T43" fmla="*/ 11 h 300"/>
                <a:gd name="T44" fmla="*/ 121 w 861"/>
                <a:gd name="T45" fmla="*/ 3 h 300"/>
                <a:gd name="T46" fmla="*/ 152 w 861"/>
                <a:gd name="T4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1" h="300">
                  <a:moveTo>
                    <a:pt x="152" y="0"/>
                  </a:moveTo>
                  <a:lnTo>
                    <a:pt x="615" y="0"/>
                  </a:lnTo>
                  <a:lnTo>
                    <a:pt x="655" y="66"/>
                  </a:lnTo>
                  <a:lnTo>
                    <a:pt x="701" y="130"/>
                  </a:lnTo>
                  <a:lnTo>
                    <a:pt x="751" y="190"/>
                  </a:lnTo>
                  <a:lnTo>
                    <a:pt x="804" y="247"/>
                  </a:lnTo>
                  <a:lnTo>
                    <a:pt x="861" y="300"/>
                  </a:lnTo>
                  <a:lnTo>
                    <a:pt x="152" y="300"/>
                  </a:lnTo>
                  <a:lnTo>
                    <a:pt x="121" y="297"/>
                  </a:lnTo>
                  <a:lnTo>
                    <a:pt x="93" y="289"/>
                  </a:lnTo>
                  <a:lnTo>
                    <a:pt x="67" y="275"/>
                  </a:lnTo>
                  <a:lnTo>
                    <a:pt x="45" y="257"/>
                  </a:lnTo>
                  <a:lnTo>
                    <a:pt x="26" y="235"/>
                  </a:lnTo>
                  <a:lnTo>
                    <a:pt x="13" y="209"/>
                  </a:lnTo>
                  <a:lnTo>
                    <a:pt x="3" y="181"/>
                  </a:lnTo>
                  <a:lnTo>
                    <a:pt x="0" y="151"/>
                  </a:lnTo>
                  <a:lnTo>
                    <a:pt x="3" y="119"/>
                  </a:lnTo>
                  <a:lnTo>
                    <a:pt x="13" y="91"/>
                  </a:lnTo>
                  <a:lnTo>
                    <a:pt x="26" y="66"/>
                  </a:lnTo>
                  <a:lnTo>
                    <a:pt x="45" y="44"/>
                  </a:lnTo>
                  <a:lnTo>
                    <a:pt x="67" y="26"/>
                  </a:lnTo>
                  <a:lnTo>
                    <a:pt x="93" y="11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32"/>
            <p:cNvSpPr>
              <a:spLocks/>
            </p:cNvSpPr>
            <p:nvPr/>
          </p:nvSpPr>
          <p:spPr bwMode="auto">
            <a:xfrm>
              <a:off x="-737" y="2645"/>
              <a:ext cx="128" cy="28"/>
            </a:xfrm>
            <a:custGeom>
              <a:avLst/>
              <a:gdLst>
                <a:gd name="T0" fmla="*/ 152 w 1414"/>
                <a:gd name="T1" fmla="*/ 0 h 301"/>
                <a:gd name="T2" fmla="*/ 958 w 1414"/>
                <a:gd name="T3" fmla="*/ 0 h 301"/>
                <a:gd name="T4" fmla="*/ 1027 w 1414"/>
                <a:gd name="T5" fmla="*/ 46 h 301"/>
                <a:gd name="T6" fmla="*/ 1099 w 1414"/>
                <a:gd name="T7" fmla="*/ 88 h 301"/>
                <a:gd name="T8" fmla="*/ 1174 w 1414"/>
                <a:gd name="T9" fmla="*/ 124 h 301"/>
                <a:gd name="T10" fmla="*/ 1251 w 1414"/>
                <a:gd name="T11" fmla="*/ 155 h 301"/>
                <a:gd name="T12" fmla="*/ 1332 w 1414"/>
                <a:gd name="T13" fmla="*/ 181 h 301"/>
                <a:gd name="T14" fmla="*/ 1414 w 1414"/>
                <a:gd name="T15" fmla="*/ 202 h 301"/>
                <a:gd name="T16" fmla="*/ 1403 w 1414"/>
                <a:gd name="T17" fmla="*/ 226 h 301"/>
                <a:gd name="T18" fmla="*/ 1388 w 1414"/>
                <a:gd name="T19" fmla="*/ 247 h 301"/>
                <a:gd name="T20" fmla="*/ 1370 w 1414"/>
                <a:gd name="T21" fmla="*/ 266 h 301"/>
                <a:gd name="T22" fmla="*/ 1349 w 1414"/>
                <a:gd name="T23" fmla="*/ 280 h 301"/>
                <a:gd name="T24" fmla="*/ 1325 w 1414"/>
                <a:gd name="T25" fmla="*/ 292 h 301"/>
                <a:gd name="T26" fmla="*/ 1300 w 1414"/>
                <a:gd name="T27" fmla="*/ 299 h 301"/>
                <a:gd name="T28" fmla="*/ 1273 w 1414"/>
                <a:gd name="T29" fmla="*/ 301 h 301"/>
                <a:gd name="T30" fmla="*/ 152 w 1414"/>
                <a:gd name="T31" fmla="*/ 301 h 301"/>
                <a:gd name="T32" fmla="*/ 121 w 1414"/>
                <a:gd name="T33" fmla="*/ 298 h 301"/>
                <a:gd name="T34" fmla="*/ 93 w 1414"/>
                <a:gd name="T35" fmla="*/ 290 h 301"/>
                <a:gd name="T36" fmla="*/ 67 w 1414"/>
                <a:gd name="T37" fmla="*/ 275 h 301"/>
                <a:gd name="T38" fmla="*/ 45 w 1414"/>
                <a:gd name="T39" fmla="*/ 257 h 301"/>
                <a:gd name="T40" fmla="*/ 26 w 1414"/>
                <a:gd name="T41" fmla="*/ 234 h 301"/>
                <a:gd name="T42" fmla="*/ 13 w 1414"/>
                <a:gd name="T43" fmla="*/ 210 h 301"/>
                <a:gd name="T44" fmla="*/ 3 w 1414"/>
                <a:gd name="T45" fmla="*/ 180 h 301"/>
                <a:gd name="T46" fmla="*/ 0 w 1414"/>
                <a:gd name="T47" fmla="*/ 150 h 301"/>
                <a:gd name="T48" fmla="*/ 3 w 1414"/>
                <a:gd name="T49" fmla="*/ 120 h 301"/>
                <a:gd name="T50" fmla="*/ 13 w 1414"/>
                <a:gd name="T51" fmla="*/ 92 h 301"/>
                <a:gd name="T52" fmla="*/ 26 w 1414"/>
                <a:gd name="T53" fmla="*/ 66 h 301"/>
                <a:gd name="T54" fmla="*/ 45 w 1414"/>
                <a:gd name="T55" fmla="*/ 44 h 301"/>
                <a:gd name="T56" fmla="*/ 67 w 1414"/>
                <a:gd name="T57" fmla="*/ 25 h 301"/>
                <a:gd name="T58" fmla="*/ 93 w 1414"/>
                <a:gd name="T59" fmla="*/ 12 h 301"/>
                <a:gd name="T60" fmla="*/ 121 w 1414"/>
                <a:gd name="T61" fmla="*/ 4 h 301"/>
                <a:gd name="T62" fmla="*/ 152 w 1414"/>
                <a:gd name="T63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14" h="301">
                  <a:moveTo>
                    <a:pt x="152" y="0"/>
                  </a:moveTo>
                  <a:lnTo>
                    <a:pt x="958" y="0"/>
                  </a:lnTo>
                  <a:lnTo>
                    <a:pt x="1027" y="46"/>
                  </a:lnTo>
                  <a:lnTo>
                    <a:pt x="1099" y="88"/>
                  </a:lnTo>
                  <a:lnTo>
                    <a:pt x="1174" y="124"/>
                  </a:lnTo>
                  <a:lnTo>
                    <a:pt x="1251" y="155"/>
                  </a:lnTo>
                  <a:lnTo>
                    <a:pt x="1332" y="181"/>
                  </a:lnTo>
                  <a:lnTo>
                    <a:pt x="1414" y="202"/>
                  </a:lnTo>
                  <a:lnTo>
                    <a:pt x="1403" y="226"/>
                  </a:lnTo>
                  <a:lnTo>
                    <a:pt x="1388" y="247"/>
                  </a:lnTo>
                  <a:lnTo>
                    <a:pt x="1370" y="266"/>
                  </a:lnTo>
                  <a:lnTo>
                    <a:pt x="1349" y="280"/>
                  </a:lnTo>
                  <a:lnTo>
                    <a:pt x="1325" y="292"/>
                  </a:lnTo>
                  <a:lnTo>
                    <a:pt x="1300" y="299"/>
                  </a:lnTo>
                  <a:lnTo>
                    <a:pt x="1273" y="301"/>
                  </a:lnTo>
                  <a:lnTo>
                    <a:pt x="152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7" y="275"/>
                  </a:lnTo>
                  <a:lnTo>
                    <a:pt x="45" y="257"/>
                  </a:lnTo>
                  <a:lnTo>
                    <a:pt x="26" y="234"/>
                  </a:lnTo>
                  <a:lnTo>
                    <a:pt x="13" y="210"/>
                  </a:lnTo>
                  <a:lnTo>
                    <a:pt x="3" y="180"/>
                  </a:lnTo>
                  <a:lnTo>
                    <a:pt x="0" y="150"/>
                  </a:lnTo>
                  <a:lnTo>
                    <a:pt x="3" y="120"/>
                  </a:lnTo>
                  <a:lnTo>
                    <a:pt x="13" y="92"/>
                  </a:lnTo>
                  <a:lnTo>
                    <a:pt x="26" y="66"/>
                  </a:lnTo>
                  <a:lnTo>
                    <a:pt x="45" y="44"/>
                  </a:lnTo>
                  <a:lnTo>
                    <a:pt x="67" y="25"/>
                  </a:lnTo>
                  <a:lnTo>
                    <a:pt x="93" y="12"/>
                  </a:lnTo>
                  <a:lnTo>
                    <a:pt x="121" y="4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33"/>
            <p:cNvSpPr>
              <a:spLocks/>
            </p:cNvSpPr>
            <p:nvPr/>
          </p:nvSpPr>
          <p:spPr bwMode="auto">
            <a:xfrm>
              <a:off x="-737" y="2680"/>
              <a:ext cx="129" cy="27"/>
            </a:xfrm>
            <a:custGeom>
              <a:avLst/>
              <a:gdLst>
                <a:gd name="T0" fmla="*/ 152 w 1424"/>
                <a:gd name="T1" fmla="*/ 0 h 302"/>
                <a:gd name="T2" fmla="*/ 1273 w 1424"/>
                <a:gd name="T3" fmla="*/ 0 h 302"/>
                <a:gd name="T4" fmla="*/ 1303 w 1424"/>
                <a:gd name="T5" fmla="*/ 3 h 302"/>
                <a:gd name="T6" fmla="*/ 1332 w 1424"/>
                <a:gd name="T7" fmla="*/ 13 h 302"/>
                <a:gd name="T8" fmla="*/ 1357 w 1424"/>
                <a:gd name="T9" fmla="*/ 26 h 302"/>
                <a:gd name="T10" fmla="*/ 1380 w 1424"/>
                <a:gd name="T11" fmla="*/ 45 h 302"/>
                <a:gd name="T12" fmla="*/ 1398 w 1424"/>
                <a:gd name="T13" fmla="*/ 67 h 302"/>
                <a:gd name="T14" fmla="*/ 1412 w 1424"/>
                <a:gd name="T15" fmla="*/ 92 h 302"/>
                <a:gd name="T16" fmla="*/ 1421 w 1424"/>
                <a:gd name="T17" fmla="*/ 121 h 302"/>
                <a:gd name="T18" fmla="*/ 1424 w 1424"/>
                <a:gd name="T19" fmla="*/ 151 h 302"/>
                <a:gd name="T20" fmla="*/ 1421 w 1424"/>
                <a:gd name="T21" fmla="*/ 181 h 302"/>
                <a:gd name="T22" fmla="*/ 1412 w 1424"/>
                <a:gd name="T23" fmla="*/ 209 h 302"/>
                <a:gd name="T24" fmla="*/ 1398 w 1424"/>
                <a:gd name="T25" fmla="*/ 235 h 302"/>
                <a:gd name="T26" fmla="*/ 1380 w 1424"/>
                <a:gd name="T27" fmla="*/ 257 h 302"/>
                <a:gd name="T28" fmla="*/ 1357 w 1424"/>
                <a:gd name="T29" fmla="*/ 276 h 302"/>
                <a:gd name="T30" fmla="*/ 1332 w 1424"/>
                <a:gd name="T31" fmla="*/ 289 h 302"/>
                <a:gd name="T32" fmla="*/ 1303 w 1424"/>
                <a:gd name="T33" fmla="*/ 299 h 302"/>
                <a:gd name="T34" fmla="*/ 1273 w 1424"/>
                <a:gd name="T35" fmla="*/ 302 h 302"/>
                <a:gd name="T36" fmla="*/ 152 w 1424"/>
                <a:gd name="T37" fmla="*/ 302 h 302"/>
                <a:gd name="T38" fmla="*/ 121 w 1424"/>
                <a:gd name="T39" fmla="*/ 299 h 302"/>
                <a:gd name="T40" fmla="*/ 93 w 1424"/>
                <a:gd name="T41" fmla="*/ 289 h 302"/>
                <a:gd name="T42" fmla="*/ 67 w 1424"/>
                <a:gd name="T43" fmla="*/ 276 h 302"/>
                <a:gd name="T44" fmla="*/ 45 w 1424"/>
                <a:gd name="T45" fmla="*/ 257 h 302"/>
                <a:gd name="T46" fmla="*/ 26 w 1424"/>
                <a:gd name="T47" fmla="*/ 235 h 302"/>
                <a:gd name="T48" fmla="*/ 13 w 1424"/>
                <a:gd name="T49" fmla="*/ 209 h 302"/>
                <a:gd name="T50" fmla="*/ 3 w 1424"/>
                <a:gd name="T51" fmla="*/ 181 h 302"/>
                <a:gd name="T52" fmla="*/ 0 w 1424"/>
                <a:gd name="T53" fmla="*/ 151 h 302"/>
                <a:gd name="T54" fmla="*/ 3 w 1424"/>
                <a:gd name="T55" fmla="*/ 121 h 302"/>
                <a:gd name="T56" fmla="*/ 13 w 1424"/>
                <a:gd name="T57" fmla="*/ 92 h 302"/>
                <a:gd name="T58" fmla="*/ 26 w 1424"/>
                <a:gd name="T59" fmla="*/ 67 h 302"/>
                <a:gd name="T60" fmla="*/ 45 w 1424"/>
                <a:gd name="T61" fmla="*/ 45 h 302"/>
                <a:gd name="T62" fmla="*/ 67 w 1424"/>
                <a:gd name="T63" fmla="*/ 26 h 302"/>
                <a:gd name="T64" fmla="*/ 93 w 1424"/>
                <a:gd name="T65" fmla="*/ 13 h 302"/>
                <a:gd name="T66" fmla="*/ 121 w 1424"/>
                <a:gd name="T67" fmla="*/ 3 h 302"/>
                <a:gd name="T68" fmla="*/ 152 w 1424"/>
                <a:gd name="T6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4" h="302">
                  <a:moveTo>
                    <a:pt x="152" y="0"/>
                  </a:moveTo>
                  <a:lnTo>
                    <a:pt x="1273" y="0"/>
                  </a:lnTo>
                  <a:lnTo>
                    <a:pt x="1303" y="3"/>
                  </a:lnTo>
                  <a:lnTo>
                    <a:pt x="1332" y="13"/>
                  </a:lnTo>
                  <a:lnTo>
                    <a:pt x="1357" y="26"/>
                  </a:lnTo>
                  <a:lnTo>
                    <a:pt x="1380" y="45"/>
                  </a:lnTo>
                  <a:lnTo>
                    <a:pt x="1398" y="67"/>
                  </a:lnTo>
                  <a:lnTo>
                    <a:pt x="1412" y="92"/>
                  </a:lnTo>
                  <a:lnTo>
                    <a:pt x="1421" y="121"/>
                  </a:lnTo>
                  <a:lnTo>
                    <a:pt x="1424" y="151"/>
                  </a:lnTo>
                  <a:lnTo>
                    <a:pt x="1421" y="181"/>
                  </a:lnTo>
                  <a:lnTo>
                    <a:pt x="1412" y="209"/>
                  </a:lnTo>
                  <a:lnTo>
                    <a:pt x="1398" y="235"/>
                  </a:lnTo>
                  <a:lnTo>
                    <a:pt x="1380" y="257"/>
                  </a:lnTo>
                  <a:lnTo>
                    <a:pt x="1357" y="276"/>
                  </a:lnTo>
                  <a:lnTo>
                    <a:pt x="1332" y="289"/>
                  </a:lnTo>
                  <a:lnTo>
                    <a:pt x="1303" y="299"/>
                  </a:lnTo>
                  <a:lnTo>
                    <a:pt x="1273" y="302"/>
                  </a:lnTo>
                  <a:lnTo>
                    <a:pt x="152" y="302"/>
                  </a:lnTo>
                  <a:lnTo>
                    <a:pt x="121" y="299"/>
                  </a:lnTo>
                  <a:lnTo>
                    <a:pt x="93" y="289"/>
                  </a:lnTo>
                  <a:lnTo>
                    <a:pt x="67" y="276"/>
                  </a:lnTo>
                  <a:lnTo>
                    <a:pt x="45" y="257"/>
                  </a:lnTo>
                  <a:lnTo>
                    <a:pt x="26" y="235"/>
                  </a:lnTo>
                  <a:lnTo>
                    <a:pt x="13" y="209"/>
                  </a:lnTo>
                  <a:lnTo>
                    <a:pt x="3" y="181"/>
                  </a:lnTo>
                  <a:lnTo>
                    <a:pt x="0" y="151"/>
                  </a:lnTo>
                  <a:lnTo>
                    <a:pt x="3" y="121"/>
                  </a:lnTo>
                  <a:lnTo>
                    <a:pt x="13" y="92"/>
                  </a:lnTo>
                  <a:lnTo>
                    <a:pt x="26" y="67"/>
                  </a:lnTo>
                  <a:lnTo>
                    <a:pt x="45" y="45"/>
                  </a:lnTo>
                  <a:lnTo>
                    <a:pt x="67" y="26"/>
                  </a:lnTo>
                  <a:lnTo>
                    <a:pt x="93" y="13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34"/>
            <p:cNvSpPr>
              <a:spLocks noEditPoints="1"/>
            </p:cNvSpPr>
            <p:nvPr/>
          </p:nvSpPr>
          <p:spPr bwMode="auto">
            <a:xfrm>
              <a:off x="-682" y="2461"/>
              <a:ext cx="193" cy="191"/>
            </a:xfrm>
            <a:custGeom>
              <a:avLst/>
              <a:gdLst>
                <a:gd name="T0" fmla="*/ 924 w 2119"/>
                <a:gd name="T1" fmla="*/ 314 h 2106"/>
                <a:gd name="T2" fmla="*/ 735 w 2119"/>
                <a:gd name="T3" fmla="*/ 374 h 2106"/>
                <a:gd name="T4" fmla="*/ 573 w 2119"/>
                <a:gd name="T5" fmla="*/ 479 h 2106"/>
                <a:gd name="T6" fmla="*/ 441 w 2119"/>
                <a:gd name="T7" fmla="*/ 620 h 2106"/>
                <a:gd name="T8" fmla="*/ 350 w 2119"/>
                <a:gd name="T9" fmla="*/ 792 h 2106"/>
                <a:gd name="T10" fmla="*/ 306 w 2119"/>
                <a:gd name="T11" fmla="*/ 985 h 2106"/>
                <a:gd name="T12" fmla="*/ 315 w 2119"/>
                <a:gd name="T13" fmla="*/ 1188 h 2106"/>
                <a:gd name="T14" fmla="*/ 376 w 2119"/>
                <a:gd name="T15" fmla="*/ 1375 h 2106"/>
                <a:gd name="T16" fmla="*/ 481 w 2119"/>
                <a:gd name="T17" fmla="*/ 1538 h 2106"/>
                <a:gd name="T18" fmla="*/ 623 w 2119"/>
                <a:gd name="T19" fmla="*/ 1668 h 2106"/>
                <a:gd name="T20" fmla="*/ 796 w 2119"/>
                <a:gd name="T21" fmla="*/ 1758 h 2106"/>
                <a:gd name="T22" fmla="*/ 991 w 2119"/>
                <a:gd name="T23" fmla="*/ 1803 h 2106"/>
                <a:gd name="T24" fmla="*/ 1196 w 2119"/>
                <a:gd name="T25" fmla="*/ 1793 h 2106"/>
                <a:gd name="T26" fmla="*/ 1384 w 2119"/>
                <a:gd name="T27" fmla="*/ 1733 h 2106"/>
                <a:gd name="T28" fmla="*/ 1548 w 2119"/>
                <a:gd name="T29" fmla="*/ 1628 h 2106"/>
                <a:gd name="T30" fmla="*/ 1678 w 2119"/>
                <a:gd name="T31" fmla="*/ 1487 h 2106"/>
                <a:gd name="T32" fmla="*/ 1770 w 2119"/>
                <a:gd name="T33" fmla="*/ 1316 h 2106"/>
                <a:gd name="T34" fmla="*/ 1813 w 2119"/>
                <a:gd name="T35" fmla="*/ 1122 h 2106"/>
                <a:gd name="T36" fmla="*/ 1804 w 2119"/>
                <a:gd name="T37" fmla="*/ 919 h 2106"/>
                <a:gd name="T38" fmla="*/ 1743 w 2119"/>
                <a:gd name="T39" fmla="*/ 732 h 2106"/>
                <a:gd name="T40" fmla="*/ 1639 w 2119"/>
                <a:gd name="T41" fmla="*/ 569 h 2106"/>
                <a:gd name="T42" fmla="*/ 1496 w 2119"/>
                <a:gd name="T43" fmla="*/ 439 h 2106"/>
                <a:gd name="T44" fmla="*/ 1324 w 2119"/>
                <a:gd name="T45" fmla="*/ 349 h 2106"/>
                <a:gd name="T46" fmla="*/ 1129 w 2119"/>
                <a:gd name="T47" fmla="*/ 304 h 2106"/>
                <a:gd name="T48" fmla="*/ 1142 w 2119"/>
                <a:gd name="T49" fmla="*/ 4 h 2106"/>
                <a:gd name="T50" fmla="*/ 1379 w 2119"/>
                <a:gd name="T51" fmla="*/ 49 h 2106"/>
                <a:gd name="T52" fmla="*/ 1595 w 2119"/>
                <a:gd name="T53" fmla="*/ 145 h 2106"/>
                <a:gd name="T54" fmla="*/ 1781 w 2119"/>
                <a:gd name="T55" fmla="*/ 282 h 2106"/>
                <a:gd name="T56" fmla="*/ 1933 w 2119"/>
                <a:gd name="T57" fmla="*/ 457 h 2106"/>
                <a:gd name="T58" fmla="*/ 2044 w 2119"/>
                <a:gd name="T59" fmla="*/ 662 h 2106"/>
                <a:gd name="T60" fmla="*/ 2107 w 2119"/>
                <a:gd name="T61" fmla="*/ 891 h 2106"/>
                <a:gd name="T62" fmla="*/ 2116 w 2119"/>
                <a:gd name="T63" fmla="*/ 1136 h 2106"/>
                <a:gd name="T64" fmla="*/ 2070 w 2119"/>
                <a:gd name="T65" fmla="*/ 1371 h 2106"/>
                <a:gd name="T66" fmla="*/ 1975 w 2119"/>
                <a:gd name="T67" fmla="*/ 1584 h 2106"/>
                <a:gd name="T68" fmla="*/ 1835 w 2119"/>
                <a:gd name="T69" fmla="*/ 1770 h 2106"/>
                <a:gd name="T70" fmla="*/ 1660 w 2119"/>
                <a:gd name="T71" fmla="*/ 1921 h 2106"/>
                <a:gd name="T72" fmla="*/ 1453 w 2119"/>
                <a:gd name="T73" fmla="*/ 2031 h 2106"/>
                <a:gd name="T74" fmla="*/ 1224 w 2119"/>
                <a:gd name="T75" fmla="*/ 2094 h 2106"/>
                <a:gd name="T76" fmla="*/ 977 w 2119"/>
                <a:gd name="T77" fmla="*/ 2103 h 2106"/>
                <a:gd name="T78" fmla="*/ 740 w 2119"/>
                <a:gd name="T79" fmla="*/ 2058 h 2106"/>
                <a:gd name="T80" fmla="*/ 526 w 2119"/>
                <a:gd name="T81" fmla="*/ 1962 h 2106"/>
                <a:gd name="T82" fmla="*/ 338 w 2119"/>
                <a:gd name="T83" fmla="*/ 1825 h 2106"/>
                <a:gd name="T84" fmla="*/ 187 w 2119"/>
                <a:gd name="T85" fmla="*/ 1650 h 2106"/>
                <a:gd name="T86" fmla="*/ 76 w 2119"/>
                <a:gd name="T87" fmla="*/ 1445 h 2106"/>
                <a:gd name="T88" fmla="*/ 13 w 2119"/>
                <a:gd name="T89" fmla="*/ 1216 h 2106"/>
                <a:gd name="T90" fmla="*/ 3 w 2119"/>
                <a:gd name="T91" fmla="*/ 972 h 2106"/>
                <a:gd name="T92" fmla="*/ 49 w 2119"/>
                <a:gd name="T93" fmla="*/ 736 h 2106"/>
                <a:gd name="T94" fmla="*/ 145 w 2119"/>
                <a:gd name="T95" fmla="*/ 523 h 2106"/>
                <a:gd name="T96" fmla="*/ 284 w 2119"/>
                <a:gd name="T97" fmla="*/ 337 h 2106"/>
                <a:gd name="T98" fmla="*/ 460 w 2119"/>
                <a:gd name="T99" fmla="*/ 187 h 2106"/>
                <a:gd name="T100" fmla="*/ 666 w 2119"/>
                <a:gd name="T101" fmla="*/ 76 h 2106"/>
                <a:gd name="T102" fmla="*/ 896 w 2119"/>
                <a:gd name="T103" fmla="*/ 13 h 2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19" h="2106">
                  <a:moveTo>
                    <a:pt x="1060" y="301"/>
                  </a:moveTo>
                  <a:lnTo>
                    <a:pt x="991" y="304"/>
                  </a:lnTo>
                  <a:lnTo>
                    <a:pt x="924" y="314"/>
                  </a:lnTo>
                  <a:lnTo>
                    <a:pt x="859" y="328"/>
                  </a:lnTo>
                  <a:lnTo>
                    <a:pt x="796" y="349"/>
                  </a:lnTo>
                  <a:lnTo>
                    <a:pt x="735" y="374"/>
                  </a:lnTo>
                  <a:lnTo>
                    <a:pt x="678" y="404"/>
                  </a:lnTo>
                  <a:lnTo>
                    <a:pt x="623" y="439"/>
                  </a:lnTo>
                  <a:lnTo>
                    <a:pt x="573" y="479"/>
                  </a:lnTo>
                  <a:lnTo>
                    <a:pt x="525" y="523"/>
                  </a:lnTo>
                  <a:lnTo>
                    <a:pt x="481" y="569"/>
                  </a:lnTo>
                  <a:lnTo>
                    <a:pt x="441" y="620"/>
                  </a:lnTo>
                  <a:lnTo>
                    <a:pt x="406" y="674"/>
                  </a:lnTo>
                  <a:lnTo>
                    <a:pt x="376" y="732"/>
                  </a:lnTo>
                  <a:lnTo>
                    <a:pt x="350" y="792"/>
                  </a:lnTo>
                  <a:lnTo>
                    <a:pt x="330" y="854"/>
                  </a:lnTo>
                  <a:lnTo>
                    <a:pt x="315" y="919"/>
                  </a:lnTo>
                  <a:lnTo>
                    <a:pt x="306" y="985"/>
                  </a:lnTo>
                  <a:lnTo>
                    <a:pt x="303" y="1054"/>
                  </a:lnTo>
                  <a:lnTo>
                    <a:pt x="306" y="1122"/>
                  </a:lnTo>
                  <a:lnTo>
                    <a:pt x="315" y="1188"/>
                  </a:lnTo>
                  <a:lnTo>
                    <a:pt x="330" y="1254"/>
                  </a:lnTo>
                  <a:lnTo>
                    <a:pt x="350" y="1316"/>
                  </a:lnTo>
                  <a:lnTo>
                    <a:pt x="376" y="1375"/>
                  </a:lnTo>
                  <a:lnTo>
                    <a:pt x="406" y="1433"/>
                  </a:lnTo>
                  <a:lnTo>
                    <a:pt x="441" y="1487"/>
                  </a:lnTo>
                  <a:lnTo>
                    <a:pt x="481" y="1538"/>
                  </a:lnTo>
                  <a:lnTo>
                    <a:pt x="525" y="1585"/>
                  </a:lnTo>
                  <a:lnTo>
                    <a:pt x="573" y="1628"/>
                  </a:lnTo>
                  <a:lnTo>
                    <a:pt x="623" y="1668"/>
                  </a:lnTo>
                  <a:lnTo>
                    <a:pt x="678" y="1703"/>
                  </a:lnTo>
                  <a:lnTo>
                    <a:pt x="735" y="1733"/>
                  </a:lnTo>
                  <a:lnTo>
                    <a:pt x="796" y="1758"/>
                  </a:lnTo>
                  <a:lnTo>
                    <a:pt x="859" y="1779"/>
                  </a:lnTo>
                  <a:lnTo>
                    <a:pt x="924" y="1793"/>
                  </a:lnTo>
                  <a:lnTo>
                    <a:pt x="991" y="1803"/>
                  </a:lnTo>
                  <a:lnTo>
                    <a:pt x="1060" y="1806"/>
                  </a:lnTo>
                  <a:lnTo>
                    <a:pt x="1129" y="1803"/>
                  </a:lnTo>
                  <a:lnTo>
                    <a:pt x="1196" y="1793"/>
                  </a:lnTo>
                  <a:lnTo>
                    <a:pt x="1261" y="1779"/>
                  </a:lnTo>
                  <a:lnTo>
                    <a:pt x="1324" y="1758"/>
                  </a:lnTo>
                  <a:lnTo>
                    <a:pt x="1384" y="1733"/>
                  </a:lnTo>
                  <a:lnTo>
                    <a:pt x="1442" y="1703"/>
                  </a:lnTo>
                  <a:lnTo>
                    <a:pt x="1496" y="1668"/>
                  </a:lnTo>
                  <a:lnTo>
                    <a:pt x="1548" y="1628"/>
                  </a:lnTo>
                  <a:lnTo>
                    <a:pt x="1595" y="1585"/>
                  </a:lnTo>
                  <a:lnTo>
                    <a:pt x="1639" y="1538"/>
                  </a:lnTo>
                  <a:lnTo>
                    <a:pt x="1678" y="1487"/>
                  </a:lnTo>
                  <a:lnTo>
                    <a:pt x="1713" y="1433"/>
                  </a:lnTo>
                  <a:lnTo>
                    <a:pt x="1743" y="1375"/>
                  </a:lnTo>
                  <a:lnTo>
                    <a:pt x="1770" y="1316"/>
                  </a:lnTo>
                  <a:lnTo>
                    <a:pt x="1789" y="1254"/>
                  </a:lnTo>
                  <a:lnTo>
                    <a:pt x="1804" y="1188"/>
                  </a:lnTo>
                  <a:lnTo>
                    <a:pt x="1813" y="1122"/>
                  </a:lnTo>
                  <a:lnTo>
                    <a:pt x="1817" y="1054"/>
                  </a:lnTo>
                  <a:lnTo>
                    <a:pt x="1813" y="985"/>
                  </a:lnTo>
                  <a:lnTo>
                    <a:pt x="1804" y="919"/>
                  </a:lnTo>
                  <a:lnTo>
                    <a:pt x="1789" y="854"/>
                  </a:lnTo>
                  <a:lnTo>
                    <a:pt x="1770" y="792"/>
                  </a:lnTo>
                  <a:lnTo>
                    <a:pt x="1743" y="732"/>
                  </a:lnTo>
                  <a:lnTo>
                    <a:pt x="1713" y="674"/>
                  </a:lnTo>
                  <a:lnTo>
                    <a:pt x="1678" y="620"/>
                  </a:lnTo>
                  <a:lnTo>
                    <a:pt x="1639" y="569"/>
                  </a:lnTo>
                  <a:lnTo>
                    <a:pt x="1595" y="523"/>
                  </a:lnTo>
                  <a:lnTo>
                    <a:pt x="1548" y="479"/>
                  </a:lnTo>
                  <a:lnTo>
                    <a:pt x="1496" y="439"/>
                  </a:lnTo>
                  <a:lnTo>
                    <a:pt x="1442" y="404"/>
                  </a:lnTo>
                  <a:lnTo>
                    <a:pt x="1384" y="374"/>
                  </a:lnTo>
                  <a:lnTo>
                    <a:pt x="1324" y="349"/>
                  </a:lnTo>
                  <a:lnTo>
                    <a:pt x="1261" y="328"/>
                  </a:lnTo>
                  <a:lnTo>
                    <a:pt x="1196" y="314"/>
                  </a:lnTo>
                  <a:lnTo>
                    <a:pt x="1129" y="304"/>
                  </a:lnTo>
                  <a:lnTo>
                    <a:pt x="1060" y="301"/>
                  </a:lnTo>
                  <a:close/>
                  <a:moveTo>
                    <a:pt x="1060" y="0"/>
                  </a:moveTo>
                  <a:lnTo>
                    <a:pt x="1142" y="4"/>
                  </a:lnTo>
                  <a:lnTo>
                    <a:pt x="1224" y="13"/>
                  </a:lnTo>
                  <a:lnTo>
                    <a:pt x="1303" y="29"/>
                  </a:lnTo>
                  <a:lnTo>
                    <a:pt x="1379" y="49"/>
                  </a:lnTo>
                  <a:lnTo>
                    <a:pt x="1453" y="76"/>
                  </a:lnTo>
                  <a:lnTo>
                    <a:pt x="1526" y="108"/>
                  </a:lnTo>
                  <a:lnTo>
                    <a:pt x="1595" y="145"/>
                  </a:lnTo>
                  <a:lnTo>
                    <a:pt x="1660" y="187"/>
                  </a:lnTo>
                  <a:lnTo>
                    <a:pt x="1722" y="232"/>
                  </a:lnTo>
                  <a:lnTo>
                    <a:pt x="1781" y="282"/>
                  </a:lnTo>
                  <a:lnTo>
                    <a:pt x="1835" y="337"/>
                  </a:lnTo>
                  <a:lnTo>
                    <a:pt x="1887" y="396"/>
                  </a:lnTo>
                  <a:lnTo>
                    <a:pt x="1933" y="457"/>
                  </a:lnTo>
                  <a:lnTo>
                    <a:pt x="1975" y="523"/>
                  </a:lnTo>
                  <a:lnTo>
                    <a:pt x="2011" y="591"/>
                  </a:lnTo>
                  <a:lnTo>
                    <a:pt x="2044" y="662"/>
                  </a:lnTo>
                  <a:lnTo>
                    <a:pt x="2070" y="736"/>
                  </a:lnTo>
                  <a:lnTo>
                    <a:pt x="2091" y="813"/>
                  </a:lnTo>
                  <a:lnTo>
                    <a:pt x="2107" y="891"/>
                  </a:lnTo>
                  <a:lnTo>
                    <a:pt x="2116" y="972"/>
                  </a:lnTo>
                  <a:lnTo>
                    <a:pt x="2119" y="1054"/>
                  </a:lnTo>
                  <a:lnTo>
                    <a:pt x="2116" y="1136"/>
                  </a:lnTo>
                  <a:lnTo>
                    <a:pt x="2107" y="1216"/>
                  </a:lnTo>
                  <a:lnTo>
                    <a:pt x="2091" y="1295"/>
                  </a:lnTo>
                  <a:lnTo>
                    <a:pt x="2070" y="1371"/>
                  </a:lnTo>
                  <a:lnTo>
                    <a:pt x="2044" y="1445"/>
                  </a:lnTo>
                  <a:lnTo>
                    <a:pt x="2011" y="1516"/>
                  </a:lnTo>
                  <a:lnTo>
                    <a:pt x="1975" y="1584"/>
                  </a:lnTo>
                  <a:lnTo>
                    <a:pt x="1933" y="1650"/>
                  </a:lnTo>
                  <a:lnTo>
                    <a:pt x="1887" y="1711"/>
                  </a:lnTo>
                  <a:lnTo>
                    <a:pt x="1835" y="1770"/>
                  </a:lnTo>
                  <a:lnTo>
                    <a:pt x="1781" y="1825"/>
                  </a:lnTo>
                  <a:lnTo>
                    <a:pt x="1722" y="1875"/>
                  </a:lnTo>
                  <a:lnTo>
                    <a:pt x="1660" y="1921"/>
                  </a:lnTo>
                  <a:lnTo>
                    <a:pt x="1595" y="1962"/>
                  </a:lnTo>
                  <a:lnTo>
                    <a:pt x="1526" y="1999"/>
                  </a:lnTo>
                  <a:lnTo>
                    <a:pt x="1453" y="2031"/>
                  </a:lnTo>
                  <a:lnTo>
                    <a:pt x="1379" y="2058"/>
                  </a:lnTo>
                  <a:lnTo>
                    <a:pt x="1303" y="2078"/>
                  </a:lnTo>
                  <a:lnTo>
                    <a:pt x="1224" y="2094"/>
                  </a:lnTo>
                  <a:lnTo>
                    <a:pt x="1142" y="2103"/>
                  </a:lnTo>
                  <a:lnTo>
                    <a:pt x="1060" y="2106"/>
                  </a:lnTo>
                  <a:lnTo>
                    <a:pt x="977" y="2103"/>
                  </a:lnTo>
                  <a:lnTo>
                    <a:pt x="896" y="2094"/>
                  </a:lnTo>
                  <a:lnTo>
                    <a:pt x="817" y="2078"/>
                  </a:lnTo>
                  <a:lnTo>
                    <a:pt x="740" y="2058"/>
                  </a:lnTo>
                  <a:lnTo>
                    <a:pt x="666" y="2031"/>
                  </a:lnTo>
                  <a:lnTo>
                    <a:pt x="594" y="1999"/>
                  </a:lnTo>
                  <a:lnTo>
                    <a:pt x="526" y="1962"/>
                  </a:lnTo>
                  <a:lnTo>
                    <a:pt x="460" y="1921"/>
                  </a:lnTo>
                  <a:lnTo>
                    <a:pt x="397" y="1875"/>
                  </a:lnTo>
                  <a:lnTo>
                    <a:pt x="338" y="1825"/>
                  </a:lnTo>
                  <a:lnTo>
                    <a:pt x="284" y="1770"/>
                  </a:lnTo>
                  <a:lnTo>
                    <a:pt x="233" y="1711"/>
                  </a:lnTo>
                  <a:lnTo>
                    <a:pt x="187" y="1650"/>
                  </a:lnTo>
                  <a:lnTo>
                    <a:pt x="145" y="1584"/>
                  </a:lnTo>
                  <a:lnTo>
                    <a:pt x="108" y="1516"/>
                  </a:lnTo>
                  <a:lnTo>
                    <a:pt x="76" y="1445"/>
                  </a:lnTo>
                  <a:lnTo>
                    <a:pt x="49" y="1371"/>
                  </a:lnTo>
                  <a:lnTo>
                    <a:pt x="28" y="1295"/>
                  </a:lnTo>
                  <a:lnTo>
                    <a:pt x="13" y="1216"/>
                  </a:lnTo>
                  <a:lnTo>
                    <a:pt x="3" y="1136"/>
                  </a:lnTo>
                  <a:lnTo>
                    <a:pt x="0" y="1054"/>
                  </a:lnTo>
                  <a:lnTo>
                    <a:pt x="3" y="972"/>
                  </a:lnTo>
                  <a:lnTo>
                    <a:pt x="13" y="891"/>
                  </a:lnTo>
                  <a:lnTo>
                    <a:pt x="28" y="813"/>
                  </a:lnTo>
                  <a:lnTo>
                    <a:pt x="49" y="736"/>
                  </a:lnTo>
                  <a:lnTo>
                    <a:pt x="76" y="662"/>
                  </a:lnTo>
                  <a:lnTo>
                    <a:pt x="108" y="591"/>
                  </a:lnTo>
                  <a:lnTo>
                    <a:pt x="145" y="523"/>
                  </a:lnTo>
                  <a:lnTo>
                    <a:pt x="187" y="457"/>
                  </a:lnTo>
                  <a:lnTo>
                    <a:pt x="233" y="396"/>
                  </a:lnTo>
                  <a:lnTo>
                    <a:pt x="284" y="337"/>
                  </a:lnTo>
                  <a:lnTo>
                    <a:pt x="338" y="282"/>
                  </a:lnTo>
                  <a:lnTo>
                    <a:pt x="397" y="232"/>
                  </a:lnTo>
                  <a:lnTo>
                    <a:pt x="460" y="187"/>
                  </a:lnTo>
                  <a:lnTo>
                    <a:pt x="526" y="145"/>
                  </a:lnTo>
                  <a:lnTo>
                    <a:pt x="594" y="108"/>
                  </a:lnTo>
                  <a:lnTo>
                    <a:pt x="666" y="76"/>
                  </a:lnTo>
                  <a:lnTo>
                    <a:pt x="740" y="49"/>
                  </a:lnTo>
                  <a:lnTo>
                    <a:pt x="817" y="29"/>
                  </a:lnTo>
                  <a:lnTo>
                    <a:pt x="896" y="13"/>
                  </a:lnTo>
                  <a:lnTo>
                    <a:pt x="977" y="4"/>
                  </a:lnTo>
                  <a:lnTo>
                    <a:pt x="10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35"/>
            <p:cNvSpPr>
              <a:spLocks noEditPoints="1"/>
            </p:cNvSpPr>
            <p:nvPr/>
          </p:nvSpPr>
          <p:spPr bwMode="auto">
            <a:xfrm>
              <a:off x="-621" y="2500"/>
              <a:ext cx="71" cy="113"/>
            </a:xfrm>
            <a:custGeom>
              <a:avLst/>
              <a:gdLst>
                <a:gd name="T0" fmla="*/ 480 w 774"/>
                <a:gd name="T1" fmla="*/ 963 h 1241"/>
                <a:gd name="T2" fmla="*/ 565 w 774"/>
                <a:gd name="T3" fmla="*/ 921 h 1241"/>
                <a:gd name="T4" fmla="*/ 600 w 774"/>
                <a:gd name="T5" fmla="*/ 836 h 1241"/>
                <a:gd name="T6" fmla="*/ 568 w 774"/>
                <a:gd name="T7" fmla="*/ 758 h 1241"/>
                <a:gd name="T8" fmla="*/ 493 w 774"/>
                <a:gd name="T9" fmla="*/ 717 h 1241"/>
                <a:gd name="T10" fmla="*/ 348 w 774"/>
                <a:gd name="T11" fmla="*/ 259 h 1241"/>
                <a:gd name="T12" fmla="*/ 236 w 774"/>
                <a:gd name="T13" fmla="*/ 297 h 1241"/>
                <a:gd name="T14" fmla="*/ 194 w 774"/>
                <a:gd name="T15" fmla="*/ 376 h 1241"/>
                <a:gd name="T16" fmla="*/ 233 w 774"/>
                <a:gd name="T17" fmla="*/ 458 h 1241"/>
                <a:gd name="T18" fmla="*/ 348 w 774"/>
                <a:gd name="T19" fmla="*/ 505 h 1241"/>
                <a:gd name="T20" fmla="*/ 414 w 774"/>
                <a:gd name="T21" fmla="*/ 9 h 1241"/>
                <a:gd name="T22" fmla="*/ 431 w 774"/>
                <a:gd name="T23" fmla="*/ 120 h 1241"/>
                <a:gd name="T24" fmla="*/ 534 w 774"/>
                <a:gd name="T25" fmla="*/ 135 h 1241"/>
                <a:gd name="T26" fmla="*/ 648 w 774"/>
                <a:gd name="T27" fmla="*/ 179 h 1241"/>
                <a:gd name="T28" fmla="*/ 734 w 774"/>
                <a:gd name="T29" fmla="*/ 251 h 1241"/>
                <a:gd name="T30" fmla="*/ 756 w 774"/>
                <a:gd name="T31" fmla="*/ 345 h 1241"/>
                <a:gd name="T32" fmla="*/ 709 w 774"/>
                <a:gd name="T33" fmla="*/ 401 h 1241"/>
                <a:gd name="T34" fmla="*/ 640 w 774"/>
                <a:gd name="T35" fmla="*/ 402 h 1241"/>
                <a:gd name="T36" fmla="*/ 592 w 774"/>
                <a:gd name="T37" fmla="*/ 357 h 1241"/>
                <a:gd name="T38" fmla="*/ 542 w 774"/>
                <a:gd name="T39" fmla="*/ 299 h 1241"/>
                <a:gd name="T40" fmla="*/ 459 w 774"/>
                <a:gd name="T41" fmla="*/ 261 h 1241"/>
                <a:gd name="T42" fmla="*/ 498 w 774"/>
                <a:gd name="T43" fmla="*/ 535 h 1241"/>
                <a:gd name="T44" fmla="*/ 619 w 774"/>
                <a:gd name="T45" fmla="*/ 576 h 1241"/>
                <a:gd name="T46" fmla="*/ 713 w 774"/>
                <a:gd name="T47" fmla="*/ 643 h 1241"/>
                <a:gd name="T48" fmla="*/ 767 w 774"/>
                <a:gd name="T49" fmla="*/ 749 h 1241"/>
                <a:gd name="T50" fmla="*/ 765 w 774"/>
                <a:gd name="T51" fmla="*/ 900 h 1241"/>
                <a:gd name="T52" fmla="*/ 692 w 774"/>
                <a:gd name="T53" fmla="*/ 1018 h 1241"/>
                <a:gd name="T54" fmla="*/ 562 w 774"/>
                <a:gd name="T55" fmla="*/ 1088 h 1241"/>
                <a:gd name="T56" fmla="*/ 431 w 774"/>
                <a:gd name="T57" fmla="*/ 1194 h 1241"/>
                <a:gd name="T58" fmla="*/ 402 w 774"/>
                <a:gd name="T59" fmla="*/ 1239 h 1241"/>
                <a:gd name="T60" fmla="*/ 356 w 774"/>
                <a:gd name="T61" fmla="*/ 1221 h 1241"/>
                <a:gd name="T62" fmla="*/ 300 w 774"/>
                <a:gd name="T63" fmla="*/ 1107 h 1241"/>
                <a:gd name="T64" fmla="*/ 144 w 774"/>
                <a:gd name="T65" fmla="*/ 1061 h 1241"/>
                <a:gd name="T66" fmla="*/ 44 w 774"/>
                <a:gd name="T67" fmla="*/ 978 h 1241"/>
                <a:gd name="T68" fmla="*/ 1 w 774"/>
                <a:gd name="T69" fmla="*/ 881 h 1241"/>
                <a:gd name="T70" fmla="*/ 17 w 774"/>
                <a:gd name="T71" fmla="*/ 801 h 1241"/>
                <a:gd name="T72" fmla="*/ 85 w 774"/>
                <a:gd name="T73" fmla="*/ 772 h 1241"/>
                <a:gd name="T74" fmla="*/ 150 w 774"/>
                <a:gd name="T75" fmla="*/ 792 h 1241"/>
                <a:gd name="T76" fmla="*/ 178 w 774"/>
                <a:gd name="T77" fmla="*/ 839 h 1241"/>
                <a:gd name="T78" fmla="*/ 201 w 774"/>
                <a:gd name="T79" fmla="*/ 897 h 1241"/>
                <a:gd name="T80" fmla="*/ 247 w 774"/>
                <a:gd name="T81" fmla="*/ 945 h 1241"/>
                <a:gd name="T82" fmla="*/ 348 w 774"/>
                <a:gd name="T83" fmla="*/ 970 h 1241"/>
                <a:gd name="T84" fmla="*/ 211 w 774"/>
                <a:gd name="T85" fmla="*/ 646 h 1241"/>
                <a:gd name="T86" fmla="*/ 82 w 774"/>
                <a:gd name="T87" fmla="*/ 565 h 1241"/>
                <a:gd name="T88" fmla="*/ 23 w 774"/>
                <a:gd name="T89" fmla="*/ 443 h 1241"/>
                <a:gd name="T90" fmla="*/ 41 w 774"/>
                <a:gd name="T91" fmla="*/ 300 h 1241"/>
                <a:gd name="T92" fmla="*/ 120 w 774"/>
                <a:gd name="T93" fmla="*/ 196 h 1241"/>
                <a:gd name="T94" fmla="*/ 241 w 774"/>
                <a:gd name="T95" fmla="*/ 135 h 1241"/>
                <a:gd name="T96" fmla="*/ 348 w 774"/>
                <a:gd name="T97" fmla="*/ 47 h 1241"/>
                <a:gd name="T98" fmla="*/ 376 w 774"/>
                <a:gd name="T99" fmla="*/ 3 h 1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74" h="1241">
                  <a:moveTo>
                    <a:pt x="431" y="699"/>
                  </a:moveTo>
                  <a:lnTo>
                    <a:pt x="431" y="970"/>
                  </a:lnTo>
                  <a:lnTo>
                    <a:pt x="456" y="967"/>
                  </a:lnTo>
                  <a:lnTo>
                    <a:pt x="480" y="963"/>
                  </a:lnTo>
                  <a:lnTo>
                    <a:pt x="504" y="956"/>
                  </a:lnTo>
                  <a:lnTo>
                    <a:pt x="526" y="947"/>
                  </a:lnTo>
                  <a:lnTo>
                    <a:pt x="547" y="935"/>
                  </a:lnTo>
                  <a:lnTo>
                    <a:pt x="565" y="921"/>
                  </a:lnTo>
                  <a:lnTo>
                    <a:pt x="579" y="904"/>
                  </a:lnTo>
                  <a:lnTo>
                    <a:pt x="591" y="884"/>
                  </a:lnTo>
                  <a:lnTo>
                    <a:pt x="598" y="861"/>
                  </a:lnTo>
                  <a:lnTo>
                    <a:pt x="600" y="836"/>
                  </a:lnTo>
                  <a:lnTo>
                    <a:pt x="598" y="812"/>
                  </a:lnTo>
                  <a:lnTo>
                    <a:pt x="592" y="792"/>
                  </a:lnTo>
                  <a:lnTo>
                    <a:pt x="581" y="774"/>
                  </a:lnTo>
                  <a:lnTo>
                    <a:pt x="568" y="758"/>
                  </a:lnTo>
                  <a:lnTo>
                    <a:pt x="552" y="745"/>
                  </a:lnTo>
                  <a:lnTo>
                    <a:pt x="534" y="733"/>
                  </a:lnTo>
                  <a:lnTo>
                    <a:pt x="514" y="724"/>
                  </a:lnTo>
                  <a:lnTo>
                    <a:pt x="493" y="717"/>
                  </a:lnTo>
                  <a:lnTo>
                    <a:pt x="473" y="709"/>
                  </a:lnTo>
                  <a:lnTo>
                    <a:pt x="452" y="704"/>
                  </a:lnTo>
                  <a:lnTo>
                    <a:pt x="431" y="699"/>
                  </a:lnTo>
                  <a:close/>
                  <a:moveTo>
                    <a:pt x="348" y="259"/>
                  </a:moveTo>
                  <a:lnTo>
                    <a:pt x="314" y="262"/>
                  </a:lnTo>
                  <a:lnTo>
                    <a:pt x="284" y="271"/>
                  </a:lnTo>
                  <a:lnTo>
                    <a:pt x="258" y="282"/>
                  </a:lnTo>
                  <a:lnTo>
                    <a:pt x="236" y="297"/>
                  </a:lnTo>
                  <a:lnTo>
                    <a:pt x="218" y="313"/>
                  </a:lnTo>
                  <a:lnTo>
                    <a:pt x="205" y="333"/>
                  </a:lnTo>
                  <a:lnTo>
                    <a:pt x="196" y="354"/>
                  </a:lnTo>
                  <a:lnTo>
                    <a:pt x="194" y="376"/>
                  </a:lnTo>
                  <a:lnTo>
                    <a:pt x="196" y="399"/>
                  </a:lnTo>
                  <a:lnTo>
                    <a:pt x="203" y="421"/>
                  </a:lnTo>
                  <a:lnTo>
                    <a:pt x="215" y="441"/>
                  </a:lnTo>
                  <a:lnTo>
                    <a:pt x="233" y="458"/>
                  </a:lnTo>
                  <a:lnTo>
                    <a:pt x="254" y="472"/>
                  </a:lnTo>
                  <a:lnTo>
                    <a:pt x="281" y="485"/>
                  </a:lnTo>
                  <a:lnTo>
                    <a:pt x="312" y="495"/>
                  </a:lnTo>
                  <a:lnTo>
                    <a:pt x="348" y="505"/>
                  </a:lnTo>
                  <a:lnTo>
                    <a:pt x="348" y="259"/>
                  </a:lnTo>
                  <a:close/>
                  <a:moveTo>
                    <a:pt x="389" y="0"/>
                  </a:moveTo>
                  <a:lnTo>
                    <a:pt x="402" y="3"/>
                  </a:lnTo>
                  <a:lnTo>
                    <a:pt x="414" y="9"/>
                  </a:lnTo>
                  <a:lnTo>
                    <a:pt x="423" y="20"/>
                  </a:lnTo>
                  <a:lnTo>
                    <a:pt x="429" y="33"/>
                  </a:lnTo>
                  <a:lnTo>
                    <a:pt x="431" y="47"/>
                  </a:lnTo>
                  <a:lnTo>
                    <a:pt x="431" y="120"/>
                  </a:lnTo>
                  <a:lnTo>
                    <a:pt x="454" y="121"/>
                  </a:lnTo>
                  <a:lnTo>
                    <a:pt x="479" y="124"/>
                  </a:lnTo>
                  <a:lnTo>
                    <a:pt x="506" y="129"/>
                  </a:lnTo>
                  <a:lnTo>
                    <a:pt x="534" y="135"/>
                  </a:lnTo>
                  <a:lnTo>
                    <a:pt x="564" y="144"/>
                  </a:lnTo>
                  <a:lnTo>
                    <a:pt x="593" y="154"/>
                  </a:lnTo>
                  <a:lnTo>
                    <a:pt x="621" y="165"/>
                  </a:lnTo>
                  <a:lnTo>
                    <a:pt x="648" y="179"/>
                  </a:lnTo>
                  <a:lnTo>
                    <a:pt x="674" y="195"/>
                  </a:lnTo>
                  <a:lnTo>
                    <a:pt x="698" y="211"/>
                  </a:lnTo>
                  <a:lnTo>
                    <a:pt x="718" y="230"/>
                  </a:lnTo>
                  <a:lnTo>
                    <a:pt x="734" y="251"/>
                  </a:lnTo>
                  <a:lnTo>
                    <a:pt x="748" y="274"/>
                  </a:lnTo>
                  <a:lnTo>
                    <a:pt x="755" y="298"/>
                  </a:lnTo>
                  <a:lnTo>
                    <a:pt x="758" y="324"/>
                  </a:lnTo>
                  <a:lnTo>
                    <a:pt x="756" y="345"/>
                  </a:lnTo>
                  <a:lnTo>
                    <a:pt x="749" y="364"/>
                  </a:lnTo>
                  <a:lnTo>
                    <a:pt x="740" y="380"/>
                  </a:lnTo>
                  <a:lnTo>
                    <a:pt x="726" y="392"/>
                  </a:lnTo>
                  <a:lnTo>
                    <a:pt x="709" y="401"/>
                  </a:lnTo>
                  <a:lnTo>
                    <a:pt x="691" y="407"/>
                  </a:lnTo>
                  <a:lnTo>
                    <a:pt x="671" y="408"/>
                  </a:lnTo>
                  <a:lnTo>
                    <a:pt x="655" y="407"/>
                  </a:lnTo>
                  <a:lnTo>
                    <a:pt x="640" y="402"/>
                  </a:lnTo>
                  <a:lnTo>
                    <a:pt x="626" y="393"/>
                  </a:lnTo>
                  <a:lnTo>
                    <a:pt x="615" y="383"/>
                  </a:lnTo>
                  <a:lnTo>
                    <a:pt x="603" y="370"/>
                  </a:lnTo>
                  <a:lnTo>
                    <a:pt x="592" y="357"/>
                  </a:lnTo>
                  <a:lnTo>
                    <a:pt x="580" y="342"/>
                  </a:lnTo>
                  <a:lnTo>
                    <a:pt x="569" y="328"/>
                  </a:lnTo>
                  <a:lnTo>
                    <a:pt x="555" y="313"/>
                  </a:lnTo>
                  <a:lnTo>
                    <a:pt x="542" y="299"/>
                  </a:lnTo>
                  <a:lnTo>
                    <a:pt x="525" y="286"/>
                  </a:lnTo>
                  <a:lnTo>
                    <a:pt x="506" y="276"/>
                  </a:lnTo>
                  <a:lnTo>
                    <a:pt x="484" y="267"/>
                  </a:lnTo>
                  <a:lnTo>
                    <a:pt x="459" y="261"/>
                  </a:lnTo>
                  <a:lnTo>
                    <a:pt x="431" y="259"/>
                  </a:lnTo>
                  <a:lnTo>
                    <a:pt x="431" y="519"/>
                  </a:lnTo>
                  <a:lnTo>
                    <a:pt x="464" y="526"/>
                  </a:lnTo>
                  <a:lnTo>
                    <a:pt x="498" y="535"/>
                  </a:lnTo>
                  <a:lnTo>
                    <a:pt x="530" y="543"/>
                  </a:lnTo>
                  <a:lnTo>
                    <a:pt x="562" y="552"/>
                  </a:lnTo>
                  <a:lnTo>
                    <a:pt x="591" y="564"/>
                  </a:lnTo>
                  <a:lnTo>
                    <a:pt x="619" y="576"/>
                  </a:lnTo>
                  <a:lnTo>
                    <a:pt x="646" y="590"/>
                  </a:lnTo>
                  <a:lnTo>
                    <a:pt x="670" y="605"/>
                  </a:lnTo>
                  <a:lnTo>
                    <a:pt x="693" y="623"/>
                  </a:lnTo>
                  <a:lnTo>
                    <a:pt x="713" y="643"/>
                  </a:lnTo>
                  <a:lnTo>
                    <a:pt x="731" y="666"/>
                  </a:lnTo>
                  <a:lnTo>
                    <a:pt x="746" y="691"/>
                  </a:lnTo>
                  <a:lnTo>
                    <a:pt x="757" y="719"/>
                  </a:lnTo>
                  <a:lnTo>
                    <a:pt x="767" y="749"/>
                  </a:lnTo>
                  <a:lnTo>
                    <a:pt x="772" y="783"/>
                  </a:lnTo>
                  <a:lnTo>
                    <a:pt x="774" y="821"/>
                  </a:lnTo>
                  <a:lnTo>
                    <a:pt x="771" y="861"/>
                  </a:lnTo>
                  <a:lnTo>
                    <a:pt x="765" y="900"/>
                  </a:lnTo>
                  <a:lnTo>
                    <a:pt x="752" y="934"/>
                  </a:lnTo>
                  <a:lnTo>
                    <a:pt x="736" y="965"/>
                  </a:lnTo>
                  <a:lnTo>
                    <a:pt x="716" y="993"/>
                  </a:lnTo>
                  <a:lnTo>
                    <a:pt x="692" y="1018"/>
                  </a:lnTo>
                  <a:lnTo>
                    <a:pt x="665" y="1040"/>
                  </a:lnTo>
                  <a:lnTo>
                    <a:pt x="634" y="1059"/>
                  </a:lnTo>
                  <a:lnTo>
                    <a:pt x="599" y="1075"/>
                  </a:lnTo>
                  <a:lnTo>
                    <a:pt x="562" y="1088"/>
                  </a:lnTo>
                  <a:lnTo>
                    <a:pt x="521" y="1098"/>
                  </a:lnTo>
                  <a:lnTo>
                    <a:pt x="477" y="1106"/>
                  </a:lnTo>
                  <a:lnTo>
                    <a:pt x="431" y="1110"/>
                  </a:lnTo>
                  <a:lnTo>
                    <a:pt x="431" y="1194"/>
                  </a:lnTo>
                  <a:lnTo>
                    <a:pt x="429" y="1209"/>
                  </a:lnTo>
                  <a:lnTo>
                    <a:pt x="423" y="1221"/>
                  </a:lnTo>
                  <a:lnTo>
                    <a:pt x="414" y="1231"/>
                  </a:lnTo>
                  <a:lnTo>
                    <a:pt x="402" y="1239"/>
                  </a:lnTo>
                  <a:lnTo>
                    <a:pt x="389" y="1241"/>
                  </a:lnTo>
                  <a:lnTo>
                    <a:pt x="376" y="1239"/>
                  </a:lnTo>
                  <a:lnTo>
                    <a:pt x="365" y="1231"/>
                  </a:lnTo>
                  <a:lnTo>
                    <a:pt x="356" y="1221"/>
                  </a:lnTo>
                  <a:lnTo>
                    <a:pt x="350" y="1209"/>
                  </a:lnTo>
                  <a:lnTo>
                    <a:pt x="348" y="1194"/>
                  </a:lnTo>
                  <a:lnTo>
                    <a:pt x="348" y="1110"/>
                  </a:lnTo>
                  <a:lnTo>
                    <a:pt x="300" y="1107"/>
                  </a:lnTo>
                  <a:lnTo>
                    <a:pt x="256" y="1099"/>
                  </a:lnTo>
                  <a:lnTo>
                    <a:pt x="215" y="1090"/>
                  </a:lnTo>
                  <a:lnTo>
                    <a:pt x="177" y="1077"/>
                  </a:lnTo>
                  <a:lnTo>
                    <a:pt x="144" y="1061"/>
                  </a:lnTo>
                  <a:lnTo>
                    <a:pt x="113" y="1042"/>
                  </a:lnTo>
                  <a:lnTo>
                    <a:pt x="87" y="1022"/>
                  </a:lnTo>
                  <a:lnTo>
                    <a:pt x="64" y="1001"/>
                  </a:lnTo>
                  <a:lnTo>
                    <a:pt x="44" y="978"/>
                  </a:lnTo>
                  <a:lnTo>
                    <a:pt x="29" y="954"/>
                  </a:lnTo>
                  <a:lnTo>
                    <a:pt x="16" y="930"/>
                  </a:lnTo>
                  <a:lnTo>
                    <a:pt x="7" y="906"/>
                  </a:lnTo>
                  <a:lnTo>
                    <a:pt x="1" y="881"/>
                  </a:lnTo>
                  <a:lnTo>
                    <a:pt x="0" y="858"/>
                  </a:lnTo>
                  <a:lnTo>
                    <a:pt x="2" y="836"/>
                  </a:lnTo>
                  <a:lnTo>
                    <a:pt x="8" y="818"/>
                  </a:lnTo>
                  <a:lnTo>
                    <a:pt x="17" y="801"/>
                  </a:lnTo>
                  <a:lnTo>
                    <a:pt x="30" y="788"/>
                  </a:lnTo>
                  <a:lnTo>
                    <a:pt x="45" y="779"/>
                  </a:lnTo>
                  <a:lnTo>
                    <a:pt x="64" y="774"/>
                  </a:lnTo>
                  <a:lnTo>
                    <a:pt x="85" y="772"/>
                  </a:lnTo>
                  <a:lnTo>
                    <a:pt x="106" y="773"/>
                  </a:lnTo>
                  <a:lnTo>
                    <a:pt x="124" y="777"/>
                  </a:lnTo>
                  <a:lnTo>
                    <a:pt x="139" y="783"/>
                  </a:lnTo>
                  <a:lnTo>
                    <a:pt x="150" y="792"/>
                  </a:lnTo>
                  <a:lnTo>
                    <a:pt x="159" y="802"/>
                  </a:lnTo>
                  <a:lnTo>
                    <a:pt x="167" y="813"/>
                  </a:lnTo>
                  <a:lnTo>
                    <a:pt x="173" y="826"/>
                  </a:lnTo>
                  <a:lnTo>
                    <a:pt x="178" y="839"/>
                  </a:lnTo>
                  <a:lnTo>
                    <a:pt x="184" y="853"/>
                  </a:lnTo>
                  <a:lnTo>
                    <a:pt x="189" y="867"/>
                  </a:lnTo>
                  <a:lnTo>
                    <a:pt x="194" y="882"/>
                  </a:lnTo>
                  <a:lnTo>
                    <a:pt x="201" y="897"/>
                  </a:lnTo>
                  <a:lnTo>
                    <a:pt x="210" y="910"/>
                  </a:lnTo>
                  <a:lnTo>
                    <a:pt x="219" y="924"/>
                  </a:lnTo>
                  <a:lnTo>
                    <a:pt x="233" y="935"/>
                  </a:lnTo>
                  <a:lnTo>
                    <a:pt x="247" y="945"/>
                  </a:lnTo>
                  <a:lnTo>
                    <a:pt x="266" y="955"/>
                  </a:lnTo>
                  <a:lnTo>
                    <a:pt x="289" y="962"/>
                  </a:lnTo>
                  <a:lnTo>
                    <a:pt x="317" y="967"/>
                  </a:lnTo>
                  <a:lnTo>
                    <a:pt x="348" y="970"/>
                  </a:lnTo>
                  <a:lnTo>
                    <a:pt x="348" y="684"/>
                  </a:lnTo>
                  <a:lnTo>
                    <a:pt x="299" y="674"/>
                  </a:lnTo>
                  <a:lnTo>
                    <a:pt x="254" y="662"/>
                  </a:lnTo>
                  <a:lnTo>
                    <a:pt x="211" y="646"/>
                  </a:lnTo>
                  <a:lnTo>
                    <a:pt x="173" y="629"/>
                  </a:lnTo>
                  <a:lnTo>
                    <a:pt x="139" y="611"/>
                  </a:lnTo>
                  <a:lnTo>
                    <a:pt x="108" y="589"/>
                  </a:lnTo>
                  <a:lnTo>
                    <a:pt x="82" y="565"/>
                  </a:lnTo>
                  <a:lnTo>
                    <a:pt x="60" y="538"/>
                  </a:lnTo>
                  <a:lnTo>
                    <a:pt x="43" y="509"/>
                  </a:lnTo>
                  <a:lnTo>
                    <a:pt x="31" y="477"/>
                  </a:lnTo>
                  <a:lnTo>
                    <a:pt x="23" y="443"/>
                  </a:lnTo>
                  <a:lnTo>
                    <a:pt x="20" y="407"/>
                  </a:lnTo>
                  <a:lnTo>
                    <a:pt x="23" y="368"/>
                  </a:lnTo>
                  <a:lnTo>
                    <a:pt x="30" y="333"/>
                  </a:lnTo>
                  <a:lnTo>
                    <a:pt x="41" y="300"/>
                  </a:lnTo>
                  <a:lnTo>
                    <a:pt x="56" y="269"/>
                  </a:lnTo>
                  <a:lnTo>
                    <a:pt x="74" y="242"/>
                  </a:lnTo>
                  <a:lnTo>
                    <a:pt x="96" y="217"/>
                  </a:lnTo>
                  <a:lnTo>
                    <a:pt x="120" y="196"/>
                  </a:lnTo>
                  <a:lnTo>
                    <a:pt x="147" y="176"/>
                  </a:lnTo>
                  <a:lnTo>
                    <a:pt x="176" y="160"/>
                  </a:lnTo>
                  <a:lnTo>
                    <a:pt x="209" y="147"/>
                  </a:lnTo>
                  <a:lnTo>
                    <a:pt x="241" y="135"/>
                  </a:lnTo>
                  <a:lnTo>
                    <a:pt x="276" y="127"/>
                  </a:lnTo>
                  <a:lnTo>
                    <a:pt x="312" y="122"/>
                  </a:lnTo>
                  <a:lnTo>
                    <a:pt x="348" y="120"/>
                  </a:lnTo>
                  <a:lnTo>
                    <a:pt x="348" y="47"/>
                  </a:lnTo>
                  <a:lnTo>
                    <a:pt x="350" y="33"/>
                  </a:lnTo>
                  <a:lnTo>
                    <a:pt x="356" y="20"/>
                  </a:lnTo>
                  <a:lnTo>
                    <a:pt x="365" y="9"/>
                  </a:lnTo>
                  <a:lnTo>
                    <a:pt x="376" y="3"/>
                  </a:lnTo>
                  <a:lnTo>
                    <a:pt x="38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55" name="Group 54"/>
          <p:cNvGrpSpPr/>
          <p:nvPr/>
        </p:nvGrpSpPr>
        <p:grpSpPr>
          <a:xfrm>
            <a:off x="10906819" y="4161791"/>
            <a:ext cx="517289" cy="347327"/>
            <a:chOff x="1721801" y="2853410"/>
            <a:chExt cx="2101707" cy="1411170"/>
          </a:xfrm>
          <a:solidFill>
            <a:srgbClr val="26867C"/>
          </a:solidFill>
        </p:grpSpPr>
        <p:sp>
          <p:nvSpPr>
            <p:cNvPr id="56" name="Freeform 55"/>
            <p:cNvSpPr/>
            <p:nvPr/>
          </p:nvSpPr>
          <p:spPr>
            <a:xfrm rot="18045015">
              <a:off x="2182878" y="3021177"/>
              <a:ext cx="911102" cy="1297454"/>
            </a:xfrm>
            <a:custGeom>
              <a:avLst/>
              <a:gdLst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745536 w 911102"/>
                <a:gd name="connsiteY3" fmla="*/ 8370 h 1297454"/>
                <a:gd name="connsiteX4" fmla="*/ 824005 w 911102"/>
                <a:gd name="connsiteY4" fmla="*/ 195660 h 1297454"/>
                <a:gd name="connsiteX5" fmla="*/ 911102 w 911102"/>
                <a:gd name="connsiteY5" fmla="*/ 379668 h 1297454"/>
                <a:gd name="connsiteX6" fmla="*/ 907221 w 911102"/>
                <a:gd name="connsiteY6" fmla="*/ 382118 h 1297454"/>
                <a:gd name="connsiteX7" fmla="*/ 876660 w 911102"/>
                <a:gd name="connsiteY7" fmla="*/ 399710 h 1297454"/>
                <a:gd name="connsiteX8" fmla="*/ 490066 w 911102"/>
                <a:gd name="connsiteY8" fmla="*/ 297988 h 1297454"/>
                <a:gd name="connsiteX9" fmla="*/ 716083 w 911102"/>
                <a:gd name="connsiteY9" fmla="*/ 598865 h 1297454"/>
                <a:gd name="connsiteX10" fmla="*/ 777233 w 911102"/>
                <a:gd name="connsiteY10" fmla="*/ 615788 h 1297454"/>
                <a:gd name="connsiteX11" fmla="*/ 770153 w 911102"/>
                <a:gd name="connsiteY11" fmla="*/ 639019 h 1297454"/>
                <a:gd name="connsiteX12" fmla="*/ 753784 w 911102"/>
                <a:gd name="connsiteY12" fmla="*/ 665322 h 1297454"/>
                <a:gd name="connsiteX13" fmla="*/ 710088 w 911102"/>
                <a:gd name="connsiteY13" fmla="*/ 1078153 h 1297454"/>
                <a:gd name="connsiteX14" fmla="*/ 710501 w 911102"/>
                <a:gd name="connsiteY14" fmla="*/ 1086412 h 1297454"/>
                <a:gd name="connsiteX15" fmla="*/ 710454 w 911102"/>
                <a:gd name="connsiteY15" fmla="*/ 1087719 h 1297454"/>
                <a:gd name="connsiteX16" fmla="*/ 714164 w 911102"/>
                <a:gd name="connsiteY16" fmla="*/ 1201144 h 1297454"/>
                <a:gd name="connsiteX17" fmla="*/ 723293 w 911102"/>
                <a:gd name="connsiteY17" fmla="*/ 1277540 h 1297454"/>
                <a:gd name="connsiteX18" fmla="*/ 723407 w 911102"/>
                <a:gd name="connsiteY18" fmla="*/ 1278872 h 1297454"/>
                <a:gd name="connsiteX19" fmla="*/ 724025 w 911102"/>
                <a:gd name="connsiteY19" fmla="*/ 1283671 h 1297454"/>
                <a:gd name="connsiteX20" fmla="*/ 724876 w 911102"/>
                <a:gd name="connsiteY20" fmla="*/ 1290789 h 1297454"/>
                <a:gd name="connsiteX21" fmla="*/ 568039 w 911102"/>
                <a:gd name="connsiteY21" fmla="*/ 1230080 h 1297454"/>
                <a:gd name="connsiteX22" fmla="*/ 364868 w 911102"/>
                <a:gd name="connsiteY22" fmla="*/ 1184795 h 1297454"/>
                <a:gd name="connsiteX23" fmla="*/ 178811 w 911102"/>
                <a:gd name="connsiteY23" fmla="*/ 1123147 h 1297454"/>
                <a:gd name="connsiteX24" fmla="*/ 28040 w 911102"/>
                <a:gd name="connsiteY24" fmla="*/ 1036282 h 1297454"/>
                <a:gd name="connsiteX25" fmla="*/ 26077 w 911102"/>
                <a:gd name="connsiteY25" fmla="*/ 1027345 h 1297454"/>
                <a:gd name="connsiteX26" fmla="*/ 152633 w 911102"/>
                <a:gd name="connsiteY26" fmla="*/ 1035076 h 1297454"/>
                <a:gd name="connsiteX27" fmla="*/ 255738 w 911102"/>
                <a:gd name="connsiteY27" fmla="*/ 943843 h 1297454"/>
                <a:gd name="connsiteX28" fmla="*/ 231475 w 911102"/>
                <a:gd name="connsiteY28" fmla="*/ 873395 h 1297454"/>
                <a:gd name="connsiteX29" fmla="*/ 213502 w 911102"/>
                <a:gd name="connsiteY29" fmla="*/ 859613 h 1297454"/>
                <a:gd name="connsiteX30" fmla="*/ 216878 w 911102"/>
                <a:gd name="connsiteY30" fmla="*/ 859143 h 1297454"/>
                <a:gd name="connsiteX31" fmla="*/ 281693 w 911102"/>
                <a:gd name="connsiteY31" fmla="*/ 773235 h 1297454"/>
                <a:gd name="connsiteX32" fmla="*/ 227816 w 911102"/>
                <a:gd name="connsiteY32" fmla="*/ 680077 h 1297454"/>
                <a:gd name="connsiteX33" fmla="*/ 217008 w 911102"/>
                <a:gd name="connsiteY33" fmla="*/ 677199 h 1297454"/>
                <a:gd name="connsiteX34" fmla="*/ 226953 w 911102"/>
                <a:gd name="connsiteY34" fmla="*/ 675817 h 1297454"/>
                <a:gd name="connsiteX35" fmla="*/ 291768 w 911102"/>
                <a:gd name="connsiteY35" fmla="*/ 589909 h 1297454"/>
                <a:gd name="connsiteX36" fmla="*/ 237891 w 911102"/>
                <a:gd name="connsiteY36" fmla="*/ 496751 h 1297454"/>
                <a:gd name="connsiteX37" fmla="*/ 221568 w 911102"/>
                <a:gd name="connsiteY37" fmla="*/ 492404 h 1297454"/>
                <a:gd name="connsiteX38" fmla="*/ 249567 w 911102"/>
                <a:gd name="connsiteY38" fmla="*/ 475916 h 1297454"/>
                <a:gd name="connsiteX39" fmla="*/ 281129 w 911102"/>
                <a:gd name="connsiteY39" fmla="*/ 411193 h 1297454"/>
                <a:gd name="connsiteX40" fmla="*/ 281130 w 911102"/>
                <a:gd name="connsiteY40" fmla="*/ 411193 h 1297454"/>
                <a:gd name="connsiteX41" fmla="*/ 257681 w 911102"/>
                <a:gd name="connsiteY41" fmla="*/ 343108 h 1297454"/>
                <a:gd name="connsiteX42" fmla="*/ 192957 w 911102"/>
                <a:gd name="connsiteY42" fmla="*/ 311547 h 1297454"/>
                <a:gd name="connsiteX43" fmla="*/ 65424 w 911102"/>
                <a:gd name="connsiteY43" fmla="*/ 303757 h 1297454"/>
                <a:gd name="connsiteX44" fmla="*/ 41901 w 911102"/>
                <a:gd name="connsiteY44" fmla="*/ 309400 h 1297454"/>
                <a:gd name="connsiteX45" fmla="*/ 56412 w 911102"/>
                <a:gd name="connsiteY45" fmla="*/ 232310 h 1297454"/>
                <a:gd name="connsiteX46" fmla="*/ 127609 w 911102"/>
                <a:gd name="connsiteY46" fmla="*/ 8370 h 1297454"/>
                <a:gd name="connsiteX47" fmla="*/ 135979 w 911102"/>
                <a:gd name="connsiteY47" fmla="*/ 0 h 1297454"/>
                <a:gd name="connsiteX48" fmla="*/ 737166 w 911102"/>
                <a:gd name="connsiteY48" fmla="*/ 0 h 1297454"/>
                <a:gd name="connsiteX49" fmla="*/ 745536 w 911102"/>
                <a:gd name="connsiteY4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824005 w 911102"/>
                <a:gd name="connsiteY5" fmla="*/ 195660 h 1297454"/>
                <a:gd name="connsiteX6" fmla="*/ 911102 w 911102"/>
                <a:gd name="connsiteY6" fmla="*/ 379668 h 1297454"/>
                <a:gd name="connsiteX7" fmla="*/ 876660 w 911102"/>
                <a:gd name="connsiteY7" fmla="*/ 399710 h 1297454"/>
                <a:gd name="connsiteX8" fmla="*/ 490066 w 911102"/>
                <a:gd name="connsiteY8" fmla="*/ 297988 h 1297454"/>
                <a:gd name="connsiteX9" fmla="*/ 716083 w 911102"/>
                <a:gd name="connsiteY9" fmla="*/ 598865 h 1297454"/>
                <a:gd name="connsiteX10" fmla="*/ 777233 w 911102"/>
                <a:gd name="connsiteY10" fmla="*/ 615788 h 1297454"/>
                <a:gd name="connsiteX11" fmla="*/ 770153 w 911102"/>
                <a:gd name="connsiteY11" fmla="*/ 639019 h 1297454"/>
                <a:gd name="connsiteX12" fmla="*/ 753784 w 911102"/>
                <a:gd name="connsiteY12" fmla="*/ 665322 h 1297454"/>
                <a:gd name="connsiteX13" fmla="*/ 710088 w 911102"/>
                <a:gd name="connsiteY13" fmla="*/ 1078153 h 1297454"/>
                <a:gd name="connsiteX14" fmla="*/ 710501 w 911102"/>
                <a:gd name="connsiteY14" fmla="*/ 1086412 h 1297454"/>
                <a:gd name="connsiteX15" fmla="*/ 710454 w 911102"/>
                <a:gd name="connsiteY15" fmla="*/ 1087719 h 1297454"/>
                <a:gd name="connsiteX16" fmla="*/ 714164 w 911102"/>
                <a:gd name="connsiteY16" fmla="*/ 1201144 h 1297454"/>
                <a:gd name="connsiteX17" fmla="*/ 723293 w 911102"/>
                <a:gd name="connsiteY17" fmla="*/ 1277540 h 1297454"/>
                <a:gd name="connsiteX18" fmla="*/ 723407 w 911102"/>
                <a:gd name="connsiteY18" fmla="*/ 1278872 h 1297454"/>
                <a:gd name="connsiteX19" fmla="*/ 724025 w 911102"/>
                <a:gd name="connsiteY19" fmla="*/ 1283671 h 1297454"/>
                <a:gd name="connsiteX20" fmla="*/ 724876 w 911102"/>
                <a:gd name="connsiteY20" fmla="*/ 1290789 h 1297454"/>
                <a:gd name="connsiteX21" fmla="*/ 568039 w 911102"/>
                <a:gd name="connsiteY21" fmla="*/ 1230080 h 1297454"/>
                <a:gd name="connsiteX22" fmla="*/ 364868 w 911102"/>
                <a:gd name="connsiteY22" fmla="*/ 1184795 h 1297454"/>
                <a:gd name="connsiteX23" fmla="*/ 178811 w 911102"/>
                <a:gd name="connsiteY23" fmla="*/ 1123147 h 1297454"/>
                <a:gd name="connsiteX24" fmla="*/ 28040 w 911102"/>
                <a:gd name="connsiteY24" fmla="*/ 1036282 h 1297454"/>
                <a:gd name="connsiteX25" fmla="*/ 26077 w 911102"/>
                <a:gd name="connsiteY25" fmla="*/ 1027345 h 1297454"/>
                <a:gd name="connsiteX26" fmla="*/ 152633 w 911102"/>
                <a:gd name="connsiteY26" fmla="*/ 1035076 h 1297454"/>
                <a:gd name="connsiteX27" fmla="*/ 255738 w 911102"/>
                <a:gd name="connsiteY27" fmla="*/ 943843 h 1297454"/>
                <a:gd name="connsiteX28" fmla="*/ 231475 w 911102"/>
                <a:gd name="connsiteY28" fmla="*/ 873395 h 1297454"/>
                <a:gd name="connsiteX29" fmla="*/ 213502 w 911102"/>
                <a:gd name="connsiteY29" fmla="*/ 859613 h 1297454"/>
                <a:gd name="connsiteX30" fmla="*/ 216878 w 911102"/>
                <a:gd name="connsiteY30" fmla="*/ 859143 h 1297454"/>
                <a:gd name="connsiteX31" fmla="*/ 281693 w 911102"/>
                <a:gd name="connsiteY31" fmla="*/ 773235 h 1297454"/>
                <a:gd name="connsiteX32" fmla="*/ 227816 w 911102"/>
                <a:gd name="connsiteY32" fmla="*/ 680077 h 1297454"/>
                <a:gd name="connsiteX33" fmla="*/ 217008 w 911102"/>
                <a:gd name="connsiteY33" fmla="*/ 677199 h 1297454"/>
                <a:gd name="connsiteX34" fmla="*/ 226953 w 911102"/>
                <a:gd name="connsiteY34" fmla="*/ 675817 h 1297454"/>
                <a:gd name="connsiteX35" fmla="*/ 291768 w 911102"/>
                <a:gd name="connsiteY35" fmla="*/ 589909 h 1297454"/>
                <a:gd name="connsiteX36" fmla="*/ 237891 w 911102"/>
                <a:gd name="connsiteY36" fmla="*/ 496751 h 1297454"/>
                <a:gd name="connsiteX37" fmla="*/ 221568 w 911102"/>
                <a:gd name="connsiteY37" fmla="*/ 492404 h 1297454"/>
                <a:gd name="connsiteX38" fmla="*/ 249567 w 911102"/>
                <a:gd name="connsiteY38" fmla="*/ 475916 h 1297454"/>
                <a:gd name="connsiteX39" fmla="*/ 281129 w 911102"/>
                <a:gd name="connsiteY39" fmla="*/ 411193 h 1297454"/>
                <a:gd name="connsiteX40" fmla="*/ 281130 w 911102"/>
                <a:gd name="connsiteY40" fmla="*/ 411193 h 1297454"/>
                <a:gd name="connsiteX41" fmla="*/ 257681 w 911102"/>
                <a:gd name="connsiteY41" fmla="*/ 343108 h 1297454"/>
                <a:gd name="connsiteX42" fmla="*/ 192957 w 911102"/>
                <a:gd name="connsiteY42" fmla="*/ 311547 h 1297454"/>
                <a:gd name="connsiteX43" fmla="*/ 65424 w 911102"/>
                <a:gd name="connsiteY43" fmla="*/ 303757 h 1297454"/>
                <a:gd name="connsiteX44" fmla="*/ 41901 w 911102"/>
                <a:gd name="connsiteY44" fmla="*/ 309400 h 1297454"/>
                <a:gd name="connsiteX45" fmla="*/ 56412 w 911102"/>
                <a:gd name="connsiteY45" fmla="*/ 232310 h 1297454"/>
                <a:gd name="connsiteX46" fmla="*/ 127609 w 911102"/>
                <a:gd name="connsiteY46" fmla="*/ 8370 h 1297454"/>
                <a:gd name="connsiteX47" fmla="*/ 135979 w 911102"/>
                <a:gd name="connsiteY47" fmla="*/ 0 h 1297454"/>
                <a:gd name="connsiteX48" fmla="*/ 737166 w 911102"/>
                <a:gd name="connsiteY48" fmla="*/ 0 h 1297454"/>
                <a:gd name="connsiteX49" fmla="*/ 745536 w 911102"/>
                <a:gd name="connsiteY4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5765 w 911102"/>
                <a:gd name="connsiteY7" fmla="*/ 302911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53784 w 911102"/>
                <a:gd name="connsiteY10" fmla="*/ 665322 h 1297454"/>
                <a:gd name="connsiteX11" fmla="*/ 710088 w 911102"/>
                <a:gd name="connsiteY11" fmla="*/ 1078153 h 1297454"/>
                <a:gd name="connsiteX12" fmla="*/ 710501 w 911102"/>
                <a:gd name="connsiteY12" fmla="*/ 1086412 h 1297454"/>
                <a:gd name="connsiteX13" fmla="*/ 710454 w 911102"/>
                <a:gd name="connsiteY13" fmla="*/ 1087719 h 1297454"/>
                <a:gd name="connsiteX14" fmla="*/ 714164 w 911102"/>
                <a:gd name="connsiteY14" fmla="*/ 1201144 h 1297454"/>
                <a:gd name="connsiteX15" fmla="*/ 723293 w 911102"/>
                <a:gd name="connsiteY15" fmla="*/ 1277540 h 1297454"/>
                <a:gd name="connsiteX16" fmla="*/ 723407 w 911102"/>
                <a:gd name="connsiteY16" fmla="*/ 1278872 h 1297454"/>
                <a:gd name="connsiteX17" fmla="*/ 724025 w 911102"/>
                <a:gd name="connsiteY17" fmla="*/ 1283671 h 1297454"/>
                <a:gd name="connsiteX18" fmla="*/ 724876 w 911102"/>
                <a:gd name="connsiteY18" fmla="*/ 1290789 h 1297454"/>
                <a:gd name="connsiteX19" fmla="*/ 568039 w 911102"/>
                <a:gd name="connsiteY19" fmla="*/ 1230080 h 1297454"/>
                <a:gd name="connsiteX20" fmla="*/ 364868 w 911102"/>
                <a:gd name="connsiteY20" fmla="*/ 1184795 h 1297454"/>
                <a:gd name="connsiteX21" fmla="*/ 178811 w 911102"/>
                <a:gd name="connsiteY21" fmla="*/ 1123147 h 1297454"/>
                <a:gd name="connsiteX22" fmla="*/ 28040 w 911102"/>
                <a:gd name="connsiteY22" fmla="*/ 1036282 h 1297454"/>
                <a:gd name="connsiteX23" fmla="*/ 26077 w 911102"/>
                <a:gd name="connsiteY23" fmla="*/ 1027345 h 1297454"/>
                <a:gd name="connsiteX24" fmla="*/ 152633 w 911102"/>
                <a:gd name="connsiteY24" fmla="*/ 1035076 h 1297454"/>
                <a:gd name="connsiteX25" fmla="*/ 255738 w 911102"/>
                <a:gd name="connsiteY25" fmla="*/ 943843 h 1297454"/>
                <a:gd name="connsiteX26" fmla="*/ 231475 w 911102"/>
                <a:gd name="connsiteY26" fmla="*/ 873395 h 1297454"/>
                <a:gd name="connsiteX27" fmla="*/ 213502 w 911102"/>
                <a:gd name="connsiteY27" fmla="*/ 859613 h 1297454"/>
                <a:gd name="connsiteX28" fmla="*/ 216878 w 911102"/>
                <a:gd name="connsiteY28" fmla="*/ 859143 h 1297454"/>
                <a:gd name="connsiteX29" fmla="*/ 281693 w 911102"/>
                <a:gd name="connsiteY29" fmla="*/ 773235 h 1297454"/>
                <a:gd name="connsiteX30" fmla="*/ 227816 w 911102"/>
                <a:gd name="connsiteY30" fmla="*/ 680077 h 1297454"/>
                <a:gd name="connsiteX31" fmla="*/ 217008 w 911102"/>
                <a:gd name="connsiteY31" fmla="*/ 677199 h 1297454"/>
                <a:gd name="connsiteX32" fmla="*/ 226953 w 911102"/>
                <a:gd name="connsiteY32" fmla="*/ 675817 h 1297454"/>
                <a:gd name="connsiteX33" fmla="*/ 291768 w 911102"/>
                <a:gd name="connsiteY33" fmla="*/ 589909 h 1297454"/>
                <a:gd name="connsiteX34" fmla="*/ 237891 w 911102"/>
                <a:gd name="connsiteY34" fmla="*/ 496751 h 1297454"/>
                <a:gd name="connsiteX35" fmla="*/ 221568 w 911102"/>
                <a:gd name="connsiteY35" fmla="*/ 492404 h 1297454"/>
                <a:gd name="connsiteX36" fmla="*/ 249567 w 911102"/>
                <a:gd name="connsiteY36" fmla="*/ 475916 h 1297454"/>
                <a:gd name="connsiteX37" fmla="*/ 281129 w 911102"/>
                <a:gd name="connsiteY37" fmla="*/ 411193 h 1297454"/>
                <a:gd name="connsiteX38" fmla="*/ 281130 w 911102"/>
                <a:gd name="connsiteY38" fmla="*/ 411193 h 1297454"/>
                <a:gd name="connsiteX39" fmla="*/ 257681 w 911102"/>
                <a:gd name="connsiteY39" fmla="*/ 343108 h 1297454"/>
                <a:gd name="connsiteX40" fmla="*/ 192957 w 911102"/>
                <a:gd name="connsiteY40" fmla="*/ 311547 h 1297454"/>
                <a:gd name="connsiteX41" fmla="*/ 65424 w 911102"/>
                <a:gd name="connsiteY41" fmla="*/ 303757 h 1297454"/>
                <a:gd name="connsiteX42" fmla="*/ 41901 w 911102"/>
                <a:gd name="connsiteY42" fmla="*/ 309400 h 1297454"/>
                <a:gd name="connsiteX43" fmla="*/ 56412 w 911102"/>
                <a:gd name="connsiteY43" fmla="*/ 232310 h 1297454"/>
                <a:gd name="connsiteX44" fmla="*/ 127609 w 911102"/>
                <a:gd name="connsiteY44" fmla="*/ 8370 h 1297454"/>
                <a:gd name="connsiteX45" fmla="*/ 135979 w 911102"/>
                <a:gd name="connsiteY45" fmla="*/ 0 h 1297454"/>
                <a:gd name="connsiteX46" fmla="*/ 737166 w 911102"/>
                <a:gd name="connsiteY46" fmla="*/ 0 h 1297454"/>
                <a:gd name="connsiteX47" fmla="*/ 745536 w 911102"/>
                <a:gd name="connsiteY47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4164 w 911102"/>
                <a:gd name="connsiteY12" fmla="*/ 1201144 h 1297454"/>
                <a:gd name="connsiteX13" fmla="*/ 723293 w 911102"/>
                <a:gd name="connsiteY13" fmla="*/ 1277540 h 1297454"/>
                <a:gd name="connsiteX14" fmla="*/ 723407 w 911102"/>
                <a:gd name="connsiteY14" fmla="*/ 1278872 h 1297454"/>
                <a:gd name="connsiteX15" fmla="*/ 724025 w 911102"/>
                <a:gd name="connsiteY15" fmla="*/ 1283671 h 1297454"/>
                <a:gd name="connsiteX16" fmla="*/ 724876 w 911102"/>
                <a:gd name="connsiteY16" fmla="*/ 1290789 h 1297454"/>
                <a:gd name="connsiteX17" fmla="*/ 568039 w 911102"/>
                <a:gd name="connsiteY17" fmla="*/ 1230080 h 1297454"/>
                <a:gd name="connsiteX18" fmla="*/ 364868 w 911102"/>
                <a:gd name="connsiteY18" fmla="*/ 1184795 h 1297454"/>
                <a:gd name="connsiteX19" fmla="*/ 178811 w 911102"/>
                <a:gd name="connsiteY19" fmla="*/ 1123147 h 1297454"/>
                <a:gd name="connsiteX20" fmla="*/ 28040 w 911102"/>
                <a:gd name="connsiteY20" fmla="*/ 1036282 h 1297454"/>
                <a:gd name="connsiteX21" fmla="*/ 26077 w 911102"/>
                <a:gd name="connsiteY21" fmla="*/ 1027345 h 1297454"/>
                <a:gd name="connsiteX22" fmla="*/ 152633 w 911102"/>
                <a:gd name="connsiteY22" fmla="*/ 1035076 h 1297454"/>
                <a:gd name="connsiteX23" fmla="*/ 255738 w 911102"/>
                <a:gd name="connsiteY23" fmla="*/ 943843 h 1297454"/>
                <a:gd name="connsiteX24" fmla="*/ 231475 w 911102"/>
                <a:gd name="connsiteY24" fmla="*/ 873395 h 1297454"/>
                <a:gd name="connsiteX25" fmla="*/ 213502 w 911102"/>
                <a:gd name="connsiteY25" fmla="*/ 859613 h 1297454"/>
                <a:gd name="connsiteX26" fmla="*/ 216878 w 911102"/>
                <a:gd name="connsiteY26" fmla="*/ 859143 h 1297454"/>
                <a:gd name="connsiteX27" fmla="*/ 281693 w 911102"/>
                <a:gd name="connsiteY27" fmla="*/ 773235 h 1297454"/>
                <a:gd name="connsiteX28" fmla="*/ 227816 w 911102"/>
                <a:gd name="connsiteY28" fmla="*/ 680077 h 1297454"/>
                <a:gd name="connsiteX29" fmla="*/ 217008 w 911102"/>
                <a:gd name="connsiteY29" fmla="*/ 677199 h 1297454"/>
                <a:gd name="connsiteX30" fmla="*/ 226953 w 911102"/>
                <a:gd name="connsiteY30" fmla="*/ 675817 h 1297454"/>
                <a:gd name="connsiteX31" fmla="*/ 291768 w 911102"/>
                <a:gd name="connsiteY31" fmla="*/ 589909 h 1297454"/>
                <a:gd name="connsiteX32" fmla="*/ 237891 w 911102"/>
                <a:gd name="connsiteY32" fmla="*/ 496751 h 1297454"/>
                <a:gd name="connsiteX33" fmla="*/ 221568 w 911102"/>
                <a:gd name="connsiteY33" fmla="*/ 492404 h 1297454"/>
                <a:gd name="connsiteX34" fmla="*/ 249567 w 911102"/>
                <a:gd name="connsiteY34" fmla="*/ 475916 h 1297454"/>
                <a:gd name="connsiteX35" fmla="*/ 281129 w 911102"/>
                <a:gd name="connsiteY35" fmla="*/ 411193 h 1297454"/>
                <a:gd name="connsiteX36" fmla="*/ 281130 w 911102"/>
                <a:gd name="connsiteY36" fmla="*/ 411193 h 1297454"/>
                <a:gd name="connsiteX37" fmla="*/ 257681 w 911102"/>
                <a:gd name="connsiteY37" fmla="*/ 343108 h 1297454"/>
                <a:gd name="connsiteX38" fmla="*/ 192957 w 911102"/>
                <a:gd name="connsiteY38" fmla="*/ 311547 h 1297454"/>
                <a:gd name="connsiteX39" fmla="*/ 65424 w 911102"/>
                <a:gd name="connsiteY39" fmla="*/ 303757 h 1297454"/>
                <a:gd name="connsiteX40" fmla="*/ 41901 w 911102"/>
                <a:gd name="connsiteY40" fmla="*/ 309400 h 1297454"/>
                <a:gd name="connsiteX41" fmla="*/ 56412 w 911102"/>
                <a:gd name="connsiteY41" fmla="*/ 232310 h 1297454"/>
                <a:gd name="connsiteX42" fmla="*/ 127609 w 911102"/>
                <a:gd name="connsiteY42" fmla="*/ 8370 h 1297454"/>
                <a:gd name="connsiteX43" fmla="*/ 135979 w 911102"/>
                <a:gd name="connsiteY43" fmla="*/ 0 h 1297454"/>
                <a:gd name="connsiteX44" fmla="*/ 737166 w 911102"/>
                <a:gd name="connsiteY44" fmla="*/ 0 h 1297454"/>
                <a:gd name="connsiteX45" fmla="*/ 745536 w 911102"/>
                <a:gd name="connsiteY45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4164 w 911102"/>
                <a:gd name="connsiteY11" fmla="*/ 1201144 h 1297454"/>
                <a:gd name="connsiteX12" fmla="*/ 723293 w 911102"/>
                <a:gd name="connsiteY12" fmla="*/ 1277540 h 1297454"/>
                <a:gd name="connsiteX13" fmla="*/ 723407 w 911102"/>
                <a:gd name="connsiteY13" fmla="*/ 1278872 h 1297454"/>
                <a:gd name="connsiteX14" fmla="*/ 724025 w 911102"/>
                <a:gd name="connsiteY14" fmla="*/ 1283671 h 1297454"/>
                <a:gd name="connsiteX15" fmla="*/ 724876 w 911102"/>
                <a:gd name="connsiteY15" fmla="*/ 1290789 h 1297454"/>
                <a:gd name="connsiteX16" fmla="*/ 568039 w 911102"/>
                <a:gd name="connsiteY16" fmla="*/ 1230080 h 1297454"/>
                <a:gd name="connsiteX17" fmla="*/ 364868 w 911102"/>
                <a:gd name="connsiteY17" fmla="*/ 1184795 h 1297454"/>
                <a:gd name="connsiteX18" fmla="*/ 178811 w 911102"/>
                <a:gd name="connsiteY18" fmla="*/ 1123147 h 1297454"/>
                <a:gd name="connsiteX19" fmla="*/ 28040 w 911102"/>
                <a:gd name="connsiteY19" fmla="*/ 1036282 h 1297454"/>
                <a:gd name="connsiteX20" fmla="*/ 26077 w 911102"/>
                <a:gd name="connsiteY20" fmla="*/ 1027345 h 1297454"/>
                <a:gd name="connsiteX21" fmla="*/ 152633 w 911102"/>
                <a:gd name="connsiteY21" fmla="*/ 1035076 h 1297454"/>
                <a:gd name="connsiteX22" fmla="*/ 255738 w 911102"/>
                <a:gd name="connsiteY22" fmla="*/ 943843 h 1297454"/>
                <a:gd name="connsiteX23" fmla="*/ 231475 w 911102"/>
                <a:gd name="connsiteY23" fmla="*/ 873395 h 1297454"/>
                <a:gd name="connsiteX24" fmla="*/ 213502 w 911102"/>
                <a:gd name="connsiteY24" fmla="*/ 859613 h 1297454"/>
                <a:gd name="connsiteX25" fmla="*/ 216878 w 911102"/>
                <a:gd name="connsiteY25" fmla="*/ 859143 h 1297454"/>
                <a:gd name="connsiteX26" fmla="*/ 281693 w 911102"/>
                <a:gd name="connsiteY26" fmla="*/ 773235 h 1297454"/>
                <a:gd name="connsiteX27" fmla="*/ 227816 w 911102"/>
                <a:gd name="connsiteY27" fmla="*/ 680077 h 1297454"/>
                <a:gd name="connsiteX28" fmla="*/ 217008 w 911102"/>
                <a:gd name="connsiteY28" fmla="*/ 677199 h 1297454"/>
                <a:gd name="connsiteX29" fmla="*/ 226953 w 911102"/>
                <a:gd name="connsiteY29" fmla="*/ 675817 h 1297454"/>
                <a:gd name="connsiteX30" fmla="*/ 291768 w 911102"/>
                <a:gd name="connsiteY30" fmla="*/ 589909 h 1297454"/>
                <a:gd name="connsiteX31" fmla="*/ 237891 w 911102"/>
                <a:gd name="connsiteY31" fmla="*/ 496751 h 1297454"/>
                <a:gd name="connsiteX32" fmla="*/ 221568 w 911102"/>
                <a:gd name="connsiteY32" fmla="*/ 492404 h 1297454"/>
                <a:gd name="connsiteX33" fmla="*/ 249567 w 911102"/>
                <a:gd name="connsiteY33" fmla="*/ 475916 h 1297454"/>
                <a:gd name="connsiteX34" fmla="*/ 281129 w 911102"/>
                <a:gd name="connsiteY34" fmla="*/ 411193 h 1297454"/>
                <a:gd name="connsiteX35" fmla="*/ 281130 w 911102"/>
                <a:gd name="connsiteY35" fmla="*/ 411193 h 1297454"/>
                <a:gd name="connsiteX36" fmla="*/ 257681 w 911102"/>
                <a:gd name="connsiteY36" fmla="*/ 343108 h 1297454"/>
                <a:gd name="connsiteX37" fmla="*/ 192957 w 911102"/>
                <a:gd name="connsiteY37" fmla="*/ 311547 h 1297454"/>
                <a:gd name="connsiteX38" fmla="*/ 65424 w 911102"/>
                <a:gd name="connsiteY38" fmla="*/ 303757 h 1297454"/>
                <a:gd name="connsiteX39" fmla="*/ 41901 w 911102"/>
                <a:gd name="connsiteY39" fmla="*/ 309400 h 1297454"/>
                <a:gd name="connsiteX40" fmla="*/ 56412 w 911102"/>
                <a:gd name="connsiteY40" fmla="*/ 232310 h 1297454"/>
                <a:gd name="connsiteX41" fmla="*/ 127609 w 911102"/>
                <a:gd name="connsiteY41" fmla="*/ 8370 h 1297454"/>
                <a:gd name="connsiteX42" fmla="*/ 135979 w 911102"/>
                <a:gd name="connsiteY42" fmla="*/ 0 h 1297454"/>
                <a:gd name="connsiteX43" fmla="*/ 737166 w 911102"/>
                <a:gd name="connsiteY43" fmla="*/ 0 h 1297454"/>
                <a:gd name="connsiteX44" fmla="*/ 745536 w 911102"/>
                <a:gd name="connsiteY44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4164 w 911102"/>
                <a:gd name="connsiteY10" fmla="*/ 1201144 h 1297454"/>
                <a:gd name="connsiteX11" fmla="*/ 723293 w 911102"/>
                <a:gd name="connsiteY11" fmla="*/ 1277540 h 1297454"/>
                <a:gd name="connsiteX12" fmla="*/ 723407 w 911102"/>
                <a:gd name="connsiteY12" fmla="*/ 1278872 h 1297454"/>
                <a:gd name="connsiteX13" fmla="*/ 724025 w 911102"/>
                <a:gd name="connsiteY13" fmla="*/ 1283671 h 1297454"/>
                <a:gd name="connsiteX14" fmla="*/ 724876 w 911102"/>
                <a:gd name="connsiteY14" fmla="*/ 1290789 h 1297454"/>
                <a:gd name="connsiteX15" fmla="*/ 568039 w 911102"/>
                <a:gd name="connsiteY15" fmla="*/ 1230080 h 1297454"/>
                <a:gd name="connsiteX16" fmla="*/ 364868 w 911102"/>
                <a:gd name="connsiteY16" fmla="*/ 1184795 h 1297454"/>
                <a:gd name="connsiteX17" fmla="*/ 178811 w 911102"/>
                <a:gd name="connsiteY17" fmla="*/ 1123147 h 1297454"/>
                <a:gd name="connsiteX18" fmla="*/ 28040 w 911102"/>
                <a:gd name="connsiteY18" fmla="*/ 1036282 h 1297454"/>
                <a:gd name="connsiteX19" fmla="*/ 26077 w 911102"/>
                <a:gd name="connsiteY19" fmla="*/ 1027345 h 1297454"/>
                <a:gd name="connsiteX20" fmla="*/ 152633 w 911102"/>
                <a:gd name="connsiteY20" fmla="*/ 1035076 h 1297454"/>
                <a:gd name="connsiteX21" fmla="*/ 255738 w 911102"/>
                <a:gd name="connsiteY21" fmla="*/ 943843 h 1297454"/>
                <a:gd name="connsiteX22" fmla="*/ 231475 w 911102"/>
                <a:gd name="connsiteY22" fmla="*/ 873395 h 1297454"/>
                <a:gd name="connsiteX23" fmla="*/ 213502 w 911102"/>
                <a:gd name="connsiteY23" fmla="*/ 859613 h 1297454"/>
                <a:gd name="connsiteX24" fmla="*/ 216878 w 911102"/>
                <a:gd name="connsiteY24" fmla="*/ 859143 h 1297454"/>
                <a:gd name="connsiteX25" fmla="*/ 281693 w 911102"/>
                <a:gd name="connsiteY25" fmla="*/ 773235 h 1297454"/>
                <a:gd name="connsiteX26" fmla="*/ 227816 w 911102"/>
                <a:gd name="connsiteY26" fmla="*/ 680077 h 1297454"/>
                <a:gd name="connsiteX27" fmla="*/ 217008 w 911102"/>
                <a:gd name="connsiteY27" fmla="*/ 677199 h 1297454"/>
                <a:gd name="connsiteX28" fmla="*/ 226953 w 911102"/>
                <a:gd name="connsiteY28" fmla="*/ 675817 h 1297454"/>
                <a:gd name="connsiteX29" fmla="*/ 291768 w 911102"/>
                <a:gd name="connsiteY29" fmla="*/ 589909 h 1297454"/>
                <a:gd name="connsiteX30" fmla="*/ 237891 w 911102"/>
                <a:gd name="connsiteY30" fmla="*/ 496751 h 1297454"/>
                <a:gd name="connsiteX31" fmla="*/ 221568 w 911102"/>
                <a:gd name="connsiteY31" fmla="*/ 492404 h 1297454"/>
                <a:gd name="connsiteX32" fmla="*/ 249567 w 911102"/>
                <a:gd name="connsiteY32" fmla="*/ 475916 h 1297454"/>
                <a:gd name="connsiteX33" fmla="*/ 281129 w 911102"/>
                <a:gd name="connsiteY33" fmla="*/ 411193 h 1297454"/>
                <a:gd name="connsiteX34" fmla="*/ 281130 w 911102"/>
                <a:gd name="connsiteY34" fmla="*/ 411193 h 1297454"/>
                <a:gd name="connsiteX35" fmla="*/ 257681 w 911102"/>
                <a:gd name="connsiteY35" fmla="*/ 343108 h 1297454"/>
                <a:gd name="connsiteX36" fmla="*/ 192957 w 911102"/>
                <a:gd name="connsiteY36" fmla="*/ 311547 h 1297454"/>
                <a:gd name="connsiteX37" fmla="*/ 65424 w 911102"/>
                <a:gd name="connsiteY37" fmla="*/ 303757 h 1297454"/>
                <a:gd name="connsiteX38" fmla="*/ 41901 w 911102"/>
                <a:gd name="connsiteY38" fmla="*/ 309400 h 1297454"/>
                <a:gd name="connsiteX39" fmla="*/ 56412 w 911102"/>
                <a:gd name="connsiteY39" fmla="*/ 232310 h 1297454"/>
                <a:gd name="connsiteX40" fmla="*/ 127609 w 911102"/>
                <a:gd name="connsiteY40" fmla="*/ 8370 h 1297454"/>
                <a:gd name="connsiteX41" fmla="*/ 135979 w 911102"/>
                <a:gd name="connsiteY41" fmla="*/ 0 h 1297454"/>
                <a:gd name="connsiteX42" fmla="*/ 737166 w 911102"/>
                <a:gd name="connsiteY42" fmla="*/ 0 h 1297454"/>
                <a:gd name="connsiteX43" fmla="*/ 745536 w 911102"/>
                <a:gd name="connsiteY43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3407 w 911102"/>
                <a:gd name="connsiteY11" fmla="*/ 1278872 h 1297454"/>
                <a:gd name="connsiteX12" fmla="*/ 724025 w 911102"/>
                <a:gd name="connsiteY12" fmla="*/ 1283671 h 1297454"/>
                <a:gd name="connsiteX13" fmla="*/ 724876 w 911102"/>
                <a:gd name="connsiteY13" fmla="*/ 1290789 h 1297454"/>
                <a:gd name="connsiteX14" fmla="*/ 568039 w 911102"/>
                <a:gd name="connsiteY14" fmla="*/ 1230080 h 1297454"/>
                <a:gd name="connsiteX15" fmla="*/ 364868 w 911102"/>
                <a:gd name="connsiteY15" fmla="*/ 1184795 h 1297454"/>
                <a:gd name="connsiteX16" fmla="*/ 178811 w 911102"/>
                <a:gd name="connsiteY16" fmla="*/ 1123147 h 1297454"/>
                <a:gd name="connsiteX17" fmla="*/ 28040 w 911102"/>
                <a:gd name="connsiteY17" fmla="*/ 1036282 h 1297454"/>
                <a:gd name="connsiteX18" fmla="*/ 26077 w 911102"/>
                <a:gd name="connsiteY18" fmla="*/ 1027345 h 1297454"/>
                <a:gd name="connsiteX19" fmla="*/ 152633 w 911102"/>
                <a:gd name="connsiteY19" fmla="*/ 1035076 h 1297454"/>
                <a:gd name="connsiteX20" fmla="*/ 255738 w 911102"/>
                <a:gd name="connsiteY20" fmla="*/ 943843 h 1297454"/>
                <a:gd name="connsiteX21" fmla="*/ 231475 w 911102"/>
                <a:gd name="connsiteY21" fmla="*/ 873395 h 1297454"/>
                <a:gd name="connsiteX22" fmla="*/ 213502 w 911102"/>
                <a:gd name="connsiteY22" fmla="*/ 859613 h 1297454"/>
                <a:gd name="connsiteX23" fmla="*/ 216878 w 911102"/>
                <a:gd name="connsiteY23" fmla="*/ 859143 h 1297454"/>
                <a:gd name="connsiteX24" fmla="*/ 281693 w 911102"/>
                <a:gd name="connsiteY24" fmla="*/ 773235 h 1297454"/>
                <a:gd name="connsiteX25" fmla="*/ 227816 w 911102"/>
                <a:gd name="connsiteY25" fmla="*/ 680077 h 1297454"/>
                <a:gd name="connsiteX26" fmla="*/ 217008 w 911102"/>
                <a:gd name="connsiteY26" fmla="*/ 677199 h 1297454"/>
                <a:gd name="connsiteX27" fmla="*/ 226953 w 911102"/>
                <a:gd name="connsiteY27" fmla="*/ 675817 h 1297454"/>
                <a:gd name="connsiteX28" fmla="*/ 291768 w 911102"/>
                <a:gd name="connsiteY28" fmla="*/ 589909 h 1297454"/>
                <a:gd name="connsiteX29" fmla="*/ 237891 w 911102"/>
                <a:gd name="connsiteY29" fmla="*/ 496751 h 1297454"/>
                <a:gd name="connsiteX30" fmla="*/ 221568 w 911102"/>
                <a:gd name="connsiteY30" fmla="*/ 492404 h 1297454"/>
                <a:gd name="connsiteX31" fmla="*/ 249567 w 911102"/>
                <a:gd name="connsiteY31" fmla="*/ 475916 h 1297454"/>
                <a:gd name="connsiteX32" fmla="*/ 281129 w 911102"/>
                <a:gd name="connsiteY32" fmla="*/ 411193 h 1297454"/>
                <a:gd name="connsiteX33" fmla="*/ 281130 w 911102"/>
                <a:gd name="connsiteY33" fmla="*/ 411193 h 1297454"/>
                <a:gd name="connsiteX34" fmla="*/ 257681 w 911102"/>
                <a:gd name="connsiteY34" fmla="*/ 343108 h 1297454"/>
                <a:gd name="connsiteX35" fmla="*/ 192957 w 911102"/>
                <a:gd name="connsiteY35" fmla="*/ 311547 h 1297454"/>
                <a:gd name="connsiteX36" fmla="*/ 65424 w 911102"/>
                <a:gd name="connsiteY36" fmla="*/ 303757 h 1297454"/>
                <a:gd name="connsiteX37" fmla="*/ 41901 w 911102"/>
                <a:gd name="connsiteY37" fmla="*/ 309400 h 1297454"/>
                <a:gd name="connsiteX38" fmla="*/ 56412 w 911102"/>
                <a:gd name="connsiteY38" fmla="*/ 232310 h 1297454"/>
                <a:gd name="connsiteX39" fmla="*/ 127609 w 911102"/>
                <a:gd name="connsiteY39" fmla="*/ 8370 h 1297454"/>
                <a:gd name="connsiteX40" fmla="*/ 135979 w 911102"/>
                <a:gd name="connsiteY40" fmla="*/ 0 h 1297454"/>
                <a:gd name="connsiteX41" fmla="*/ 737166 w 911102"/>
                <a:gd name="connsiteY41" fmla="*/ 0 h 1297454"/>
                <a:gd name="connsiteX42" fmla="*/ 745536 w 911102"/>
                <a:gd name="connsiteY42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3407 w 911102"/>
                <a:gd name="connsiteY11" fmla="*/ 1278872 h 1297454"/>
                <a:gd name="connsiteX12" fmla="*/ 724876 w 911102"/>
                <a:gd name="connsiteY12" fmla="*/ 1290789 h 1297454"/>
                <a:gd name="connsiteX13" fmla="*/ 568039 w 911102"/>
                <a:gd name="connsiteY13" fmla="*/ 1230080 h 1297454"/>
                <a:gd name="connsiteX14" fmla="*/ 364868 w 911102"/>
                <a:gd name="connsiteY14" fmla="*/ 1184795 h 1297454"/>
                <a:gd name="connsiteX15" fmla="*/ 178811 w 911102"/>
                <a:gd name="connsiteY15" fmla="*/ 1123147 h 1297454"/>
                <a:gd name="connsiteX16" fmla="*/ 28040 w 911102"/>
                <a:gd name="connsiteY16" fmla="*/ 1036282 h 1297454"/>
                <a:gd name="connsiteX17" fmla="*/ 26077 w 911102"/>
                <a:gd name="connsiteY17" fmla="*/ 1027345 h 1297454"/>
                <a:gd name="connsiteX18" fmla="*/ 152633 w 911102"/>
                <a:gd name="connsiteY18" fmla="*/ 1035076 h 1297454"/>
                <a:gd name="connsiteX19" fmla="*/ 255738 w 911102"/>
                <a:gd name="connsiteY19" fmla="*/ 943843 h 1297454"/>
                <a:gd name="connsiteX20" fmla="*/ 231475 w 911102"/>
                <a:gd name="connsiteY20" fmla="*/ 873395 h 1297454"/>
                <a:gd name="connsiteX21" fmla="*/ 213502 w 911102"/>
                <a:gd name="connsiteY21" fmla="*/ 859613 h 1297454"/>
                <a:gd name="connsiteX22" fmla="*/ 216878 w 911102"/>
                <a:gd name="connsiteY22" fmla="*/ 859143 h 1297454"/>
                <a:gd name="connsiteX23" fmla="*/ 281693 w 911102"/>
                <a:gd name="connsiteY23" fmla="*/ 773235 h 1297454"/>
                <a:gd name="connsiteX24" fmla="*/ 227816 w 911102"/>
                <a:gd name="connsiteY24" fmla="*/ 680077 h 1297454"/>
                <a:gd name="connsiteX25" fmla="*/ 217008 w 911102"/>
                <a:gd name="connsiteY25" fmla="*/ 677199 h 1297454"/>
                <a:gd name="connsiteX26" fmla="*/ 226953 w 911102"/>
                <a:gd name="connsiteY26" fmla="*/ 675817 h 1297454"/>
                <a:gd name="connsiteX27" fmla="*/ 291768 w 911102"/>
                <a:gd name="connsiteY27" fmla="*/ 589909 h 1297454"/>
                <a:gd name="connsiteX28" fmla="*/ 237891 w 911102"/>
                <a:gd name="connsiteY28" fmla="*/ 496751 h 1297454"/>
                <a:gd name="connsiteX29" fmla="*/ 221568 w 911102"/>
                <a:gd name="connsiteY29" fmla="*/ 492404 h 1297454"/>
                <a:gd name="connsiteX30" fmla="*/ 249567 w 911102"/>
                <a:gd name="connsiteY30" fmla="*/ 475916 h 1297454"/>
                <a:gd name="connsiteX31" fmla="*/ 281129 w 911102"/>
                <a:gd name="connsiteY31" fmla="*/ 411193 h 1297454"/>
                <a:gd name="connsiteX32" fmla="*/ 281130 w 911102"/>
                <a:gd name="connsiteY32" fmla="*/ 411193 h 1297454"/>
                <a:gd name="connsiteX33" fmla="*/ 257681 w 911102"/>
                <a:gd name="connsiteY33" fmla="*/ 343108 h 1297454"/>
                <a:gd name="connsiteX34" fmla="*/ 192957 w 911102"/>
                <a:gd name="connsiteY34" fmla="*/ 311547 h 1297454"/>
                <a:gd name="connsiteX35" fmla="*/ 65424 w 911102"/>
                <a:gd name="connsiteY35" fmla="*/ 303757 h 1297454"/>
                <a:gd name="connsiteX36" fmla="*/ 41901 w 911102"/>
                <a:gd name="connsiteY36" fmla="*/ 309400 h 1297454"/>
                <a:gd name="connsiteX37" fmla="*/ 56412 w 911102"/>
                <a:gd name="connsiteY37" fmla="*/ 232310 h 1297454"/>
                <a:gd name="connsiteX38" fmla="*/ 127609 w 911102"/>
                <a:gd name="connsiteY38" fmla="*/ 8370 h 1297454"/>
                <a:gd name="connsiteX39" fmla="*/ 135979 w 911102"/>
                <a:gd name="connsiteY39" fmla="*/ 0 h 1297454"/>
                <a:gd name="connsiteX40" fmla="*/ 737166 w 911102"/>
                <a:gd name="connsiteY40" fmla="*/ 0 h 1297454"/>
                <a:gd name="connsiteX41" fmla="*/ 745536 w 911102"/>
                <a:gd name="connsiteY41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4876 w 911102"/>
                <a:gd name="connsiteY11" fmla="*/ 1290789 h 1297454"/>
                <a:gd name="connsiteX12" fmla="*/ 568039 w 911102"/>
                <a:gd name="connsiteY12" fmla="*/ 1230080 h 1297454"/>
                <a:gd name="connsiteX13" fmla="*/ 364868 w 911102"/>
                <a:gd name="connsiteY13" fmla="*/ 1184795 h 1297454"/>
                <a:gd name="connsiteX14" fmla="*/ 178811 w 911102"/>
                <a:gd name="connsiteY14" fmla="*/ 1123147 h 1297454"/>
                <a:gd name="connsiteX15" fmla="*/ 28040 w 911102"/>
                <a:gd name="connsiteY15" fmla="*/ 1036282 h 1297454"/>
                <a:gd name="connsiteX16" fmla="*/ 26077 w 911102"/>
                <a:gd name="connsiteY16" fmla="*/ 1027345 h 1297454"/>
                <a:gd name="connsiteX17" fmla="*/ 152633 w 911102"/>
                <a:gd name="connsiteY17" fmla="*/ 1035076 h 1297454"/>
                <a:gd name="connsiteX18" fmla="*/ 255738 w 911102"/>
                <a:gd name="connsiteY18" fmla="*/ 943843 h 1297454"/>
                <a:gd name="connsiteX19" fmla="*/ 231475 w 911102"/>
                <a:gd name="connsiteY19" fmla="*/ 873395 h 1297454"/>
                <a:gd name="connsiteX20" fmla="*/ 213502 w 911102"/>
                <a:gd name="connsiteY20" fmla="*/ 859613 h 1297454"/>
                <a:gd name="connsiteX21" fmla="*/ 216878 w 911102"/>
                <a:gd name="connsiteY21" fmla="*/ 859143 h 1297454"/>
                <a:gd name="connsiteX22" fmla="*/ 281693 w 911102"/>
                <a:gd name="connsiteY22" fmla="*/ 773235 h 1297454"/>
                <a:gd name="connsiteX23" fmla="*/ 227816 w 911102"/>
                <a:gd name="connsiteY23" fmla="*/ 680077 h 1297454"/>
                <a:gd name="connsiteX24" fmla="*/ 217008 w 911102"/>
                <a:gd name="connsiteY24" fmla="*/ 677199 h 1297454"/>
                <a:gd name="connsiteX25" fmla="*/ 226953 w 911102"/>
                <a:gd name="connsiteY25" fmla="*/ 675817 h 1297454"/>
                <a:gd name="connsiteX26" fmla="*/ 291768 w 911102"/>
                <a:gd name="connsiteY26" fmla="*/ 589909 h 1297454"/>
                <a:gd name="connsiteX27" fmla="*/ 237891 w 911102"/>
                <a:gd name="connsiteY27" fmla="*/ 496751 h 1297454"/>
                <a:gd name="connsiteX28" fmla="*/ 221568 w 911102"/>
                <a:gd name="connsiteY28" fmla="*/ 492404 h 1297454"/>
                <a:gd name="connsiteX29" fmla="*/ 249567 w 911102"/>
                <a:gd name="connsiteY29" fmla="*/ 475916 h 1297454"/>
                <a:gd name="connsiteX30" fmla="*/ 281129 w 911102"/>
                <a:gd name="connsiteY30" fmla="*/ 411193 h 1297454"/>
                <a:gd name="connsiteX31" fmla="*/ 281130 w 911102"/>
                <a:gd name="connsiteY31" fmla="*/ 411193 h 1297454"/>
                <a:gd name="connsiteX32" fmla="*/ 257681 w 911102"/>
                <a:gd name="connsiteY32" fmla="*/ 343108 h 1297454"/>
                <a:gd name="connsiteX33" fmla="*/ 192957 w 911102"/>
                <a:gd name="connsiteY33" fmla="*/ 311547 h 1297454"/>
                <a:gd name="connsiteX34" fmla="*/ 65424 w 911102"/>
                <a:gd name="connsiteY34" fmla="*/ 303757 h 1297454"/>
                <a:gd name="connsiteX35" fmla="*/ 41901 w 911102"/>
                <a:gd name="connsiteY35" fmla="*/ 309400 h 1297454"/>
                <a:gd name="connsiteX36" fmla="*/ 56412 w 911102"/>
                <a:gd name="connsiteY36" fmla="*/ 232310 h 1297454"/>
                <a:gd name="connsiteX37" fmla="*/ 127609 w 911102"/>
                <a:gd name="connsiteY37" fmla="*/ 8370 h 1297454"/>
                <a:gd name="connsiteX38" fmla="*/ 135979 w 911102"/>
                <a:gd name="connsiteY38" fmla="*/ 0 h 1297454"/>
                <a:gd name="connsiteX39" fmla="*/ 737166 w 911102"/>
                <a:gd name="connsiteY39" fmla="*/ 0 h 1297454"/>
                <a:gd name="connsiteX40" fmla="*/ 745536 w 911102"/>
                <a:gd name="connsiteY40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11102" h="1297454">
                  <a:moveTo>
                    <a:pt x="554" y="664205"/>
                  </a:moveTo>
                  <a:lnTo>
                    <a:pt x="0" y="664282"/>
                  </a:lnTo>
                  <a:cubicBezTo>
                    <a:pt x="5" y="664208"/>
                    <a:pt x="11" y="664135"/>
                    <a:pt x="16" y="664061"/>
                  </a:cubicBezTo>
                  <a:lnTo>
                    <a:pt x="554" y="664205"/>
                  </a:lnTo>
                  <a:close/>
                  <a:moveTo>
                    <a:pt x="745536" y="8370"/>
                  </a:moveTo>
                  <a:cubicBezTo>
                    <a:pt x="777296" y="94936"/>
                    <a:pt x="879455" y="311958"/>
                    <a:pt x="911102" y="379668"/>
                  </a:cubicBezTo>
                  <a:lnTo>
                    <a:pt x="876710" y="385825"/>
                  </a:lnTo>
                  <a:cubicBezTo>
                    <a:pt x="868621" y="377323"/>
                    <a:pt x="500563" y="302568"/>
                    <a:pt x="492061" y="310657"/>
                  </a:cubicBezTo>
                  <a:cubicBezTo>
                    <a:pt x="467650" y="368421"/>
                    <a:pt x="552876" y="601616"/>
                    <a:pt x="783320" y="626020"/>
                  </a:cubicBezTo>
                  <a:cubicBezTo>
                    <a:pt x="707017" y="751589"/>
                    <a:pt x="678492" y="1146233"/>
                    <a:pt x="724876" y="1290789"/>
                  </a:cubicBezTo>
                  <a:cubicBezTo>
                    <a:pt x="686289" y="1299923"/>
                    <a:pt x="599232" y="1312604"/>
                    <a:pt x="568039" y="1230080"/>
                  </a:cubicBezTo>
                  <a:cubicBezTo>
                    <a:pt x="505142" y="1271224"/>
                    <a:pt x="421109" y="1286153"/>
                    <a:pt x="364868" y="1184795"/>
                  </a:cubicBezTo>
                  <a:cubicBezTo>
                    <a:pt x="275380" y="1265558"/>
                    <a:pt x="187295" y="1190323"/>
                    <a:pt x="178811" y="1123147"/>
                  </a:cubicBezTo>
                  <a:cubicBezTo>
                    <a:pt x="136082" y="1156900"/>
                    <a:pt x="67183" y="1167242"/>
                    <a:pt x="28040" y="1036282"/>
                  </a:cubicBezTo>
                  <a:lnTo>
                    <a:pt x="26077" y="1027345"/>
                  </a:lnTo>
                  <a:lnTo>
                    <a:pt x="152633" y="1035076"/>
                  </a:lnTo>
                  <a:cubicBezTo>
                    <a:pt x="206298" y="1038354"/>
                    <a:pt x="252460" y="997507"/>
                    <a:pt x="255738" y="943843"/>
                  </a:cubicBezTo>
                  <a:cubicBezTo>
                    <a:pt x="257377" y="917011"/>
                    <a:pt x="247985" y="892054"/>
                    <a:pt x="231475" y="873395"/>
                  </a:cubicBezTo>
                  <a:lnTo>
                    <a:pt x="213502" y="859613"/>
                  </a:lnTo>
                  <a:lnTo>
                    <a:pt x="216878" y="859143"/>
                  </a:lnTo>
                  <a:cubicBezTo>
                    <a:pt x="252654" y="846522"/>
                    <a:pt x="279235" y="813484"/>
                    <a:pt x="281693" y="773235"/>
                  </a:cubicBezTo>
                  <a:cubicBezTo>
                    <a:pt x="284152" y="732987"/>
                    <a:pt x="261790" y="696958"/>
                    <a:pt x="227816" y="680077"/>
                  </a:cubicBezTo>
                  <a:lnTo>
                    <a:pt x="217008" y="677199"/>
                  </a:lnTo>
                  <a:lnTo>
                    <a:pt x="226953" y="675817"/>
                  </a:lnTo>
                  <a:cubicBezTo>
                    <a:pt x="262729" y="663196"/>
                    <a:pt x="289310" y="630158"/>
                    <a:pt x="291768" y="589909"/>
                  </a:cubicBezTo>
                  <a:cubicBezTo>
                    <a:pt x="294227" y="549660"/>
                    <a:pt x="271865" y="513632"/>
                    <a:pt x="237891" y="496751"/>
                  </a:cubicBezTo>
                  <a:lnTo>
                    <a:pt x="221568" y="492404"/>
                  </a:lnTo>
                  <a:lnTo>
                    <a:pt x="249567" y="475916"/>
                  </a:lnTo>
                  <a:cubicBezTo>
                    <a:pt x="267599" y="459959"/>
                    <a:pt x="279545" y="437125"/>
                    <a:pt x="281129" y="411193"/>
                  </a:cubicBezTo>
                  <a:lnTo>
                    <a:pt x="281130" y="411193"/>
                  </a:lnTo>
                  <a:cubicBezTo>
                    <a:pt x="282714" y="385260"/>
                    <a:pt x="273637" y="361142"/>
                    <a:pt x="257681" y="343108"/>
                  </a:cubicBezTo>
                  <a:cubicBezTo>
                    <a:pt x="241725" y="325077"/>
                    <a:pt x="218889" y="313132"/>
                    <a:pt x="192957" y="311547"/>
                  </a:cubicBezTo>
                  <a:lnTo>
                    <a:pt x="65424" y="303757"/>
                  </a:lnTo>
                  <a:lnTo>
                    <a:pt x="41901" y="309400"/>
                  </a:lnTo>
                  <a:lnTo>
                    <a:pt x="56412" y="232310"/>
                  </a:lnTo>
                  <a:cubicBezTo>
                    <a:pt x="76486" y="142148"/>
                    <a:pt x="100714" y="63554"/>
                    <a:pt x="127609" y="8370"/>
                  </a:cubicBezTo>
                  <a:cubicBezTo>
                    <a:pt x="127609" y="3747"/>
                    <a:pt x="131356" y="0"/>
                    <a:pt x="135979" y="0"/>
                  </a:cubicBezTo>
                  <a:lnTo>
                    <a:pt x="737166" y="0"/>
                  </a:lnTo>
                  <a:cubicBezTo>
                    <a:pt x="741789" y="0"/>
                    <a:pt x="745536" y="3747"/>
                    <a:pt x="745536" y="837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7" name="Rounded Rectangle 56"/>
            <p:cNvSpPr/>
            <p:nvPr/>
          </p:nvSpPr>
          <p:spPr>
            <a:xfrm rot="18254747">
              <a:off x="2121920" y="3773287"/>
              <a:ext cx="268275" cy="128977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8" name="Rounded Rectangle 57"/>
            <p:cNvSpPr/>
            <p:nvPr/>
          </p:nvSpPr>
          <p:spPr>
            <a:xfrm rot="18254747">
              <a:off x="2237781" y="3867949"/>
              <a:ext cx="311038" cy="143896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9" name="Rounded Rectangle 58"/>
            <p:cNvSpPr/>
            <p:nvPr/>
          </p:nvSpPr>
          <p:spPr>
            <a:xfrm rot="18254747">
              <a:off x="2396653" y="3967672"/>
              <a:ext cx="302453" cy="142014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0" name="Rounded Rectangle 59"/>
            <p:cNvSpPr/>
            <p:nvPr/>
          </p:nvSpPr>
          <p:spPr>
            <a:xfrm rot="18191826">
              <a:off x="2567056" y="4069412"/>
              <a:ext cx="257644" cy="132691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9" name="Rounded Rectangle 68"/>
            <p:cNvSpPr/>
            <p:nvPr/>
          </p:nvSpPr>
          <p:spPr>
            <a:xfrm rot="18170923">
              <a:off x="1446042" y="3129169"/>
              <a:ext cx="793564" cy="242045"/>
            </a:xfrm>
            <a:prstGeom prst="roundRect">
              <a:avLst>
                <a:gd name="adj" fmla="val 3458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70" name="Rounded Rectangle 69"/>
            <p:cNvSpPr/>
            <p:nvPr/>
          </p:nvSpPr>
          <p:spPr>
            <a:xfrm rot="18139869">
              <a:off x="1650404" y="3310198"/>
              <a:ext cx="701700" cy="59118"/>
            </a:xfrm>
            <a:prstGeom prst="roundRect">
              <a:avLst>
                <a:gd name="adj" fmla="val 5000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71" name="Rounded Rectangle 70"/>
            <p:cNvSpPr/>
            <p:nvPr/>
          </p:nvSpPr>
          <p:spPr>
            <a:xfrm rot="4209802">
              <a:off x="3305704" y="3176290"/>
              <a:ext cx="793564" cy="242045"/>
            </a:xfrm>
            <a:prstGeom prst="roundRect">
              <a:avLst>
                <a:gd name="adj" fmla="val 3458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72" name="Rounded Rectangle 71"/>
            <p:cNvSpPr/>
            <p:nvPr/>
          </p:nvSpPr>
          <p:spPr>
            <a:xfrm rot="4234155">
              <a:off x="3180849" y="3331995"/>
              <a:ext cx="701700" cy="59118"/>
            </a:xfrm>
            <a:prstGeom prst="roundRect">
              <a:avLst>
                <a:gd name="adj" fmla="val 5000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73" name="Freeform 72"/>
            <p:cNvSpPr/>
            <p:nvPr/>
          </p:nvSpPr>
          <p:spPr>
            <a:xfrm rot="20830502">
              <a:off x="2416807" y="3065880"/>
              <a:ext cx="1092446" cy="753122"/>
            </a:xfrm>
            <a:custGeom>
              <a:avLst/>
              <a:gdLst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1523 w 1092446"/>
                <a:gd name="connsiteY8" fmla="*/ 493267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99633 w 1092446"/>
                <a:gd name="connsiteY6" fmla="*/ 522004 h 741956"/>
                <a:gd name="connsiteX7" fmla="*/ 691523 w 1092446"/>
                <a:gd name="connsiteY7" fmla="*/ 493267 h 741956"/>
                <a:gd name="connsiteX8" fmla="*/ 576784 w 1092446"/>
                <a:gd name="connsiteY8" fmla="*/ 489842 h 741956"/>
                <a:gd name="connsiteX9" fmla="*/ 571648 w 1092446"/>
                <a:gd name="connsiteY9" fmla="*/ 489724 h 741956"/>
                <a:gd name="connsiteX10" fmla="*/ 481793 w 1092446"/>
                <a:gd name="connsiteY10" fmla="*/ 377963 h 741956"/>
                <a:gd name="connsiteX11" fmla="*/ 408161 w 1092446"/>
                <a:gd name="connsiteY11" fmla="*/ 225516 h 741956"/>
                <a:gd name="connsiteX12" fmla="*/ 0 w 1092446"/>
                <a:gd name="connsiteY12" fmla="*/ 271157 h 741956"/>
                <a:gd name="connsiteX13" fmla="*/ 393182 w 1092446"/>
                <a:gd name="connsiteY13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81793 w 1092446"/>
                <a:gd name="connsiteY8" fmla="*/ 377963 h 741956"/>
                <a:gd name="connsiteX9" fmla="*/ 408161 w 1092446"/>
                <a:gd name="connsiteY9" fmla="*/ 225516 h 741956"/>
                <a:gd name="connsiteX10" fmla="*/ 0 w 1092446"/>
                <a:gd name="connsiteY10" fmla="*/ 271157 h 741956"/>
                <a:gd name="connsiteX11" fmla="*/ 393182 w 1092446"/>
                <a:gd name="connsiteY11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53122"/>
                <a:gd name="connsiteX1" fmla="*/ 1030378 w 1092446"/>
                <a:gd name="connsiteY1" fmla="*/ 159143 h 753122"/>
                <a:gd name="connsiteX2" fmla="*/ 1092446 w 1092446"/>
                <a:gd name="connsiteY2" fmla="*/ 711193 h 753122"/>
                <a:gd name="connsiteX3" fmla="*/ 848296 w 1092446"/>
                <a:gd name="connsiteY3" fmla="*/ 752170 h 753122"/>
                <a:gd name="connsiteX4" fmla="*/ 600457 w 1092446"/>
                <a:gd name="connsiteY4" fmla="*/ 520096 h 753122"/>
                <a:gd name="connsiteX5" fmla="*/ 699633 w 1092446"/>
                <a:gd name="connsiteY5" fmla="*/ 522004 h 753122"/>
                <a:gd name="connsiteX6" fmla="*/ 689937 w 1092446"/>
                <a:gd name="connsiteY6" fmla="*/ 500232 h 753122"/>
                <a:gd name="connsiteX7" fmla="*/ 576784 w 1092446"/>
                <a:gd name="connsiteY7" fmla="*/ 489842 h 753122"/>
                <a:gd name="connsiteX8" fmla="*/ 408161 w 1092446"/>
                <a:gd name="connsiteY8" fmla="*/ 225516 h 753122"/>
                <a:gd name="connsiteX9" fmla="*/ 0 w 1092446"/>
                <a:gd name="connsiteY9" fmla="*/ 271157 h 753122"/>
                <a:gd name="connsiteX10" fmla="*/ 393182 w 1092446"/>
                <a:gd name="connsiteY10" fmla="*/ 0 h 753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92446" h="753122">
                  <a:moveTo>
                    <a:pt x="393182" y="0"/>
                  </a:moveTo>
                  <a:cubicBezTo>
                    <a:pt x="603014" y="50021"/>
                    <a:pt x="721952" y="145288"/>
                    <a:pt x="1030378" y="159143"/>
                  </a:cubicBezTo>
                  <a:cubicBezTo>
                    <a:pt x="1030378" y="348219"/>
                    <a:pt x="1061205" y="519889"/>
                    <a:pt x="1092446" y="711193"/>
                  </a:cubicBezTo>
                  <a:cubicBezTo>
                    <a:pt x="1032790" y="742751"/>
                    <a:pt x="923476" y="757108"/>
                    <a:pt x="848296" y="752170"/>
                  </a:cubicBezTo>
                  <a:cubicBezTo>
                    <a:pt x="798266" y="726242"/>
                    <a:pt x="684202" y="631576"/>
                    <a:pt x="600457" y="520096"/>
                  </a:cubicBezTo>
                  <a:cubicBezTo>
                    <a:pt x="633516" y="520732"/>
                    <a:pt x="684720" y="525315"/>
                    <a:pt x="699633" y="522004"/>
                  </a:cubicBezTo>
                  <a:cubicBezTo>
                    <a:pt x="714546" y="518693"/>
                    <a:pt x="725252" y="504787"/>
                    <a:pt x="689937" y="500232"/>
                  </a:cubicBezTo>
                  <a:cubicBezTo>
                    <a:pt x="654621" y="501428"/>
                    <a:pt x="614772" y="497298"/>
                    <a:pt x="576784" y="489842"/>
                  </a:cubicBezTo>
                  <a:cubicBezTo>
                    <a:pt x="507475" y="437824"/>
                    <a:pt x="432486" y="335672"/>
                    <a:pt x="408161" y="225516"/>
                  </a:cubicBezTo>
                  <a:cubicBezTo>
                    <a:pt x="253916" y="345672"/>
                    <a:pt x="75753" y="345602"/>
                    <a:pt x="0" y="271157"/>
                  </a:cubicBezTo>
                  <a:cubicBezTo>
                    <a:pt x="0" y="259422"/>
                    <a:pt x="381447" y="0"/>
                    <a:pt x="393182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74" name="Group 4"/>
          <p:cNvGrpSpPr>
            <a:grpSpLocks noChangeAspect="1"/>
          </p:cNvGrpSpPr>
          <p:nvPr/>
        </p:nvGrpSpPr>
        <p:grpSpPr bwMode="auto">
          <a:xfrm>
            <a:off x="10960435" y="3199741"/>
            <a:ext cx="410056" cy="410056"/>
            <a:chOff x="4524" y="2727"/>
            <a:chExt cx="416" cy="416"/>
          </a:xfrm>
          <a:solidFill>
            <a:srgbClr val="26867C"/>
          </a:solidFill>
        </p:grpSpPr>
        <p:sp>
          <p:nvSpPr>
            <p:cNvPr id="75" name="Freeform 6"/>
            <p:cNvSpPr>
              <a:spLocks/>
            </p:cNvSpPr>
            <p:nvPr/>
          </p:nvSpPr>
          <p:spPr bwMode="auto">
            <a:xfrm>
              <a:off x="4767" y="2727"/>
              <a:ext cx="74" cy="73"/>
            </a:xfrm>
            <a:custGeom>
              <a:avLst/>
              <a:gdLst>
                <a:gd name="T0" fmla="*/ 0 w 587"/>
                <a:gd name="T1" fmla="*/ 0 h 585"/>
                <a:gd name="T2" fmla="*/ 17 w 587"/>
                <a:gd name="T3" fmla="*/ 0 h 585"/>
                <a:gd name="T4" fmla="*/ 55 w 587"/>
                <a:gd name="T5" fmla="*/ 3 h 585"/>
                <a:gd name="T6" fmla="*/ 93 w 587"/>
                <a:gd name="T7" fmla="*/ 10 h 585"/>
                <a:gd name="T8" fmla="*/ 129 w 587"/>
                <a:gd name="T9" fmla="*/ 22 h 585"/>
                <a:gd name="T10" fmla="*/ 164 w 587"/>
                <a:gd name="T11" fmla="*/ 39 h 585"/>
                <a:gd name="T12" fmla="*/ 196 w 587"/>
                <a:gd name="T13" fmla="*/ 61 h 585"/>
                <a:gd name="T14" fmla="*/ 225 w 587"/>
                <a:gd name="T15" fmla="*/ 86 h 585"/>
                <a:gd name="T16" fmla="*/ 502 w 587"/>
                <a:gd name="T17" fmla="*/ 361 h 585"/>
                <a:gd name="T18" fmla="*/ 527 w 587"/>
                <a:gd name="T19" fmla="*/ 390 h 585"/>
                <a:gd name="T20" fmla="*/ 548 w 587"/>
                <a:gd name="T21" fmla="*/ 423 h 585"/>
                <a:gd name="T22" fmla="*/ 565 w 587"/>
                <a:gd name="T23" fmla="*/ 456 h 585"/>
                <a:gd name="T24" fmla="*/ 577 w 587"/>
                <a:gd name="T25" fmla="*/ 492 h 585"/>
                <a:gd name="T26" fmla="*/ 584 w 587"/>
                <a:gd name="T27" fmla="*/ 529 h 585"/>
                <a:gd name="T28" fmla="*/ 587 w 587"/>
                <a:gd name="T29" fmla="*/ 568 h 585"/>
                <a:gd name="T30" fmla="*/ 587 w 587"/>
                <a:gd name="T31" fmla="*/ 568 h 585"/>
                <a:gd name="T32" fmla="*/ 587 w 587"/>
                <a:gd name="T33" fmla="*/ 585 h 585"/>
                <a:gd name="T34" fmla="*/ 0 w 587"/>
                <a:gd name="T35" fmla="*/ 585 h 585"/>
                <a:gd name="T36" fmla="*/ 0 w 587"/>
                <a:gd name="T37" fmla="*/ 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7" h="585">
                  <a:moveTo>
                    <a:pt x="0" y="0"/>
                  </a:moveTo>
                  <a:lnTo>
                    <a:pt x="17" y="0"/>
                  </a:lnTo>
                  <a:lnTo>
                    <a:pt x="55" y="3"/>
                  </a:lnTo>
                  <a:lnTo>
                    <a:pt x="93" y="10"/>
                  </a:lnTo>
                  <a:lnTo>
                    <a:pt x="129" y="22"/>
                  </a:lnTo>
                  <a:lnTo>
                    <a:pt x="164" y="39"/>
                  </a:lnTo>
                  <a:lnTo>
                    <a:pt x="196" y="61"/>
                  </a:lnTo>
                  <a:lnTo>
                    <a:pt x="225" y="86"/>
                  </a:lnTo>
                  <a:lnTo>
                    <a:pt x="502" y="361"/>
                  </a:lnTo>
                  <a:lnTo>
                    <a:pt x="527" y="390"/>
                  </a:lnTo>
                  <a:lnTo>
                    <a:pt x="548" y="423"/>
                  </a:lnTo>
                  <a:lnTo>
                    <a:pt x="565" y="456"/>
                  </a:lnTo>
                  <a:lnTo>
                    <a:pt x="577" y="492"/>
                  </a:lnTo>
                  <a:lnTo>
                    <a:pt x="584" y="529"/>
                  </a:lnTo>
                  <a:lnTo>
                    <a:pt x="587" y="568"/>
                  </a:lnTo>
                  <a:lnTo>
                    <a:pt x="587" y="568"/>
                  </a:lnTo>
                  <a:lnTo>
                    <a:pt x="587" y="585"/>
                  </a:lnTo>
                  <a:lnTo>
                    <a:pt x="0" y="5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7"/>
            <p:cNvSpPr>
              <a:spLocks noEditPoints="1"/>
            </p:cNvSpPr>
            <p:nvPr/>
          </p:nvSpPr>
          <p:spPr bwMode="auto">
            <a:xfrm>
              <a:off x="4524" y="2727"/>
              <a:ext cx="317" cy="416"/>
            </a:xfrm>
            <a:custGeom>
              <a:avLst/>
              <a:gdLst>
                <a:gd name="T0" fmla="*/ 1203 w 2534"/>
                <a:gd name="T1" fmla="*/ 2751 h 3328"/>
                <a:gd name="T2" fmla="*/ 1167 w 2534"/>
                <a:gd name="T3" fmla="*/ 2828 h 3328"/>
                <a:gd name="T4" fmla="*/ 1203 w 2534"/>
                <a:gd name="T5" fmla="*/ 2903 h 3328"/>
                <a:gd name="T6" fmla="*/ 1850 w 2534"/>
                <a:gd name="T7" fmla="*/ 2925 h 3328"/>
                <a:gd name="T8" fmla="*/ 1925 w 2534"/>
                <a:gd name="T9" fmla="*/ 2888 h 3328"/>
                <a:gd name="T10" fmla="*/ 1944 w 2534"/>
                <a:gd name="T11" fmla="*/ 2806 h 3328"/>
                <a:gd name="T12" fmla="*/ 1892 w 2534"/>
                <a:gd name="T13" fmla="*/ 2740 h 3328"/>
                <a:gd name="T14" fmla="*/ 487 w 2534"/>
                <a:gd name="T15" fmla="*/ 2145 h 3328"/>
                <a:gd name="T16" fmla="*/ 411 w 2534"/>
                <a:gd name="T17" fmla="*/ 2181 h 3328"/>
                <a:gd name="T18" fmla="*/ 392 w 2534"/>
                <a:gd name="T19" fmla="*/ 2265 h 3328"/>
                <a:gd name="T20" fmla="*/ 445 w 2534"/>
                <a:gd name="T21" fmla="*/ 2330 h 3328"/>
                <a:gd name="T22" fmla="*/ 1481 w 2534"/>
                <a:gd name="T23" fmla="*/ 2338 h 3328"/>
                <a:gd name="T24" fmla="*/ 1547 w 2534"/>
                <a:gd name="T25" fmla="*/ 2285 h 3328"/>
                <a:gd name="T26" fmla="*/ 1547 w 2534"/>
                <a:gd name="T27" fmla="*/ 2200 h 3328"/>
                <a:gd name="T28" fmla="*/ 1481 w 2534"/>
                <a:gd name="T29" fmla="*/ 2148 h 3328"/>
                <a:gd name="T30" fmla="*/ 465 w 2534"/>
                <a:gd name="T31" fmla="*/ 1758 h 3328"/>
                <a:gd name="T32" fmla="*/ 400 w 2534"/>
                <a:gd name="T33" fmla="*/ 1809 h 3328"/>
                <a:gd name="T34" fmla="*/ 400 w 2534"/>
                <a:gd name="T35" fmla="*/ 1895 h 3328"/>
                <a:gd name="T36" fmla="*/ 465 w 2534"/>
                <a:gd name="T37" fmla="*/ 1947 h 3328"/>
                <a:gd name="T38" fmla="*/ 1503 w 2534"/>
                <a:gd name="T39" fmla="*/ 1940 h 3328"/>
                <a:gd name="T40" fmla="*/ 1554 w 2534"/>
                <a:gd name="T41" fmla="*/ 1875 h 3328"/>
                <a:gd name="T42" fmla="*/ 1536 w 2534"/>
                <a:gd name="T43" fmla="*/ 1791 h 3328"/>
                <a:gd name="T44" fmla="*/ 1459 w 2534"/>
                <a:gd name="T45" fmla="*/ 1755 h 3328"/>
                <a:gd name="T46" fmla="*/ 445 w 2534"/>
                <a:gd name="T47" fmla="*/ 1375 h 3328"/>
                <a:gd name="T48" fmla="*/ 392 w 2534"/>
                <a:gd name="T49" fmla="*/ 1440 h 3328"/>
                <a:gd name="T50" fmla="*/ 411 w 2534"/>
                <a:gd name="T51" fmla="*/ 1524 h 3328"/>
                <a:gd name="T52" fmla="*/ 487 w 2534"/>
                <a:gd name="T53" fmla="*/ 1560 h 3328"/>
                <a:gd name="T54" fmla="*/ 1521 w 2534"/>
                <a:gd name="T55" fmla="*/ 1539 h 3328"/>
                <a:gd name="T56" fmla="*/ 1557 w 2534"/>
                <a:gd name="T57" fmla="*/ 1462 h 3328"/>
                <a:gd name="T58" fmla="*/ 1521 w 2534"/>
                <a:gd name="T59" fmla="*/ 1387 h 3328"/>
                <a:gd name="T60" fmla="*/ 487 w 2534"/>
                <a:gd name="T61" fmla="*/ 1365 h 3328"/>
                <a:gd name="T62" fmla="*/ 427 w 2534"/>
                <a:gd name="T63" fmla="*/ 996 h 3328"/>
                <a:gd name="T64" fmla="*/ 390 w 2534"/>
                <a:gd name="T65" fmla="*/ 1072 h 3328"/>
                <a:gd name="T66" fmla="*/ 427 w 2534"/>
                <a:gd name="T67" fmla="*/ 1149 h 3328"/>
                <a:gd name="T68" fmla="*/ 1850 w 2534"/>
                <a:gd name="T69" fmla="*/ 1170 h 3328"/>
                <a:gd name="T70" fmla="*/ 1925 w 2534"/>
                <a:gd name="T71" fmla="*/ 1134 h 3328"/>
                <a:gd name="T72" fmla="*/ 1944 w 2534"/>
                <a:gd name="T73" fmla="*/ 1050 h 3328"/>
                <a:gd name="T74" fmla="*/ 1892 w 2534"/>
                <a:gd name="T75" fmla="*/ 985 h 3328"/>
                <a:gd name="T76" fmla="*/ 292 w 2534"/>
                <a:gd name="T77" fmla="*/ 0 h 3328"/>
                <a:gd name="T78" fmla="*/ 1764 w 2534"/>
                <a:gd name="T79" fmla="*/ 725 h 3328"/>
                <a:gd name="T80" fmla="*/ 1827 w 2534"/>
                <a:gd name="T81" fmla="*/ 778 h 3328"/>
                <a:gd name="T82" fmla="*/ 1875 w 2534"/>
                <a:gd name="T83" fmla="*/ 1860 h 3328"/>
                <a:gd name="T84" fmla="*/ 1781 w 2534"/>
                <a:gd name="T85" fmla="*/ 2012 h 3328"/>
                <a:gd name="T86" fmla="*/ 1676 w 2534"/>
                <a:gd name="T87" fmla="*/ 2388 h 3328"/>
                <a:gd name="T88" fmla="*/ 1720 w 2534"/>
                <a:gd name="T89" fmla="*/ 2510 h 3328"/>
                <a:gd name="T90" fmla="*/ 1822 w 2534"/>
                <a:gd name="T91" fmla="*/ 2592 h 3328"/>
                <a:gd name="T92" fmla="*/ 1966 w 2534"/>
                <a:gd name="T93" fmla="*/ 2609 h 3328"/>
                <a:gd name="T94" fmla="*/ 2393 w 2534"/>
                <a:gd name="T95" fmla="*/ 2443 h 3328"/>
                <a:gd name="T96" fmla="*/ 2531 w 2534"/>
                <a:gd name="T97" fmla="*/ 3075 h 3328"/>
                <a:gd name="T98" fmla="*/ 2473 w 2534"/>
                <a:gd name="T99" fmla="*/ 3214 h 3328"/>
                <a:gd name="T100" fmla="*/ 2354 w 2534"/>
                <a:gd name="T101" fmla="*/ 3305 h 3328"/>
                <a:gd name="T102" fmla="*/ 292 w 2534"/>
                <a:gd name="T103" fmla="*/ 3328 h 3328"/>
                <a:gd name="T104" fmla="*/ 133 w 2534"/>
                <a:gd name="T105" fmla="*/ 3281 h 3328"/>
                <a:gd name="T106" fmla="*/ 27 w 2534"/>
                <a:gd name="T107" fmla="*/ 3159 h 3328"/>
                <a:gd name="T108" fmla="*/ 0 w 2534"/>
                <a:gd name="T109" fmla="*/ 292 h 3328"/>
                <a:gd name="T110" fmla="*/ 47 w 2534"/>
                <a:gd name="T111" fmla="*/ 133 h 3328"/>
                <a:gd name="T112" fmla="*/ 169 w 2534"/>
                <a:gd name="T113" fmla="*/ 27 h 3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34" h="3328">
                  <a:moveTo>
                    <a:pt x="1265" y="2730"/>
                  </a:moveTo>
                  <a:lnTo>
                    <a:pt x="1242" y="2733"/>
                  </a:lnTo>
                  <a:lnTo>
                    <a:pt x="1221" y="2740"/>
                  </a:lnTo>
                  <a:lnTo>
                    <a:pt x="1203" y="2751"/>
                  </a:lnTo>
                  <a:lnTo>
                    <a:pt x="1188" y="2766"/>
                  </a:lnTo>
                  <a:lnTo>
                    <a:pt x="1177" y="2784"/>
                  </a:lnTo>
                  <a:lnTo>
                    <a:pt x="1170" y="2806"/>
                  </a:lnTo>
                  <a:lnTo>
                    <a:pt x="1167" y="2828"/>
                  </a:lnTo>
                  <a:lnTo>
                    <a:pt x="1170" y="2850"/>
                  </a:lnTo>
                  <a:lnTo>
                    <a:pt x="1177" y="2870"/>
                  </a:lnTo>
                  <a:lnTo>
                    <a:pt x="1188" y="2888"/>
                  </a:lnTo>
                  <a:lnTo>
                    <a:pt x="1203" y="2903"/>
                  </a:lnTo>
                  <a:lnTo>
                    <a:pt x="1221" y="2916"/>
                  </a:lnTo>
                  <a:lnTo>
                    <a:pt x="1242" y="2923"/>
                  </a:lnTo>
                  <a:lnTo>
                    <a:pt x="1265" y="2925"/>
                  </a:lnTo>
                  <a:lnTo>
                    <a:pt x="1850" y="2925"/>
                  </a:lnTo>
                  <a:lnTo>
                    <a:pt x="1872" y="2923"/>
                  </a:lnTo>
                  <a:lnTo>
                    <a:pt x="1892" y="2916"/>
                  </a:lnTo>
                  <a:lnTo>
                    <a:pt x="1910" y="2903"/>
                  </a:lnTo>
                  <a:lnTo>
                    <a:pt x="1925" y="2888"/>
                  </a:lnTo>
                  <a:lnTo>
                    <a:pt x="1937" y="2870"/>
                  </a:lnTo>
                  <a:lnTo>
                    <a:pt x="1944" y="2850"/>
                  </a:lnTo>
                  <a:lnTo>
                    <a:pt x="1946" y="2828"/>
                  </a:lnTo>
                  <a:lnTo>
                    <a:pt x="1944" y="2806"/>
                  </a:lnTo>
                  <a:lnTo>
                    <a:pt x="1937" y="2784"/>
                  </a:lnTo>
                  <a:lnTo>
                    <a:pt x="1925" y="2766"/>
                  </a:lnTo>
                  <a:lnTo>
                    <a:pt x="1910" y="2751"/>
                  </a:lnTo>
                  <a:lnTo>
                    <a:pt x="1892" y="2740"/>
                  </a:lnTo>
                  <a:lnTo>
                    <a:pt x="1872" y="2733"/>
                  </a:lnTo>
                  <a:lnTo>
                    <a:pt x="1850" y="2730"/>
                  </a:lnTo>
                  <a:lnTo>
                    <a:pt x="1265" y="2730"/>
                  </a:lnTo>
                  <a:close/>
                  <a:moveTo>
                    <a:pt x="487" y="2145"/>
                  </a:moveTo>
                  <a:lnTo>
                    <a:pt x="465" y="2148"/>
                  </a:lnTo>
                  <a:lnTo>
                    <a:pt x="445" y="2155"/>
                  </a:lnTo>
                  <a:lnTo>
                    <a:pt x="427" y="2166"/>
                  </a:lnTo>
                  <a:lnTo>
                    <a:pt x="411" y="2181"/>
                  </a:lnTo>
                  <a:lnTo>
                    <a:pt x="400" y="2200"/>
                  </a:lnTo>
                  <a:lnTo>
                    <a:pt x="392" y="2220"/>
                  </a:lnTo>
                  <a:lnTo>
                    <a:pt x="390" y="2243"/>
                  </a:lnTo>
                  <a:lnTo>
                    <a:pt x="392" y="2265"/>
                  </a:lnTo>
                  <a:lnTo>
                    <a:pt x="400" y="2285"/>
                  </a:lnTo>
                  <a:lnTo>
                    <a:pt x="411" y="2303"/>
                  </a:lnTo>
                  <a:lnTo>
                    <a:pt x="427" y="2319"/>
                  </a:lnTo>
                  <a:lnTo>
                    <a:pt x="445" y="2330"/>
                  </a:lnTo>
                  <a:lnTo>
                    <a:pt x="465" y="2338"/>
                  </a:lnTo>
                  <a:lnTo>
                    <a:pt x="487" y="2340"/>
                  </a:lnTo>
                  <a:lnTo>
                    <a:pt x="1459" y="2340"/>
                  </a:lnTo>
                  <a:lnTo>
                    <a:pt x="1481" y="2338"/>
                  </a:lnTo>
                  <a:lnTo>
                    <a:pt x="1503" y="2330"/>
                  </a:lnTo>
                  <a:lnTo>
                    <a:pt x="1521" y="2319"/>
                  </a:lnTo>
                  <a:lnTo>
                    <a:pt x="1536" y="2303"/>
                  </a:lnTo>
                  <a:lnTo>
                    <a:pt x="1547" y="2285"/>
                  </a:lnTo>
                  <a:lnTo>
                    <a:pt x="1554" y="2265"/>
                  </a:lnTo>
                  <a:lnTo>
                    <a:pt x="1557" y="2243"/>
                  </a:lnTo>
                  <a:lnTo>
                    <a:pt x="1554" y="2220"/>
                  </a:lnTo>
                  <a:lnTo>
                    <a:pt x="1547" y="2200"/>
                  </a:lnTo>
                  <a:lnTo>
                    <a:pt x="1536" y="2181"/>
                  </a:lnTo>
                  <a:lnTo>
                    <a:pt x="1521" y="2166"/>
                  </a:lnTo>
                  <a:lnTo>
                    <a:pt x="1503" y="2155"/>
                  </a:lnTo>
                  <a:lnTo>
                    <a:pt x="1481" y="2148"/>
                  </a:lnTo>
                  <a:lnTo>
                    <a:pt x="1459" y="2145"/>
                  </a:lnTo>
                  <a:lnTo>
                    <a:pt x="487" y="2145"/>
                  </a:lnTo>
                  <a:close/>
                  <a:moveTo>
                    <a:pt x="487" y="1755"/>
                  </a:moveTo>
                  <a:lnTo>
                    <a:pt x="465" y="1758"/>
                  </a:lnTo>
                  <a:lnTo>
                    <a:pt x="445" y="1765"/>
                  </a:lnTo>
                  <a:lnTo>
                    <a:pt x="427" y="1776"/>
                  </a:lnTo>
                  <a:lnTo>
                    <a:pt x="411" y="1791"/>
                  </a:lnTo>
                  <a:lnTo>
                    <a:pt x="400" y="1809"/>
                  </a:lnTo>
                  <a:lnTo>
                    <a:pt x="392" y="1830"/>
                  </a:lnTo>
                  <a:lnTo>
                    <a:pt x="390" y="1853"/>
                  </a:lnTo>
                  <a:lnTo>
                    <a:pt x="392" y="1875"/>
                  </a:lnTo>
                  <a:lnTo>
                    <a:pt x="400" y="1895"/>
                  </a:lnTo>
                  <a:lnTo>
                    <a:pt x="411" y="1913"/>
                  </a:lnTo>
                  <a:lnTo>
                    <a:pt x="427" y="1928"/>
                  </a:lnTo>
                  <a:lnTo>
                    <a:pt x="445" y="1940"/>
                  </a:lnTo>
                  <a:lnTo>
                    <a:pt x="465" y="1947"/>
                  </a:lnTo>
                  <a:lnTo>
                    <a:pt x="487" y="1950"/>
                  </a:lnTo>
                  <a:lnTo>
                    <a:pt x="1459" y="1950"/>
                  </a:lnTo>
                  <a:lnTo>
                    <a:pt x="1481" y="1947"/>
                  </a:lnTo>
                  <a:lnTo>
                    <a:pt x="1503" y="1940"/>
                  </a:lnTo>
                  <a:lnTo>
                    <a:pt x="1521" y="1928"/>
                  </a:lnTo>
                  <a:lnTo>
                    <a:pt x="1536" y="1913"/>
                  </a:lnTo>
                  <a:lnTo>
                    <a:pt x="1547" y="1895"/>
                  </a:lnTo>
                  <a:lnTo>
                    <a:pt x="1554" y="1875"/>
                  </a:lnTo>
                  <a:lnTo>
                    <a:pt x="1557" y="1853"/>
                  </a:lnTo>
                  <a:lnTo>
                    <a:pt x="1554" y="1830"/>
                  </a:lnTo>
                  <a:lnTo>
                    <a:pt x="1547" y="1809"/>
                  </a:lnTo>
                  <a:lnTo>
                    <a:pt x="1536" y="1791"/>
                  </a:lnTo>
                  <a:lnTo>
                    <a:pt x="1521" y="1776"/>
                  </a:lnTo>
                  <a:lnTo>
                    <a:pt x="1503" y="1765"/>
                  </a:lnTo>
                  <a:lnTo>
                    <a:pt x="1481" y="1758"/>
                  </a:lnTo>
                  <a:lnTo>
                    <a:pt x="1459" y="1755"/>
                  </a:lnTo>
                  <a:lnTo>
                    <a:pt x="487" y="1755"/>
                  </a:lnTo>
                  <a:close/>
                  <a:moveTo>
                    <a:pt x="487" y="1365"/>
                  </a:moveTo>
                  <a:lnTo>
                    <a:pt x="465" y="1368"/>
                  </a:lnTo>
                  <a:lnTo>
                    <a:pt x="445" y="1375"/>
                  </a:lnTo>
                  <a:lnTo>
                    <a:pt x="427" y="1387"/>
                  </a:lnTo>
                  <a:lnTo>
                    <a:pt x="411" y="1402"/>
                  </a:lnTo>
                  <a:lnTo>
                    <a:pt x="400" y="1420"/>
                  </a:lnTo>
                  <a:lnTo>
                    <a:pt x="392" y="1440"/>
                  </a:lnTo>
                  <a:lnTo>
                    <a:pt x="390" y="1462"/>
                  </a:lnTo>
                  <a:lnTo>
                    <a:pt x="392" y="1484"/>
                  </a:lnTo>
                  <a:lnTo>
                    <a:pt x="400" y="1506"/>
                  </a:lnTo>
                  <a:lnTo>
                    <a:pt x="411" y="1524"/>
                  </a:lnTo>
                  <a:lnTo>
                    <a:pt x="427" y="1539"/>
                  </a:lnTo>
                  <a:lnTo>
                    <a:pt x="445" y="1550"/>
                  </a:lnTo>
                  <a:lnTo>
                    <a:pt x="465" y="1557"/>
                  </a:lnTo>
                  <a:lnTo>
                    <a:pt x="487" y="1560"/>
                  </a:lnTo>
                  <a:lnTo>
                    <a:pt x="1459" y="1560"/>
                  </a:lnTo>
                  <a:lnTo>
                    <a:pt x="1481" y="1557"/>
                  </a:lnTo>
                  <a:lnTo>
                    <a:pt x="1503" y="1550"/>
                  </a:lnTo>
                  <a:lnTo>
                    <a:pt x="1521" y="1539"/>
                  </a:lnTo>
                  <a:lnTo>
                    <a:pt x="1536" y="1524"/>
                  </a:lnTo>
                  <a:lnTo>
                    <a:pt x="1547" y="1506"/>
                  </a:lnTo>
                  <a:lnTo>
                    <a:pt x="1554" y="1484"/>
                  </a:lnTo>
                  <a:lnTo>
                    <a:pt x="1557" y="1462"/>
                  </a:lnTo>
                  <a:lnTo>
                    <a:pt x="1554" y="1440"/>
                  </a:lnTo>
                  <a:lnTo>
                    <a:pt x="1547" y="1420"/>
                  </a:lnTo>
                  <a:lnTo>
                    <a:pt x="1536" y="1402"/>
                  </a:lnTo>
                  <a:lnTo>
                    <a:pt x="1521" y="1387"/>
                  </a:lnTo>
                  <a:lnTo>
                    <a:pt x="1503" y="1375"/>
                  </a:lnTo>
                  <a:lnTo>
                    <a:pt x="1481" y="1368"/>
                  </a:lnTo>
                  <a:lnTo>
                    <a:pt x="1459" y="1365"/>
                  </a:lnTo>
                  <a:lnTo>
                    <a:pt x="487" y="1365"/>
                  </a:lnTo>
                  <a:close/>
                  <a:moveTo>
                    <a:pt x="487" y="975"/>
                  </a:moveTo>
                  <a:lnTo>
                    <a:pt x="465" y="977"/>
                  </a:lnTo>
                  <a:lnTo>
                    <a:pt x="445" y="985"/>
                  </a:lnTo>
                  <a:lnTo>
                    <a:pt x="427" y="996"/>
                  </a:lnTo>
                  <a:lnTo>
                    <a:pt x="411" y="1012"/>
                  </a:lnTo>
                  <a:lnTo>
                    <a:pt x="400" y="1030"/>
                  </a:lnTo>
                  <a:lnTo>
                    <a:pt x="392" y="1050"/>
                  </a:lnTo>
                  <a:lnTo>
                    <a:pt x="390" y="1072"/>
                  </a:lnTo>
                  <a:lnTo>
                    <a:pt x="392" y="1095"/>
                  </a:lnTo>
                  <a:lnTo>
                    <a:pt x="400" y="1115"/>
                  </a:lnTo>
                  <a:lnTo>
                    <a:pt x="411" y="1134"/>
                  </a:lnTo>
                  <a:lnTo>
                    <a:pt x="427" y="1149"/>
                  </a:lnTo>
                  <a:lnTo>
                    <a:pt x="445" y="1160"/>
                  </a:lnTo>
                  <a:lnTo>
                    <a:pt x="465" y="1168"/>
                  </a:lnTo>
                  <a:lnTo>
                    <a:pt x="487" y="1170"/>
                  </a:lnTo>
                  <a:lnTo>
                    <a:pt x="1850" y="1170"/>
                  </a:lnTo>
                  <a:lnTo>
                    <a:pt x="1872" y="1168"/>
                  </a:lnTo>
                  <a:lnTo>
                    <a:pt x="1892" y="1160"/>
                  </a:lnTo>
                  <a:lnTo>
                    <a:pt x="1910" y="1149"/>
                  </a:lnTo>
                  <a:lnTo>
                    <a:pt x="1925" y="1134"/>
                  </a:lnTo>
                  <a:lnTo>
                    <a:pt x="1937" y="1115"/>
                  </a:lnTo>
                  <a:lnTo>
                    <a:pt x="1944" y="1095"/>
                  </a:lnTo>
                  <a:lnTo>
                    <a:pt x="1946" y="1072"/>
                  </a:lnTo>
                  <a:lnTo>
                    <a:pt x="1944" y="1050"/>
                  </a:lnTo>
                  <a:lnTo>
                    <a:pt x="1937" y="1030"/>
                  </a:lnTo>
                  <a:lnTo>
                    <a:pt x="1925" y="1012"/>
                  </a:lnTo>
                  <a:lnTo>
                    <a:pt x="1910" y="996"/>
                  </a:lnTo>
                  <a:lnTo>
                    <a:pt x="1892" y="985"/>
                  </a:lnTo>
                  <a:lnTo>
                    <a:pt x="1872" y="977"/>
                  </a:lnTo>
                  <a:lnTo>
                    <a:pt x="1850" y="975"/>
                  </a:lnTo>
                  <a:lnTo>
                    <a:pt x="487" y="975"/>
                  </a:lnTo>
                  <a:close/>
                  <a:moveTo>
                    <a:pt x="292" y="0"/>
                  </a:moveTo>
                  <a:lnTo>
                    <a:pt x="1755" y="0"/>
                  </a:lnTo>
                  <a:lnTo>
                    <a:pt x="1755" y="683"/>
                  </a:lnTo>
                  <a:lnTo>
                    <a:pt x="1758" y="705"/>
                  </a:lnTo>
                  <a:lnTo>
                    <a:pt x="1764" y="725"/>
                  </a:lnTo>
                  <a:lnTo>
                    <a:pt x="1775" y="743"/>
                  </a:lnTo>
                  <a:lnTo>
                    <a:pt x="1790" y="758"/>
                  </a:lnTo>
                  <a:lnTo>
                    <a:pt x="1807" y="770"/>
                  </a:lnTo>
                  <a:lnTo>
                    <a:pt x="1827" y="778"/>
                  </a:lnTo>
                  <a:lnTo>
                    <a:pt x="1850" y="780"/>
                  </a:lnTo>
                  <a:lnTo>
                    <a:pt x="2534" y="780"/>
                  </a:lnTo>
                  <a:lnTo>
                    <a:pt x="2534" y="1202"/>
                  </a:lnTo>
                  <a:lnTo>
                    <a:pt x="1875" y="1860"/>
                  </a:lnTo>
                  <a:lnTo>
                    <a:pt x="1845" y="1894"/>
                  </a:lnTo>
                  <a:lnTo>
                    <a:pt x="1818" y="1930"/>
                  </a:lnTo>
                  <a:lnTo>
                    <a:pt x="1797" y="1971"/>
                  </a:lnTo>
                  <a:lnTo>
                    <a:pt x="1781" y="2012"/>
                  </a:lnTo>
                  <a:lnTo>
                    <a:pt x="1687" y="2291"/>
                  </a:lnTo>
                  <a:lnTo>
                    <a:pt x="1679" y="2323"/>
                  </a:lnTo>
                  <a:lnTo>
                    <a:pt x="1675" y="2356"/>
                  </a:lnTo>
                  <a:lnTo>
                    <a:pt x="1676" y="2388"/>
                  </a:lnTo>
                  <a:lnTo>
                    <a:pt x="1681" y="2420"/>
                  </a:lnTo>
                  <a:lnTo>
                    <a:pt x="1690" y="2452"/>
                  </a:lnTo>
                  <a:lnTo>
                    <a:pt x="1703" y="2482"/>
                  </a:lnTo>
                  <a:lnTo>
                    <a:pt x="1720" y="2510"/>
                  </a:lnTo>
                  <a:lnTo>
                    <a:pt x="1742" y="2536"/>
                  </a:lnTo>
                  <a:lnTo>
                    <a:pt x="1766" y="2559"/>
                  </a:lnTo>
                  <a:lnTo>
                    <a:pt x="1793" y="2577"/>
                  </a:lnTo>
                  <a:lnTo>
                    <a:pt x="1822" y="2592"/>
                  </a:lnTo>
                  <a:lnTo>
                    <a:pt x="1854" y="2603"/>
                  </a:lnTo>
                  <a:lnTo>
                    <a:pt x="1885" y="2610"/>
                  </a:lnTo>
                  <a:lnTo>
                    <a:pt x="1918" y="2612"/>
                  </a:lnTo>
                  <a:lnTo>
                    <a:pt x="1966" y="2609"/>
                  </a:lnTo>
                  <a:lnTo>
                    <a:pt x="2276" y="2506"/>
                  </a:lnTo>
                  <a:lnTo>
                    <a:pt x="2317" y="2489"/>
                  </a:lnTo>
                  <a:lnTo>
                    <a:pt x="2357" y="2468"/>
                  </a:lnTo>
                  <a:lnTo>
                    <a:pt x="2393" y="2443"/>
                  </a:lnTo>
                  <a:lnTo>
                    <a:pt x="2427" y="2412"/>
                  </a:lnTo>
                  <a:lnTo>
                    <a:pt x="2534" y="2307"/>
                  </a:lnTo>
                  <a:lnTo>
                    <a:pt x="2534" y="3036"/>
                  </a:lnTo>
                  <a:lnTo>
                    <a:pt x="2531" y="3075"/>
                  </a:lnTo>
                  <a:lnTo>
                    <a:pt x="2524" y="3113"/>
                  </a:lnTo>
                  <a:lnTo>
                    <a:pt x="2511" y="3149"/>
                  </a:lnTo>
                  <a:lnTo>
                    <a:pt x="2494" y="3183"/>
                  </a:lnTo>
                  <a:lnTo>
                    <a:pt x="2473" y="3214"/>
                  </a:lnTo>
                  <a:lnTo>
                    <a:pt x="2448" y="3242"/>
                  </a:lnTo>
                  <a:lnTo>
                    <a:pt x="2419" y="3266"/>
                  </a:lnTo>
                  <a:lnTo>
                    <a:pt x="2387" y="3288"/>
                  </a:lnTo>
                  <a:lnTo>
                    <a:pt x="2354" y="3305"/>
                  </a:lnTo>
                  <a:lnTo>
                    <a:pt x="2317" y="3318"/>
                  </a:lnTo>
                  <a:lnTo>
                    <a:pt x="2279" y="3325"/>
                  </a:lnTo>
                  <a:lnTo>
                    <a:pt x="2239" y="3328"/>
                  </a:lnTo>
                  <a:lnTo>
                    <a:pt x="292" y="3328"/>
                  </a:lnTo>
                  <a:lnTo>
                    <a:pt x="249" y="3325"/>
                  </a:lnTo>
                  <a:lnTo>
                    <a:pt x="208" y="3316"/>
                  </a:lnTo>
                  <a:lnTo>
                    <a:pt x="169" y="3301"/>
                  </a:lnTo>
                  <a:lnTo>
                    <a:pt x="133" y="3281"/>
                  </a:lnTo>
                  <a:lnTo>
                    <a:pt x="101" y="3256"/>
                  </a:lnTo>
                  <a:lnTo>
                    <a:pt x="72" y="3227"/>
                  </a:lnTo>
                  <a:lnTo>
                    <a:pt x="47" y="3195"/>
                  </a:lnTo>
                  <a:lnTo>
                    <a:pt x="27" y="3159"/>
                  </a:lnTo>
                  <a:lnTo>
                    <a:pt x="12" y="3120"/>
                  </a:lnTo>
                  <a:lnTo>
                    <a:pt x="3" y="3079"/>
                  </a:lnTo>
                  <a:lnTo>
                    <a:pt x="0" y="3036"/>
                  </a:lnTo>
                  <a:lnTo>
                    <a:pt x="0" y="292"/>
                  </a:lnTo>
                  <a:lnTo>
                    <a:pt x="3" y="249"/>
                  </a:lnTo>
                  <a:lnTo>
                    <a:pt x="12" y="208"/>
                  </a:lnTo>
                  <a:lnTo>
                    <a:pt x="27" y="169"/>
                  </a:lnTo>
                  <a:lnTo>
                    <a:pt x="47" y="133"/>
                  </a:lnTo>
                  <a:lnTo>
                    <a:pt x="72" y="101"/>
                  </a:lnTo>
                  <a:lnTo>
                    <a:pt x="101" y="72"/>
                  </a:lnTo>
                  <a:lnTo>
                    <a:pt x="133" y="47"/>
                  </a:lnTo>
                  <a:lnTo>
                    <a:pt x="169" y="27"/>
                  </a:lnTo>
                  <a:lnTo>
                    <a:pt x="208" y="12"/>
                  </a:lnTo>
                  <a:lnTo>
                    <a:pt x="249" y="3"/>
                  </a:lnTo>
                  <a:lnTo>
                    <a:pt x="2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8"/>
            <p:cNvSpPr>
              <a:spLocks/>
            </p:cNvSpPr>
            <p:nvPr/>
          </p:nvSpPr>
          <p:spPr bwMode="auto">
            <a:xfrm>
              <a:off x="4758" y="2989"/>
              <a:ext cx="40" cy="40"/>
            </a:xfrm>
            <a:custGeom>
              <a:avLst/>
              <a:gdLst>
                <a:gd name="T0" fmla="*/ 87 w 318"/>
                <a:gd name="T1" fmla="*/ 0 h 318"/>
                <a:gd name="T2" fmla="*/ 318 w 318"/>
                <a:gd name="T3" fmla="*/ 231 h 318"/>
                <a:gd name="T4" fmla="*/ 64 w 318"/>
                <a:gd name="T5" fmla="*/ 315 h 318"/>
                <a:gd name="T6" fmla="*/ 48 w 318"/>
                <a:gd name="T7" fmla="*/ 318 h 318"/>
                <a:gd name="T8" fmla="*/ 33 w 318"/>
                <a:gd name="T9" fmla="*/ 315 h 318"/>
                <a:gd name="T10" fmla="*/ 20 w 318"/>
                <a:gd name="T11" fmla="*/ 308 h 318"/>
                <a:gd name="T12" fmla="*/ 10 w 318"/>
                <a:gd name="T13" fmla="*/ 298 h 318"/>
                <a:gd name="T14" fmla="*/ 3 w 318"/>
                <a:gd name="T15" fmla="*/ 285 h 318"/>
                <a:gd name="T16" fmla="*/ 0 w 318"/>
                <a:gd name="T17" fmla="*/ 270 h 318"/>
                <a:gd name="T18" fmla="*/ 3 w 318"/>
                <a:gd name="T19" fmla="*/ 254 h 318"/>
                <a:gd name="T20" fmla="*/ 87 w 318"/>
                <a:gd name="T21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318">
                  <a:moveTo>
                    <a:pt x="87" y="0"/>
                  </a:moveTo>
                  <a:lnTo>
                    <a:pt x="318" y="231"/>
                  </a:lnTo>
                  <a:lnTo>
                    <a:pt x="64" y="315"/>
                  </a:lnTo>
                  <a:lnTo>
                    <a:pt x="48" y="318"/>
                  </a:lnTo>
                  <a:lnTo>
                    <a:pt x="33" y="315"/>
                  </a:lnTo>
                  <a:lnTo>
                    <a:pt x="20" y="308"/>
                  </a:lnTo>
                  <a:lnTo>
                    <a:pt x="10" y="298"/>
                  </a:lnTo>
                  <a:lnTo>
                    <a:pt x="3" y="285"/>
                  </a:lnTo>
                  <a:lnTo>
                    <a:pt x="0" y="270"/>
                  </a:lnTo>
                  <a:lnTo>
                    <a:pt x="3" y="254"/>
                  </a:lnTo>
                  <a:lnTo>
                    <a:pt x="8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9"/>
            <p:cNvSpPr>
              <a:spLocks/>
            </p:cNvSpPr>
            <p:nvPr/>
          </p:nvSpPr>
          <p:spPr bwMode="auto">
            <a:xfrm>
              <a:off x="4783" y="2889"/>
              <a:ext cx="115" cy="115"/>
            </a:xfrm>
            <a:custGeom>
              <a:avLst/>
              <a:gdLst>
                <a:gd name="T0" fmla="*/ 643 w 919"/>
                <a:gd name="T1" fmla="*/ 0 h 919"/>
                <a:gd name="T2" fmla="*/ 919 w 919"/>
                <a:gd name="T3" fmla="*/ 276 h 919"/>
                <a:gd name="T4" fmla="*/ 876 w 919"/>
                <a:gd name="T5" fmla="*/ 321 h 919"/>
                <a:gd name="T6" fmla="*/ 830 w 919"/>
                <a:gd name="T7" fmla="*/ 365 h 919"/>
                <a:gd name="T8" fmla="*/ 784 w 919"/>
                <a:gd name="T9" fmla="*/ 411 h 919"/>
                <a:gd name="T10" fmla="*/ 737 w 919"/>
                <a:gd name="T11" fmla="*/ 459 h 919"/>
                <a:gd name="T12" fmla="*/ 690 w 919"/>
                <a:gd name="T13" fmla="*/ 506 h 919"/>
                <a:gd name="T14" fmla="*/ 643 w 919"/>
                <a:gd name="T15" fmla="*/ 554 h 919"/>
                <a:gd name="T16" fmla="*/ 595 w 919"/>
                <a:gd name="T17" fmla="*/ 600 h 919"/>
                <a:gd name="T18" fmla="*/ 549 w 919"/>
                <a:gd name="T19" fmla="*/ 646 h 919"/>
                <a:gd name="T20" fmla="*/ 505 w 919"/>
                <a:gd name="T21" fmla="*/ 692 h 919"/>
                <a:gd name="T22" fmla="*/ 460 w 919"/>
                <a:gd name="T23" fmla="*/ 735 h 919"/>
                <a:gd name="T24" fmla="*/ 419 w 919"/>
                <a:gd name="T25" fmla="*/ 777 h 919"/>
                <a:gd name="T26" fmla="*/ 380 w 919"/>
                <a:gd name="T27" fmla="*/ 817 h 919"/>
                <a:gd name="T28" fmla="*/ 342 w 919"/>
                <a:gd name="T29" fmla="*/ 854 h 919"/>
                <a:gd name="T30" fmla="*/ 308 w 919"/>
                <a:gd name="T31" fmla="*/ 887 h 919"/>
                <a:gd name="T32" fmla="*/ 277 w 919"/>
                <a:gd name="T33" fmla="*/ 919 h 919"/>
                <a:gd name="T34" fmla="*/ 0 w 919"/>
                <a:gd name="T35" fmla="*/ 641 h 919"/>
                <a:gd name="T36" fmla="*/ 643 w 919"/>
                <a:gd name="T37" fmla="*/ 0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9" h="919">
                  <a:moveTo>
                    <a:pt x="643" y="0"/>
                  </a:moveTo>
                  <a:lnTo>
                    <a:pt x="919" y="276"/>
                  </a:lnTo>
                  <a:lnTo>
                    <a:pt x="876" y="321"/>
                  </a:lnTo>
                  <a:lnTo>
                    <a:pt x="830" y="365"/>
                  </a:lnTo>
                  <a:lnTo>
                    <a:pt x="784" y="411"/>
                  </a:lnTo>
                  <a:lnTo>
                    <a:pt x="737" y="459"/>
                  </a:lnTo>
                  <a:lnTo>
                    <a:pt x="690" y="506"/>
                  </a:lnTo>
                  <a:lnTo>
                    <a:pt x="643" y="554"/>
                  </a:lnTo>
                  <a:lnTo>
                    <a:pt x="595" y="600"/>
                  </a:lnTo>
                  <a:lnTo>
                    <a:pt x="549" y="646"/>
                  </a:lnTo>
                  <a:lnTo>
                    <a:pt x="505" y="692"/>
                  </a:lnTo>
                  <a:lnTo>
                    <a:pt x="460" y="735"/>
                  </a:lnTo>
                  <a:lnTo>
                    <a:pt x="419" y="777"/>
                  </a:lnTo>
                  <a:lnTo>
                    <a:pt x="380" y="817"/>
                  </a:lnTo>
                  <a:lnTo>
                    <a:pt x="342" y="854"/>
                  </a:lnTo>
                  <a:lnTo>
                    <a:pt x="308" y="887"/>
                  </a:lnTo>
                  <a:lnTo>
                    <a:pt x="277" y="919"/>
                  </a:lnTo>
                  <a:lnTo>
                    <a:pt x="0" y="641"/>
                  </a:lnTo>
                  <a:lnTo>
                    <a:pt x="64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10"/>
            <p:cNvSpPr>
              <a:spLocks/>
            </p:cNvSpPr>
            <p:nvPr/>
          </p:nvSpPr>
          <p:spPr bwMode="auto">
            <a:xfrm>
              <a:off x="4880" y="2847"/>
              <a:ext cx="60" cy="59"/>
            </a:xfrm>
            <a:custGeom>
              <a:avLst/>
              <a:gdLst>
                <a:gd name="T0" fmla="*/ 280 w 476"/>
                <a:gd name="T1" fmla="*/ 0 h 472"/>
                <a:gd name="T2" fmla="*/ 312 w 476"/>
                <a:gd name="T3" fmla="*/ 2 h 472"/>
                <a:gd name="T4" fmla="*/ 342 w 476"/>
                <a:gd name="T5" fmla="*/ 9 h 472"/>
                <a:gd name="T6" fmla="*/ 371 w 476"/>
                <a:gd name="T7" fmla="*/ 20 h 472"/>
                <a:gd name="T8" fmla="*/ 396 w 476"/>
                <a:gd name="T9" fmla="*/ 35 h 472"/>
                <a:gd name="T10" fmla="*/ 419 w 476"/>
                <a:gd name="T11" fmla="*/ 54 h 472"/>
                <a:gd name="T12" fmla="*/ 440 w 476"/>
                <a:gd name="T13" fmla="*/ 78 h 472"/>
                <a:gd name="T14" fmla="*/ 456 w 476"/>
                <a:gd name="T15" fmla="*/ 105 h 472"/>
                <a:gd name="T16" fmla="*/ 467 w 476"/>
                <a:gd name="T17" fmla="*/ 133 h 472"/>
                <a:gd name="T18" fmla="*/ 474 w 476"/>
                <a:gd name="T19" fmla="*/ 162 h 472"/>
                <a:gd name="T20" fmla="*/ 476 w 476"/>
                <a:gd name="T21" fmla="*/ 193 h 472"/>
                <a:gd name="T22" fmla="*/ 474 w 476"/>
                <a:gd name="T23" fmla="*/ 222 h 472"/>
                <a:gd name="T24" fmla="*/ 467 w 476"/>
                <a:gd name="T25" fmla="*/ 252 h 472"/>
                <a:gd name="T26" fmla="*/ 456 w 476"/>
                <a:gd name="T27" fmla="*/ 280 h 472"/>
                <a:gd name="T28" fmla="*/ 440 w 476"/>
                <a:gd name="T29" fmla="*/ 307 h 472"/>
                <a:gd name="T30" fmla="*/ 419 w 476"/>
                <a:gd name="T31" fmla="*/ 331 h 472"/>
                <a:gd name="T32" fmla="*/ 413 w 476"/>
                <a:gd name="T33" fmla="*/ 336 h 472"/>
                <a:gd name="T34" fmla="*/ 405 w 476"/>
                <a:gd name="T35" fmla="*/ 344 h 472"/>
                <a:gd name="T36" fmla="*/ 394 w 476"/>
                <a:gd name="T37" fmla="*/ 355 h 472"/>
                <a:gd name="T38" fmla="*/ 381 w 476"/>
                <a:gd name="T39" fmla="*/ 368 h 472"/>
                <a:gd name="T40" fmla="*/ 365 w 476"/>
                <a:gd name="T41" fmla="*/ 385 h 472"/>
                <a:gd name="T42" fmla="*/ 346 w 476"/>
                <a:gd name="T43" fmla="*/ 403 h 472"/>
                <a:gd name="T44" fmla="*/ 325 w 476"/>
                <a:gd name="T45" fmla="*/ 425 h 472"/>
                <a:gd name="T46" fmla="*/ 303 w 476"/>
                <a:gd name="T47" fmla="*/ 448 h 472"/>
                <a:gd name="T48" fmla="*/ 277 w 476"/>
                <a:gd name="T49" fmla="*/ 472 h 472"/>
                <a:gd name="T50" fmla="*/ 0 w 476"/>
                <a:gd name="T51" fmla="*/ 196 h 472"/>
                <a:gd name="T52" fmla="*/ 142 w 476"/>
                <a:gd name="T53" fmla="*/ 54 h 472"/>
                <a:gd name="T54" fmla="*/ 164 w 476"/>
                <a:gd name="T55" fmla="*/ 35 h 472"/>
                <a:gd name="T56" fmla="*/ 191 w 476"/>
                <a:gd name="T57" fmla="*/ 20 h 472"/>
                <a:gd name="T58" fmla="*/ 219 w 476"/>
                <a:gd name="T59" fmla="*/ 9 h 472"/>
                <a:gd name="T60" fmla="*/ 249 w 476"/>
                <a:gd name="T61" fmla="*/ 2 h 472"/>
                <a:gd name="T62" fmla="*/ 280 w 476"/>
                <a:gd name="T63" fmla="*/ 0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6" h="472">
                  <a:moveTo>
                    <a:pt x="280" y="0"/>
                  </a:moveTo>
                  <a:lnTo>
                    <a:pt x="312" y="2"/>
                  </a:lnTo>
                  <a:lnTo>
                    <a:pt x="342" y="9"/>
                  </a:lnTo>
                  <a:lnTo>
                    <a:pt x="371" y="20"/>
                  </a:lnTo>
                  <a:lnTo>
                    <a:pt x="396" y="35"/>
                  </a:lnTo>
                  <a:lnTo>
                    <a:pt x="419" y="54"/>
                  </a:lnTo>
                  <a:lnTo>
                    <a:pt x="440" y="78"/>
                  </a:lnTo>
                  <a:lnTo>
                    <a:pt x="456" y="105"/>
                  </a:lnTo>
                  <a:lnTo>
                    <a:pt x="467" y="133"/>
                  </a:lnTo>
                  <a:lnTo>
                    <a:pt x="474" y="162"/>
                  </a:lnTo>
                  <a:lnTo>
                    <a:pt x="476" y="193"/>
                  </a:lnTo>
                  <a:lnTo>
                    <a:pt x="474" y="222"/>
                  </a:lnTo>
                  <a:lnTo>
                    <a:pt x="467" y="252"/>
                  </a:lnTo>
                  <a:lnTo>
                    <a:pt x="456" y="280"/>
                  </a:lnTo>
                  <a:lnTo>
                    <a:pt x="440" y="307"/>
                  </a:lnTo>
                  <a:lnTo>
                    <a:pt x="419" y="331"/>
                  </a:lnTo>
                  <a:lnTo>
                    <a:pt x="413" y="336"/>
                  </a:lnTo>
                  <a:lnTo>
                    <a:pt x="405" y="344"/>
                  </a:lnTo>
                  <a:lnTo>
                    <a:pt x="394" y="355"/>
                  </a:lnTo>
                  <a:lnTo>
                    <a:pt x="381" y="368"/>
                  </a:lnTo>
                  <a:lnTo>
                    <a:pt x="365" y="385"/>
                  </a:lnTo>
                  <a:lnTo>
                    <a:pt x="346" y="403"/>
                  </a:lnTo>
                  <a:lnTo>
                    <a:pt x="325" y="425"/>
                  </a:lnTo>
                  <a:lnTo>
                    <a:pt x="303" y="448"/>
                  </a:lnTo>
                  <a:lnTo>
                    <a:pt x="277" y="472"/>
                  </a:lnTo>
                  <a:lnTo>
                    <a:pt x="0" y="196"/>
                  </a:lnTo>
                  <a:lnTo>
                    <a:pt x="142" y="54"/>
                  </a:lnTo>
                  <a:lnTo>
                    <a:pt x="164" y="35"/>
                  </a:lnTo>
                  <a:lnTo>
                    <a:pt x="191" y="20"/>
                  </a:lnTo>
                  <a:lnTo>
                    <a:pt x="219" y="9"/>
                  </a:lnTo>
                  <a:lnTo>
                    <a:pt x="249" y="2"/>
                  </a:lnTo>
                  <a:lnTo>
                    <a:pt x="28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1"/>
            <p:cNvSpPr>
              <a:spLocks noEditPoints="1"/>
            </p:cNvSpPr>
            <p:nvPr/>
          </p:nvSpPr>
          <p:spPr bwMode="auto">
            <a:xfrm>
              <a:off x="4933" y="2888"/>
              <a:ext cx="0" cy="1"/>
            </a:xfrm>
            <a:custGeom>
              <a:avLst/>
              <a:gdLst>
                <a:gd name="T0" fmla="*/ 2 w 2"/>
                <a:gd name="T1" fmla="*/ 1 h 2"/>
                <a:gd name="T2" fmla="*/ 2 w 2"/>
                <a:gd name="T3" fmla="*/ 1 h 2"/>
                <a:gd name="T4" fmla="*/ 0 w 2"/>
                <a:gd name="T5" fmla="*/ 2 h 2"/>
                <a:gd name="T6" fmla="*/ 0 w 2"/>
                <a:gd name="T7" fmla="*/ 2 h 2"/>
                <a:gd name="T8" fmla="*/ 2 w 2"/>
                <a:gd name="T9" fmla="*/ 1 h 2"/>
                <a:gd name="T10" fmla="*/ 2 w 2"/>
                <a:gd name="T11" fmla="*/ 1 h 2"/>
                <a:gd name="T12" fmla="*/ 2 w 2"/>
                <a:gd name="T13" fmla="*/ 0 h 2"/>
                <a:gd name="T14" fmla="*/ 2 w 2"/>
                <a:gd name="T15" fmla="*/ 1 h 2"/>
                <a:gd name="T16" fmla="*/ 2 w 2"/>
                <a:gd name="T17" fmla="*/ 0 h 2"/>
                <a:gd name="T18" fmla="*/ 2 w 2"/>
                <a:gd name="T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lnTo>
                    <a:pt x="2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1"/>
                  </a:lnTo>
                  <a:lnTo>
                    <a:pt x="2" y="1"/>
                  </a:lnTo>
                  <a:close/>
                  <a:moveTo>
                    <a:pt x="2" y="0"/>
                  </a:move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81" name="Freeform 6"/>
          <p:cNvSpPr>
            <a:spLocks noEditPoints="1"/>
          </p:cNvSpPr>
          <p:nvPr/>
        </p:nvSpPr>
        <p:spPr bwMode="auto">
          <a:xfrm>
            <a:off x="10943285" y="2251563"/>
            <a:ext cx="444356" cy="445042"/>
          </a:xfrm>
          <a:custGeom>
            <a:avLst/>
            <a:gdLst>
              <a:gd name="T0" fmla="*/ 3451 w 3891"/>
              <a:gd name="T1" fmla="*/ 2705 h 3894"/>
              <a:gd name="T2" fmla="*/ 3435 w 3891"/>
              <a:gd name="T3" fmla="*/ 2855 h 3894"/>
              <a:gd name="T4" fmla="*/ 2809 w 3891"/>
              <a:gd name="T5" fmla="*/ 3405 h 3894"/>
              <a:gd name="T6" fmla="*/ 2373 w 3891"/>
              <a:gd name="T7" fmla="*/ 2981 h 3894"/>
              <a:gd name="T8" fmla="*/ 2424 w 3891"/>
              <a:gd name="T9" fmla="*/ 2838 h 3894"/>
              <a:gd name="T10" fmla="*/ 2575 w 3891"/>
              <a:gd name="T11" fmla="*/ 2855 h 3894"/>
              <a:gd name="T12" fmla="*/ 2919 w 3891"/>
              <a:gd name="T13" fmla="*/ 2190 h 3894"/>
              <a:gd name="T14" fmla="*/ 2511 w 3891"/>
              <a:gd name="T15" fmla="*/ 2315 h 3894"/>
              <a:gd name="T16" fmla="*/ 2246 w 3891"/>
              <a:gd name="T17" fmla="*/ 2636 h 3894"/>
              <a:gd name="T18" fmla="*/ 2203 w 3891"/>
              <a:gd name="T19" fmla="*/ 3067 h 3894"/>
              <a:gd name="T20" fmla="*/ 2403 w 3891"/>
              <a:gd name="T21" fmla="*/ 3437 h 3894"/>
              <a:gd name="T22" fmla="*/ 2771 w 3891"/>
              <a:gd name="T23" fmla="*/ 3636 h 3894"/>
              <a:gd name="T24" fmla="*/ 3202 w 3891"/>
              <a:gd name="T25" fmla="*/ 3593 h 3894"/>
              <a:gd name="T26" fmla="*/ 3523 w 3891"/>
              <a:gd name="T27" fmla="*/ 3328 h 3894"/>
              <a:gd name="T28" fmla="*/ 3648 w 3891"/>
              <a:gd name="T29" fmla="*/ 2920 h 3894"/>
              <a:gd name="T30" fmla="*/ 3523 w 3891"/>
              <a:gd name="T31" fmla="*/ 2512 h 3894"/>
              <a:gd name="T32" fmla="*/ 3202 w 3891"/>
              <a:gd name="T33" fmla="*/ 2248 h 3894"/>
              <a:gd name="T34" fmla="*/ 1702 w 3891"/>
              <a:gd name="T35" fmla="*/ 2190 h 3894"/>
              <a:gd name="T36" fmla="*/ 972 w 3891"/>
              <a:gd name="T37" fmla="*/ 2677 h 3894"/>
              <a:gd name="T38" fmla="*/ 3164 w 3891"/>
              <a:gd name="T39" fmla="*/ 1978 h 3894"/>
              <a:gd name="T40" fmla="*/ 3578 w 3891"/>
              <a:gd name="T41" fmla="*/ 2204 h 3894"/>
              <a:gd name="T42" fmla="*/ 3836 w 3891"/>
              <a:gd name="T43" fmla="*/ 2597 h 3894"/>
              <a:gd name="T44" fmla="*/ 3877 w 3891"/>
              <a:gd name="T45" fmla="*/ 3086 h 3894"/>
              <a:gd name="T46" fmla="*/ 3684 w 3891"/>
              <a:gd name="T47" fmla="*/ 3521 h 3894"/>
              <a:gd name="T48" fmla="*/ 3315 w 3891"/>
              <a:gd name="T49" fmla="*/ 3810 h 3894"/>
              <a:gd name="T50" fmla="*/ 2835 w 3891"/>
              <a:gd name="T51" fmla="*/ 3890 h 3894"/>
              <a:gd name="T52" fmla="*/ 2383 w 3891"/>
              <a:gd name="T53" fmla="*/ 3733 h 3894"/>
              <a:gd name="T54" fmla="*/ 2066 w 3891"/>
              <a:gd name="T55" fmla="*/ 3388 h 3894"/>
              <a:gd name="T56" fmla="*/ 1945 w 3891"/>
              <a:gd name="T57" fmla="*/ 2920 h 3894"/>
              <a:gd name="T58" fmla="*/ 2066 w 3891"/>
              <a:gd name="T59" fmla="*/ 2452 h 3894"/>
              <a:gd name="T60" fmla="*/ 2383 w 3891"/>
              <a:gd name="T61" fmla="*/ 2107 h 3894"/>
              <a:gd name="T62" fmla="*/ 2835 w 3891"/>
              <a:gd name="T63" fmla="*/ 1951 h 3894"/>
              <a:gd name="T64" fmla="*/ 1945 w 3891"/>
              <a:gd name="T65" fmla="*/ 1461 h 3894"/>
              <a:gd name="T66" fmla="*/ 486 w 3891"/>
              <a:gd name="T67" fmla="*/ 1461 h 3894"/>
              <a:gd name="T68" fmla="*/ 364 w 3891"/>
              <a:gd name="T69" fmla="*/ 486 h 3894"/>
              <a:gd name="T70" fmla="*/ 436 w 3891"/>
              <a:gd name="T71" fmla="*/ 780 h 3894"/>
              <a:gd name="T72" fmla="*/ 647 w 3891"/>
              <a:gd name="T73" fmla="*/ 848 h 3894"/>
              <a:gd name="T74" fmla="*/ 823 w 3891"/>
              <a:gd name="T75" fmla="*/ 719 h 3894"/>
              <a:gd name="T76" fmla="*/ 2311 w 3891"/>
              <a:gd name="T77" fmla="*/ 608 h 3894"/>
              <a:gd name="T78" fmla="*/ 2410 w 3891"/>
              <a:gd name="T79" fmla="*/ 805 h 3894"/>
              <a:gd name="T80" fmla="*/ 2630 w 3891"/>
              <a:gd name="T81" fmla="*/ 839 h 3894"/>
              <a:gd name="T82" fmla="*/ 2784 w 3891"/>
              <a:gd name="T83" fmla="*/ 685 h 3894"/>
              <a:gd name="T84" fmla="*/ 2982 w 3891"/>
              <a:gd name="T85" fmla="*/ 500 h 3894"/>
              <a:gd name="T86" fmla="*/ 3148 w 3891"/>
              <a:gd name="T87" fmla="*/ 670 h 3894"/>
              <a:gd name="T88" fmla="*/ 244 w 3891"/>
              <a:gd name="T89" fmla="*/ 1217 h 3894"/>
              <a:gd name="T90" fmla="*/ 1702 w 3891"/>
              <a:gd name="T91" fmla="*/ 3163 h 3894"/>
              <a:gd name="T92" fmla="*/ 77 w 3891"/>
              <a:gd name="T93" fmla="*/ 3085 h 3894"/>
              <a:gd name="T94" fmla="*/ 0 w 3891"/>
              <a:gd name="T95" fmla="*/ 754 h 3894"/>
              <a:gd name="T96" fmla="*/ 107 w 3891"/>
              <a:gd name="T97" fmla="*/ 538 h 3894"/>
              <a:gd name="T98" fmla="*/ 2582 w 3891"/>
              <a:gd name="T99" fmla="*/ 3 h 3894"/>
              <a:gd name="T100" fmla="*/ 2675 w 3891"/>
              <a:gd name="T101" fmla="*/ 122 h 3894"/>
              <a:gd name="T102" fmla="*/ 2606 w 3891"/>
              <a:gd name="T103" fmla="*/ 717 h 3894"/>
              <a:gd name="T104" fmla="*/ 2459 w 3891"/>
              <a:gd name="T105" fmla="*/ 684 h 3894"/>
              <a:gd name="T106" fmla="*/ 2444 w 3891"/>
              <a:gd name="T107" fmla="*/ 68 h 3894"/>
              <a:gd name="T108" fmla="*/ 608 w 3891"/>
              <a:gd name="T109" fmla="*/ 0 h 3894"/>
              <a:gd name="T110" fmla="*/ 726 w 3891"/>
              <a:gd name="T111" fmla="*/ 93 h 3894"/>
              <a:gd name="T112" fmla="*/ 684 w 3891"/>
              <a:gd name="T113" fmla="*/ 703 h 3894"/>
              <a:gd name="T114" fmla="*/ 532 w 3891"/>
              <a:gd name="T115" fmla="*/ 703 h 3894"/>
              <a:gd name="T116" fmla="*/ 490 w 3891"/>
              <a:gd name="T117" fmla="*/ 93 h 3894"/>
              <a:gd name="T118" fmla="*/ 608 w 3891"/>
              <a:gd name="T119" fmla="*/ 0 h 38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891" h="3894">
                <a:moveTo>
                  <a:pt x="3335" y="2648"/>
                </a:moveTo>
                <a:lnTo>
                  <a:pt x="3361" y="2648"/>
                </a:lnTo>
                <a:lnTo>
                  <a:pt x="3387" y="2654"/>
                </a:lnTo>
                <a:lnTo>
                  <a:pt x="3412" y="2666"/>
                </a:lnTo>
                <a:lnTo>
                  <a:pt x="3435" y="2682"/>
                </a:lnTo>
                <a:lnTo>
                  <a:pt x="3451" y="2705"/>
                </a:lnTo>
                <a:lnTo>
                  <a:pt x="3463" y="2730"/>
                </a:lnTo>
                <a:lnTo>
                  <a:pt x="3469" y="2756"/>
                </a:lnTo>
                <a:lnTo>
                  <a:pt x="3469" y="2782"/>
                </a:lnTo>
                <a:lnTo>
                  <a:pt x="3463" y="2808"/>
                </a:lnTo>
                <a:lnTo>
                  <a:pt x="3451" y="2833"/>
                </a:lnTo>
                <a:lnTo>
                  <a:pt x="3435" y="2855"/>
                </a:lnTo>
                <a:lnTo>
                  <a:pt x="2919" y="3372"/>
                </a:lnTo>
                <a:lnTo>
                  <a:pt x="2899" y="3387"/>
                </a:lnTo>
                <a:lnTo>
                  <a:pt x="2879" y="3398"/>
                </a:lnTo>
                <a:lnTo>
                  <a:pt x="2856" y="3405"/>
                </a:lnTo>
                <a:lnTo>
                  <a:pt x="2832" y="3407"/>
                </a:lnTo>
                <a:lnTo>
                  <a:pt x="2809" y="3405"/>
                </a:lnTo>
                <a:lnTo>
                  <a:pt x="2786" y="3398"/>
                </a:lnTo>
                <a:lnTo>
                  <a:pt x="2765" y="3387"/>
                </a:lnTo>
                <a:lnTo>
                  <a:pt x="2746" y="3372"/>
                </a:lnTo>
                <a:lnTo>
                  <a:pt x="2403" y="3027"/>
                </a:lnTo>
                <a:lnTo>
                  <a:pt x="2385" y="3006"/>
                </a:lnTo>
                <a:lnTo>
                  <a:pt x="2373" y="2981"/>
                </a:lnTo>
                <a:lnTo>
                  <a:pt x="2367" y="2955"/>
                </a:lnTo>
                <a:lnTo>
                  <a:pt x="2367" y="2928"/>
                </a:lnTo>
                <a:lnTo>
                  <a:pt x="2373" y="2902"/>
                </a:lnTo>
                <a:lnTo>
                  <a:pt x="2385" y="2877"/>
                </a:lnTo>
                <a:lnTo>
                  <a:pt x="2403" y="2855"/>
                </a:lnTo>
                <a:lnTo>
                  <a:pt x="2424" y="2838"/>
                </a:lnTo>
                <a:lnTo>
                  <a:pt x="2449" y="2826"/>
                </a:lnTo>
                <a:lnTo>
                  <a:pt x="2475" y="2820"/>
                </a:lnTo>
                <a:lnTo>
                  <a:pt x="2502" y="2820"/>
                </a:lnTo>
                <a:lnTo>
                  <a:pt x="2528" y="2826"/>
                </a:lnTo>
                <a:lnTo>
                  <a:pt x="2552" y="2838"/>
                </a:lnTo>
                <a:lnTo>
                  <a:pt x="2575" y="2855"/>
                </a:lnTo>
                <a:lnTo>
                  <a:pt x="2832" y="3113"/>
                </a:lnTo>
                <a:lnTo>
                  <a:pt x="3262" y="2682"/>
                </a:lnTo>
                <a:lnTo>
                  <a:pt x="3284" y="2666"/>
                </a:lnTo>
                <a:lnTo>
                  <a:pt x="3309" y="2654"/>
                </a:lnTo>
                <a:lnTo>
                  <a:pt x="3335" y="2648"/>
                </a:lnTo>
                <a:close/>
                <a:moveTo>
                  <a:pt x="2919" y="2190"/>
                </a:moveTo>
                <a:lnTo>
                  <a:pt x="2844" y="2193"/>
                </a:lnTo>
                <a:lnTo>
                  <a:pt x="2771" y="2205"/>
                </a:lnTo>
                <a:lnTo>
                  <a:pt x="2701" y="2223"/>
                </a:lnTo>
                <a:lnTo>
                  <a:pt x="2635" y="2248"/>
                </a:lnTo>
                <a:lnTo>
                  <a:pt x="2571" y="2279"/>
                </a:lnTo>
                <a:lnTo>
                  <a:pt x="2511" y="2315"/>
                </a:lnTo>
                <a:lnTo>
                  <a:pt x="2455" y="2357"/>
                </a:lnTo>
                <a:lnTo>
                  <a:pt x="2403" y="2404"/>
                </a:lnTo>
                <a:lnTo>
                  <a:pt x="2356" y="2456"/>
                </a:lnTo>
                <a:lnTo>
                  <a:pt x="2313" y="2512"/>
                </a:lnTo>
                <a:lnTo>
                  <a:pt x="2276" y="2572"/>
                </a:lnTo>
                <a:lnTo>
                  <a:pt x="2246" y="2636"/>
                </a:lnTo>
                <a:lnTo>
                  <a:pt x="2222" y="2704"/>
                </a:lnTo>
                <a:lnTo>
                  <a:pt x="2203" y="2774"/>
                </a:lnTo>
                <a:lnTo>
                  <a:pt x="2192" y="2846"/>
                </a:lnTo>
                <a:lnTo>
                  <a:pt x="2189" y="2920"/>
                </a:lnTo>
                <a:lnTo>
                  <a:pt x="2192" y="2995"/>
                </a:lnTo>
                <a:lnTo>
                  <a:pt x="2203" y="3067"/>
                </a:lnTo>
                <a:lnTo>
                  <a:pt x="2222" y="3137"/>
                </a:lnTo>
                <a:lnTo>
                  <a:pt x="2246" y="3205"/>
                </a:lnTo>
                <a:lnTo>
                  <a:pt x="2276" y="3267"/>
                </a:lnTo>
                <a:lnTo>
                  <a:pt x="2313" y="3328"/>
                </a:lnTo>
                <a:lnTo>
                  <a:pt x="2356" y="3385"/>
                </a:lnTo>
                <a:lnTo>
                  <a:pt x="2403" y="3437"/>
                </a:lnTo>
                <a:lnTo>
                  <a:pt x="2455" y="3483"/>
                </a:lnTo>
                <a:lnTo>
                  <a:pt x="2511" y="3525"/>
                </a:lnTo>
                <a:lnTo>
                  <a:pt x="2571" y="3562"/>
                </a:lnTo>
                <a:lnTo>
                  <a:pt x="2635" y="3593"/>
                </a:lnTo>
                <a:lnTo>
                  <a:pt x="2701" y="3618"/>
                </a:lnTo>
                <a:lnTo>
                  <a:pt x="2771" y="3636"/>
                </a:lnTo>
                <a:lnTo>
                  <a:pt x="2844" y="3646"/>
                </a:lnTo>
                <a:lnTo>
                  <a:pt x="2919" y="3650"/>
                </a:lnTo>
                <a:lnTo>
                  <a:pt x="2993" y="3646"/>
                </a:lnTo>
                <a:lnTo>
                  <a:pt x="3066" y="3636"/>
                </a:lnTo>
                <a:lnTo>
                  <a:pt x="3135" y="3618"/>
                </a:lnTo>
                <a:lnTo>
                  <a:pt x="3202" y="3593"/>
                </a:lnTo>
                <a:lnTo>
                  <a:pt x="3266" y="3562"/>
                </a:lnTo>
                <a:lnTo>
                  <a:pt x="3326" y="3525"/>
                </a:lnTo>
                <a:lnTo>
                  <a:pt x="3383" y="3483"/>
                </a:lnTo>
                <a:lnTo>
                  <a:pt x="3434" y="3437"/>
                </a:lnTo>
                <a:lnTo>
                  <a:pt x="3481" y="3385"/>
                </a:lnTo>
                <a:lnTo>
                  <a:pt x="3523" y="3328"/>
                </a:lnTo>
                <a:lnTo>
                  <a:pt x="3560" y="3267"/>
                </a:lnTo>
                <a:lnTo>
                  <a:pt x="3591" y="3205"/>
                </a:lnTo>
                <a:lnTo>
                  <a:pt x="3615" y="3137"/>
                </a:lnTo>
                <a:lnTo>
                  <a:pt x="3634" y="3067"/>
                </a:lnTo>
                <a:lnTo>
                  <a:pt x="3644" y="2995"/>
                </a:lnTo>
                <a:lnTo>
                  <a:pt x="3648" y="2920"/>
                </a:lnTo>
                <a:lnTo>
                  <a:pt x="3644" y="2846"/>
                </a:lnTo>
                <a:lnTo>
                  <a:pt x="3634" y="2774"/>
                </a:lnTo>
                <a:lnTo>
                  <a:pt x="3615" y="2704"/>
                </a:lnTo>
                <a:lnTo>
                  <a:pt x="3591" y="2636"/>
                </a:lnTo>
                <a:lnTo>
                  <a:pt x="3560" y="2572"/>
                </a:lnTo>
                <a:lnTo>
                  <a:pt x="3523" y="2512"/>
                </a:lnTo>
                <a:lnTo>
                  <a:pt x="3481" y="2456"/>
                </a:lnTo>
                <a:lnTo>
                  <a:pt x="3434" y="2404"/>
                </a:lnTo>
                <a:lnTo>
                  <a:pt x="3383" y="2357"/>
                </a:lnTo>
                <a:lnTo>
                  <a:pt x="3326" y="2315"/>
                </a:lnTo>
                <a:lnTo>
                  <a:pt x="3266" y="2279"/>
                </a:lnTo>
                <a:lnTo>
                  <a:pt x="3202" y="2248"/>
                </a:lnTo>
                <a:lnTo>
                  <a:pt x="3135" y="2223"/>
                </a:lnTo>
                <a:lnTo>
                  <a:pt x="3066" y="2205"/>
                </a:lnTo>
                <a:lnTo>
                  <a:pt x="2993" y="2193"/>
                </a:lnTo>
                <a:lnTo>
                  <a:pt x="2919" y="2190"/>
                </a:lnTo>
                <a:close/>
                <a:moveTo>
                  <a:pt x="1216" y="2190"/>
                </a:moveTo>
                <a:lnTo>
                  <a:pt x="1702" y="2190"/>
                </a:lnTo>
                <a:lnTo>
                  <a:pt x="1702" y="2677"/>
                </a:lnTo>
                <a:lnTo>
                  <a:pt x="1216" y="2677"/>
                </a:lnTo>
                <a:lnTo>
                  <a:pt x="1216" y="2190"/>
                </a:lnTo>
                <a:close/>
                <a:moveTo>
                  <a:pt x="486" y="2190"/>
                </a:moveTo>
                <a:lnTo>
                  <a:pt x="972" y="2190"/>
                </a:lnTo>
                <a:lnTo>
                  <a:pt x="972" y="2677"/>
                </a:lnTo>
                <a:lnTo>
                  <a:pt x="486" y="2677"/>
                </a:lnTo>
                <a:lnTo>
                  <a:pt x="486" y="2190"/>
                </a:lnTo>
                <a:close/>
                <a:moveTo>
                  <a:pt x="2919" y="1947"/>
                </a:moveTo>
                <a:lnTo>
                  <a:pt x="3003" y="1951"/>
                </a:lnTo>
                <a:lnTo>
                  <a:pt x="3084" y="1961"/>
                </a:lnTo>
                <a:lnTo>
                  <a:pt x="3164" y="1978"/>
                </a:lnTo>
                <a:lnTo>
                  <a:pt x="3241" y="2002"/>
                </a:lnTo>
                <a:lnTo>
                  <a:pt x="3315" y="2031"/>
                </a:lnTo>
                <a:lnTo>
                  <a:pt x="3386" y="2067"/>
                </a:lnTo>
                <a:lnTo>
                  <a:pt x="3454" y="2107"/>
                </a:lnTo>
                <a:lnTo>
                  <a:pt x="3518" y="2153"/>
                </a:lnTo>
                <a:lnTo>
                  <a:pt x="3578" y="2204"/>
                </a:lnTo>
                <a:lnTo>
                  <a:pt x="3634" y="2260"/>
                </a:lnTo>
                <a:lnTo>
                  <a:pt x="3684" y="2320"/>
                </a:lnTo>
                <a:lnTo>
                  <a:pt x="3731" y="2384"/>
                </a:lnTo>
                <a:lnTo>
                  <a:pt x="3772" y="2452"/>
                </a:lnTo>
                <a:lnTo>
                  <a:pt x="3806" y="2523"/>
                </a:lnTo>
                <a:lnTo>
                  <a:pt x="3836" y="2597"/>
                </a:lnTo>
                <a:lnTo>
                  <a:pt x="3860" y="2674"/>
                </a:lnTo>
                <a:lnTo>
                  <a:pt x="3877" y="2755"/>
                </a:lnTo>
                <a:lnTo>
                  <a:pt x="3888" y="2836"/>
                </a:lnTo>
                <a:lnTo>
                  <a:pt x="3891" y="2920"/>
                </a:lnTo>
                <a:lnTo>
                  <a:pt x="3888" y="3005"/>
                </a:lnTo>
                <a:lnTo>
                  <a:pt x="3877" y="3086"/>
                </a:lnTo>
                <a:lnTo>
                  <a:pt x="3860" y="3166"/>
                </a:lnTo>
                <a:lnTo>
                  <a:pt x="3836" y="3243"/>
                </a:lnTo>
                <a:lnTo>
                  <a:pt x="3806" y="3317"/>
                </a:lnTo>
                <a:lnTo>
                  <a:pt x="3772" y="3388"/>
                </a:lnTo>
                <a:lnTo>
                  <a:pt x="3731" y="3457"/>
                </a:lnTo>
                <a:lnTo>
                  <a:pt x="3684" y="3521"/>
                </a:lnTo>
                <a:lnTo>
                  <a:pt x="3634" y="3580"/>
                </a:lnTo>
                <a:lnTo>
                  <a:pt x="3578" y="3636"/>
                </a:lnTo>
                <a:lnTo>
                  <a:pt x="3518" y="3687"/>
                </a:lnTo>
                <a:lnTo>
                  <a:pt x="3454" y="3733"/>
                </a:lnTo>
                <a:lnTo>
                  <a:pt x="3386" y="3774"/>
                </a:lnTo>
                <a:lnTo>
                  <a:pt x="3315" y="3810"/>
                </a:lnTo>
                <a:lnTo>
                  <a:pt x="3241" y="3839"/>
                </a:lnTo>
                <a:lnTo>
                  <a:pt x="3164" y="3863"/>
                </a:lnTo>
                <a:lnTo>
                  <a:pt x="3084" y="3880"/>
                </a:lnTo>
                <a:lnTo>
                  <a:pt x="3003" y="3890"/>
                </a:lnTo>
                <a:lnTo>
                  <a:pt x="2919" y="3894"/>
                </a:lnTo>
                <a:lnTo>
                  <a:pt x="2835" y="3890"/>
                </a:lnTo>
                <a:lnTo>
                  <a:pt x="2752" y="3880"/>
                </a:lnTo>
                <a:lnTo>
                  <a:pt x="2673" y="3863"/>
                </a:lnTo>
                <a:lnTo>
                  <a:pt x="2596" y="3839"/>
                </a:lnTo>
                <a:lnTo>
                  <a:pt x="2521" y="3810"/>
                </a:lnTo>
                <a:lnTo>
                  <a:pt x="2450" y="3774"/>
                </a:lnTo>
                <a:lnTo>
                  <a:pt x="2383" y="3733"/>
                </a:lnTo>
                <a:lnTo>
                  <a:pt x="2319" y="3687"/>
                </a:lnTo>
                <a:lnTo>
                  <a:pt x="2259" y="3636"/>
                </a:lnTo>
                <a:lnTo>
                  <a:pt x="2203" y="3580"/>
                </a:lnTo>
                <a:lnTo>
                  <a:pt x="2152" y="3521"/>
                </a:lnTo>
                <a:lnTo>
                  <a:pt x="2106" y="3457"/>
                </a:lnTo>
                <a:lnTo>
                  <a:pt x="2066" y="3388"/>
                </a:lnTo>
                <a:lnTo>
                  <a:pt x="2030" y="3317"/>
                </a:lnTo>
                <a:lnTo>
                  <a:pt x="2001" y="3243"/>
                </a:lnTo>
                <a:lnTo>
                  <a:pt x="1977" y="3166"/>
                </a:lnTo>
                <a:lnTo>
                  <a:pt x="1959" y="3086"/>
                </a:lnTo>
                <a:lnTo>
                  <a:pt x="1949" y="3005"/>
                </a:lnTo>
                <a:lnTo>
                  <a:pt x="1945" y="2920"/>
                </a:lnTo>
                <a:lnTo>
                  <a:pt x="1949" y="2836"/>
                </a:lnTo>
                <a:lnTo>
                  <a:pt x="1959" y="2755"/>
                </a:lnTo>
                <a:lnTo>
                  <a:pt x="1977" y="2674"/>
                </a:lnTo>
                <a:lnTo>
                  <a:pt x="2001" y="2597"/>
                </a:lnTo>
                <a:lnTo>
                  <a:pt x="2030" y="2523"/>
                </a:lnTo>
                <a:lnTo>
                  <a:pt x="2066" y="2452"/>
                </a:lnTo>
                <a:lnTo>
                  <a:pt x="2106" y="2384"/>
                </a:lnTo>
                <a:lnTo>
                  <a:pt x="2152" y="2320"/>
                </a:lnTo>
                <a:lnTo>
                  <a:pt x="2203" y="2260"/>
                </a:lnTo>
                <a:lnTo>
                  <a:pt x="2259" y="2204"/>
                </a:lnTo>
                <a:lnTo>
                  <a:pt x="2319" y="2153"/>
                </a:lnTo>
                <a:lnTo>
                  <a:pt x="2383" y="2107"/>
                </a:lnTo>
                <a:lnTo>
                  <a:pt x="2450" y="2067"/>
                </a:lnTo>
                <a:lnTo>
                  <a:pt x="2521" y="2031"/>
                </a:lnTo>
                <a:lnTo>
                  <a:pt x="2596" y="2002"/>
                </a:lnTo>
                <a:lnTo>
                  <a:pt x="2673" y="1978"/>
                </a:lnTo>
                <a:lnTo>
                  <a:pt x="2752" y="1961"/>
                </a:lnTo>
                <a:lnTo>
                  <a:pt x="2835" y="1951"/>
                </a:lnTo>
                <a:lnTo>
                  <a:pt x="2919" y="1947"/>
                </a:lnTo>
                <a:close/>
                <a:moveTo>
                  <a:pt x="1945" y="1461"/>
                </a:moveTo>
                <a:lnTo>
                  <a:pt x="2431" y="1461"/>
                </a:lnTo>
                <a:lnTo>
                  <a:pt x="2431" y="1947"/>
                </a:lnTo>
                <a:lnTo>
                  <a:pt x="1945" y="1947"/>
                </a:lnTo>
                <a:lnTo>
                  <a:pt x="1945" y="1461"/>
                </a:lnTo>
                <a:close/>
                <a:moveTo>
                  <a:pt x="1216" y="1461"/>
                </a:moveTo>
                <a:lnTo>
                  <a:pt x="1702" y="1461"/>
                </a:lnTo>
                <a:lnTo>
                  <a:pt x="1702" y="1947"/>
                </a:lnTo>
                <a:lnTo>
                  <a:pt x="1216" y="1947"/>
                </a:lnTo>
                <a:lnTo>
                  <a:pt x="1216" y="1461"/>
                </a:lnTo>
                <a:close/>
                <a:moveTo>
                  <a:pt x="486" y="1461"/>
                </a:moveTo>
                <a:lnTo>
                  <a:pt x="972" y="1461"/>
                </a:lnTo>
                <a:lnTo>
                  <a:pt x="972" y="1947"/>
                </a:lnTo>
                <a:lnTo>
                  <a:pt x="486" y="1947"/>
                </a:lnTo>
                <a:lnTo>
                  <a:pt x="486" y="1461"/>
                </a:lnTo>
                <a:close/>
                <a:moveTo>
                  <a:pt x="264" y="486"/>
                </a:moveTo>
                <a:lnTo>
                  <a:pt x="364" y="486"/>
                </a:lnTo>
                <a:lnTo>
                  <a:pt x="364" y="608"/>
                </a:lnTo>
                <a:lnTo>
                  <a:pt x="368" y="647"/>
                </a:lnTo>
                <a:lnTo>
                  <a:pt x="377" y="685"/>
                </a:lnTo>
                <a:lnTo>
                  <a:pt x="391" y="719"/>
                </a:lnTo>
                <a:lnTo>
                  <a:pt x="412" y="751"/>
                </a:lnTo>
                <a:lnTo>
                  <a:pt x="436" y="780"/>
                </a:lnTo>
                <a:lnTo>
                  <a:pt x="465" y="805"/>
                </a:lnTo>
                <a:lnTo>
                  <a:pt x="496" y="825"/>
                </a:lnTo>
                <a:lnTo>
                  <a:pt x="531" y="839"/>
                </a:lnTo>
                <a:lnTo>
                  <a:pt x="569" y="848"/>
                </a:lnTo>
                <a:lnTo>
                  <a:pt x="608" y="852"/>
                </a:lnTo>
                <a:lnTo>
                  <a:pt x="647" y="848"/>
                </a:lnTo>
                <a:lnTo>
                  <a:pt x="685" y="839"/>
                </a:lnTo>
                <a:lnTo>
                  <a:pt x="719" y="825"/>
                </a:lnTo>
                <a:lnTo>
                  <a:pt x="751" y="805"/>
                </a:lnTo>
                <a:lnTo>
                  <a:pt x="780" y="780"/>
                </a:lnTo>
                <a:lnTo>
                  <a:pt x="804" y="751"/>
                </a:lnTo>
                <a:lnTo>
                  <a:pt x="823" y="719"/>
                </a:lnTo>
                <a:lnTo>
                  <a:pt x="839" y="685"/>
                </a:lnTo>
                <a:lnTo>
                  <a:pt x="848" y="647"/>
                </a:lnTo>
                <a:lnTo>
                  <a:pt x="851" y="608"/>
                </a:lnTo>
                <a:lnTo>
                  <a:pt x="851" y="486"/>
                </a:lnTo>
                <a:lnTo>
                  <a:pt x="2311" y="486"/>
                </a:lnTo>
                <a:lnTo>
                  <a:pt x="2311" y="608"/>
                </a:lnTo>
                <a:lnTo>
                  <a:pt x="2313" y="647"/>
                </a:lnTo>
                <a:lnTo>
                  <a:pt x="2322" y="685"/>
                </a:lnTo>
                <a:lnTo>
                  <a:pt x="2338" y="719"/>
                </a:lnTo>
                <a:lnTo>
                  <a:pt x="2357" y="751"/>
                </a:lnTo>
                <a:lnTo>
                  <a:pt x="2382" y="780"/>
                </a:lnTo>
                <a:lnTo>
                  <a:pt x="2410" y="805"/>
                </a:lnTo>
                <a:lnTo>
                  <a:pt x="2442" y="825"/>
                </a:lnTo>
                <a:lnTo>
                  <a:pt x="2476" y="839"/>
                </a:lnTo>
                <a:lnTo>
                  <a:pt x="2514" y="848"/>
                </a:lnTo>
                <a:lnTo>
                  <a:pt x="2553" y="852"/>
                </a:lnTo>
                <a:lnTo>
                  <a:pt x="2593" y="848"/>
                </a:lnTo>
                <a:lnTo>
                  <a:pt x="2630" y="839"/>
                </a:lnTo>
                <a:lnTo>
                  <a:pt x="2666" y="825"/>
                </a:lnTo>
                <a:lnTo>
                  <a:pt x="2698" y="805"/>
                </a:lnTo>
                <a:lnTo>
                  <a:pt x="2726" y="780"/>
                </a:lnTo>
                <a:lnTo>
                  <a:pt x="2750" y="751"/>
                </a:lnTo>
                <a:lnTo>
                  <a:pt x="2770" y="719"/>
                </a:lnTo>
                <a:lnTo>
                  <a:pt x="2784" y="685"/>
                </a:lnTo>
                <a:lnTo>
                  <a:pt x="2793" y="647"/>
                </a:lnTo>
                <a:lnTo>
                  <a:pt x="2797" y="608"/>
                </a:lnTo>
                <a:lnTo>
                  <a:pt x="2797" y="486"/>
                </a:lnTo>
                <a:lnTo>
                  <a:pt x="2899" y="486"/>
                </a:lnTo>
                <a:lnTo>
                  <a:pt x="2941" y="490"/>
                </a:lnTo>
                <a:lnTo>
                  <a:pt x="2982" y="500"/>
                </a:lnTo>
                <a:lnTo>
                  <a:pt x="3019" y="517"/>
                </a:lnTo>
                <a:lnTo>
                  <a:pt x="3054" y="538"/>
                </a:lnTo>
                <a:lnTo>
                  <a:pt x="3084" y="564"/>
                </a:lnTo>
                <a:lnTo>
                  <a:pt x="3111" y="596"/>
                </a:lnTo>
                <a:lnTo>
                  <a:pt x="3132" y="631"/>
                </a:lnTo>
                <a:lnTo>
                  <a:pt x="3148" y="670"/>
                </a:lnTo>
                <a:lnTo>
                  <a:pt x="3158" y="711"/>
                </a:lnTo>
                <a:lnTo>
                  <a:pt x="3161" y="754"/>
                </a:lnTo>
                <a:lnTo>
                  <a:pt x="3161" y="1703"/>
                </a:lnTo>
                <a:lnTo>
                  <a:pt x="2919" y="1703"/>
                </a:lnTo>
                <a:lnTo>
                  <a:pt x="2919" y="1217"/>
                </a:lnTo>
                <a:lnTo>
                  <a:pt x="244" y="1217"/>
                </a:lnTo>
                <a:lnTo>
                  <a:pt x="244" y="2896"/>
                </a:lnTo>
                <a:lnTo>
                  <a:pt x="246" y="2907"/>
                </a:lnTo>
                <a:lnTo>
                  <a:pt x="253" y="2917"/>
                </a:lnTo>
                <a:lnTo>
                  <a:pt x="264" y="2920"/>
                </a:lnTo>
                <a:lnTo>
                  <a:pt x="1702" y="2920"/>
                </a:lnTo>
                <a:lnTo>
                  <a:pt x="1702" y="3163"/>
                </a:lnTo>
                <a:lnTo>
                  <a:pt x="264" y="3163"/>
                </a:lnTo>
                <a:lnTo>
                  <a:pt x="221" y="3160"/>
                </a:lnTo>
                <a:lnTo>
                  <a:pt x="180" y="3150"/>
                </a:lnTo>
                <a:lnTo>
                  <a:pt x="142" y="3134"/>
                </a:lnTo>
                <a:lnTo>
                  <a:pt x="107" y="3112"/>
                </a:lnTo>
                <a:lnTo>
                  <a:pt x="77" y="3085"/>
                </a:lnTo>
                <a:lnTo>
                  <a:pt x="51" y="3054"/>
                </a:lnTo>
                <a:lnTo>
                  <a:pt x="29" y="3019"/>
                </a:lnTo>
                <a:lnTo>
                  <a:pt x="13" y="2981"/>
                </a:lnTo>
                <a:lnTo>
                  <a:pt x="3" y="2939"/>
                </a:lnTo>
                <a:lnTo>
                  <a:pt x="0" y="2896"/>
                </a:lnTo>
                <a:lnTo>
                  <a:pt x="0" y="754"/>
                </a:lnTo>
                <a:lnTo>
                  <a:pt x="3" y="711"/>
                </a:lnTo>
                <a:lnTo>
                  <a:pt x="13" y="670"/>
                </a:lnTo>
                <a:lnTo>
                  <a:pt x="29" y="631"/>
                </a:lnTo>
                <a:lnTo>
                  <a:pt x="51" y="596"/>
                </a:lnTo>
                <a:lnTo>
                  <a:pt x="77" y="564"/>
                </a:lnTo>
                <a:lnTo>
                  <a:pt x="107" y="538"/>
                </a:lnTo>
                <a:lnTo>
                  <a:pt x="142" y="517"/>
                </a:lnTo>
                <a:lnTo>
                  <a:pt x="180" y="500"/>
                </a:lnTo>
                <a:lnTo>
                  <a:pt x="221" y="490"/>
                </a:lnTo>
                <a:lnTo>
                  <a:pt x="264" y="486"/>
                </a:lnTo>
                <a:close/>
                <a:moveTo>
                  <a:pt x="2553" y="0"/>
                </a:moveTo>
                <a:lnTo>
                  <a:pt x="2582" y="3"/>
                </a:lnTo>
                <a:lnTo>
                  <a:pt x="2606" y="13"/>
                </a:lnTo>
                <a:lnTo>
                  <a:pt x="2630" y="27"/>
                </a:lnTo>
                <a:lnTo>
                  <a:pt x="2648" y="46"/>
                </a:lnTo>
                <a:lnTo>
                  <a:pt x="2663" y="68"/>
                </a:lnTo>
                <a:lnTo>
                  <a:pt x="2672" y="93"/>
                </a:lnTo>
                <a:lnTo>
                  <a:pt x="2675" y="122"/>
                </a:lnTo>
                <a:lnTo>
                  <a:pt x="2675" y="608"/>
                </a:lnTo>
                <a:lnTo>
                  <a:pt x="2672" y="637"/>
                </a:lnTo>
                <a:lnTo>
                  <a:pt x="2663" y="661"/>
                </a:lnTo>
                <a:lnTo>
                  <a:pt x="2648" y="684"/>
                </a:lnTo>
                <a:lnTo>
                  <a:pt x="2630" y="703"/>
                </a:lnTo>
                <a:lnTo>
                  <a:pt x="2606" y="717"/>
                </a:lnTo>
                <a:lnTo>
                  <a:pt x="2582" y="727"/>
                </a:lnTo>
                <a:lnTo>
                  <a:pt x="2553" y="730"/>
                </a:lnTo>
                <a:lnTo>
                  <a:pt x="2526" y="727"/>
                </a:lnTo>
                <a:lnTo>
                  <a:pt x="2500" y="717"/>
                </a:lnTo>
                <a:lnTo>
                  <a:pt x="2477" y="703"/>
                </a:lnTo>
                <a:lnTo>
                  <a:pt x="2459" y="684"/>
                </a:lnTo>
                <a:lnTo>
                  <a:pt x="2444" y="661"/>
                </a:lnTo>
                <a:lnTo>
                  <a:pt x="2435" y="637"/>
                </a:lnTo>
                <a:lnTo>
                  <a:pt x="2431" y="608"/>
                </a:lnTo>
                <a:lnTo>
                  <a:pt x="2431" y="122"/>
                </a:lnTo>
                <a:lnTo>
                  <a:pt x="2435" y="93"/>
                </a:lnTo>
                <a:lnTo>
                  <a:pt x="2444" y="68"/>
                </a:lnTo>
                <a:lnTo>
                  <a:pt x="2459" y="46"/>
                </a:lnTo>
                <a:lnTo>
                  <a:pt x="2477" y="27"/>
                </a:lnTo>
                <a:lnTo>
                  <a:pt x="2500" y="13"/>
                </a:lnTo>
                <a:lnTo>
                  <a:pt x="2526" y="3"/>
                </a:lnTo>
                <a:lnTo>
                  <a:pt x="2553" y="0"/>
                </a:lnTo>
                <a:close/>
                <a:moveTo>
                  <a:pt x="608" y="0"/>
                </a:moveTo>
                <a:lnTo>
                  <a:pt x="635" y="3"/>
                </a:lnTo>
                <a:lnTo>
                  <a:pt x="661" y="13"/>
                </a:lnTo>
                <a:lnTo>
                  <a:pt x="684" y="27"/>
                </a:lnTo>
                <a:lnTo>
                  <a:pt x="703" y="46"/>
                </a:lnTo>
                <a:lnTo>
                  <a:pt x="717" y="68"/>
                </a:lnTo>
                <a:lnTo>
                  <a:pt x="726" y="93"/>
                </a:lnTo>
                <a:lnTo>
                  <a:pt x="730" y="122"/>
                </a:lnTo>
                <a:lnTo>
                  <a:pt x="730" y="608"/>
                </a:lnTo>
                <a:lnTo>
                  <a:pt x="726" y="637"/>
                </a:lnTo>
                <a:lnTo>
                  <a:pt x="717" y="661"/>
                </a:lnTo>
                <a:lnTo>
                  <a:pt x="703" y="684"/>
                </a:lnTo>
                <a:lnTo>
                  <a:pt x="684" y="703"/>
                </a:lnTo>
                <a:lnTo>
                  <a:pt x="661" y="717"/>
                </a:lnTo>
                <a:lnTo>
                  <a:pt x="635" y="727"/>
                </a:lnTo>
                <a:lnTo>
                  <a:pt x="608" y="730"/>
                </a:lnTo>
                <a:lnTo>
                  <a:pt x="580" y="727"/>
                </a:lnTo>
                <a:lnTo>
                  <a:pt x="555" y="717"/>
                </a:lnTo>
                <a:lnTo>
                  <a:pt x="532" y="703"/>
                </a:lnTo>
                <a:lnTo>
                  <a:pt x="513" y="684"/>
                </a:lnTo>
                <a:lnTo>
                  <a:pt x="499" y="661"/>
                </a:lnTo>
                <a:lnTo>
                  <a:pt x="490" y="637"/>
                </a:lnTo>
                <a:lnTo>
                  <a:pt x="486" y="608"/>
                </a:lnTo>
                <a:lnTo>
                  <a:pt x="486" y="122"/>
                </a:lnTo>
                <a:lnTo>
                  <a:pt x="490" y="93"/>
                </a:lnTo>
                <a:lnTo>
                  <a:pt x="499" y="68"/>
                </a:lnTo>
                <a:lnTo>
                  <a:pt x="513" y="46"/>
                </a:lnTo>
                <a:lnTo>
                  <a:pt x="532" y="27"/>
                </a:lnTo>
                <a:lnTo>
                  <a:pt x="555" y="13"/>
                </a:lnTo>
                <a:lnTo>
                  <a:pt x="580" y="3"/>
                </a:lnTo>
                <a:lnTo>
                  <a:pt x="608" y="0"/>
                </a:lnTo>
                <a:close/>
              </a:path>
            </a:pathLst>
          </a:custGeom>
          <a:solidFill>
            <a:srgbClr val="26867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82" name="Group 17"/>
          <p:cNvGrpSpPr>
            <a:grpSpLocks noChangeAspect="1"/>
          </p:cNvGrpSpPr>
          <p:nvPr/>
        </p:nvGrpSpPr>
        <p:grpSpPr bwMode="auto">
          <a:xfrm>
            <a:off x="10966976" y="1316686"/>
            <a:ext cx="396974" cy="453428"/>
            <a:chOff x="2842" y="3106"/>
            <a:chExt cx="443" cy="506"/>
          </a:xfrm>
          <a:solidFill>
            <a:srgbClr val="26867C"/>
          </a:solidFill>
        </p:grpSpPr>
        <p:sp>
          <p:nvSpPr>
            <p:cNvPr id="83" name="Freeform 19"/>
            <p:cNvSpPr>
              <a:spLocks noEditPoints="1"/>
            </p:cNvSpPr>
            <p:nvPr/>
          </p:nvSpPr>
          <p:spPr bwMode="auto">
            <a:xfrm>
              <a:off x="2901" y="3106"/>
              <a:ext cx="324" cy="323"/>
            </a:xfrm>
            <a:custGeom>
              <a:avLst/>
              <a:gdLst>
                <a:gd name="T0" fmla="*/ 1964 w 2268"/>
                <a:gd name="T1" fmla="*/ 355 h 2256"/>
                <a:gd name="T2" fmla="*/ 2268 w 2268"/>
                <a:gd name="T3" fmla="*/ 1172 h 2256"/>
                <a:gd name="T4" fmla="*/ 2110 w 2268"/>
                <a:gd name="T5" fmla="*/ 1331 h 2256"/>
                <a:gd name="T6" fmla="*/ 2084 w 2268"/>
                <a:gd name="T7" fmla="*/ 1197 h 2256"/>
                <a:gd name="T8" fmla="*/ 1700 w 2268"/>
                <a:gd name="T9" fmla="*/ 1223 h 2256"/>
                <a:gd name="T10" fmla="*/ 1620 w 2268"/>
                <a:gd name="T11" fmla="*/ 1674 h 2256"/>
                <a:gd name="T12" fmla="*/ 1827 w 2268"/>
                <a:gd name="T13" fmla="*/ 1787 h 2256"/>
                <a:gd name="T14" fmla="*/ 1866 w 2268"/>
                <a:gd name="T15" fmla="*/ 1990 h 2256"/>
                <a:gd name="T16" fmla="*/ 1235 w 2268"/>
                <a:gd name="T17" fmla="*/ 2253 h 2256"/>
                <a:gd name="T18" fmla="*/ 460 w 2268"/>
                <a:gd name="T19" fmla="*/ 2036 h 2256"/>
                <a:gd name="T20" fmla="*/ 439 w 2268"/>
                <a:gd name="T21" fmla="*/ 1856 h 2256"/>
                <a:gd name="T22" fmla="*/ 625 w 2268"/>
                <a:gd name="T23" fmla="*/ 1686 h 2256"/>
                <a:gd name="T24" fmla="*/ 573 w 2268"/>
                <a:gd name="T25" fmla="*/ 1245 h 2256"/>
                <a:gd name="T26" fmla="*/ 187 w 2268"/>
                <a:gd name="T27" fmla="*/ 1196 h 2256"/>
                <a:gd name="T28" fmla="*/ 153 w 2268"/>
                <a:gd name="T29" fmla="*/ 1386 h 2256"/>
                <a:gd name="T30" fmla="*/ 17 w 2268"/>
                <a:gd name="T31" fmla="*/ 1315 h 2256"/>
                <a:gd name="T32" fmla="*/ 214 w 2268"/>
                <a:gd name="T33" fmla="*/ 467 h 2256"/>
                <a:gd name="T34" fmla="*/ 954 w 2268"/>
                <a:gd name="T35" fmla="*/ 8 h 2256"/>
                <a:gd name="T36" fmla="*/ 2096 w 2268"/>
                <a:gd name="T37" fmla="*/ 1030 h 2256"/>
                <a:gd name="T38" fmla="*/ 1850 w 2268"/>
                <a:gd name="T39" fmla="*/ 483 h 2256"/>
                <a:gd name="T40" fmla="*/ 1615 w 2268"/>
                <a:gd name="T41" fmla="*/ 635 h 2256"/>
                <a:gd name="T42" fmla="*/ 1738 w 2268"/>
                <a:gd name="T43" fmla="*/ 1048 h 2256"/>
                <a:gd name="T44" fmla="*/ 532 w 2268"/>
                <a:gd name="T45" fmla="*/ 1065 h 2256"/>
                <a:gd name="T46" fmla="*/ 662 w 2268"/>
                <a:gd name="T47" fmla="*/ 614 h 2256"/>
                <a:gd name="T48" fmla="*/ 433 w 2268"/>
                <a:gd name="T49" fmla="*/ 483 h 2256"/>
                <a:gd name="T50" fmla="*/ 176 w 2268"/>
                <a:gd name="T51" fmla="*/ 1005 h 2256"/>
                <a:gd name="T52" fmla="*/ 1072 w 2268"/>
                <a:gd name="T53" fmla="*/ 821 h 2256"/>
                <a:gd name="T54" fmla="*/ 932 w 2268"/>
                <a:gd name="T55" fmla="*/ 649 h 2256"/>
                <a:gd name="T56" fmla="*/ 767 w 2268"/>
                <a:gd name="T57" fmla="*/ 677 h 2256"/>
                <a:gd name="T58" fmla="*/ 722 w 2268"/>
                <a:gd name="T59" fmla="*/ 1067 h 2256"/>
                <a:gd name="T60" fmla="*/ 1072 w 2268"/>
                <a:gd name="T61" fmla="*/ 932 h 2256"/>
                <a:gd name="T62" fmla="*/ 1258 w 2268"/>
                <a:gd name="T63" fmla="*/ 1067 h 2256"/>
                <a:gd name="T64" fmla="*/ 1530 w 2268"/>
                <a:gd name="T65" fmla="*/ 752 h 2256"/>
                <a:gd name="T66" fmla="*/ 1317 w 2268"/>
                <a:gd name="T67" fmla="*/ 651 h 2256"/>
                <a:gd name="T68" fmla="*/ 1200 w 2268"/>
                <a:gd name="T69" fmla="*/ 823 h 2256"/>
                <a:gd name="T70" fmla="*/ 709 w 2268"/>
                <a:gd name="T71" fmla="*/ 1376 h 2256"/>
                <a:gd name="T72" fmla="*/ 1015 w 2268"/>
                <a:gd name="T73" fmla="*/ 1593 h 2256"/>
                <a:gd name="T74" fmla="*/ 1069 w 2268"/>
                <a:gd name="T75" fmla="*/ 1229 h 2256"/>
                <a:gd name="T76" fmla="*/ 1198 w 2268"/>
                <a:gd name="T77" fmla="*/ 1521 h 2256"/>
                <a:gd name="T78" fmla="*/ 1462 w 2268"/>
                <a:gd name="T79" fmla="*/ 1622 h 2256"/>
                <a:gd name="T80" fmla="*/ 1580 w 2268"/>
                <a:gd name="T81" fmla="*/ 1226 h 2256"/>
                <a:gd name="T82" fmla="*/ 1283 w 2268"/>
                <a:gd name="T83" fmla="*/ 1189 h 2256"/>
                <a:gd name="T84" fmla="*/ 868 w 2268"/>
                <a:gd name="T85" fmla="*/ 1994 h 2256"/>
                <a:gd name="T86" fmla="*/ 562 w 2268"/>
                <a:gd name="T87" fmla="*/ 1842 h 2256"/>
                <a:gd name="T88" fmla="*/ 807 w 2268"/>
                <a:gd name="T89" fmla="*/ 219 h 2256"/>
                <a:gd name="T90" fmla="*/ 543 w 2268"/>
                <a:gd name="T91" fmla="*/ 368 h 2256"/>
                <a:gd name="T92" fmla="*/ 689 w 2268"/>
                <a:gd name="T93" fmla="*/ 464 h 2256"/>
                <a:gd name="T94" fmla="*/ 1374 w 2268"/>
                <a:gd name="T95" fmla="*/ 223 h 2256"/>
                <a:gd name="T96" fmla="*/ 1571 w 2268"/>
                <a:gd name="T97" fmla="*/ 462 h 2256"/>
                <a:gd name="T98" fmla="*/ 1731 w 2268"/>
                <a:gd name="T99" fmla="*/ 371 h 2256"/>
                <a:gd name="T100" fmla="*/ 1413 w 2268"/>
                <a:gd name="T101" fmla="*/ 2045 h 2256"/>
                <a:gd name="T102" fmla="*/ 1730 w 2268"/>
                <a:gd name="T103" fmla="*/ 1884 h 2256"/>
                <a:gd name="T104" fmla="*/ 1607 w 2268"/>
                <a:gd name="T105" fmla="*/ 1800 h 2256"/>
                <a:gd name="T106" fmla="*/ 1357 w 2268"/>
                <a:gd name="T107" fmla="*/ 2056 h 2256"/>
                <a:gd name="T108" fmla="*/ 856 w 2268"/>
                <a:gd name="T109" fmla="*/ 497 h 2256"/>
                <a:gd name="T110" fmla="*/ 1035 w 2268"/>
                <a:gd name="T111" fmla="*/ 544 h 2256"/>
                <a:gd name="T112" fmla="*/ 1207 w 2268"/>
                <a:gd name="T113" fmla="*/ 529 h 2256"/>
                <a:gd name="T114" fmla="*/ 1409 w 2268"/>
                <a:gd name="T115" fmla="*/ 482 h 2256"/>
                <a:gd name="T116" fmla="*/ 1063 w 2268"/>
                <a:gd name="T117" fmla="*/ 1724 h 2256"/>
                <a:gd name="T118" fmla="*/ 864 w 2268"/>
                <a:gd name="T119" fmla="*/ 1777 h 2256"/>
                <a:gd name="T120" fmla="*/ 1072 w 2268"/>
                <a:gd name="T121" fmla="*/ 1872 h 2256"/>
                <a:gd name="T122" fmla="*/ 1413 w 2268"/>
                <a:gd name="T123" fmla="*/ 1750 h 2256"/>
                <a:gd name="T124" fmla="*/ 1201 w 2268"/>
                <a:gd name="T125" fmla="*/ 1749 h 2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68" h="2256">
                  <a:moveTo>
                    <a:pt x="1298" y="0"/>
                  </a:moveTo>
                  <a:lnTo>
                    <a:pt x="1373" y="16"/>
                  </a:lnTo>
                  <a:lnTo>
                    <a:pt x="1447" y="36"/>
                  </a:lnTo>
                  <a:lnTo>
                    <a:pt x="1519" y="59"/>
                  </a:lnTo>
                  <a:lnTo>
                    <a:pt x="1589" y="87"/>
                  </a:lnTo>
                  <a:lnTo>
                    <a:pt x="1657" y="119"/>
                  </a:lnTo>
                  <a:lnTo>
                    <a:pt x="1722" y="156"/>
                  </a:lnTo>
                  <a:lnTo>
                    <a:pt x="1785" y="197"/>
                  </a:lnTo>
                  <a:lnTo>
                    <a:pt x="1846" y="243"/>
                  </a:lnTo>
                  <a:lnTo>
                    <a:pt x="1904" y="294"/>
                  </a:lnTo>
                  <a:lnTo>
                    <a:pt x="1964" y="355"/>
                  </a:lnTo>
                  <a:lnTo>
                    <a:pt x="2020" y="420"/>
                  </a:lnTo>
                  <a:lnTo>
                    <a:pt x="2070" y="485"/>
                  </a:lnTo>
                  <a:lnTo>
                    <a:pt x="2115" y="554"/>
                  </a:lnTo>
                  <a:lnTo>
                    <a:pt x="2153" y="624"/>
                  </a:lnTo>
                  <a:lnTo>
                    <a:pt x="2187" y="696"/>
                  </a:lnTo>
                  <a:lnTo>
                    <a:pt x="2215" y="770"/>
                  </a:lnTo>
                  <a:lnTo>
                    <a:pt x="2236" y="846"/>
                  </a:lnTo>
                  <a:lnTo>
                    <a:pt x="2253" y="925"/>
                  </a:lnTo>
                  <a:lnTo>
                    <a:pt x="2264" y="1006"/>
                  </a:lnTo>
                  <a:lnTo>
                    <a:pt x="2268" y="1088"/>
                  </a:lnTo>
                  <a:lnTo>
                    <a:pt x="2268" y="1172"/>
                  </a:lnTo>
                  <a:lnTo>
                    <a:pt x="2262" y="1259"/>
                  </a:lnTo>
                  <a:lnTo>
                    <a:pt x="2258" y="1274"/>
                  </a:lnTo>
                  <a:lnTo>
                    <a:pt x="2249" y="1288"/>
                  </a:lnTo>
                  <a:lnTo>
                    <a:pt x="2236" y="1301"/>
                  </a:lnTo>
                  <a:lnTo>
                    <a:pt x="2221" y="1313"/>
                  </a:lnTo>
                  <a:lnTo>
                    <a:pt x="2203" y="1323"/>
                  </a:lnTo>
                  <a:lnTo>
                    <a:pt x="2185" y="1330"/>
                  </a:lnTo>
                  <a:lnTo>
                    <a:pt x="2164" y="1334"/>
                  </a:lnTo>
                  <a:lnTo>
                    <a:pt x="2146" y="1337"/>
                  </a:lnTo>
                  <a:lnTo>
                    <a:pt x="2128" y="1335"/>
                  </a:lnTo>
                  <a:lnTo>
                    <a:pt x="2110" y="1331"/>
                  </a:lnTo>
                  <a:lnTo>
                    <a:pt x="2097" y="1324"/>
                  </a:lnTo>
                  <a:lnTo>
                    <a:pt x="2089" y="1314"/>
                  </a:lnTo>
                  <a:lnTo>
                    <a:pt x="2085" y="1303"/>
                  </a:lnTo>
                  <a:lnTo>
                    <a:pt x="2085" y="1291"/>
                  </a:lnTo>
                  <a:lnTo>
                    <a:pt x="2087" y="1281"/>
                  </a:lnTo>
                  <a:lnTo>
                    <a:pt x="2090" y="1269"/>
                  </a:lnTo>
                  <a:lnTo>
                    <a:pt x="2093" y="1258"/>
                  </a:lnTo>
                  <a:lnTo>
                    <a:pt x="2096" y="1238"/>
                  </a:lnTo>
                  <a:lnTo>
                    <a:pt x="2096" y="1221"/>
                  </a:lnTo>
                  <a:lnTo>
                    <a:pt x="2092" y="1207"/>
                  </a:lnTo>
                  <a:lnTo>
                    <a:pt x="2084" y="1197"/>
                  </a:lnTo>
                  <a:lnTo>
                    <a:pt x="2071" y="1191"/>
                  </a:lnTo>
                  <a:lnTo>
                    <a:pt x="2053" y="1186"/>
                  </a:lnTo>
                  <a:lnTo>
                    <a:pt x="2033" y="1186"/>
                  </a:lnTo>
                  <a:lnTo>
                    <a:pt x="1899" y="1187"/>
                  </a:lnTo>
                  <a:lnTo>
                    <a:pt x="1764" y="1186"/>
                  </a:lnTo>
                  <a:lnTo>
                    <a:pt x="1749" y="1187"/>
                  </a:lnTo>
                  <a:lnTo>
                    <a:pt x="1735" y="1189"/>
                  </a:lnTo>
                  <a:lnTo>
                    <a:pt x="1723" y="1194"/>
                  </a:lnTo>
                  <a:lnTo>
                    <a:pt x="1713" y="1200"/>
                  </a:lnTo>
                  <a:lnTo>
                    <a:pt x="1705" y="1210"/>
                  </a:lnTo>
                  <a:lnTo>
                    <a:pt x="1700" y="1223"/>
                  </a:lnTo>
                  <a:lnTo>
                    <a:pt x="1698" y="1240"/>
                  </a:lnTo>
                  <a:lnTo>
                    <a:pt x="1693" y="1304"/>
                  </a:lnTo>
                  <a:lnTo>
                    <a:pt x="1685" y="1369"/>
                  </a:lnTo>
                  <a:lnTo>
                    <a:pt x="1671" y="1431"/>
                  </a:lnTo>
                  <a:lnTo>
                    <a:pt x="1655" y="1493"/>
                  </a:lnTo>
                  <a:lnTo>
                    <a:pt x="1636" y="1554"/>
                  </a:lnTo>
                  <a:lnTo>
                    <a:pt x="1615" y="1616"/>
                  </a:lnTo>
                  <a:lnTo>
                    <a:pt x="1610" y="1635"/>
                  </a:lnTo>
                  <a:lnTo>
                    <a:pt x="1608" y="1650"/>
                  </a:lnTo>
                  <a:lnTo>
                    <a:pt x="1612" y="1663"/>
                  </a:lnTo>
                  <a:lnTo>
                    <a:pt x="1620" y="1674"/>
                  </a:lnTo>
                  <a:lnTo>
                    <a:pt x="1632" y="1681"/>
                  </a:lnTo>
                  <a:lnTo>
                    <a:pt x="1650" y="1688"/>
                  </a:lnTo>
                  <a:lnTo>
                    <a:pt x="1669" y="1694"/>
                  </a:lnTo>
                  <a:lnTo>
                    <a:pt x="1686" y="1703"/>
                  </a:lnTo>
                  <a:lnTo>
                    <a:pt x="1703" y="1711"/>
                  </a:lnTo>
                  <a:lnTo>
                    <a:pt x="1721" y="1718"/>
                  </a:lnTo>
                  <a:lnTo>
                    <a:pt x="1750" y="1726"/>
                  </a:lnTo>
                  <a:lnTo>
                    <a:pt x="1775" y="1738"/>
                  </a:lnTo>
                  <a:lnTo>
                    <a:pt x="1795" y="1752"/>
                  </a:lnTo>
                  <a:lnTo>
                    <a:pt x="1813" y="1768"/>
                  </a:lnTo>
                  <a:lnTo>
                    <a:pt x="1827" y="1787"/>
                  </a:lnTo>
                  <a:lnTo>
                    <a:pt x="1838" y="1808"/>
                  </a:lnTo>
                  <a:lnTo>
                    <a:pt x="1848" y="1829"/>
                  </a:lnTo>
                  <a:lnTo>
                    <a:pt x="1856" y="1852"/>
                  </a:lnTo>
                  <a:lnTo>
                    <a:pt x="1862" y="1875"/>
                  </a:lnTo>
                  <a:lnTo>
                    <a:pt x="1869" y="1900"/>
                  </a:lnTo>
                  <a:lnTo>
                    <a:pt x="1874" y="1924"/>
                  </a:lnTo>
                  <a:lnTo>
                    <a:pt x="1879" y="1948"/>
                  </a:lnTo>
                  <a:lnTo>
                    <a:pt x="1880" y="1961"/>
                  </a:lnTo>
                  <a:lnTo>
                    <a:pt x="1878" y="1972"/>
                  </a:lnTo>
                  <a:lnTo>
                    <a:pt x="1873" y="1982"/>
                  </a:lnTo>
                  <a:lnTo>
                    <a:pt x="1866" y="1990"/>
                  </a:lnTo>
                  <a:lnTo>
                    <a:pt x="1857" y="1999"/>
                  </a:lnTo>
                  <a:lnTo>
                    <a:pt x="1848" y="2006"/>
                  </a:lnTo>
                  <a:lnTo>
                    <a:pt x="1790" y="2052"/>
                  </a:lnTo>
                  <a:lnTo>
                    <a:pt x="1729" y="2093"/>
                  </a:lnTo>
                  <a:lnTo>
                    <a:pt x="1664" y="2131"/>
                  </a:lnTo>
                  <a:lnTo>
                    <a:pt x="1597" y="2162"/>
                  </a:lnTo>
                  <a:lnTo>
                    <a:pt x="1528" y="2190"/>
                  </a:lnTo>
                  <a:lnTo>
                    <a:pt x="1457" y="2212"/>
                  </a:lnTo>
                  <a:lnTo>
                    <a:pt x="1384" y="2231"/>
                  </a:lnTo>
                  <a:lnTo>
                    <a:pt x="1311" y="2243"/>
                  </a:lnTo>
                  <a:lnTo>
                    <a:pt x="1235" y="2253"/>
                  </a:lnTo>
                  <a:lnTo>
                    <a:pt x="1160" y="2256"/>
                  </a:lnTo>
                  <a:lnTo>
                    <a:pt x="1085" y="2256"/>
                  </a:lnTo>
                  <a:lnTo>
                    <a:pt x="1010" y="2250"/>
                  </a:lnTo>
                  <a:lnTo>
                    <a:pt x="935" y="2240"/>
                  </a:lnTo>
                  <a:lnTo>
                    <a:pt x="862" y="2225"/>
                  </a:lnTo>
                  <a:lnTo>
                    <a:pt x="790" y="2206"/>
                  </a:lnTo>
                  <a:lnTo>
                    <a:pt x="719" y="2181"/>
                  </a:lnTo>
                  <a:lnTo>
                    <a:pt x="650" y="2152"/>
                  </a:lnTo>
                  <a:lnTo>
                    <a:pt x="584" y="2118"/>
                  </a:lnTo>
                  <a:lnTo>
                    <a:pt x="520" y="2079"/>
                  </a:lnTo>
                  <a:lnTo>
                    <a:pt x="460" y="2036"/>
                  </a:lnTo>
                  <a:lnTo>
                    <a:pt x="447" y="2025"/>
                  </a:lnTo>
                  <a:lnTo>
                    <a:pt x="435" y="2014"/>
                  </a:lnTo>
                  <a:lnTo>
                    <a:pt x="427" y="2002"/>
                  </a:lnTo>
                  <a:lnTo>
                    <a:pt x="421" y="1989"/>
                  </a:lnTo>
                  <a:lnTo>
                    <a:pt x="419" y="1975"/>
                  </a:lnTo>
                  <a:lnTo>
                    <a:pt x="421" y="1959"/>
                  </a:lnTo>
                  <a:lnTo>
                    <a:pt x="428" y="1942"/>
                  </a:lnTo>
                  <a:lnTo>
                    <a:pt x="434" y="1925"/>
                  </a:lnTo>
                  <a:lnTo>
                    <a:pt x="439" y="1905"/>
                  </a:lnTo>
                  <a:lnTo>
                    <a:pt x="439" y="1887"/>
                  </a:lnTo>
                  <a:lnTo>
                    <a:pt x="439" y="1856"/>
                  </a:lnTo>
                  <a:lnTo>
                    <a:pt x="442" y="1829"/>
                  </a:lnTo>
                  <a:lnTo>
                    <a:pt x="448" y="1804"/>
                  </a:lnTo>
                  <a:lnTo>
                    <a:pt x="459" y="1783"/>
                  </a:lnTo>
                  <a:lnTo>
                    <a:pt x="473" y="1765"/>
                  </a:lnTo>
                  <a:lnTo>
                    <a:pt x="489" y="1749"/>
                  </a:lnTo>
                  <a:lnTo>
                    <a:pt x="509" y="1734"/>
                  </a:lnTo>
                  <a:lnTo>
                    <a:pt x="530" y="1722"/>
                  </a:lnTo>
                  <a:lnTo>
                    <a:pt x="553" y="1711"/>
                  </a:lnTo>
                  <a:lnTo>
                    <a:pt x="576" y="1703"/>
                  </a:lnTo>
                  <a:lnTo>
                    <a:pt x="602" y="1694"/>
                  </a:lnTo>
                  <a:lnTo>
                    <a:pt x="625" y="1686"/>
                  </a:lnTo>
                  <a:lnTo>
                    <a:pt x="642" y="1677"/>
                  </a:lnTo>
                  <a:lnTo>
                    <a:pt x="653" y="1665"/>
                  </a:lnTo>
                  <a:lnTo>
                    <a:pt x="658" y="1652"/>
                  </a:lnTo>
                  <a:lnTo>
                    <a:pt x="659" y="1636"/>
                  </a:lnTo>
                  <a:lnTo>
                    <a:pt x="656" y="1617"/>
                  </a:lnTo>
                  <a:lnTo>
                    <a:pt x="648" y="1594"/>
                  </a:lnTo>
                  <a:lnTo>
                    <a:pt x="625" y="1527"/>
                  </a:lnTo>
                  <a:lnTo>
                    <a:pt x="605" y="1458"/>
                  </a:lnTo>
                  <a:lnTo>
                    <a:pt x="589" y="1388"/>
                  </a:lnTo>
                  <a:lnTo>
                    <a:pt x="578" y="1317"/>
                  </a:lnTo>
                  <a:lnTo>
                    <a:pt x="573" y="1245"/>
                  </a:lnTo>
                  <a:lnTo>
                    <a:pt x="571" y="1226"/>
                  </a:lnTo>
                  <a:lnTo>
                    <a:pt x="566" y="1212"/>
                  </a:lnTo>
                  <a:lnTo>
                    <a:pt x="557" y="1200"/>
                  </a:lnTo>
                  <a:lnTo>
                    <a:pt x="545" y="1193"/>
                  </a:lnTo>
                  <a:lnTo>
                    <a:pt x="529" y="1188"/>
                  </a:lnTo>
                  <a:lnTo>
                    <a:pt x="511" y="1186"/>
                  </a:lnTo>
                  <a:lnTo>
                    <a:pt x="370" y="1187"/>
                  </a:lnTo>
                  <a:lnTo>
                    <a:pt x="229" y="1186"/>
                  </a:lnTo>
                  <a:lnTo>
                    <a:pt x="212" y="1187"/>
                  </a:lnTo>
                  <a:lnTo>
                    <a:pt x="198" y="1191"/>
                  </a:lnTo>
                  <a:lnTo>
                    <a:pt x="187" y="1196"/>
                  </a:lnTo>
                  <a:lnTo>
                    <a:pt x="180" y="1205"/>
                  </a:lnTo>
                  <a:lnTo>
                    <a:pt x="175" y="1215"/>
                  </a:lnTo>
                  <a:lnTo>
                    <a:pt x="174" y="1229"/>
                  </a:lnTo>
                  <a:lnTo>
                    <a:pt x="176" y="1246"/>
                  </a:lnTo>
                  <a:lnTo>
                    <a:pt x="181" y="1273"/>
                  </a:lnTo>
                  <a:lnTo>
                    <a:pt x="185" y="1303"/>
                  </a:lnTo>
                  <a:lnTo>
                    <a:pt x="185" y="1329"/>
                  </a:lnTo>
                  <a:lnTo>
                    <a:pt x="183" y="1349"/>
                  </a:lnTo>
                  <a:lnTo>
                    <a:pt x="176" y="1366"/>
                  </a:lnTo>
                  <a:lnTo>
                    <a:pt x="167" y="1378"/>
                  </a:lnTo>
                  <a:lnTo>
                    <a:pt x="153" y="1386"/>
                  </a:lnTo>
                  <a:lnTo>
                    <a:pt x="136" y="1390"/>
                  </a:lnTo>
                  <a:lnTo>
                    <a:pt x="114" y="1391"/>
                  </a:lnTo>
                  <a:lnTo>
                    <a:pt x="88" y="1388"/>
                  </a:lnTo>
                  <a:lnTo>
                    <a:pt x="59" y="1382"/>
                  </a:lnTo>
                  <a:lnTo>
                    <a:pt x="45" y="1376"/>
                  </a:lnTo>
                  <a:lnTo>
                    <a:pt x="36" y="1369"/>
                  </a:lnTo>
                  <a:lnTo>
                    <a:pt x="29" y="1359"/>
                  </a:lnTo>
                  <a:lnTo>
                    <a:pt x="24" y="1349"/>
                  </a:lnTo>
                  <a:lnTo>
                    <a:pt x="22" y="1338"/>
                  </a:lnTo>
                  <a:lnTo>
                    <a:pt x="19" y="1327"/>
                  </a:lnTo>
                  <a:lnTo>
                    <a:pt x="17" y="1315"/>
                  </a:lnTo>
                  <a:lnTo>
                    <a:pt x="5" y="1233"/>
                  </a:lnTo>
                  <a:lnTo>
                    <a:pt x="0" y="1152"/>
                  </a:lnTo>
                  <a:lnTo>
                    <a:pt x="0" y="1072"/>
                  </a:lnTo>
                  <a:lnTo>
                    <a:pt x="5" y="993"/>
                  </a:lnTo>
                  <a:lnTo>
                    <a:pt x="18" y="915"/>
                  </a:lnTo>
                  <a:lnTo>
                    <a:pt x="36" y="837"/>
                  </a:lnTo>
                  <a:lnTo>
                    <a:pt x="60" y="761"/>
                  </a:lnTo>
                  <a:lnTo>
                    <a:pt x="89" y="686"/>
                  </a:lnTo>
                  <a:lnTo>
                    <a:pt x="126" y="612"/>
                  </a:lnTo>
                  <a:lnTo>
                    <a:pt x="168" y="537"/>
                  </a:lnTo>
                  <a:lnTo>
                    <a:pt x="214" y="467"/>
                  </a:lnTo>
                  <a:lnTo>
                    <a:pt x="263" y="402"/>
                  </a:lnTo>
                  <a:lnTo>
                    <a:pt x="317" y="340"/>
                  </a:lnTo>
                  <a:lnTo>
                    <a:pt x="374" y="285"/>
                  </a:lnTo>
                  <a:lnTo>
                    <a:pt x="434" y="234"/>
                  </a:lnTo>
                  <a:lnTo>
                    <a:pt x="498" y="187"/>
                  </a:lnTo>
                  <a:lnTo>
                    <a:pt x="566" y="145"/>
                  </a:lnTo>
                  <a:lnTo>
                    <a:pt x="635" y="109"/>
                  </a:lnTo>
                  <a:lnTo>
                    <a:pt x="711" y="76"/>
                  </a:lnTo>
                  <a:lnTo>
                    <a:pt x="788" y="49"/>
                  </a:lnTo>
                  <a:lnTo>
                    <a:pt x="869" y="26"/>
                  </a:lnTo>
                  <a:lnTo>
                    <a:pt x="954" y="8"/>
                  </a:lnTo>
                  <a:lnTo>
                    <a:pt x="963" y="5"/>
                  </a:lnTo>
                  <a:lnTo>
                    <a:pt x="973" y="0"/>
                  </a:lnTo>
                  <a:lnTo>
                    <a:pt x="1298" y="0"/>
                  </a:lnTo>
                  <a:close/>
                  <a:moveTo>
                    <a:pt x="1902" y="1066"/>
                  </a:moveTo>
                  <a:lnTo>
                    <a:pt x="1976" y="1066"/>
                  </a:lnTo>
                  <a:lnTo>
                    <a:pt x="2050" y="1066"/>
                  </a:lnTo>
                  <a:lnTo>
                    <a:pt x="2066" y="1065"/>
                  </a:lnTo>
                  <a:lnTo>
                    <a:pt x="2079" y="1061"/>
                  </a:lnTo>
                  <a:lnTo>
                    <a:pt x="2088" y="1054"/>
                  </a:lnTo>
                  <a:lnTo>
                    <a:pt x="2094" y="1044"/>
                  </a:lnTo>
                  <a:lnTo>
                    <a:pt x="2096" y="1030"/>
                  </a:lnTo>
                  <a:lnTo>
                    <a:pt x="2095" y="1013"/>
                  </a:lnTo>
                  <a:lnTo>
                    <a:pt x="2085" y="943"/>
                  </a:lnTo>
                  <a:lnTo>
                    <a:pt x="2068" y="874"/>
                  </a:lnTo>
                  <a:lnTo>
                    <a:pt x="2048" y="807"/>
                  </a:lnTo>
                  <a:lnTo>
                    <a:pt x="2023" y="743"/>
                  </a:lnTo>
                  <a:lnTo>
                    <a:pt x="1993" y="680"/>
                  </a:lnTo>
                  <a:lnTo>
                    <a:pt x="1959" y="620"/>
                  </a:lnTo>
                  <a:lnTo>
                    <a:pt x="1920" y="561"/>
                  </a:lnTo>
                  <a:lnTo>
                    <a:pt x="1876" y="505"/>
                  </a:lnTo>
                  <a:lnTo>
                    <a:pt x="1863" y="491"/>
                  </a:lnTo>
                  <a:lnTo>
                    <a:pt x="1850" y="483"/>
                  </a:lnTo>
                  <a:lnTo>
                    <a:pt x="1835" y="480"/>
                  </a:lnTo>
                  <a:lnTo>
                    <a:pt x="1820" y="482"/>
                  </a:lnTo>
                  <a:lnTo>
                    <a:pt x="1803" y="490"/>
                  </a:lnTo>
                  <a:lnTo>
                    <a:pt x="1724" y="529"/>
                  </a:lnTo>
                  <a:lnTo>
                    <a:pt x="1644" y="564"/>
                  </a:lnTo>
                  <a:lnTo>
                    <a:pt x="1628" y="572"/>
                  </a:lnTo>
                  <a:lnTo>
                    <a:pt x="1616" y="581"/>
                  </a:lnTo>
                  <a:lnTo>
                    <a:pt x="1609" y="592"/>
                  </a:lnTo>
                  <a:lnTo>
                    <a:pt x="1607" y="603"/>
                  </a:lnTo>
                  <a:lnTo>
                    <a:pt x="1609" y="617"/>
                  </a:lnTo>
                  <a:lnTo>
                    <a:pt x="1615" y="635"/>
                  </a:lnTo>
                  <a:lnTo>
                    <a:pt x="1636" y="694"/>
                  </a:lnTo>
                  <a:lnTo>
                    <a:pt x="1656" y="754"/>
                  </a:lnTo>
                  <a:lnTo>
                    <a:pt x="1671" y="815"/>
                  </a:lnTo>
                  <a:lnTo>
                    <a:pt x="1683" y="877"/>
                  </a:lnTo>
                  <a:lnTo>
                    <a:pt x="1689" y="918"/>
                  </a:lnTo>
                  <a:lnTo>
                    <a:pt x="1694" y="952"/>
                  </a:lnTo>
                  <a:lnTo>
                    <a:pt x="1701" y="980"/>
                  </a:lnTo>
                  <a:lnTo>
                    <a:pt x="1707" y="1004"/>
                  </a:lnTo>
                  <a:lnTo>
                    <a:pt x="1715" y="1022"/>
                  </a:lnTo>
                  <a:lnTo>
                    <a:pt x="1726" y="1037"/>
                  </a:lnTo>
                  <a:lnTo>
                    <a:pt x="1738" y="1048"/>
                  </a:lnTo>
                  <a:lnTo>
                    <a:pt x="1753" y="1055"/>
                  </a:lnTo>
                  <a:lnTo>
                    <a:pt x="1774" y="1061"/>
                  </a:lnTo>
                  <a:lnTo>
                    <a:pt x="1798" y="1064"/>
                  </a:lnTo>
                  <a:lnTo>
                    <a:pt x="1827" y="1066"/>
                  </a:lnTo>
                  <a:lnTo>
                    <a:pt x="1861" y="1066"/>
                  </a:lnTo>
                  <a:lnTo>
                    <a:pt x="1902" y="1066"/>
                  </a:lnTo>
                  <a:close/>
                  <a:moveTo>
                    <a:pt x="367" y="1066"/>
                  </a:moveTo>
                  <a:lnTo>
                    <a:pt x="367" y="1066"/>
                  </a:lnTo>
                  <a:lnTo>
                    <a:pt x="441" y="1066"/>
                  </a:lnTo>
                  <a:lnTo>
                    <a:pt x="515" y="1066"/>
                  </a:lnTo>
                  <a:lnTo>
                    <a:pt x="532" y="1065"/>
                  </a:lnTo>
                  <a:lnTo>
                    <a:pt x="546" y="1061"/>
                  </a:lnTo>
                  <a:lnTo>
                    <a:pt x="557" y="1053"/>
                  </a:lnTo>
                  <a:lnTo>
                    <a:pt x="566" y="1042"/>
                  </a:lnTo>
                  <a:lnTo>
                    <a:pt x="571" y="1028"/>
                  </a:lnTo>
                  <a:lnTo>
                    <a:pt x="573" y="1012"/>
                  </a:lnTo>
                  <a:lnTo>
                    <a:pt x="580" y="933"/>
                  </a:lnTo>
                  <a:lnTo>
                    <a:pt x="591" y="856"/>
                  </a:lnTo>
                  <a:lnTo>
                    <a:pt x="610" y="779"/>
                  </a:lnTo>
                  <a:lnTo>
                    <a:pt x="631" y="704"/>
                  </a:lnTo>
                  <a:lnTo>
                    <a:pt x="657" y="630"/>
                  </a:lnTo>
                  <a:lnTo>
                    <a:pt x="662" y="614"/>
                  </a:lnTo>
                  <a:lnTo>
                    <a:pt x="663" y="601"/>
                  </a:lnTo>
                  <a:lnTo>
                    <a:pt x="660" y="591"/>
                  </a:lnTo>
                  <a:lnTo>
                    <a:pt x="654" y="581"/>
                  </a:lnTo>
                  <a:lnTo>
                    <a:pt x="643" y="573"/>
                  </a:lnTo>
                  <a:lnTo>
                    <a:pt x="628" y="567"/>
                  </a:lnTo>
                  <a:lnTo>
                    <a:pt x="578" y="547"/>
                  </a:lnTo>
                  <a:lnTo>
                    <a:pt x="529" y="524"/>
                  </a:lnTo>
                  <a:lnTo>
                    <a:pt x="482" y="498"/>
                  </a:lnTo>
                  <a:lnTo>
                    <a:pt x="464" y="489"/>
                  </a:lnTo>
                  <a:lnTo>
                    <a:pt x="448" y="484"/>
                  </a:lnTo>
                  <a:lnTo>
                    <a:pt x="433" y="483"/>
                  </a:lnTo>
                  <a:lnTo>
                    <a:pt x="419" y="486"/>
                  </a:lnTo>
                  <a:lnTo>
                    <a:pt x="406" y="494"/>
                  </a:lnTo>
                  <a:lnTo>
                    <a:pt x="395" y="505"/>
                  </a:lnTo>
                  <a:lnTo>
                    <a:pt x="382" y="519"/>
                  </a:lnTo>
                  <a:lnTo>
                    <a:pt x="335" y="582"/>
                  </a:lnTo>
                  <a:lnTo>
                    <a:pt x="296" y="646"/>
                  </a:lnTo>
                  <a:lnTo>
                    <a:pt x="261" y="714"/>
                  </a:lnTo>
                  <a:lnTo>
                    <a:pt x="232" y="783"/>
                  </a:lnTo>
                  <a:lnTo>
                    <a:pt x="208" y="855"/>
                  </a:lnTo>
                  <a:lnTo>
                    <a:pt x="189" y="929"/>
                  </a:lnTo>
                  <a:lnTo>
                    <a:pt x="176" y="1005"/>
                  </a:lnTo>
                  <a:lnTo>
                    <a:pt x="174" y="1023"/>
                  </a:lnTo>
                  <a:lnTo>
                    <a:pt x="176" y="1038"/>
                  </a:lnTo>
                  <a:lnTo>
                    <a:pt x="181" y="1050"/>
                  </a:lnTo>
                  <a:lnTo>
                    <a:pt x="189" y="1059"/>
                  </a:lnTo>
                  <a:lnTo>
                    <a:pt x="200" y="1064"/>
                  </a:lnTo>
                  <a:lnTo>
                    <a:pt x="215" y="1067"/>
                  </a:lnTo>
                  <a:lnTo>
                    <a:pt x="233" y="1067"/>
                  </a:lnTo>
                  <a:lnTo>
                    <a:pt x="300" y="1066"/>
                  </a:lnTo>
                  <a:lnTo>
                    <a:pt x="367" y="1066"/>
                  </a:lnTo>
                  <a:close/>
                  <a:moveTo>
                    <a:pt x="1072" y="861"/>
                  </a:moveTo>
                  <a:lnTo>
                    <a:pt x="1072" y="821"/>
                  </a:lnTo>
                  <a:lnTo>
                    <a:pt x="1072" y="788"/>
                  </a:lnTo>
                  <a:lnTo>
                    <a:pt x="1070" y="760"/>
                  </a:lnTo>
                  <a:lnTo>
                    <a:pt x="1068" y="737"/>
                  </a:lnTo>
                  <a:lnTo>
                    <a:pt x="1062" y="717"/>
                  </a:lnTo>
                  <a:lnTo>
                    <a:pt x="1055" y="701"/>
                  </a:lnTo>
                  <a:lnTo>
                    <a:pt x="1045" y="688"/>
                  </a:lnTo>
                  <a:lnTo>
                    <a:pt x="1031" y="679"/>
                  </a:lnTo>
                  <a:lnTo>
                    <a:pt x="1013" y="670"/>
                  </a:lnTo>
                  <a:lnTo>
                    <a:pt x="991" y="662"/>
                  </a:lnTo>
                  <a:lnTo>
                    <a:pt x="964" y="655"/>
                  </a:lnTo>
                  <a:lnTo>
                    <a:pt x="932" y="649"/>
                  </a:lnTo>
                  <a:lnTo>
                    <a:pt x="893" y="641"/>
                  </a:lnTo>
                  <a:lnTo>
                    <a:pt x="877" y="639"/>
                  </a:lnTo>
                  <a:lnTo>
                    <a:pt x="861" y="637"/>
                  </a:lnTo>
                  <a:lnTo>
                    <a:pt x="845" y="632"/>
                  </a:lnTo>
                  <a:lnTo>
                    <a:pt x="827" y="628"/>
                  </a:lnTo>
                  <a:lnTo>
                    <a:pt x="813" y="628"/>
                  </a:lnTo>
                  <a:lnTo>
                    <a:pt x="800" y="631"/>
                  </a:lnTo>
                  <a:lnTo>
                    <a:pt x="789" y="639"/>
                  </a:lnTo>
                  <a:lnTo>
                    <a:pt x="781" y="649"/>
                  </a:lnTo>
                  <a:lnTo>
                    <a:pt x="773" y="661"/>
                  </a:lnTo>
                  <a:lnTo>
                    <a:pt x="767" y="677"/>
                  </a:lnTo>
                  <a:lnTo>
                    <a:pt x="743" y="744"/>
                  </a:lnTo>
                  <a:lnTo>
                    <a:pt x="724" y="812"/>
                  </a:lnTo>
                  <a:lnTo>
                    <a:pt x="709" y="879"/>
                  </a:lnTo>
                  <a:lnTo>
                    <a:pt x="697" y="949"/>
                  </a:lnTo>
                  <a:lnTo>
                    <a:pt x="689" y="1019"/>
                  </a:lnTo>
                  <a:lnTo>
                    <a:pt x="689" y="1035"/>
                  </a:lnTo>
                  <a:lnTo>
                    <a:pt x="691" y="1047"/>
                  </a:lnTo>
                  <a:lnTo>
                    <a:pt x="696" y="1055"/>
                  </a:lnTo>
                  <a:lnTo>
                    <a:pt x="702" y="1061"/>
                  </a:lnTo>
                  <a:lnTo>
                    <a:pt x="712" y="1065"/>
                  </a:lnTo>
                  <a:lnTo>
                    <a:pt x="722" y="1067"/>
                  </a:lnTo>
                  <a:lnTo>
                    <a:pt x="736" y="1067"/>
                  </a:lnTo>
                  <a:lnTo>
                    <a:pt x="874" y="1066"/>
                  </a:lnTo>
                  <a:lnTo>
                    <a:pt x="1012" y="1067"/>
                  </a:lnTo>
                  <a:lnTo>
                    <a:pt x="1030" y="1066"/>
                  </a:lnTo>
                  <a:lnTo>
                    <a:pt x="1044" y="1062"/>
                  </a:lnTo>
                  <a:lnTo>
                    <a:pt x="1056" y="1055"/>
                  </a:lnTo>
                  <a:lnTo>
                    <a:pt x="1063" y="1046"/>
                  </a:lnTo>
                  <a:lnTo>
                    <a:pt x="1069" y="1034"/>
                  </a:lnTo>
                  <a:lnTo>
                    <a:pt x="1072" y="1019"/>
                  </a:lnTo>
                  <a:lnTo>
                    <a:pt x="1072" y="1003"/>
                  </a:lnTo>
                  <a:lnTo>
                    <a:pt x="1072" y="932"/>
                  </a:lnTo>
                  <a:lnTo>
                    <a:pt x="1072" y="861"/>
                  </a:lnTo>
                  <a:close/>
                  <a:moveTo>
                    <a:pt x="1199" y="861"/>
                  </a:moveTo>
                  <a:lnTo>
                    <a:pt x="1199" y="861"/>
                  </a:lnTo>
                  <a:lnTo>
                    <a:pt x="1199" y="935"/>
                  </a:lnTo>
                  <a:lnTo>
                    <a:pt x="1199" y="1008"/>
                  </a:lnTo>
                  <a:lnTo>
                    <a:pt x="1200" y="1026"/>
                  </a:lnTo>
                  <a:lnTo>
                    <a:pt x="1204" y="1041"/>
                  </a:lnTo>
                  <a:lnTo>
                    <a:pt x="1213" y="1053"/>
                  </a:lnTo>
                  <a:lnTo>
                    <a:pt x="1223" y="1061"/>
                  </a:lnTo>
                  <a:lnTo>
                    <a:pt x="1239" y="1066"/>
                  </a:lnTo>
                  <a:lnTo>
                    <a:pt x="1258" y="1067"/>
                  </a:lnTo>
                  <a:lnTo>
                    <a:pt x="1538" y="1067"/>
                  </a:lnTo>
                  <a:lnTo>
                    <a:pt x="1556" y="1066"/>
                  </a:lnTo>
                  <a:lnTo>
                    <a:pt x="1567" y="1062"/>
                  </a:lnTo>
                  <a:lnTo>
                    <a:pt x="1575" y="1054"/>
                  </a:lnTo>
                  <a:lnTo>
                    <a:pt x="1580" y="1045"/>
                  </a:lnTo>
                  <a:lnTo>
                    <a:pt x="1581" y="1032"/>
                  </a:lnTo>
                  <a:lnTo>
                    <a:pt x="1581" y="1015"/>
                  </a:lnTo>
                  <a:lnTo>
                    <a:pt x="1574" y="948"/>
                  </a:lnTo>
                  <a:lnTo>
                    <a:pt x="1562" y="881"/>
                  </a:lnTo>
                  <a:lnTo>
                    <a:pt x="1547" y="816"/>
                  </a:lnTo>
                  <a:lnTo>
                    <a:pt x="1530" y="752"/>
                  </a:lnTo>
                  <a:lnTo>
                    <a:pt x="1509" y="687"/>
                  </a:lnTo>
                  <a:lnTo>
                    <a:pt x="1501" y="667"/>
                  </a:lnTo>
                  <a:lnTo>
                    <a:pt x="1491" y="651"/>
                  </a:lnTo>
                  <a:lnTo>
                    <a:pt x="1480" y="639"/>
                  </a:lnTo>
                  <a:lnTo>
                    <a:pt x="1466" y="631"/>
                  </a:lnTo>
                  <a:lnTo>
                    <a:pt x="1451" y="628"/>
                  </a:lnTo>
                  <a:lnTo>
                    <a:pt x="1432" y="629"/>
                  </a:lnTo>
                  <a:lnTo>
                    <a:pt x="1411" y="635"/>
                  </a:lnTo>
                  <a:lnTo>
                    <a:pt x="1379" y="642"/>
                  </a:lnTo>
                  <a:lnTo>
                    <a:pt x="1348" y="647"/>
                  </a:lnTo>
                  <a:lnTo>
                    <a:pt x="1317" y="651"/>
                  </a:lnTo>
                  <a:lnTo>
                    <a:pt x="1286" y="653"/>
                  </a:lnTo>
                  <a:lnTo>
                    <a:pt x="1264" y="656"/>
                  </a:lnTo>
                  <a:lnTo>
                    <a:pt x="1245" y="660"/>
                  </a:lnTo>
                  <a:lnTo>
                    <a:pt x="1229" y="667"/>
                  </a:lnTo>
                  <a:lnTo>
                    <a:pt x="1216" y="676"/>
                  </a:lnTo>
                  <a:lnTo>
                    <a:pt x="1206" y="689"/>
                  </a:lnTo>
                  <a:lnTo>
                    <a:pt x="1200" y="705"/>
                  </a:lnTo>
                  <a:lnTo>
                    <a:pt x="1197" y="726"/>
                  </a:lnTo>
                  <a:lnTo>
                    <a:pt x="1198" y="749"/>
                  </a:lnTo>
                  <a:lnTo>
                    <a:pt x="1200" y="786"/>
                  </a:lnTo>
                  <a:lnTo>
                    <a:pt x="1200" y="823"/>
                  </a:lnTo>
                  <a:lnTo>
                    <a:pt x="1199" y="861"/>
                  </a:lnTo>
                  <a:close/>
                  <a:moveTo>
                    <a:pt x="881" y="1186"/>
                  </a:moveTo>
                  <a:lnTo>
                    <a:pt x="733" y="1186"/>
                  </a:lnTo>
                  <a:lnTo>
                    <a:pt x="719" y="1187"/>
                  </a:lnTo>
                  <a:lnTo>
                    <a:pt x="707" y="1189"/>
                  </a:lnTo>
                  <a:lnTo>
                    <a:pt x="699" y="1195"/>
                  </a:lnTo>
                  <a:lnTo>
                    <a:pt x="692" y="1202"/>
                  </a:lnTo>
                  <a:lnTo>
                    <a:pt x="689" y="1214"/>
                  </a:lnTo>
                  <a:lnTo>
                    <a:pt x="688" y="1231"/>
                  </a:lnTo>
                  <a:lnTo>
                    <a:pt x="697" y="1304"/>
                  </a:lnTo>
                  <a:lnTo>
                    <a:pt x="709" y="1376"/>
                  </a:lnTo>
                  <a:lnTo>
                    <a:pt x="725" y="1447"/>
                  </a:lnTo>
                  <a:lnTo>
                    <a:pt x="746" y="1517"/>
                  </a:lnTo>
                  <a:lnTo>
                    <a:pt x="770" y="1586"/>
                  </a:lnTo>
                  <a:lnTo>
                    <a:pt x="775" y="1597"/>
                  </a:lnTo>
                  <a:lnTo>
                    <a:pt x="782" y="1608"/>
                  </a:lnTo>
                  <a:lnTo>
                    <a:pt x="790" y="1617"/>
                  </a:lnTo>
                  <a:lnTo>
                    <a:pt x="800" y="1622"/>
                  </a:lnTo>
                  <a:lnTo>
                    <a:pt x="813" y="1624"/>
                  </a:lnTo>
                  <a:lnTo>
                    <a:pt x="828" y="1623"/>
                  </a:lnTo>
                  <a:lnTo>
                    <a:pt x="921" y="1606"/>
                  </a:lnTo>
                  <a:lnTo>
                    <a:pt x="1015" y="1593"/>
                  </a:lnTo>
                  <a:lnTo>
                    <a:pt x="1035" y="1589"/>
                  </a:lnTo>
                  <a:lnTo>
                    <a:pt x="1050" y="1581"/>
                  </a:lnTo>
                  <a:lnTo>
                    <a:pt x="1061" y="1571"/>
                  </a:lnTo>
                  <a:lnTo>
                    <a:pt x="1068" y="1558"/>
                  </a:lnTo>
                  <a:lnTo>
                    <a:pt x="1072" y="1542"/>
                  </a:lnTo>
                  <a:lnTo>
                    <a:pt x="1072" y="1522"/>
                  </a:lnTo>
                  <a:lnTo>
                    <a:pt x="1072" y="1417"/>
                  </a:lnTo>
                  <a:lnTo>
                    <a:pt x="1072" y="1311"/>
                  </a:lnTo>
                  <a:lnTo>
                    <a:pt x="1072" y="1277"/>
                  </a:lnTo>
                  <a:lnTo>
                    <a:pt x="1071" y="1251"/>
                  </a:lnTo>
                  <a:lnTo>
                    <a:pt x="1069" y="1229"/>
                  </a:lnTo>
                  <a:lnTo>
                    <a:pt x="1064" y="1213"/>
                  </a:lnTo>
                  <a:lnTo>
                    <a:pt x="1058" y="1202"/>
                  </a:lnTo>
                  <a:lnTo>
                    <a:pt x="1046" y="1195"/>
                  </a:lnTo>
                  <a:lnTo>
                    <a:pt x="1031" y="1189"/>
                  </a:lnTo>
                  <a:lnTo>
                    <a:pt x="1011" y="1187"/>
                  </a:lnTo>
                  <a:lnTo>
                    <a:pt x="985" y="1186"/>
                  </a:lnTo>
                  <a:lnTo>
                    <a:pt x="951" y="1186"/>
                  </a:lnTo>
                  <a:lnTo>
                    <a:pt x="881" y="1186"/>
                  </a:lnTo>
                  <a:close/>
                  <a:moveTo>
                    <a:pt x="1199" y="1387"/>
                  </a:moveTo>
                  <a:lnTo>
                    <a:pt x="1200" y="1455"/>
                  </a:lnTo>
                  <a:lnTo>
                    <a:pt x="1198" y="1521"/>
                  </a:lnTo>
                  <a:lnTo>
                    <a:pt x="1199" y="1543"/>
                  </a:lnTo>
                  <a:lnTo>
                    <a:pt x="1203" y="1560"/>
                  </a:lnTo>
                  <a:lnTo>
                    <a:pt x="1212" y="1574"/>
                  </a:lnTo>
                  <a:lnTo>
                    <a:pt x="1225" y="1583"/>
                  </a:lnTo>
                  <a:lnTo>
                    <a:pt x="1241" y="1591"/>
                  </a:lnTo>
                  <a:lnTo>
                    <a:pt x="1261" y="1595"/>
                  </a:lnTo>
                  <a:lnTo>
                    <a:pt x="1317" y="1602"/>
                  </a:lnTo>
                  <a:lnTo>
                    <a:pt x="1373" y="1609"/>
                  </a:lnTo>
                  <a:lnTo>
                    <a:pt x="1428" y="1620"/>
                  </a:lnTo>
                  <a:lnTo>
                    <a:pt x="1447" y="1623"/>
                  </a:lnTo>
                  <a:lnTo>
                    <a:pt x="1462" y="1622"/>
                  </a:lnTo>
                  <a:lnTo>
                    <a:pt x="1475" y="1617"/>
                  </a:lnTo>
                  <a:lnTo>
                    <a:pt x="1486" y="1608"/>
                  </a:lnTo>
                  <a:lnTo>
                    <a:pt x="1494" y="1595"/>
                  </a:lnTo>
                  <a:lnTo>
                    <a:pt x="1502" y="1579"/>
                  </a:lnTo>
                  <a:lnTo>
                    <a:pt x="1527" y="1511"/>
                  </a:lnTo>
                  <a:lnTo>
                    <a:pt x="1547" y="1443"/>
                  </a:lnTo>
                  <a:lnTo>
                    <a:pt x="1563" y="1373"/>
                  </a:lnTo>
                  <a:lnTo>
                    <a:pt x="1575" y="1301"/>
                  </a:lnTo>
                  <a:lnTo>
                    <a:pt x="1578" y="1271"/>
                  </a:lnTo>
                  <a:lnTo>
                    <a:pt x="1580" y="1246"/>
                  </a:lnTo>
                  <a:lnTo>
                    <a:pt x="1580" y="1226"/>
                  </a:lnTo>
                  <a:lnTo>
                    <a:pt x="1577" y="1212"/>
                  </a:lnTo>
                  <a:lnTo>
                    <a:pt x="1571" y="1201"/>
                  </a:lnTo>
                  <a:lnTo>
                    <a:pt x="1561" y="1195"/>
                  </a:lnTo>
                  <a:lnTo>
                    <a:pt x="1546" y="1189"/>
                  </a:lnTo>
                  <a:lnTo>
                    <a:pt x="1526" y="1187"/>
                  </a:lnTo>
                  <a:lnTo>
                    <a:pt x="1500" y="1186"/>
                  </a:lnTo>
                  <a:lnTo>
                    <a:pt x="1468" y="1186"/>
                  </a:lnTo>
                  <a:lnTo>
                    <a:pt x="1398" y="1186"/>
                  </a:lnTo>
                  <a:lnTo>
                    <a:pt x="1352" y="1186"/>
                  </a:lnTo>
                  <a:lnTo>
                    <a:pt x="1314" y="1187"/>
                  </a:lnTo>
                  <a:lnTo>
                    <a:pt x="1283" y="1189"/>
                  </a:lnTo>
                  <a:lnTo>
                    <a:pt x="1258" y="1194"/>
                  </a:lnTo>
                  <a:lnTo>
                    <a:pt x="1239" y="1201"/>
                  </a:lnTo>
                  <a:lnTo>
                    <a:pt x="1225" y="1212"/>
                  </a:lnTo>
                  <a:lnTo>
                    <a:pt x="1214" y="1227"/>
                  </a:lnTo>
                  <a:lnTo>
                    <a:pt x="1206" y="1246"/>
                  </a:lnTo>
                  <a:lnTo>
                    <a:pt x="1202" y="1271"/>
                  </a:lnTo>
                  <a:lnTo>
                    <a:pt x="1200" y="1303"/>
                  </a:lnTo>
                  <a:lnTo>
                    <a:pt x="1199" y="1342"/>
                  </a:lnTo>
                  <a:lnTo>
                    <a:pt x="1199" y="1387"/>
                  </a:lnTo>
                  <a:close/>
                  <a:moveTo>
                    <a:pt x="914" y="2055"/>
                  </a:moveTo>
                  <a:lnTo>
                    <a:pt x="868" y="1994"/>
                  </a:lnTo>
                  <a:lnTo>
                    <a:pt x="825" y="1932"/>
                  </a:lnTo>
                  <a:lnTo>
                    <a:pt x="783" y="1870"/>
                  </a:lnTo>
                  <a:lnTo>
                    <a:pt x="743" y="1807"/>
                  </a:lnTo>
                  <a:lnTo>
                    <a:pt x="734" y="1796"/>
                  </a:lnTo>
                  <a:lnTo>
                    <a:pt x="725" y="1788"/>
                  </a:lnTo>
                  <a:lnTo>
                    <a:pt x="715" y="1784"/>
                  </a:lnTo>
                  <a:lnTo>
                    <a:pt x="703" y="1783"/>
                  </a:lnTo>
                  <a:lnTo>
                    <a:pt x="689" y="1787"/>
                  </a:lnTo>
                  <a:lnTo>
                    <a:pt x="647" y="1803"/>
                  </a:lnTo>
                  <a:lnTo>
                    <a:pt x="605" y="1822"/>
                  </a:lnTo>
                  <a:lnTo>
                    <a:pt x="562" y="1842"/>
                  </a:lnTo>
                  <a:lnTo>
                    <a:pt x="520" y="1869"/>
                  </a:lnTo>
                  <a:lnTo>
                    <a:pt x="571" y="1910"/>
                  </a:lnTo>
                  <a:lnTo>
                    <a:pt x="624" y="1945"/>
                  </a:lnTo>
                  <a:lnTo>
                    <a:pt x="678" y="1976"/>
                  </a:lnTo>
                  <a:lnTo>
                    <a:pt x="734" y="2002"/>
                  </a:lnTo>
                  <a:lnTo>
                    <a:pt x="792" y="2023"/>
                  </a:lnTo>
                  <a:lnTo>
                    <a:pt x="853" y="2042"/>
                  </a:lnTo>
                  <a:lnTo>
                    <a:pt x="914" y="2055"/>
                  </a:lnTo>
                  <a:close/>
                  <a:moveTo>
                    <a:pt x="913" y="194"/>
                  </a:moveTo>
                  <a:lnTo>
                    <a:pt x="859" y="205"/>
                  </a:lnTo>
                  <a:lnTo>
                    <a:pt x="807" y="219"/>
                  </a:lnTo>
                  <a:lnTo>
                    <a:pt x="758" y="237"/>
                  </a:lnTo>
                  <a:lnTo>
                    <a:pt x="710" y="259"/>
                  </a:lnTo>
                  <a:lnTo>
                    <a:pt x="663" y="285"/>
                  </a:lnTo>
                  <a:lnTo>
                    <a:pt x="646" y="293"/>
                  </a:lnTo>
                  <a:lnTo>
                    <a:pt x="628" y="302"/>
                  </a:lnTo>
                  <a:lnTo>
                    <a:pt x="610" y="311"/>
                  </a:lnTo>
                  <a:lnTo>
                    <a:pt x="590" y="321"/>
                  </a:lnTo>
                  <a:lnTo>
                    <a:pt x="574" y="332"/>
                  </a:lnTo>
                  <a:lnTo>
                    <a:pt x="559" y="343"/>
                  </a:lnTo>
                  <a:lnTo>
                    <a:pt x="548" y="355"/>
                  </a:lnTo>
                  <a:lnTo>
                    <a:pt x="543" y="368"/>
                  </a:lnTo>
                  <a:lnTo>
                    <a:pt x="542" y="384"/>
                  </a:lnTo>
                  <a:lnTo>
                    <a:pt x="546" y="397"/>
                  </a:lnTo>
                  <a:lnTo>
                    <a:pt x="555" y="409"/>
                  </a:lnTo>
                  <a:lnTo>
                    <a:pt x="568" y="419"/>
                  </a:lnTo>
                  <a:lnTo>
                    <a:pt x="582" y="426"/>
                  </a:lnTo>
                  <a:lnTo>
                    <a:pt x="599" y="434"/>
                  </a:lnTo>
                  <a:lnTo>
                    <a:pt x="617" y="439"/>
                  </a:lnTo>
                  <a:lnTo>
                    <a:pt x="635" y="445"/>
                  </a:lnTo>
                  <a:lnTo>
                    <a:pt x="654" y="451"/>
                  </a:lnTo>
                  <a:lnTo>
                    <a:pt x="672" y="456"/>
                  </a:lnTo>
                  <a:lnTo>
                    <a:pt x="689" y="464"/>
                  </a:lnTo>
                  <a:lnTo>
                    <a:pt x="702" y="468"/>
                  </a:lnTo>
                  <a:lnTo>
                    <a:pt x="714" y="468"/>
                  </a:lnTo>
                  <a:lnTo>
                    <a:pt x="725" y="465"/>
                  </a:lnTo>
                  <a:lnTo>
                    <a:pt x="734" y="459"/>
                  </a:lnTo>
                  <a:lnTo>
                    <a:pt x="742" y="447"/>
                  </a:lnTo>
                  <a:lnTo>
                    <a:pt x="781" y="382"/>
                  </a:lnTo>
                  <a:lnTo>
                    <a:pt x="822" y="320"/>
                  </a:lnTo>
                  <a:lnTo>
                    <a:pt x="868" y="258"/>
                  </a:lnTo>
                  <a:lnTo>
                    <a:pt x="913" y="194"/>
                  </a:lnTo>
                  <a:close/>
                  <a:moveTo>
                    <a:pt x="1344" y="184"/>
                  </a:moveTo>
                  <a:lnTo>
                    <a:pt x="1374" y="223"/>
                  </a:lnTo>
                  <a:lnTo>
                    <a:pt x="1402" y="261"/>
                  </a:lnTo>
                  <a:lnTo>
                    <a:pt x="1428" y="295"/>
                  </a:lnTo>
                  <a:lnTo>
                    <a:pt x="1452" y="329"/>
                  </a:lnTo>
                  <a:lnTo>
                    <a:pt x="1475" y="362"/>
                  </a:lnTo>
                  <a:lnTo>
                    <a:pt x="1493" y="388"/>
                  </a:lnTo>
                  <a:lnTo>
                    <a:pt x="1508" y="410"/>
                  </a:lnTo>
                  <a:lnTo>
                    <a:pt x="1522" y="428"/>
                  </a:lnTo>
                  <a:lnTo>
                    <a:pt x="1535" y="442"/>
                  </a:lnTo>
                  <a:lnTo>
                    <a:pt x="1547" y="452"/>
                  </a:lnTo>
                  <a:lnTo>
                    <a:pt x="1559" y="459"/>
                  </a:lnTo>
                  <a:lnTo>
                    <a:pt x="1571" y="462"/>
                  </a:lnTo>
                  <a:lnTo>
                    <a:pt x="1585" y="462"/>
                  </a:lnTo>
                  <a:lnTo>
                    <a:pt x="1600" y="459"/>
                  </a:lnTo>
                  <a:lnTo>
                    <a:pt x="1617" y="452"/>
                  </a:lnTo>
                  <a:lnTo>
                    <a:pt x="1637" y="442"/>
                  </a:lnTo>
                  <a:lnTo>
                    <a:pt x="1662" y="431"/>
                  </a:lnTo>
                  <a:lnTo>
                    <a:pt x="1690" y="416"/>
                  </a:lnTo>
                  <a:lnTo>
                    <a:pt x="1708" y="406"/>
                  </a:lnTo>
                  <a:lnTo>
                    <a:pt x="1723" y="397"/>
                  </a:lnTo>
                  <a:lnTo>
                    <a:pt x="1732" y="389"/>
                  </a:lnTo>
                  <a:lnTo>
                    <a:pt x="1734" y="379"/>
                  </a:lnTo>
                  <a:lnTo>
                    <a:pt x="1731" y="371"/>
                  </a:lnTo>
                  <a:lnTo>
                    <a:pt x="1723" y="361"/>
                  </a:lnTo>
                  <a:lnTo>
                    <a:pt x="1710" y="350"/>
                  </a:lnTo>
                  <a:lnTo>
                    <a:pt x="1665" y="319"/>
                  </a:lnTo>
                  <a:lnTo>
                    <a:pt x="1618" y="290"/>
                  </a:lnTo>
                  <a:lnTo>
                    <a:pt x="1569" y="263"/>
                  </a:lnTo>
                  <a:lnTo>
                    <a:pt x="1517" y="240"/>
                  </a:lnTo>
                  <a:lnTo>
                    <a:pt x="1463" y="218"/>
                  </a:lnTo>
                  <a:lnTo>
                    <a:pt x="1405" y="200"/>
                  </a:lnTo>
                  <a:lnTo>
                    <a:pt x="1344" y="184"/>
                  </a:lnTo>
                  <a:close/>
                  <a:moveTo>
                    <a:pt x="1357" y="2056"/>
                  </a:moveTo>
                  <a:lnTo>
                    <a:pt x="1413" y="2045"/>
                  </a:lnTo>
                  <a:lnTo>
                    <a:pt x="1468" y="2030"/>
                  </a:lnTo>
                  <a:lnTo>
                    <a:pt x="1520" y="2011"/>
                  </a:lnTo>
                  <a:lnTo>
                    <a:pt x="1571" y="1987"/>
                  </a:lnTo>
                  <a:lnTo>
                    <a:pt x="1620" y="1961"/>
                  </a:lnTo>
                  <a:lnTo>
                    <a:pt x="1669" y="1932"/>
                  </a:lnTo>
                  <a:lnTo>
                    <a:pt x="1679" y="1925"/>
                  </a:lnTo>
                  <a:lnTo>
                    <a:pt x="1692" y="1918"/>
                  </a:lnTo>
                  <a:lnTo>
                    <a:pt x="1704" y="1911"/>
                  </a:lnTo>
                  <a:lnTo>
                    <a:pt x="1715" y="1903"/>
                  </a:lnTo>
                  <a:lnTo>
                    <a:pt x="1723" y="1894"/>
                  </a:lnTo>
                  <a:lnTo>
                    <a:pt x="1730" y="1884"/>
                  </a:lnTo>
                  <a:lnTo>
                    <a:pt x="1732" y="1872"/>
                  </a:lnTo>
                  <a:lnTo>
                    <a:pt x="1730" y="1860"/>
                  </a:lnTo>
                  <a:lnTo>
                    <a:pt x="1724" y="1851"/>
                  </a:lnTo>
                  <a:lnTo>
                    <a:pt x="1717" y="1844"/>
                  </a:lnTo>
                  <a:lnTo>
                    <a:pt x="1706" y="1840"/>
                  </a:lnTo>
                  <a:lnTo>
                    <a:pt x="1695" y="1836"/>
                  </a:lnTo>
                  <a:lnTo>
                    <a:pt x="1684" y="1832"/>
                  </a:lnTo>
                  <a:lnTo>
                    <a:pt x="1673" y="1828"/>
                  </a:lnTo>
                  <a:lnTo>
                    <a:pt x="1662" y="1824"/>
                  </a:lnTo>
                  <a:lnTo>
                    <a:pt x="1635" y="1811"/>
                  </a:lnTo>
                  <a:lnTo>
                    <a:pt x="1607" y="1800"/>
                  </a:lnTo>
                  <a:lnTo>
                    <a:pt x="1578" y="1788"/>
                  </a:lnTo>
                  <a:lnTo>
                    <a:pt x="1566" y="1785"/>
                  </a:lnTo>
                  <a:lnTo>
                    <a:pt x="1556" y="1784"/>
                  </a:lnTo>
                  <a:lnTo>
                    <a:pt x="1546" y="1786"/>
                  </a:lnTo>
                  <a:lnTo>
                    <a:pt x="1537" y="1792"/>
                  </a:lnTo>
                  <a:lnTo>
                    <a:pt x="1530" y="1801"/>
                  </a:lnTo>
                  <a:lnTo>
                    <a:pt x="1499" y="1855"/>
                  </a:lnTo>
                  <a:lnTo>
                    <a:pt x="1465" y="1906"/>
                  </a:lnTo>
                  <a:lnTo>
                    <a:pt x="1430" y="1957"/>
                  </a:lnTo>
                  <a:lnTo>
                    <a:pt x="1393" y="2006"/>
                  </a:lnTo>
                  <a:lnTo>
                    <a:pt x="1357" y="2056"/>
                  </a:lnTo>
                  <a:close/>
                  <a:moveTo>
                    <a:pt x="1071" y="235"/>
                  </a:moveTo>
                  <a:lnTo>
                    <a:pt x="1054" y="229"/>
                  </a:lnTo>
                  <a:lnTo>
                    <a:pt x="1014" y="274"/>
                  </a:lnTo>
                  <a:lnTo>
                    <a:pt x="975" y="320"/>
                  </a:lnTo>
                  <a:lnTo>
                    <a:pt x="938" y="366"/>
                  </a:lnTo>
                  <a:lnTo>
                    <a:pt x="902" y="415"/>
                  </a:lnTo>
                  <a:lnTo>
                    <a:pt x="870" y="466"/>
                  </a:lnTo>
                  <a:lnTo>
                    <a:pt x="865" y="474"/>
                  </a:lnTo>
                  <a:lnTo>
                    <a:pt x="860" y="481"/>
                  </a:lnTo>
                  <a:lnTo>
                    <a:pt x="857" y="490"/>
                  </a:lnTo>
                  <a:lnTo>
                    <a:pt x="856" y="497"/>
                  </a:lnTo>
                  <a:lnTo>
                    <a:pt x="860" y="504"/>
                  </a:lnTo>
                  <a:lnTo>
                    <a:pt x="877" y="515"/>
                  </a:lnTo>
                  <a:lnTo>
                    <a:pt x="896" y="524"/>
                  </a:lnTo>
                  <a:lnTo>
                    <a:pt x="914" y="528"/>
                  </a:lnTo>
                  <a:lnTo>
                    <a:pt x="934" y="532"/>
                  </a:lnTo>
                  <a:lnTo>
                    <a:pt x="954" y="533"/>
                  </a:lnTo>
                  <a:lnTo>
                    <a:pt x="974" y="535"/>
                  </a:lnTo>
                  <a:lnTo>
                    <a:pt x="993" y="537"/>
                  </a:lnTo>
                  <a:lnTo>
                    <a:pt x="1013" y="541"/>
                  </a:lnTo>
                  <a:lnTo>
                    <a:pt x="1024" y="544"/>
                  </a:lnTo>
                  <a:lnTo>
                    <a:pt x="1035" y="544"/>
                  </a:lnTo>
                  <a:lnTo>
                    <a:pt x="1046" y="542"/>
                  </a:lnTo>
                  <a:lnTo>
                    <a:pt x="1056" y="537"/>
                  </a:lnTo>
                  <a:lnTo>
                    <a:pt x="1063" y="527"/>
                  </a:lnTo>
                  <a:lnTo>
                    <a:pt x="1069" y="514"/>
                  </a:lnTo>
                  <a:lnTo>
                    <a:pt x="1071" y="500"/>
                  </a:lnTo>
                  <a:lnTo>
                    <a:pt x="1071" y="235"/>
                  </a:lnTo>
                  <a:close/>
                  <a:moveTo>
                    <a:pt x="1200" y="235"/>
                  </a:moveTo>
                  <a:lnTo>
                    <a:pt x="1200" y="371"/>
                  </a:lnTo>
                  <a:lnTo>
                    <a:pt x="1201" y="506"/>
                  </a:lnTo>
                  <a:lnTo>
                    <a:pt x="1202" y="519"/>
                  </a:lnTo>
                  <a:lnTo>
                    <a:pt x="1207" y="529"/>
                  </a:lnTo>
                  <a:lnTo>
                    <a:pt x="1214" y="537"/>
                  </a:lnTo>
                  <a:lnTo>
                    <a:pt x="1223" y="541"/>
                  </a:lnTo>
                  <a:lnTo>
                    <a:pt x="1235" y="543"/>
                  </a:lnTo>
                  <a:lnTo>
                    <a:pt x="1248" y="543"/>
                  </a:lnTo>
                  <a:lnTo>
                    <a:pt x="1314" y="533"/>
                  </a:lnTo>
                  <a:lnTo>
                    <a:pt x="1379" y="521"/>
                  </a:lnTo>
                  <a:lnTo>
                    <a:pt x="1394" y="518"/>
                  </a:lnTo>
                  <a:lnTo>
                    <a:pt x="1405" y="511"/>
                  </a:lnTo>
                  <a:lnTo>
                    <a:pt x="1412" y="504"/>
                  </a:lnTo>
                  <a:lnTo>
                    <a:pt x="1413" y="494"/>
                  </a:lnTo>
                  <a:lnTo>
                    <a:pt x="1409" y="482"/>
                  </a:lnTo>
                  <a:lnTo>
                    <a:pt x="1402" y="468"/>
                  </a:lnTo>
                  <a:lnTo>
                    <a:pt x="1370" y="417"/>
                  </a:lnTo>
                  <a:lnTo>
                    <a:pt x="1334" y="368"/>
                  </a:lnTo>
                  <a:lnTo>
                    <a:pt x="1293" y="322"/>
                  </a:lnTo>
                  <a:lnTo>
                    <a:pt x="1249" y="277"/>
                  </a:lnTo>
                  <a:lnTo>
                    <a:pt x="1200" y="235"/>
                  </a:lnTo>
                  <a:close/>
                  <a:moveTo>
                    <a:pt x="1072" y="1872"/>
                  </a:moveTo>
                  <a:lnTo>
                    <a:pt x="1071" y="1872"/>
                  </a:lnTo>
                  <a:lnTo>
                    <a:pt x="1071" y="1752"/>
                  </a:lnTo>
                  <a:lnTo>
                    <a:pt x="1069" y="1737"/>
                  </a:lnTo>
                  <a:lnTo>
                    <a:pt x="1063" y="1724"/>
                  </a:lnTo>
                  <a:lnTo>
                    <a:pt x="1055" y="1715"/>
                  </a:lnTo>
                  <a:lnTo>
                    <a:pt x="1042" y="1711"/>
                  </a:lnTo>
                  <a:lnTo>
                    <a:pt x="1027" y="1710"/>
                  </a:lnTo>
                  <a:lnTo>
                    <a:pt x="957" y="1721"/>
                  </a:lnTo>
                  <a:lnTo>
                    <a:pt x="888" y="1733"/>
                  </a:lnTo>
                  <a:lnTo>
                    <a:pt x="876" y="1735"/>
                  </a:lnTo>
                  <a:lnTo>
                    <a:pt x="867" y="1740"/>
                  </a:lnTo>
                  <a:lnTo>
                    <a:pt x="860" y="1745"/>
                  </a:lnTo>
                  <a:lnTo>
                    <a:pt x="858" y="1754"/>
                  </a:lnTo>
                  <a:lnTo>
                    <a:pt x="859" y="1764"/>
                  </a:lnTo>
                  <a:lnTo>
                    <a:pt x="864" y="1777"/>
                  </a:lnTo>
                  <a:lnTo>
                    <a:pt x="902" y="1836"/>
                  </a:lnTo>
                  <a:lnTo>
                    <a:pt x="943" y="1894"/>
                  </a:lnTo>
                  <a:lnTo>
                    <a:pt x="987" y="1947"/>
                  </a:lnTo>
                  <a:lnTo>
                    <a:pt x="1036" y="1999"/>
                  </a:lnTo>
                  <a:lnTo>
                    <a:pt x="1047" y="2007"/>
                  </a:lnTo>
                  <a:lnTo>
                    <a:pt x="1057" y="2011"/>
                  </a:lnTo>
                  <a:lnTo>
                    <a:pt x="1064" y="2007"/>
                  </a:lnTo>
                  <a:lnTo>
                    <a:pt x="1069" y="1999"/>
                  </a:lnTo>
                  <a:lnTo>
                    <a:pt x="1071" y="1985"/>
                  </a:lnTo>
                  <a:lnTo>
                    <a:pt x="1072" y="1928"/>
                  </a:lnTo>
                  <a:lnTo>
                    <a:pt x="1072" y="1872"/>
                  </a:lnTo>
                  <a:close/>
                  <a:moveTo>
                    <a:pt x="1200" y="2025"/>
                  </a:moveTo>
                  <a:lnTo>
                    <a:pt x="1245" y="1986"/>
                  </a:lnTo>
                  <a:lnTo>
                    <a:pt x="1284" y="1946"/>
                  </a:lnTo>
                  <a:lnTo>
                    <a:pt x="1318" y="1905"/>
                  </a:lnTo>
                  <a:lnTo>
                    <a:pt x="1349" y="1864"/>
                  </a:lnTo>
                  <a:lnTo>
                    <a:pt x="1377" y="1822"/>
                  </a:lnTo>
                  <a:lnTo>
                    <a:pt x="1404" y="1779"/>
                  </a:lnTo>
                  <a:lnTo>
                    <a:pt x="1408" y="1772"/>
                  </a:lnTo>
                  <a:lnTo>
                    <a:pt x="1412" y="1764"/>
                  </a:lnTo>
                  <a:lnTo>
                    <a:pt x="1414" y="1756"/>
                  </a:lnTo>
                  <a:lnTo>
                    <a:pt x="1413" y="1750"/>
                  </a:lnTo>
                  <a:lnTo>
                    <a:pt x="1408" y="1743"/>
                  </a:lnTo>
                  <a:lnTo>
                    <a:pt x="1400" y="1738"/>
                  </a:lnTo>
                  <a:lnTo>
                    <a:pt x="1357" y="1726"/>
                  </a:lnTo>
                  <a:lnTo>
                    <a:pt x="1314" y="1719"/>
                  </a:lnTo>
                  <a:lnTo>
                    <a:pt x="1271" y="1714"/>
                  </a:lnTo>
                  <a:lnTo>
                    <a:pt x="1227" y="1712"/>
                  </a:lnTo>
                  <a:lnTo>
                    <a:pt x="1216" y="1714"/>
                  </a:lnTo>
                  <a:lnTo>
                    <a:pt x="1209" y="1721"/>
                  </a:lnTo>
                  <a:lnTo>
                    <a:pt x="1204" y="1728"/>
                  </a:lnTo>
                  <a:lnTo>
                    <a:pt x="1201" y="1739"/>
                  </a:lnTo>
                  <a:lnTo>
                    <a:pt x="1201" y="1749"/>
                  </a:lnTo>
                  <a:lnTo>
                    <a:pt x="1200" y="1814"/>
                  </a:lnTo>
                  <a:lnTo>
                    <a:pt x="1200" y="1880"/>
                  </a:lnTo>
                  <a:lnTo>
                    <a:pt x="1200" y="1949"/>
                  </a:lnTo>
                  <a:lnTo>
                    <a:pt x="1200" y="202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20"/>
            <p:cNvSpPr>
              <a:spLocks/>
            </p:cNvSpPr>
            <p:nvPr/>
          </p:nvSpPr>
          <p:spPr bwMode="auto">
            <a:xfrm>
              <a:off x="2842" y="3419"/>
              <a:ext cx="242" cy="193"/>
            </a:xfrm>
            <a:custGeom>
              <a:avLst/>
              <a:gdLst>
                <a:gd name="T0" fmla="*/ 80 w 1696"/>
                <a:gd name="T1" fmla="*/ 1310 h 1350"/>
                <a:gd name="T2" fmla="*/ 49 w 1696"/>
                <a:gd name="T3" fmla="*/ 1233 h 1350"/>
                <a:gd name="T4" fmla="*/ 15 w 1696"/>
                <a:gd name="T5" fmla="*/ 954 h 1350"/>
                <a:gd name="T6" fmla="*/ 0 w 1696"/>
                <a:gd name="T7" fmla="*/ 673 h 1350"/>
                <a:gd name="T8" fmla="*/ 20 w 1696"/>
                <a:gd name="T9" fmla="*/ 549 h 1350"/>
                <a:gd name="T10" fmla="*/ 253 w 1696"/>
                <a:gd name="T11" fmla="*/ 107 h 1350"/>
                <a:gd name="T12" fmla="*/ 314 w 1696"/>
                <a:gd name="T13" fmla="*/ 42 h 1350"/>
                <a:gd name="T14" fmla="*/ 400 w 1696"/>
                <a:gd name="T15" fmla="*/ 9 h 1350"/>
                <a:gd name="T16" fmla="*/ 487 w 1696"/>
                <a:gd name="T17" fmla="*/ 15 h 1350"/>
                <a:gd name="T18" fmla="*/ 591 w 1696"/>
                <a:gd name="T19" fmla="*/ 23 h 1350"/>
                <a:gd name="T20" fmla="*/ 701 w 1696"/>
                <a:gd name="T21" fmla="*/ 0 h 1350"/>
                <a:gd name="T22" fmla="*/ 806 w 1696"/>
                <a:gd name="T23" fmla="*/ 16 h 1350"/>
                <a:gd name="T24" fmla="*/ 896 w 1696"/>
                <a:gd name="T25" fmla="*/ 73 h 1350"/>
                <a:gd name="T26" fmla="*/ 956 w 1696"/>
                <a:gd name="T27" fmla="*/ 166 h 1350"/>
                <a:gd name="T28" fmla="*/ 1101 w 1696"/>
                <a:gd name="T29" fmla="*/ 509 h 1350"/>
                <a:gd name="T30" fmla="*/ 1166 w 1696"/>
                <a:gd name="T31" fmla="*/ 617 h 1350"/>
                <a:gd name="T32" fmla="*/ 1260 w 1696"/>
                <a:gd name="T33" fmla="*/ 699 h 1350"/>
                <a:gd name="T34" fmla="*/ 1521 w 1696"/>
                <a:gd name="T35" fmla="*/ 860 h 1350"/>
                <a:gd name="T36" fmla="*/ 1648 w 1696"/>
                <a:gd name="T37" fmla="*/ 932 h 1350"/>
                <a:gd name="T38" fmla="*/ 1688 w 1696"/>
                <a:gd name="T39" fmla="*/ 977 h 1350"/>
                <a:gd name="T40" fmla="*/ 1695 w 1696"/>
                <a:gd name="T41" fmla="*/ 1041 h 1350"/>
                <a:gd name="T42" fmla="*/ 1673 w 1696"/>
                <a:gd name="T43" fmla="*/ 1094 h 1350"/>
                <a:gd name="T44" fmla="*/ 1629 w 1696"/>
                <a:gd name="T45" fmla="*/ 1124 h 1350"/>
                <a:gd name="T46" fmla="*/ 1570 w 1696"/>
                <a:gd name="T47" fmla="*/ 1142 h 1350"/>
                <a:gd name="T48" fmla="*/ 1484 w 1696"/>
                <a:gd name="T49" fmla="*/ 1152 h 1350"/>
                <a:gd name="T50" fmla="*/ 1414 w 1696"/>
                <a:gd name="T51" fmla="*/ 1132 h 1350"/>
                <a:gd name="T52" fmla="*/ 1362 w 1696"/>
                <a:gd name="T53" fmla="*/ 1073 h 1350"/>
                <a:gd name="T54" fmla="*/ 1336 w 1696"/>
                <a:gd name="T55" fmla="*/ 1030 h 1350"/>
                <a:gd name="T56" fmla="*/ 1180 w 1696"/>
                <a:gd name="T57" fmla="*/ 942 h 1350"/>
                <a:gd name="T58" fmla="*/ 963 w 1696"/>
                <a:gd name="T59" fmla="*/ 797 h 1350"/>
                <a:gd name="T60" fmla="*/ 957 w 1696"/>
                <a:gd name="T61" fmla="*/ 916 h 1350"/>
                <a:gd name="T62" fmla="*/ 965 w 1696"/>
                <a:gd name="T63" fmla="*/ 1103 h 1350"/>
                <a:gd name="T64" fmla="*/ 965 w 1696"/>
                <a:gd name="T65" fmla="*/ 1252 h 1350"/>
                <a:gd name="T66" fmla="*/ 928 w 1696"/>
                <a:gd name="T67" fmla="*/ 1278 h 1350"/>
                <a:gd name="T68" fmla="*/ 354 w 1696"/>
                <a:gd name="T69" fmla="*/ 1278 h 1350"/>
                <a:gd name="T70" fmla="*/ 319 w 1696"/>
                <a:gd name="T71" fmla="*/ 1255 h 1350"/>
                <a:gd name="T72" fmla="*/ 296 w 1696"/>
                <a:gd name="T73" fmla="*/ 919 h 1350"/>
                <a:gd name="T74" fmla="*/ 257 w 1696"/>
                <a:gd name="T75" fmla="*/ 655 h 1350"/>
                <a:gd name="T76" fmla="*/ 250 w 1696"/>
                <a:gd name="T77" fmla="*/ 720 h 1350"/>
                <a:gd name="T78" fmla="*/ 249 w 1696"/>
                <a:gd name="T79" fmla="*/ 1015 h 1350"/>
                <a:gd name="T80" fmla="*/ 259 w 1696"/>
                <a:gd name="T81" fmla="*/ 1240 h 1350"/>
                <a:gd name="T82" fmla="*/ 230 w 1696"/>
                <a:gd name="T83" fmla="*/ 1312 h 1350"/>
                <a:gd name="T84" fmla="*/ 119 w 1696"/>
                <a:gd name="T85" fmla="*/ 1350 h 13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96" h="1350">
                  <a:moveTo>
                    <a:pt x="119" y="1350"/>
                  </a:moveTo>
                  <a:lnTo>
                    <a:pt x="98" y="1332"/>
                  </a:lnTo>
                  <a:lnTo>
                    <a:pt x="80" y="1310"/>
                  </a:lnTo>
                  <a:lnTo>
                    <a:pt x="65" y="1286"/>
                  </a:lnTo>
                  <a:lnTo>
                    <a:pt x="55" y="1261"/>
                  </a:lnTo>
                  <a:lnTo>
                    <a:pt x="49" y="1233"/>
                  </a:lnTo>
                  <a:lnTo>
                    <a:pt x="38" y="1139"/>
                  </a:lnTo>
                  <a:lnTo>
                    <a:pt x="26" y="1047"/>
                  </a:lnTo>
                  <a:lnTo>
                    <a:pt x="15" y="954"/>
                  </a:lnTo>
                  <a:lnTo>
                    <a:pt x="5" y="860"/>
                  </a:lnTo>
                  <a:lnTo>
                    <a:pt x="0" y="767"/>
                  </a:lnTo>
                  <a:lnTo>
                    <a:pt x="0" y="673"/>
                  </a:lnTo>
                  <a:lnTo>
                    <a:pt x="3" y="630"/>
                  </a:lnTo>
                  <a:lnTo>
                    <a:pt x="10" y="589"/>
                  </a:lnTo>
                  <a:lnTo>
                    <a:pt x="20" y="549"/>
                  </a:lnTo>
                  <a:lnTo>
                    <a:pt x="38" y="510"/>
                  </a:lnTo>
                  <a:lnTo>
                    <a:pt x="145" y="309"/>
                  </a:lnTo>
                  <a:lnTo>
                    <a:pt x="253" y="107"/>
                  </a:lnTo>
                  <a:lnTo>
                    <a:pt x="269" y="82"/>
                  </a:lnTo>
                  <a:lnTo>
                    <a:pt x="289" y="61"/>
                  </a:lnTo>
                  <a:lnTo>
                    <a:pt x="314" y="42"/>
                  </a:lnTo>
                  <a:lnTo>
                    <a:pt x="341" y="29"/>
                  </a:lnTo>
                  <a:lnTo>
                    <a:pt x="370" y="17"/>
                  </a:lnTo>
                  <a:lnTo>
                    <a:pt x="400" y="9"/>
                  </a:lnTo>
                  <a:lnTo>
                    <a:pt x="430" y="7"/>
                  </a:lnTo>
                  <a:lnTo>
                    <a:pt x="459" y="8"/>
                  </a:lnTo>
                  <a:lnTo>
                    <a:pt x="487" y="15"/>
                  </a:lnTo>
                  <a:lnTo>
                    <a:pt x="521" y="23"/>
                  </a:lnTo>
                  <a:lnTo>
                    <a:pt x="557" y="26"/>
                  </a:lnTo>
                  <a:lnTo>
                    <a:pt x="591" y="23"/>
                  </a:lnTo>
                  <a:lnTo>
                    <a:pt x="626" y="15"/>
                  </a:lnTo>
                  <a:lnTo>
                    <a:pt x="663" y="5"/>
                  </a:lnTo>
                  <a:lnTo>
                    <a:pt x="701" y="0"/>
                  </a:lnTo>
                  <a:lnTo>
                    <a:pt x="737" y="1"/>
                  </a:lnTo>
                  <a:lnTo>
                    <a:pt x="773" y="6"/>
                  </a:lnTo>
                  <a:lnTo>
                    <a:pt x="806" y="16"/>
                  </a:lnTo>
                  <a:lnTo>
                    <a:pt x="839" y="30"/>
                  </a:lnTo>
                  <a:lnTo>
                    <a:pt x="869" y="49"/>
                  </a:lnTo>
                  <a:lnTo>
                    <a:pt x="896" y="73"/>
                  </a:lnTo>
                  <a:lnTo>
                    <a:pt x="919" y="99"/>
                  </a:lnTo>
                  <a:lnTo>
                    <a:pt x="940" y="130"/>
                  </a:lnTo>
                  <a:lnTo>
                    <a:pt x="956" y="166"/>
                  </a:lnTo>
                  <a:lnTo>
                    <a:pt x="1003" y="281"/>
                  </a:lnTo>
                  <a:lnTo>
                    <a:pt x="1052" y="395"/>
                  </a:lnTo>
                  <a:lnTo>
                    <a:pt x="1101" y="509"/>
                  </a:lnTo>
                  <a:lnTo>
                    <a:pt x="1120" y="548"/>
                  </a:lnTo>
                  <a:lnTo>
                    <a:pt x="1142" y="583"/>
                  </a:lnTo>
                  <a:lnTo>
                    <a:pt x="1166" y="617"/>
                  </a:lnTo>
                  <a:lnTo>
                    <a:pt x="1194" y="647"/>
                  </a:lnTo>
                  <a:lnTo>
                    <a:pt x="1226" y="675"/>
                  </a:lnTo>
                  <a:lnTo>
                    <a:pt x="1260" y="699"/>
                  </a:lnTo>
                  <a:lnTo>
                    <a:pt x="1346" y="755"/>
                  </a:lnTo>
                  <a:lnTo>
                    <a:pt x="1433" y="809"/>
                  </a:lnTo>
                  <a:lnTo>
                    <a:pt x="1521" y="860"/>
                  </a:lnTo>
                  <a:lnTo>
                    <a:pt x="1610" y="909"/>
                  </a:lnTo>
                  <a:lnTo>
                    <a:pt x="1631" y="920"/>
                  </a:lnTo>
                  <a:lnTo>
                    <a:pt x="1648" y="932"/>
                  </a:lnTo>
                  <a:lnTo>
                    <a:pt x="1664" y="946"/>
                  </a:lnTo>
                  <a:lnTo>
                    <a:pt x="1677" y="961"/>
                  </a:lnTo>
                  <a:lnTo>
                    <a:pt x="1688" y="977"/>
                  </a:lnTo>
                  <a:lnTo>
                    <a:pt x="1694" y="997"/>
                  </a:lnTo>
                  <a:lnTo>
                    <a:pt x="1696" y="1017"/>
                  </a:lnTo>
                  <a:lnTo>
                    <a:pt x="1695" y="1041"/>
                  </a:lnTo>
                  <a:lnTo>
                    <a:pt x="1691" y="1062"/>
                  </a:lnTo>
                  <a:lnTo>
                    <a:pt x="1682" y="1079"/>
                  </a:lnTo>
                  <a:lnTo>
                    <a:pt x="1673" y="1094"/>
                  </a:lnTo>
                  <a:lnTo>
                    <a:pt x="1660" y="1106"/>
                  </a:lnTo>
                  <a:lnTo>
                    <a:pt x="1645" y="1116"/>
                  </a:lnTo>
                  <a:lnTo>
                    <a:pt x="1629" y="1124"/>
                  </a:lnTo>
                  <a:lnTo>
                    <a:pt x="1610" y="1131"/>
                  </a:lnTo>
                  <a:lnTo>
                    <a:pt x="1591" y="1137"/>
                  </a:lnTo>
                  <a:lnTo>
                    <a:pt x="1570" y="1142"/>
                  </a:lnTo>
                  <a:lnTo>
                    <a:pt x="1539" y="1148"/>
                  </a:lnTo>
                  <a:lnTo>
                    <a:pt x="1512" y="1151"/>
                  </a:lnTo>
                  <a:lnTo>
                    <a:pt x="1484" y="1152"/>
                  </a:lnTo>
                  <a:lnTo>
                    <a:pt x="1459" y="1149"/>
                  </a:lnTo>
                  <a:lnTo>
                    <a:pt x="1435" y="1143"/>
                  </a:lnTo>
                  <a:lnTo>
                    <a:pt x="1414" y="1132"/>
                  </a:lnTo>
                  <a:lnTo>
                    <a:pt x="1394" y="1117"/>
                  </a:lnTo>
                  <a:lnTo>
                    <a:pt x="1377" y="1098"/>
                  </a:lnTo>
                  <a:lnTo>
                    <a:pt x="1362" y="1073"/>
                  </a:lnTo>
                  <a:lnTo>
                    <a:pt x="1349" y="1043"/>
                  </a:lnTo>
                  <a:lnTo>
                    <a:pt x="1344" y="1036"/>
                  </a:lnTo>
                  <a:lnTo>
                    <a:pt x="1336" y="1030"/>
                  </a:lnTo>
                  <a:lnTo>
                    <a:pt x="1328" y="1025"/>
                  </a:lnTo>
                  <a:lnTo>
                    <a:pt x="1254" y="985"/>
                  </a:lnTo>
                  <a:lnTo>
                    <a:pt x="1180" y="942"/>
                  </a:lnTo>
                  <a:lnTo>
                    <a:pt x="1107" y="898"/>
                  </a:lnTo>
                  <a:lnTo>
                    <a:pt x="1034" y="850"/>
                  </a:lnTo>
                  <a:lnTo>
                    <a:pt x="963" y="797"/>
                  </a:lnTo>
                  <a:lnTo>
                    <a:pt x="957" y="839"/>
                  </a:lnTo>
                  <a:lnTo>
                    <a:pt x="956" y="878"/>
                  </a:lnTo>
                  <a:lnTo>
                    <a:pt x="957" y="916"/>
                  </a:lnTo>
                  <a:lnTo>
                    <a:pt x="959" y="954"/>
                  </a:lnTo>
                  <a:lnTo>
                    <a:pt x="961" y="990"/>
                  </a:lnTo>
                  <a:lnTo>
                    <a:pt x="965" y="1103"/>
                  </a:lnTo>
                  <a:lnTo>
                    <a:pt x="970" y="1216"/>
                  </a:lnTo>
                  <a:lnTo>
                    <a:pt x="970" y="1236"/>
                  </a:lnTo>
                  <a:lnTo>
                    <a:pt x="965" y="1252"/>
                  </a:lnTo>
                  <a:lnTo>
                    <a:pt x="957" y="1265"/>
                  </a:lnTo>
                  <a:lnTo>
                    <a:pt x="944" y="1274"/>
                  </a:lnTo>
                  <a:lnTo>
                    <a:pt x="928" y="1278"/>
                  </a:lnTo>
                  <a:lnTo>
                    <a:pt x="908" y="1279"/>
                  </a:lnTo>
                  <a:lnTo>
                    <a:pt x="372" y="1279"/>
                  </a:lnTo>
                  <a:lnTo>
                    <a:pt x="354" y="1278"/>
                  </a:lnTo>
                  <a:lnTo>
                    <a:pt x="340" y="1274"/>
                  </a:lnTo>
                  <a:lnTo>
                    <a:pt x="328" y="1266"/>
                  </a:lnTo>
                  <a:lnTo>
                    <a:pt x="319" y="1255"/>
                  </a:lnTo>
                  <a:lnTo>
                    <a:pt x="314" y="1240"/>
                  </a:lnTo>
                  <a:lnTo>
                    <a:pt x="312" y="1221"/>
                  </a:lnTo>
                  <a:lnTo>
                    <a:pt x="296" y="919"/>
                  </a:lnTo>
                  <a:lnTo>
                    <a:pt x="278" y="615"/>
                  </a:lnTo>
                  <a:lnTo>
                    <a:pt x="264" y="634"/>
                  </a:lnTo>
                  <a:lnTo>
                    <a:pt x="257" y="655"/>
                  </a:lnTo>
                  <a:lnTo>
                    <a:pt x="253" y="677"/>
                  </a:lnTo>
                  <a:lnTo>
                    <a:pt x="250" y="698"/>
                  </a:lnTo>
                  <a:lnTo>
                    <a:pt x="250" y="720"/>
                  </a:lnTo>
                  <a:lnTo>
                    <a:pt x="250" y="818"/>
                  </a:lnTo>
                  <a:lnTo>
                    <a:pt x="249" y="917"/>
                  </a:lnTo>
                  <a:lnTo>
                    <a:pt x="249" y="1015"/>
                  </a:lnTo>
                  <a:lnTo>
                    <a:pt x="252" y="1114"/>
                  </a:lnTo>
                  <a:lnTo>
                    <a:pt x="258" y="1212"/>
                  </a:lnTo>
                  <a:lnTo>
                    <a:pt x="259" y="1240"/>
                  </a:lnTo>
                  <a:lnTo>
                    <a:pt x="254" y="1267"/>
                  </a:lnTo>
                  <a:lnTo>
                    <a:pt x="244" y="1291"/>
                  </a:lnTo>
                  <a:lnTo>
                    <a:pt x="230" y="1312"/>
                  </a:lnTo>
                  <a:lnTo>
                    <a:pt x="212" y="1333"/>
                  </a:lnTo>
                  <a:lnTo>
                    <a:pt x="190" y="1350"/>
                  </a:lnTo>
                  <a:lnTo>
                    <a:pt x="119" y="135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21"/>
            <p:cNvSpPr>
              <a:spLocks/>
            </p:cNvSpPr>
            <p:nvPr/>
          </p:nvSpPr>
          <p:spPr bwMode="auto">
            <a:xfrm>
              <a:off x="3074" y="3410"/>
              <a:ext cx="211" cy="202"/>
            </a:xfrm>
            <a:custGeom>
              <a:avLst/>
              <a:gdLst>
                <a:gd name="T0" fmla="*/ 1140 w 1482"/>
                <a:gd name="T1" fmla="*/ 1376 h 1414"/>
                <a:gd name="T2" fmla="*/ 1119 w 1482"/>
                <a:gd name="T3" fmla="*/ 1308 h 1414"/>
                <a:gd name="T4" fmla="*/ 1158 w 1482"/>
                <a:gd name="T5" fmla="*/ 1141 h 1414"/>
                <a:gd name="T6" fmla="*/ 1224 w 1482"/>
                <a:gd name="T7" fmla="*/ 800 h 1414"/>
                <a:gd name="T8" fmla="*/ 1221 w 1482"/>
                <a:gd name="T9" fmla="*/ 685 h 1414"/>
                <a:gd name="T10" fmla="*/ 1202 w 1482"/>
                <a:gd name="T11" fmla="*/ 571 h 1414"/>
                <a:gd name="T12" fmla="*/ 1153 w 1482"/>
                <a:gd name="T13" fmla="*/ 980 h 1414"/>
                <a:gd name="T14" fmla="*/ 1090 w 1482"/>
                <a:gd name="T15" fmla="*/ 1274 h 1414"/>
                <a:gd name="T16" fmla="*/ 1058 w 1482"/>
                <a:gd name="T17" fmla="*/ 1326 h 1414"/>
                <a:gd name="T18" fmla="*/ 1000 w 1482"/>
                <a:gd name="T19" fmla="*/ 1345 h 1414"/>
                <a:gd name="T20" fmla="*/ 739 w 1482"/>
                <a:gd name="T21" fmla="*/ 1343 h 1414"/>
                <a:gd name="T22" fmla="*/ 572 w 1482"/>
                <a:gd name="T23" fmla="*/ 1342 h 1414"/>
                <a:gd name="T24" fmla="*/ 536 w 1482"/>
                <a:gd name="T25" fmla="*/ 1324 h 1414"/>
                <a:gd name="T26" fmla="*/ 530 w 1482"/>
                <a:gd name="T27" fmla="*/ 1273 h 1414"/>
                <a:gd name="T28" fmla="*/ 555 w 1482"/>
                <a:gd name="T29" fmla="*/ 949 h 1414"/>
                <a:gd name="T30" fmla="*/ 557 w 1482"/>
                <a:gd name="T31" fmla="*/ 917 h 1414"/>
                <a:gd name="T32" fmla="*/ 536 w 1482"/>
                <a:gd name="T33" fmla="*/ 899 h 1414"/>
                <a:gd name="T34" fmla="*/ 509 w 1482"/>
                <a:gd name="T35" fmla="*/ 913 h 1414"/>
                <a:gd name="T36" fmla="*/ 421 w 1482"/>
                <a:gd name="T37" fmla="*/ 973 h 1414"/>
                <a:gd name="T38" fmla="*/ 196 w 1482"/>
                <a:gd name="T39" fmla="*/ 1091 h 1414"/>
                <a:gd name="T40" fmla="*/ 154 w 1482"/>
                <a:gd name="T41" fmla="*/ 1101 h 1414"/>
                <a:gd name="T42" fmla="*/ 127 w 1482"/>
                <a:gd name="T43" fmla="*/ 1085 h 1414"/>
                <a:gd name="T44" fmla="*/ 112 w 1482"/>
                <a:gd name="T45" fmla="*/ 1030 h 1414"/>
                <a:gd name="T46" fmla="*/ 77 w 1482"/>
                <a:gd name="T47" fmla="*/ 973 h 1414"/>
                <a:gd name="T48" fmla="*/ 21 w 1482"/>
                <a:gd name="T49" fmla="*/ 929 h 1414"/>
                <a:gd name="T50" fmla="*/ 210 w 1482"/>
                <a:gd name="T51" fmla="*/ 785 h 1414"/>
                <a:gd name="T52" fmla="*/ 365 w 1482"/>
                <a:gd name="T53" fmla="*/ 685 h 1414"/>
                <a:gd name="T54" fmla="*/ 422 w 1482"/>
                <a:gd name="T55" fmla="*/ 609 h 1414"/>
                <a:gd name="T56" fmla="*/ 571 w 1482"/>
                <a:gd name="T57" fmla="*/ 293 h 1414"/>
                <a:gd name="T58" fmla="*/ 638 w 1482"/>
                <a:gd name="T59" fmla="*/ 126 h 1414"/>
                <a:gd name="T60" fmla="*/ 699 w 1482"/>
                <a:gd name="T61" fmla="*/ 62 h 1414"/>
                <a:gd name="T62" fmla="*/ 780 w 1482"/>
                <a:gd name="T63" fmla="*/ 20 h 1414"/>
                <a:gd name="T64" fmla="*/ 805 w 1482"/>
                <a:gd name="T65" fmla="*/ 12 h 1414"/>
                <a:gd name="T66" fmla="*/ 822 w 1482"/>
                <a:gd name="T67" fmla="*/ 27 h 1414"/>
                <a:gd name="T68" fmla="*/ 816 w 1482"/>
                <a:gd name="T69" fmla="*/ 52 h 1414"/>
                <a:gd name="T70" fmla="*/ 788 w 1482"/>
                <a:gd name="T71" fmla="*/ 156 h 1414"/>
                <a:gd name="T72" fmla="*/ 773 w 1482"/>
                <a:gd name="T73" fmla="*/ 278 h 1414"/>
                <a:gd name="T74" fmla="*/ 822 w 1482"/>
                <a:gd name="T75" fmla="*/ 168 h 1414"/>
                <a:gd name="T76" fmla="*/ 854 w 1482"/>
                <a:gd name="T77" fmla="*/ 94 h 1414"/>
                <a:gd name="T78" fmla="*/ 874 w 1482"/>
                <a:gd name="T79" fmla="*/ 73 h 1414"/>
                <a:gd name="T80" fmla="*/ 905 w 1482"/>
                <a:gd name="T81" fmla="*/ 82 h 1414"/>
                <a:gd name="T82" fmla="*/ 909 w 1482"/>
                <a:gd name="T83" fmla="*/ 106 h 1414"/>
                <a:gd name="T84" fmla="*/ 888 w 1482"/>
                <a:gd name="T85" fmla="*/ 198 h 1414"/>
                <a:gd name="T86" fmla="*/ 909 w 1482"/>
                <a:gd name="T87" fmla="*/ 249 h 1414"/>
                <a:gd name="T88" fmla="*/ 1020 w 1482"/>
                <a:gd name="T89" fmla="*/ 42 h 1414"/>
                <a:gd name="T90" fmla="*/ 1059 w 1482"/>
                <a:gd name="T91" fmla="*/ 6 h 1414"/>
                <a:gd name="T92" fmla="*/ 1112 w 1482"/>
                <a:gd name="T93" fmla="*/ 2 h 1414"/>
                <a:gd name="T94" fmla="*/ 1223 w 1482"/>
                <a:gd name="T95" fmla="*/ 41 h 1414"/>
                <a:gd name="T96" fmla="*/ 1315 w 1482"/>
                <a:gd name="T97" fmla="*/ 83 h 1414"/>
                <a:gd name="T98" fmla="*/ 1363 w 1482"/>
                <a:gd name="T99" fmla="*/ 145 h 1414"/>
                <a:gd name="T100" fmla="*/ 1420 w 1482"/>
                <a:gd name="T101" fmla="*/ 350 h 1414"/>
                <a:gd name="T102" fmla="*/ 1473 w 1482"/>
                <a:gd name="T103" fmla="*/ 623 h 1414"/>
                <a:gd name="T104" fmla="*/ 1476 w 1482"/>
                <a:gd name="T105" fmla="*/ 827 h 1414"/>
                <a:gd name="T106" fmla="*/ 1441 w 1482"/>
                <a:gd name="T107" fmla="*/ 987 h 1414"/>
                <a:gd name="T108" fmla="*/ 1335 w 1482"/>
                <a:gd name="T109" fmla="*/ 1321 h 1414"/>
                <a:gd name="T110" fmla="*/ 1288 w 1482"/>
                <a:gd name="T111" fmla="*/ 1396 h 14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482" h="1414">
                  <a:moveTo>
                    <a:pt x="1180" y="1414"/>
                  </a:moveTo>
                  <a:lnTo>
                    <a:pt x="1157" y="1396"/>
                  </a:lnTo>
                  <a:lnTo>
                    <a:pt x="1140" y="1376"/>
                  </a:lnTo>
                  <a:lnTo>
                    <a:pt x="1128" y="1355"/>
                  </a:lnTo>
                  <a:lnTo>
                    <a:pt x="1121" y="1332"/>
                  </a:lnTo>
                  <a:lnTo>
                    <a:pt x="1119" y="1308"/>
                  </a:lnTo>
                  <a:lnTo>
                    <a:pt x="1121" y="1281"/>
                  </a:lnTo>
                  <a:lnTo>
                    <a:pt x="1128" y="1254"/>
                  </a:lnTo>
                  <a:lnTo>
                    <a:pt x="1158" y="1141"/>
                  </a:lnTo>
                  <a:lnTo>
                    <a:pt x="1184" y="1028"/>
                  </a:lnTo>
                  <a:lnTo>
                    <a:pt x="1205" y="915"/>
                  </a:lnTo>
                  <a:lnTo>
                    <a:pt x="1224" y="800"/>
                  </a:lnTo>
                  <a:lnTo>
                    <a:pt x="1227" y="761"/>
                  </a:lnTo>
                  <a:lnTo>
                    <a:pt x="1226" y="723"/>
                  </a:lnTo>
                  <a:lnTo>
                    <a:pt x="1221" y="685"/>
                  </a:lnTo>
                  <a:lnTo>
                    <a:pt x="1215" y="647"/>
                  </a:lnTo>
                  <a:lnTo>
                    <a:pt x="1209" y="609"/>
                  </a:lnTo>
                  <a:lnTo>
                    <a:pt x="1202" y="571"/>
                  </a:lnTo>
                  <a:lnTo>
                    <a:pt x="1188" y="709"/>
                  </a:lnTo>
                  <a:lnTo>
                    <a:pt x="1172" y="845"/>
                  </a:lnTo>
                  <a:lnTo>
                    <a:pt x="1153" y="980"/>
                  </a:lnTo>
                  <a:lnTo>
                    <a:pt x="1128" y="1114"/>
                  </a:lnTo>
                  <a:lnTo>
                    <a:pt x="1098" y="1248"/>
                  </a:lnTo>
                  <a:lnTo>
                    <a:pt x="1090" y="1274"/>
                  </a:lnTo>
                  <a:lnTo>
                    <a:pt x="1082" y="1296"/>
                  </a:lnTo>
                  <a:lnTo>
                    <a:pt x="1071" y="1313"/>
                  </a:lnTo>
                  <a:lnTo>
                    <a:pt x="1058" y="1326"/>
                  </a:lnTo>
                  <a:lnTo>
                    <a:pt x="1042" y="1335"/>
                  </a:lnTo>
                  <a:lnTo>
                    <a:pt x="1023" y="1342"/>
                  </a:lnTo>
                  <a:lnTo>
                    <a:pt x="1000" y="1345"/>
                  </a:lnTo>
                  <a:lnTo>
                    <a:pt x="974" y="1345"/>
                  </a:lnTo>
                  <a:lnTo>
                    <a:pt x="856" y="1342"/>
                  </a:lnTo>
                  <a:lnTo>
                    <a:pt x="739" y="1343"/>
                  </a:lnTo>
                  <a:lnTo>
                    <a:pt x="622" y="1344"/>
                  </a:lnTo>
                  <a:lnTo>
                    <a:pt x="594" y="1343"/>
                  </a:lnTo>
                  <a:lnTo>
                    <a:pt x="572" y="1342"/>
                  </a:lnTo>
                  <a:lnTo>
                    <a:pt x="556" y="1338"/>
                  </a:lnTo>
                  <a:lnTo>
                    <a:pt x="544" y="1332"/>
                  </a:lnTo>
                  <a:lnTo>
                    <a:pt x="536" y="1324"/>
                  </a:lnTo>
                  <a:lnTo>
                    <a:pt x="531" y="1311"/>
                  </a:lnTo>
                  <a:lnTo>
                    <a:pt x="529" y="1295"/>
                  </a:lnTo>
                  <a:lnTo>
                    <a:pt x="530" y="1273"/>
                  </a:lnTo>
                  <a:lnTo>
                    <a:pt x="531" y="1247"/>
                  </a:lnTo>
                  <a:lnTo>
                    <a:pt x="554" y="960"/>
                  </a:lnTo>
                  <a:lnTo>
                    <a:pt x="555" y="949"/>
                  </a:lnTo>
                  <a:lnTo>
                    <a:pt x="557" y="938"/>
                  </a:lnTo>
                  <a:lnTo>
                    <a:pt x="558" y="928"/>
                  </a:lnTo>
                  <a:lnTo>
                    <a:pt x="557" y="917"/>
                  </a:lnTo>
                  <a:lnTo>
                    <a:pt x="554" y="908"/>
                  </a:lnTo>
                  <a:lnTo>
                    <a:pt x="545" y="901"/>
                  </a:lnTo>
                  <a:lnTo>
                    <a:pt x="536" y="899"/>
                  </a:lnTo>
                  <a:lnTo>
                    <a:pt x="526" y="901"/>
                  </a:lnTo>
                  <a:lnTo>
                    <a:pt x="517" y="906"/>
                  </a:lnTo>
                  <a:lnTo>
                    <a:pt x="509" y="913"/>
                  </a:lnTo>
                  <a:lnTo>
                    <a:pt x="500" y="920"/>
                  </a:lnTo>
                  <a:lnTo>
                    <a:pt x="491" y="926"/>
                  </a:lnTo>
                  <a:lnTo>
                    <a:pt x="421" y="973"/>
                  </a:lnTo>
                  <a:lnTo>
                    <a:pt x="347" y="1015"/>
                  </a:lnTo>
                  <a:lnTo>
                    <a:pt x="272" y="1053"/>
                  </a:lnTo>
                  <a:lnTo>
                    <a:pt x="196" y="1091"/>
                  </a:lnTo>
                  <a:lnTo>
                    <a:pt x="181" y="1097"/>
                  </a:lnTo>
                  <a:lnTo>
                    <a:pt x="167" y="1100"/>
                  </a:lnTo>
                  <a:lnTo>
                    <a:pt x="154" y="1101"/>
                  </a:lnTo>
                  <a:lnTo>
                    <a:pt x="143" y="1100"/>
                  </a:lnTo>
                  <a:lnTo>
                    <a:pt x="133" y="1094"/>
                  </a:lnTo>
                  <a:lnTo>
                    <a:pt x="127" y="1085"/>
                  </a:lnTo>
                  <a:lnTo>
                    <a:pt x="121" y="1071"/>
                  </a:lnTo>
                  <a:lnTo>
                    <a:pt x="117" y="1053"/>
                  </a:lnTo>
                  <a:lnTo>
                    <a:pt x="112" y="1030"/>
                  </a:lnTo>
                  <a:lnTo>
                    <a:pt x="103" y="1008"/>
                  </a:lnTo>
                  <a:lnTo>
                    <a:pt x="92" y="990"/>
                  </a:lnTo>
                  <a:lnTo>
                    <a:pt x="77" y="973"/>
                  </a:lnTo>
                  <a:lnTo>
                    <a:pt x="59" y="958"/>
                  </a:lnTo>
                  <a:lnTo>
                    <a:pt x="40" y="943"/>
                  </a:lnTo>
                  <a:lnTo>
                    <a:pt x="21" y="929"/>
                  </a:lnTo>
                  <a:lnTo>
                    <a:pt x="0" y="914"/>
                  </a:lnTo>
                  <a:lnTo>
                    <a:pt x="107" y="848"/>
                  </a:lnTo>
                  <a:lnTo>
                    <a:pt x="210" y="785"/>
                  </a:lnTo>
                  <a:lnTo>
                    <a:pt x="312" y="724"/>
                  </a:lnTo>
                  <a:lnTo>
                    <a:pt x="340" y="705"/>
                  </a:lnTo>
                  <a:lnTo>
                    <a:pt x="365" y="685"/>
                  </a:lnTo>
                  <a:lnTo>
                    <a:pt x="386" y="662"/>
                  </a:lnTo>
                  <a:lnTo>
                    <a:pt x="405" y="637"/>
                  </a:lnTo>
                  <a:lnTo>
                    <a:pt x="422" y="609"/>
                  </a:lnTo>
                  <a:lnTo>
                    <a:pt x="476" y="506"/>
                  </a:lnTo>
                  <a:lnTo>
                    <a:pt x="526" y="401"/>
                  </a:lnTo>
                  <a:lnTo>
                    <a:pt x="571" y="293"/>
                  </a:lnTo>
                  <a:lnTo>
                    <a:pt x="610" y="185"/>
                  </a:lnTo>
                  <a:lnTo>
                    <a:pt x="623" y="154"/>
                  </a:lnTo>
                  <a:lnTo>
                    <a:pt x="638" y="126"/>
                  </a:lnTo>
                  <a:lnTo>
                    <a:pt x="656" y="102"/>
                  </a:lnTo>
                  <a:lnTo>
                    <a:pt x="676" y="81"/>
                  </a:lnTo>
                  <a:lnTo>
                    <a:pt x="699" y="62"/>
                  </a:lnTo>
                  <a:lnTo>
                    <a:pt x="724" y="46"/>
                  </a:lnTo>
                  <a:lnTo>
                    <a:pt x="751" y="32"/>
                  </a:lnTo>
                  <a:lnTo>
                    <a:pt x="780" y="20"/>
                  </a:lnTo>
                  <a:lnTo>
                    <a:pt x="788" y="16"/>
                  </a:lnTo>
                  <a:lnTo>
                    <a:pt x="797" y="13"/>
                  </a:lnTo>
                  <a:lnTo>
                    <a:pt x="805" y="12"/>
                  </a:lnTo>
                  <a:lnTo>
                    <a:pt x="813" y="14"/>
                  </a:lnTo>
                  <a:lnTo>
                    <a:pt x="819" y="20"/>
                  </a:lnTo>
                  <a:lnTo>
                    <a:pt x="822" y="27"/>
                  </a:lnTo>
                  <a:lnTo>
                    <a:pt x="820" y="36"/>
                  </a:lnTo>
                  <a:lnTo>
                    <a:pt x="818" y="44"/>
                  </a:lnTo>
                  <a:lnTo>
                    <a:pt x="816" y="52"/>
                  </a:lnTo>
                  <a:lnTo>
                    <a:pt x="806" y="86"/>
                  </a:lnTo>
                  <a:lnTo>
                    <a:pt x="797" y="120"/>
                  </a:lnTo>
                  <a:lnTo>
                    <a:pt x="788" y="156"/>
                  </a:lnTo>
                  <a:lnTo>
                    <a:pt x="782" y="193"/>
                  </a:lnTo>
                  <a:lnTo>
                    <a:pt x="776" y="234"/>
                  </a:lnTo>
                  <a:lnTo>
                    <a:pt x="773" y="278"/>
                  </a:lnTo>
                  <a:lnTo>
                    <a:pt x="791" y="238"/>
                  </a:lnTo>
                  <a:lnTo>
                    <a:pt x="806" y="202"/>
                  </a:lnTo>
                  <a:lnTo>
                    <a:pt x="822" y="168"/>
                  </a:lnTo>
                  <a:lnTo>
                    <a:pt x="836" y="135"/>
                  </a:lnTo>
                  <a:lnTo>
                    <a:pt x="849" y="104"/>
                  </a:lnTo>
                  <a:lnTo>
                    <a:pt x="854" y="94"/>
                  </a:lnTo>
                  <a:lnTo>
                    <a:pt x="859" y="85"/>
                  </a:lnTo>
                  <a:lnTo>
                    <a:pt x="867" y="77"/>
                  </a:lnTo>
                  <a:lnTo>
                    <a:pt x="874" y="73"/>
                  </a:lnTo>
                  <a:lnTo>
                    <a:pt x="885" y="72"/>
                  </a:lnTo>
                  <a:lnTo>
                    <a:pt x="897" y="75"/>
                  </a:lnTo>
                  <a:lnTo>
                    <a:pt x="905" y="82"/>
                  </a:lnTo>
                  <a:lnTo>
                    <a:pt x="910" y="89"/>
                  </a:lnTo>
                  <a:lnTo>
                    <a:pt x="911" y="98"/>
                  </a:lnTo>
                  <a:lnTo>
                    <a:pt x="909" y="106"/>
                  </a:lnTo>
                  <a:lnTo>
                    <a:pt x="906" y="116"/>
                  </a:lnTo>
                  <a:lnTo>
                    <a:pt x="903" y="125"/>
                  </a:lnTo>
                  <a:lnTo>
                    <a:pt x="888" y="198"/>
                  </a:lnTo>
                  <a:lnTo>
                    <a:pt x="874" y="271"/>
                  </a:lnTo>
                  <a:lnTo>
                    <a:pt x="863" y="346"/>
                  </a:lnTo>
                  <a:lnTo>
                    <a:pt x="909" y="249"/>
                  </a:lnTo>
                  <a:lnTo>
                    <a:pt x="957" y="154"/>
                  </a:lnTo>
                  <a:lnTo>
                    <a:pt x="1009" y="60"/>
                  </a:lnTo>
                  <a:lnTo>
                    <a:pt x="1020" y="42"/>
                  </a:lnTo>
                  <a:lnTo>
                    <a:pt x="1032" y="27"/>
                  </a:lnTo>
                  <a:lnTo>
                    <a:pt x="1045" y="14"/>
                  </a:lnTo>
                  <a:lnTo>
                    <a:pt x="1059" y="6"/>
                  </a:lnTo>
                  <a:lnTo>
                    <a:pt x="1075" y="1"/>
                  </a:lnTo>
                  <a:lnTo>
                    <a:pt x="1092" y="0"/>
                  </a:lnTo>
                  <a:lnTo>
                    <a:pt x="1112" y="2"/>
                  </a:lnTo>
                  <a:lnTo>
                    <a:pt x="1133" y="10"/>
                  </a:lnTo>
                  <a:lnTo>
                    <a:pt x="1177" y="26"/>
                  </a:lnTo>
                  <a:lnTo>
                    <a:pt x="1223" y="41"/>
                  </a:lnTo>
                  <a:lnTo>
                    <a:pt x="1267" y="56"/>
                  </a:lnTo>
                  <a:lnTo>
                    <a:pt x="1292" y="68"/>
                  </a:lnTo>
                  <a:lnTo>
                    <a:pt x="1315" y="83"/>
                  </a:lnTo>
                  <a:lnTo>
                    <a:pt x="1334" y="101"/>
                  </a:lnTo>
                  <a:lnTo>
                    <a:pt x="1350" y="123"/>
                  </a:lnTo>
                  <a:lnTo>
                    <a:pt x="1363" y="145"/>
                  </a:lnTo>
                  <a:lnTo>
                    <a:pt x="1373" y="172"/>
                  </a:lnTo>
                  <a:lnTo>
                    <a:pt x="1397" y="261"/>
                  </a:lnTo>
                  <a:lnTo>
                    <a:pt x="1420" y="350"/>
                  </a:lnTo>
                  <a:lnTo>
                    <a:pt x="1441" y="440"/>
                  </a:lnTo>
                  <a:lnTo>
                    <a:pt x="1459" y="532"/>
                  </a:lnTo>
                  <a:lnTo>
                    <a:pt x="1473" y="623"/>
                  </a:lnTo>
                  <a:lnTo>
                    <a:pt x="1481" y="716"/>
                  </a:lnTo>
                  <a:lnTo>
                    <a:pt x="1482" y="772"/>
                  </a:lnTo>
                  <a:lnTo>
                    <a:pt x="1476" y="827"/>
                  </a:lnTo>
                  <a:lnTo>
                    <a:pt x="1468" y="880"/>
                  </a:lnTo>
                  <a:lnTo>
                    <a:pt x="1455" y="934"/>
                  </a:lnTo>
                  <a:lnTo>
                    <a:pt x="1441" y="987"/>
                  </a:lnTo>
                  <a:lnTo>
                    <a:pt x="1425" y="1039"/>
                  </a:lnTo>
                  <a:lnTo>
                    <a:pt x="1381" y="1181"/>
                  </a:lnTo>
                  <a:lnTo>
                    <a:pt x="1335" y="1321"/>
                  </a:lnTo>
                  <a:lnTo>
                    <a:pt x="1324" y="1349"/>
                  </a:lnTo>
                  <a:lnTo>
                    <a:pt x="1307" y="1374"/>
                  </a:lnTo>
                  <a:lnTo>
                    <a:pt x="1288" y="1396"/>
                  </a:lnTo>
                  <a:lnTo>
                    <a:pt x="1263" y="1414"/>
                  </a:lnTo>
                  <a:lnTo>
                    <a:pt x="1180" y="141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22"/>
            <p:cNvSpPr>
              <a:spLocks/>
            </p:cNvSpPr>
            <p:nvPr/>
          </p:nvSpPr>
          <p:spPr bwMode="auto">
            <a:xfrm>
              <a:off x="3179" y="3311"/>
              <a:ext cx="68" cy="88"/>
            </a:xfrm>
            <a:custGeom>
              <a:avLst/>
              <a:gdLst>
                <a:gd name="T0" fmla="*/ 241 w 480"/>
                <a:gd name="T1" fmla="*/ 0 h 617"/>
                <a:gd name="T2" fmla="*/ 279 w 480"/>
                <a:gd name="T3" fmla="*/ 3 h 617"/>
                <a:gd name="T4" fmla="*/ 315 w 480"/>
                <a:gd name="T5" fmla="*/ 11 h 617"/>
                <a:gd name="T6" fmla="*/ 348 w 480"/>
                <a:gd name="T7" fmla="*/ 24 h 617"/>
                <a:gd name="T8" fmla="*/ 378 w 480"/>
                <a:gd name="T9" fmla="*/ 41 h 617"/>
                <a:gd name="T10" fmla="*/ 405 w 480"/>
                <a:gd name="T11" fmla="*/ 62 h 617"/>
                <a:gd name="T12" fmla="*/ 429 w 480"/>
                <a:gd name="T13" fmla="*/ 88 h 617"/>
                <a:gd name="T14" fmla="*/ 448 w 480"/>
                <a:gd name="T15" fmla="*/ 116 h 617"/>
                <a:gd name="T16" fmla="*/ 463 w 480"/>
                <a:gd name="T17" fmla="*/ 147 h 617"/>
                <a:gd name="T18" fmla="*/ 474 w 480"/>
                <a:gd name="T19" fmla="*/ 180 h 617"/>
                <a:gd name="T20" fmla="*/ 480 w 480"/>
                <a:gd name="T21" fmla="*/ 215 h 617"/>
                <a:gd name="T22" fmla="*/ 480 w 480"/>
                <a:gd name="T23" fmla="*/ 251 h 617"/>
                <a:gd name="T24" fmla="*/ 475 w 480"/>
                <a:gd name="T25" fmla="*/ 289 h 617"/>
                <a:gd name="T26" fmla="*/ 460 w 480"/>
                <a:gd name="T27" fmla="*/ 344 h 617"/>
                <a:gd name="T28" fmla="*/ 440 w 480"/>
                <a:gd name="T29" fmla="*/ 394 h 617"/>
                <a:gd name="T30" fmla="*/ 416 w 480"/>
                <a:gd name="T31" fmla="*/ 442 h 617"/>
                <a:gd name="T32" fmla="*/ 386 w 480"/>
                <a:gd name="T33" fmla="*/ 487 h 617"/>
                <a:gd name="T34" fmla="*/ 350 w 480"/>
                <a:gd name="T35" fmla="*/ 530 h 617"/>
                <a:gd name="T36" fmla="*/ 310 w 480"/>
                <a:gd name="T37" fmla="*/ 569 h 617"/>
                <a:gd name="T38" fmla="*/ 282 w 480"/>
                <a:gd name="T39" fmla="*/ 589 h 617"/>
                <a:gd name="T40" fmla="*/ 255 w 480"/>
                <a:gd name="T41" fmla="*/ 604 h 617"/>
                <a:gd name="T42" fmla="*/ 228 w 480"/>
                <a:gd name="T43" fmla="*/ 614 h 617"/>
                <a:gd name="T44" fmla="*/ 201 w 480"/>
                <a:gd name="T45" fmla="*/ 617 h 617"/>
                <a:gd name="T46" fmla="*/ 174 w 480"/>
                <a:gd name="T47" fmla="*/ 616 h 617"/>
                <a:gd name="T48" fmla="*/ 149 w 480"/>
                <a:gd name="T49" fmla="*/ 609 h 617"/>
                <a:gd name="T50" fmla="*/ 124 w 480"/>
                <a:gd name="T51" fmla="*/ 596 h 617"/>
                <a:gd name="T52" fmla="*/ 102 w 480"/>
                <a:gd name="T53" fmla="*/ 578 h 617"/>
                <a:gd name="T54" fmla="*/ 81 w 480"/>
                <a:gd name="T55" fmla="*/ 555 h 617"/>
                <a:gd name="T56" fmla="*/ 63 w 480"/>
                <a:gd name="T57" fmla="*/ 526 h 617"/>
                <a:gd name="T58" fmla="*/ 39 w 480"/>
                <a:gd name="T59" fmla="*/ 475 h 617"/>
                <a:gd name="T60" fmla="*/ 20 w 480"/>
                <a:gd name="T61" fmla="*/ 421 h 617"/>
                <a:gd name="T62" fmla="*/ 8 w 480"/>
                <a:gd name="T63" fmla="*/ 367 h 617"/>
                <a:gd name="T64" fmla="*/ 1 w 480"/>
                <a:gd name="T65" fmla="*/ 312 h 617"/>
                <a:gd name="T66" fmla="*/ 0 w 480"/>
                <a:gd name="T67" fmla="*/ 256 h 617"/>
                <a:gd name="T68" fmla="*/ 4 w 480"/>
                <a:gd name="T69" fmla="*/ 200 h 617"/>
                <a:gd name="T70" fmla="*/ 11 w 480"/>
                <a:gd name="T71" fmla="*/ 165 h 617"/>
                <a:gd name="T72" fmla="*/ 23 w 480"/>
                <a:gd name="T73" fmla="*/ 134 h 617"/>
                <a:gd name="T74" fmla="*/ 39 w 480"/>
                <a:gd name="T75" fmla="*/ 105 h 617"/>
                <a:gd name="T76" fmla="*/ 60 w 480"/>
                <a:gd name="T77" fmla="*/ 80 h 617"/>
                <a:gd name="T78" fmla="*/ 83 w 480"/>
                <a:gd name="T79" fmla="*/ 57 h 617"/>
                <a:gd name="T80" fmla="*/ 110 w 480"/>
                <a:gd name="T81" fmla="*/ 38 h 617"/>
                <a:gd name="T82" fmla="*/ 140 w 480"/>
                <a:gd name="T83" fmla="*/ 22 h 617"/>
                <a:gd name="T84" fmla="*/ 172 w 480"/>
                <a:gd name="T85" fmla="*/ 11 h 617"/>
                <a:gd name="T86" fmla="*/ 206 w 480"/>
                <a:gd name="T87" fmla="*/ 3 h 617"/>
                <a:gd name="T88" fmla="*/ 241 w 480"/>
                <a:gd name="T89" fmla="*/ 0 h 6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80" h="617">
                  <a:moveTo>
                    <a:pt x="241" y="0"/>
                  </a:moveTo>
                  <a:lnTo>
                    <a:pt x="279" y="3"/>
                  </a:lnTo>
                  <a:lnTo>
                    <a:pt x="315" y="11"/>
                  </a:lnTo>
                  <a:lnTo>
                    <a:pt x="348" y="24"/>
                  </a:lnTo>
                  <a:lnTo>
                    <a:pt x="378" y="41"/>
                  </a:lnTo>
                  <a:lnTo>
                    <a:pt x="405" y="62"/>
                  </a:lnTo>
                  <a:lnTo>
                    <a:pt x="429" y="88"/>
                  </a:lnTo>
                  <a:lnTo>
                    <a:pt x="448" y="116"/>
                  </a:lnTo>
                  <a:lnTo>
                    <a:pt x="463" y="147"/>
                  </a:lnTo>
                  <a:lnTo>
                    <a:pt x="474" y="180"/>
                  </a:lnTo>
                  <a:lnTo>
                    <a:pt x="480" y="215"/>
                  </a:lnTo>
                  <a:lnTo>
                    <a:pt x="480" y="251"/>
                  </a:lnTo>
                  <a:lnTo>
                    <a:pt x="475" y="289"/>
                  </a:lnTo>
                  <a:lnTo>
                    <a:pt x="460" y="344"/>
                  </a:lnTo>
                  <a:lnTo>
                    <a:pt x="440" y="394"/>
                  </a:lnTo>
                  <a:lnTo>
                    <a:pt x="416" y="442"/>
                  </a:lnTo>
                  <a:lnTo>
                    <a:pt x="386" y="487"/>
                  </a:lnTo>
                  <a:lnTo>
                    <a:pt x="350" y="530"/>
                  </a:lnTo>
                  <a:lnTo>
                    <a:pt x="310" y="569"/>
                  </a:lnTo>
                  <a:lnTo>
                    <a:pt x="282" y="589"/>
                  </a:lnTo>
                  <a:lnTo>
                    <a:pt x="255" y="604"/>
                  </a:lnTo>
                  <a:lnTo>
                    <a:pt x="228" y="614"/>
                  </a:lnTo>
                  <a:lnTo>
                    <a:pt x="201" y="617"/>
                  </a:lnTo>
                  <a:lnTo>
                    <a:pt x="174" y="616"/>
                  </a:lnTo>
                  <a:lnTo>
                    <a:pt x="149" y="609"/>
                  </a:lnTo>
                  <a:lnTo>
                    <a:pt x="124" y="596"/>
                  </a:lnTo>
                  <a:lnTo>
                    <a:pt x="102" y="578"/>
                  </a:lnTo>
                  <a:lnTo>
                    <a:pt x="81" y="555"/>
                  </a:lnTo>
                  <a:lnTo>
                    <a:pt x="63" y="526"/>
                  </a:lnTo>
                  <a:lnTo>
                    <a:pt x="39" y="475"/>
                  </a:lnTo>
                  <a:lnTo>
                    <a:pt x="20" y="421"/>
                  </a:lnTo>
                  <a:lnTo>
                    <a:pt x="8" y="367"/>
                  </a:lnTo>
                  <a:lnTo>
                    <a:pt x="1" y="312"/>
                  </a:lnTo>
                  <a:lnTo>
                    <a:pt x="0" y="256"/>
                  </a:lnTo>
                  <a:lnTo>
                    <a:pt x="4" y="200"/>
                  </a:lnTo>
                  <a:lnTo>
                    <a:pt x="11" y="165"/>
                  </a:lnTo>
                  <a:lnTo>
                    <a:pt x="23" y="134"/>
                  </a:lnTo>
                  <a:lnTo>
                    <a:pt x="39" y="105"/>
                  </a:lnTo>
                  <a:lnTo>
                    <a:pt x="60" y="80"/>
                  </a:lnTo>
                  <a:lnTo>
                    <a:pt x="83" y="57"/>
                  </a:lnTo>
                  <a:lnTo>
                    <a:pt x="110" y="38"/>
                  </a:lnTo>
                  <a:lnTo>
                    <a:pt x="140" y="22"/>
                  </a:lnTo>
                  <a:lnTo>
                    <a:pt x="172" y="11"/>
                  </a:lnTo>
                  <a:lnTo>
                    <a:pt x="206" y="3"/>
                  </a:lnTo>
                  <a:lnTo>
                    <a:pt x="24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3"/>
            <p:cNvSpPr>
              <a:spLocks/>
            </p:cNvSpPr>
            <p:nvPr/>
          </p:nvSpPr>
          <p:spPr bwMode="auto">
            <a:xfrm>
              <a:off x="2883" y="3319"/>
              <a:ext cx="67" cy="88"/>
            </a:xfrm>
            <a:custGeom>
              <a:avLst/>
              <a:gdLst>
                <a:gd name="T0" fmla="*/ 472 w 472"/>
                <a:gd name="T1" fmla="*/ 269 h 615"/>
                <a:gd name="T2" fmla="*/ 471 w 472"/>
                <a:gd name="T3" fmla="*/ 322 h 615"/>
                <a:gd name="T4" fmla="*/ 465 w 472"/>
                <a:gd name="T5" fmla="*/ 373 h 615"/>
                <a:gd name="T6" fmla="*/ 455 w 472"/>
                <a:gd name="T7" fmla="*/ 424 h 615"/>
                <a:gd name="T8" fmla="*/ 439 w 472"/>
                <a:gd name="T9" fmla="*/ 473 h 615"/>
                <a:gd name="T10" fmla="*/ 416 w 472"/>
                <a:gd name="T11" fmla="*/ 521 h 615"/>
                <a:gd name="T12" fmla="*/ 396 w 472"/>
                <a:gd name="T13" fmla="*/ 552 h 615"/>
                <a:gd name="T14" fmla="*/ 373 w 472"/>
                <a:gd name="T15" fmla="*/ 577 h 615"/>
                <a:gd name="T16" fmla="*/ 348 w 472"/>
                <a:gd name="T17" fmla="*/ 597 h 615"/>
                <a:gd name="T18" fmla="*/ 322 w 472"/>
                <a:gd name="T19" fmla="*/ 610 h 615"/>
                <a:gd name="T20" fmla="*/ 296 w 472"/>
                <a:gd name="T21" fmla="*/ 615 h 615"/>
                <a:gd name="T22" fmla="*/ 267 w 472"/>
                <a:gd name="T23" fmla="*/ 615 h 615"/>
                <a:gd name="T24" fmla="*/ 236 w 472"/>
                <a:gd name="T25" fmla="*/ 607 h 615"/>
                <a:gd name="T26" fmla="*/ 206 w 472"/>
                <a:gd name="T27" fmla="*/ 593 h 615"/>
                <a:gd name="T28" fmla="*/ 176 w 472"/>
                <a:gd name="T29" fmla="*/ 572 h 615"/>
                <a:gd name="T30" fmla="*/ 140 w 472"/>
                <a:gd name="T31" fmla="*/ 540 h 615"/>
                <a:gd name="T32" fmla="*/ 107 w 472"/>
                <a:gd name="T33" fmla="*/ 504 h 615"/>
                <a:gd name="T34" fmla="*/ 78 w 472"/>
                <a:gd name="T35" fmla="*/ 468 h 615"/>
                <a:gd name="T36" fmla="*/ 54 w 472"/>
                <a:gd name="T37" fmla="*/ 428 h 615"/>
                <a:gd name="T38" fmla="*/ 33 w 472"/>
                <a:gd name="T39" fmla="*/ 386 h 615"/>
                <a:gd name="T40" fmla="*/ 17 w 472"/>
                <a:gd name="T41" fmla="*/ 341 h 615"/>
                <a:gd name="T42" fmla="*/ 6 w 472"/>
                <a:gd name="T43" fmla="*/ 295 h 615"/>
                <a:gd name="T44" fmla="*/ 0 w 472"/>
                <a:gd name="T45" fmla="*/ 247 h 615"/>
                <a:gd name="T46" fmla="*/ 0 w 472"/>
                <a:gd name="T47" fmla="*/ 207 h 615"/>
                <a:gd name="T48" fmla="*/ 5 w 472"/>
                <a:gd name="T49" fmla="*/ 171 h 615"/>
                <a:gd name="T50" fmla="*/ 18 w 472"/>
                <a:gd name="T51" fmla="*/ 135 h 615"/>
                <a:gd name="T52" fmla="*/ 35 w 472"/>
                <a:gd name="T53" fmla="*/ 103 h 615"/>
                <a:gd name="T54" fmla="*/ 57 w 472"/>
                <a:gd name="T55" fmla="*/ 75 h 615"/>
                <a:gd name="T56" fmla="*/ 84 w 472"/>
                <a:gd name="T57" fmla="*/ 50 h 615"/>
                <a:gd name="T58" fmla="*/ 114 w 472"/>
                <a:gd name="T59" fmla="*/ 30 h 615"/>
                <a:gd name="T60" fmla="*/ 147 w 472"/>
                <a:gd name="T61" fmla="*/ 14 h 615"/>
                <a:gd name="T62" fmla="*/ 184 w 472"/>
                <a:gd name="T63" fmla="*/ 4 h 615"/>
                <a:gd name="T64" fmla="*/ 221 w 472"/>
                <a:gd name="T65" fmla="*/ 0 h 615"/>
                <a:gd name="T66" fmla="*/ 260 w 472"/>
                <a:gd name="T67" fmla="*/ 1 h 615"/>
                <a:gd name="T68" fmla="*/ 297 w 472"/>
                <a:gd name="T69" fmla="*/ 7 h 615"/>
                <a:gd name="T70" fmla="*/ 330 w 472"/>
                <a:gd name="T71" fmla="*/ 17 h 615"/>
                <a:gd name="T72" fmla="*/ 361 w 472"/>
                <a:gd name="T73" fmla="*/ 32 h 615"/>
                <a:gd name="T74" fmla="*/ 389 w 472"/>
                <a:gd name="T75" fmla="*/ 51 h 615"/>
                <a:gd name="T76" fmla="*/ 413 w 472"/>
                <a:gd name="T77" fmla="*/ 73 h 615"/>
                <a:gd name="T78" fmla="*/ 433 w 472"/>
                <a:gd name="T79" fmla="*/ 100 h 615"/>
                <a:gd name="T80" fmla="*/ 449 w 472"/>
                <a:gd name="T81" fmla="*/ 129 h 615"/>
                <a:gd name="T82" fmla="*/ 461 w 472"/>
                <a:gd name="T83" fmla="*/ 161 h 615"/>
                <a:gd name="T84" fmla="*/ 470 w 472"/>
                <a:gd name="T85" fmla="*/ 196 h 615"/>
                <a:gd name="T86" fmla="*/ 472 w 472"/>
                <a:gd name="T87" fmla="*/ 234 h 615"/>
                <a:gd name="T88" fmla="*/ 472 w 472"/>
                <a:gd name="T89" fmla="*/ 269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72" h="615">
                  <a:moveTo>
                    <a:pt x="472" y="269"/>
                  </a:moveTo>
                  <a:lnTo>
                    <a:pt x="471" y="322"/>
                  </a:lnTo>
                  <a:lnTo>
                    <a:pt x="465" y="373"/>
                  </a:lnTo>
                  <a:lnTo>
                    <a:pt x="455" y="424"/>
                  </a:lnTo>
                  <a:lnTo>
                    <a:pt x="439" y="473"/>
                  </a:lnTo>
                  <a:lnTo>
                    <a:pt x="416" y="521"/>
                  </a:lnTo>
                  <a:lnTo>
                    <a:pt x="396" y="552"/>
                  </a:lnTo>
                  <a:lnTo>
                    <a:pt x="373" y="577"/>
                  </a:lnTo>
                  <a:lnTo>
                    <a:pt x="348" y="597"/>
                  </a:lnTo>
                  <a:lnTo>
                    <a:pt x="322" y="610"/>
                  </a:lnTo>
                  <a:lnTo>
                    <a:pt x="296" y="615"/>
                  </a:lnTo>
                  <a:lnTo>
                    <a:pt x="267" y="615"/>
                  </a:lnTo>
                  <a:lnTo>
                    <a:pt x="236" y="607"/>
                  </a:lnTo>
                  <a:lnTo>
                    <a:pt x="206" y="593"/>
                  </a:lnTo>
                  <a:lnTo>
                    <a:pt x="176" y="572"/>
                  </a:lnTo>
                  <a:lnTo>
                    <a:pt x="140" y="540"/>
                  </a:lnTo>
                  <a:lnTo>
                    <a:pt x="107" y="504"/>
                  </a:lnTo>
                  <a:lnTo>
                    <a:pt x="78" y="468"/>
                  </a:lnTo>
                  <a:lnTo>
                    <a:pt x="54" y="428"/>
                  </a:lnTo>
                  <a:lnTo>
                    <a:pt x="33" y="386"/>
                  </a:lnTo>
                  <a:lnTo>
                    <a:pt x="17" y="341"/>
                  </a:lnTo>
                  <a:lnTo>
                    <a:pt x="6" y="295"/>
                  </a:lnTo>
                  <a:lnTo>
                    <a:pt x="0" y="247"/>
                  </a:lnTo>
                  <a:lnTo>
                    <a:pt x="0" y="207"/>
                  </a:lnTo>
                  <a:lnTo>
                    <a:pt x="5" y="171"/>
                  </a:lnTo>
                  <a:lnTo>
                    <a:pt x="18" y="135"/>
                  </a:lnTo>
                  <a:lnTo>
                    <a:pt x="35" y="103"/>
                  </a:lnTo>
                  <a:lnTo>
                    <a:pt x="57" y="75"/>
                  </a:lnTo>
                  <a:lnTo>
                    <a:pt x="84" y="50"/>
                  </a:lnTo>
                  <a:lnTo>
                    <a:pt x="114" y="30"/>
                  </a:lnTo>
                  <a:lnTo>
                    <a:pt x="147" y="14"/>
                  </a:lnTo>
                  <a:lnTo>
                    <a:pt x="184" y="4"/>
                  </a:lnTo>
                  <a:lnTo>
                    <a:pt x="221" y="0"/>
                  </a:lnTo>
                  <a:lnTo>
                    <a:pt x="260" y="1"/>
                  </a:lnTo>
                  <a:lnTo>
                    <a:pt x="297" y="7"/>
                  </a:lnTo>
                  <a:lnTo>
                    <a:pt x="330" y="17"/>
                  </a:lnTo>
                  <a:lnTo>
                    <a:pt x="361" y="32"/>
                  </a:lnTo>
                  <a:lnTo>
                    <a:pt x="389" y="51"/>
                  </a:lnTo>
                  <a:lnTo>
                    <a:pt x="413" y="73"/>
                  </a:lnTo>
                  <a:lnTo>
                    <a:pt x="433" y="100"/>
                  </a:lnTo>
                  <a:lnTo>
                    <a:pt x="449" y="129"/>
                  </a:lnTo>
                  <a:lnTo>
                    <a:pt x="461" y="161"/>
                  </a:lnTo>
                  <a:lnTo>
                    <a:pt x="470" y="196"/>
                  </a:lnTo>
                  <a:lnTo>
                    <a:pt x="472" y="234"/>
                  </a:lnTo>
                  <a:lnTo>
                    <a:pt x="472" y="26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4732778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ORE ASSETS TO BE ANALYZ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19</a:t>
            </a:fld>
            <a:endParaRPr lang="en-US"/>
          </a:p>
        </p:txBody>
      </p:sp>
      <p:sp>
        <p:nvSpPr>
          <p:cNvPr id="47" name="Rectangle 46"/>
          <p:cNvSpPr/>
          <p:nvPr/>
        </p:nvSpPr>
        <p:spPr>
          <a:xfrm>
            <a:off x="1326642" y="1447800"/>
            <a:ext cx="10179373" cy="6184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Terms of the trust and trust documents 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1326642" y="2132119"/>
            <a:ext cx="10179373" cy="6184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Values involved in the trust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1326642" y="2816439"/>
            <a:ext cx="10179373" cy="6184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Projected income spouse will receiv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1326642" y="3500759"/>
            <a:ext cx="10179373" cy="6184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Right of trustee to invade trust corpus if it provides an income stream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1" name="Rectangle 50"/>
          <p:cNvSpPr/>
          <p:nvPr/>
        </p:nvSpPr>
        <p:spPr>
          <a:xfrm>
            <a:off x="1326642" y="4185079"/>
            <a:ext cx="10179373" cy="6184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Non taxable income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1326642" y="4869398"/>
            <a:ext cx="10179373" cy="6184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Concealment if trust corpus is not believable</a:t>
            </a:r>
          </a:p>
        </p:txBody>
      </p:sp>
      <p:sp>
        <p:nvSpPr>
          <p:cNvPr id="53" name="Rectangle 52"/>
          <p:cNvSpPr/>
          <p:nvPr/>
        </p:nvSpPr>
        <p:spPr>
          <a:xfrm>
            <a:off x="1326642" y="5553716"/>
            <a:ext cx="10179373" cy="61848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Assets valued at book, fair market, cash or tax basi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6" name="Rectangle 55"/>
          <p:cNvSpPr/>
          <p:nvPr/>
        </p:nvSpPr>
        <p:spPr>
          <a:xfrm>
            <a:off x="609600" y="1447800"/>
            <a:ext cx="621792" cy="618484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7" name="Rectangle 56"/>
          <p:cNvSpPr/>
          <p:nvPr/>
        </p:nvSpPr>
        <p:spPr>
          <a:xfrm>
            <a:off x="609600" y="2132119"/>
            <a:ext cx="621792" cy="618484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8" name="Rectangle 57"/>
          <p:cNvSpPr/>
          <p:nvPr/>
        </p:nvSpPr>
        <p:spPr>
          <a:xfrm>
            <a:off x="609600" y="2816439"/>
            <a:ext cx="621792" cy="618484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9" name="Rectangle 58"/>
          <p:cNvSpPr/>
          <p:nvPr/>
        </p:nvSpPr>
        <p:spPr>
          <a:xfrm>
            <a:off x="609600" y="3500759"/>
            <a:ext cx="621792" cy="618484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ectangle 59"/>
          <p:cNvSpPr/>
          <p:nvPr/>
        </p:nvSpPr>
        <p:spPr>
          <a:xfrm>
            <a:off x="609600" y="4185079"/>
            <a:ext cx="621792" cy="618484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/>
          <p:cNvSpPr/>
          <p:nvPr/>
        </p:nvSpPr>
        <p:spPr>
          <a:xfrm>
            <a:off x="609600" y="4869398"/>
            <a:ext cx="621792" cy="618484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 61"/>
          <p:cNvSpPr/>
          <p:nvPr/>
        </p:nvSpPr>
        <p:spPr>
          <a:xfrm>
            <a:off x="609600" y="5553716"/>
            <a:ext cx="621792" cy="618484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 63"/>
          <p:cNvSpPr/>
          <p:nvPr/>
        </p:nvSpPr>
        <p:spPr>
          <a:xfrm>
            <a:off x="11506015" y="1447800"/>
            <a:ext cx="76385" cy="618484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tangle 64"/>
          <p:cNvSpPr/>
          <p:nvPr/>
        </p:nvSpPr>
        <p:spPr>
          <a:xfrm>
            <a:off x="11506015" y="2132119"/>
            <a:ext cx="76385" cy="618484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Rectangle 65"/>
          <p:cNvSpPr/>
          <p:nvPr/>
        </p:nvSpPr>
        <p:spPr>
          <a:xfrm>
            <a:off x="11506015" y="2816439"/>
            <a:ext cx="76385" cy="618484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Rectangle 66"/>
          <p:cNvSpPr/>
          <p:nvPr/>
        </p:nvSpPr>
        <p:spPr>
          <a:xfrm>
            <a:off x="11506015" y="3500759"/>
            <a:ext cx="76385" cy="618484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8" name="Rectangle 67"/>
          <p:cNvSpPr/>
          <p:nvPr/>
        </p:nvSpPr>
        <p:spPr>
          <a:xfrm>
            <a:off x="11506015" y="4185079"/>
            <a:ext cx="76385" cy="618484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9" name="Rectangle 68"/>
          <p:cNvSpPr/>
          <p:nvPr/>
        </p:nvSpPr>
        <p:spPr>
          <a:xfrm>
            <a:off x="11506015" y="4869398"/>
            <a:ext cx="76385" cy="618484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Rectangle 69"/>
          <p:cNvSpPr/>
          <p:nvPr/>
        </p:nvSpPr>
        <p:spPr>
          <a:xfrm>
            <a:off x="11506015" y="5553716"/>
            <a:ext cx="76385" cy="618484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5" name="Group 24"/>
          <p:cNvGrpSpPr>
            <a:grpSpLocks noChangeAspect="1"/>
          </p:cNvGrpSpPr>
          <p:nvPr/>
        </p:nvGrpSpPr>
        <p:grpSpPr bwMode="auto">
          <a:xfrm>
            <a:off x="749829" y="1569268"/>
            <a:ext cx="341334" cy="375549"/>
            <a:chOff x="-576" y="3243"/>
            <a:chExt cx="419" cy="461"/>
          </a:xfrm>
          <a:solidFill>
            <a:schemeClr val="bg1"/>
          </a:solidFill>
        </p:grpSpPr>
        <p:sp>
          <p:nvSpPr>
            <p:cNvPr id="26" name="Freeform 6"/>
            <p:cNvSpPr>
              <a:spLocks noEditPoints="1"/>
            </p:cNvSpPr>
            <p:nvPr/>
          </p:nvSpPr>
          <p:spPr bwMode="auto">
            <a:xfrm>
              <a:off x="-365" y="3496"/>
              <a:ext cx="208" cy="208"/>
            </a:xfrm>
            <a:custGeom>
              <a:avLst/>
              <a:gdLst>
                <a:gd name="T0" fmla="*/ 732 w 1672"/>
                <a:gd name="T1" fmla="*/ 934 h 1666"/>
                <a:gd name="T2" fmla="*/ 238 w 1672"/>
                <a:gd name="T3" fmla="*/ 797 h 1666"/>
                <a:gd name="T4" fmla="*/ 1380 w 1672"/>
                <a:gd name="T5" fmla="*/ 642 h 1666"/>
                <a:gd name="T6" fmla="*/ 836 w 1672"/>
                <a:gd name="T7" fmla="*/ 0 h 1666"/>
                <a:gd name="T8" fmla="*/ 986 w 1672"/>
                <a:gd name="T9" fmla="*/ 13 h 1666"/>
                <a:gd name="T10" fmla="*/ 1127 w 1672"/>
                <a:gd name="T11" fmla="*/ 51 h 1666"/>
                <a:gd name="T12" fmla="*/ 1257 w 1672"/>
                <a:gd name="T13" fmla="*/ 114 h 1666"/>
                <a:gd name="T14" fmla="*/ 1374 w 1672"/>
                <a:gd name="T15" fmla="*/ 195 h 1666"/>
                <a:gd name="T16" fmla="*/ 1474 w 1672"/>
                <a:gd name="T17" fmla="*/ 296 h 1666"/>
                <a:gd name="T18" fmla="*/ 1557 w 1672"/>
                <a:gd name="T19" fmla="*/ 412 h 1666"/>
                <a:gd name="T20" fmla="*/ 1619 w 1672"/>
                <a:gd name="T21" fmla="*/ 542 h 1666"/>
                <a:gd name="T22" fmla="*/ 1658 w 1672"/>
                <a:gd name="T23" fmla="*/ 683 h 1666"/>
                <a:gd name="T24" fmla="*/ 1672 w 1672"/>
                <a:gd name="T25" fmla="*/ 832 h 1666"/>
                <a:gd name="T26" fmla="*/ 1658 w 1672"/>
                <a:gd name="T27" fmla="*/ 982 h 1666"/>
                <a:gd name="T28" fmla="*/ 1619 w 1672"/>
                <a:gd name="T29" fmla="*/ 1123 h 1666"/>
                <a:gd name="T30" fmla="*/ 1557 w 1672"/>
                <a:gd name="T31" fmla="*/ 1252 h 1666"/>
                <a:gd name="T32" fmla="*/ 1474 w 1672"/>
                <a:gd name="T33" fmla="*/ 1369 h 1666"/>
                <a:gd name="T34" fmla="*/ 1374 w 1672"/>
                <a:gd name="T35" fmla="*/ 1469 h 1666"/>
                <a:gd name="T36" fmla="*/ 1257 w 1672"/>
                <a:gd name="T37" fmla="*/ 1552 h 1666"/>
                <a:gd name="T38" fmla="*/ 1127 w 1672"/>
                <a:gd name="T39" fmla="*/ 1613 h 1666"/>
                <a:gd name="T40" fmla="*/ 986 w 1672"/>
                <a:gd name="T41" fmla="*/ 1653 h 1666"/>
                <a:gd name="T42" fmla="*/ 836 w 1672"/>
                <a:gd name="T43" fmla="*/ 1666 h 1666"/>
                <a:gd name="T44" fmla="*/ 686 w 1672"/>
                <a:gd name="T45" fmla="*/ 1653 h 1666"/>
                <a:gd name="T46" fmla="*/ 545 w 1672"/>
                <a:gd name="T47" fmla="*/ 1613 h 1666"/>
                <a:gd name="T48" fmla="*/ 415 w 1672"/>
                <a:gd name="T49" fmla="*/ 1552 h 1666"/>
                <a:gd name="T50" fmla="*/ 298 w 1672"/>
                <a:gd name="T51" fmla="*/ 1469 h 1666"/>
                <a:gd name="T52" fmla="*/ 198 w 1672"/>
                <a:gd name="T53" fmla="*/ 1369 h 1666"/>
                <a:gd name="T54" fmla="*/ 115 w 1672"/>
                <a:gd name="T55" fmla="*/ 1252 h 1666"/>
                <a:gd name="T56" fmla="*/ 53 w 1672"/>
                <a:gd name="T57" fmla="*/ 1123 h 1666"/>
                <a:gd name="T58" fmla="*/ 14 w 1672"/>
                <a:gd name="T59" fmla="*/ 982 h 1666"/>
                <a:gd name="T60" fmla="*/ 0 w 1672"/>
                <a:gd name="T61" fmla="*/ 832 h 1666"/>
                <a:gd name="T62" fmla="*/ 14 w 1672"/>
                <a:gd name="T63" fmla="*/ 683 h 1666"/>
                <a:gd name="T64" fmla="*/ 53 w 1672"/>
                <a:gd name="T65" fmla="*/ 542 h 1666"/>
                <a:gd name="T66" fmla="*/ 115 w 1672"/>
                <a:gd name="T67" fmla="*/ 412 h 1666"/>
                <a:gd name="T68" fmla="*/ 198 w 1672"/>
                <a:gd name="T69" fmla="*/ 296 h 1666"/>
                <a:gd name="T70" fmla="*/ 298 w 1672"/>
                <a:gd name="T71" fmla="*/ 195 h 1666"/>
                <a:gd name="T72" fmla="*/ 415 w 1672"/>
                <a:gd name="T73" fmla="*/ 114 h 1666"/>
                <a:gd name="T74" fmla="*/ 545 w 1672"/>
                <a:gd name="T75" fmla="*/ 51 h 1666"/>
                <a:gd name="T76" fmla="*/ 686 w 1672"/>
                <a:gd name="T77" fmla="*/ 13 h 1666"/>
                <a:gd name="T78" fmla="*/ 836 w 1672"/>
                <a:gd name="T79" fmla="*/ 0 h 1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72" h="1666">
                  <a:moveTo>
                    <a:pt x="1202" y="465"/>
                  </a:moveTo>
                  <a:lnTo>
                    <a:pt x="732" y="934"/>
                  </a:lnTo>
                  <a:lnTo>
                    <a:pt x="416" y="619"/>
                  </a:lnTo>
                  <a:lnTo>
                    <a:pt x="238" y="797"/>
                  </a:lnTo>
                  <a:lnTo>
                    <a:pt x="732" y="1289"/>
                  </a:lnTo>
                  <a:lnTo>
                    <a:pt x="1380" y="642"/>
                  </a:lnTo>
                  <a:lnTo>
                    <a:pt x="1202" y="465"/>
                  </a:lnTo>
                  <a:close/>
                  <a:moveTo>
                    <a:pt x="836" y="0"/>
                  </a:moveTo>
                  <a:lnTo>
                    <a:pt x="912" y="3"/>
                  </a:lnTo>
                  <a:lnTo>
                    <a:pt x="986" y="13"/>
                  </a:lnTo>
                  <a:lnTo>
                    <a:pt x="1058" y="29"/>
                  </a:lnTo>
                  <a:lnTo>
                    <a:pt x="1127" y="51"/>
                  </a:lnTo>
                  <a:lnTo>
                    <a:pt x="1193" y="79"/>
                  </a:lnTo>
                  <a:lnTo>
                    <a:pt x="1257" y="114"/>
                  </a:lnTo>
                  <a:lnTo>
                    <a:pt x="1318" y="152"/>
                  </a:lnTo>
                  <a:lnTo>
                    <a:pt x="1374" y="195"/>
                  </a:lnTo>
                  <a:lnTo>
                    <a:pt x="1426" y="243"/>
                  </a:lnTo>
                  <a:lnTo>
                    <a:pt x="1474" y="296"/>
                  </a:lnTo>
                  <a:lnTo>
                    <a:pt x="1518" y="353"/>
                  </a:lnTo>
                  <a:lnTo>
                    <a:pt x="1557" y="412"/>
                  </a:lnTo>
                  <a:lnTo>
                    <a:pt x="1591" y="476"/>
                  </a:lnTo>
                  <a:lnTo>
                    <a:pt x="1619" y="542"/>
                  </a:lnTo>
                  <a:lnTo>
                    <a:pt x="1641" y="611"/>
                  </a:lnTo>
                  <a:lnTo>
                    <a:pt x="1658" y="683"/>
                  </a:lnTo>
                  <a:lnTo>
                    <a:pt x="1668" y="757"/>
                  </a:lnTo>
                  <a:lnTo>
                    <a:pt x="1672" y="832"/>
                  </a:lnTo>
                  <a:lnTo>
                    <a:pt x="1668" y="908"/>
                  </a:lnTo>
                  <a:lnTo>
                    <a:pt x="1658" y="982"/>
                  </a:lnTo>
                  <a:lnTo>
                    <a:pt x="1641" y="1054"/>
                  </a:lnTo>
                  <a:lnTo>
                    <a:pt x="1619" y="1123"/>
                  </a:lnTo>
                  <a:lnTo>
                    <a:pt x="1591" y="1190"/>
                  </a:lnTo>
                  <a:lnTo>
                    <a:pt x="1557" y="1252"/>
                  </a:lnTo>
                  <a:lnTo>
                    <a:pt x="1518" y="1313"/>
                  </a:lnTo>
                  <a:lnTo>
                    <a:pt x="1474" y="1369"/>
                  </a:lnTo>
                  <a:lnTo>
                    <a:pt x="1426" y="1421"/>
                  </a:lnTo>
                  <a:lnTo>
                    <a:pt x="1374" y="1469"/>
                  </a:lnTo>
                  <a:lnTo>
                    <a:pt x="1318" y="1513"/>
                  </a:lnTo>
                  <a:lnTo>
                    <a:pt x="1257" y="1552"/>
                  </a:lnTo>
                  <a:lnTo>
                    <a:pt x="1193" y="1586"/>
                  </a:lnTo>
                  <a:lnTo>
                    <a:pt x="1127" y="1613"/>
                  </a:lnTo>
                  <a:lnTo>
                    <a:pt x="1058" y="1636"/>
                  </a:lnTo>
                  <a:lnTo>
                    <a:pt x="986" y="1653"/>
                  </a:lnTo>
                  <a:lnTo>
                    <a:pt x="912" y="1663"/>
                  </a:lnTo>
                  <a:lnTo>
                    <a:pt x="836" y="1666"/>
                  </a:lnTo>
                  <a:lnTo>
                    <a:pt x="760" y="1663"/>
                  </a:lnTo>
                  <a:lnTo>
                    <a:pt x="686" y="1653"/>
                  </a:lnTo>
                  <a:lnTo>
                    <a:pt x="614" y="1636"/>
                  </a:lnTo>
                  <a:lnTo>
                    <a:pt x="545" y="1613"/>
                  </a:lnTo>
                  <a:lnTo>
                    <a:pt x="479" y="1586"/>
                  </a:lnTo>
                  <a:lnTo>
                    <a:pt x="415" y="1552"/>
                  </a:lnTo>
                  <a:lnTo>
                    <a:pt x="354" y="1513"/>
                  </a:lnTo>
                  <a:lnTo>
                    <a:pt x="298" y="1469"/>
                  </a:lnTo>
                  <a:lnTo>
                    <a:pt x="246" y="1421"/>
                  </a:lnTo>
                  <a:lnTo>
                    <a:pt x="198" y="1369"/>
                  </a:lnTo>
                  <a:lnTo>
                    <a:pt x="154" y="1313"/>
                  </a:lnTo>
                  <a:lnTo>
                    <a:pt x="115" y="1252"/>
                  </a:lnTo>
                  <a:lnTo>
                    <a:pt x="81" y="1190"/>
                  </a:lnTo>
                  <a:lnTo>
                    <a:pt x="53" y="1123"/>
                  </a:lnTo>
                  <a:lnTo>
                    <a:pt x="31" y="1054"/>
                  </a:lnTo>
                  <a:lnTo>
                    <a:pt x="14" y="982"/>
                  </a:lnTo>
                  <a:lnTo>
                    <a:pt x="4" y="908"/>
                  </a:lnTo>
                  <a:lnTo>
                    <a:pt x="0" y="832"/>
                  </a:lnTo>
                  <a:lnTo>
                    <a:pt x="4" y="757"/>
                  </a:lnTo>
                  <a:lnTo>
                    <a:pt x="14" y="683"/>
                  </a:lnTo>
                  <a:lnTo>
                    <a:pt x="31" y="611"/>
                  </a:lnTo>
                  <a:lnTo>
                    <a:pt x="53" y="542"/>
                  </a:lnTo>
                  <a:lnTo>
                    <a:pt x="81" y="476"/>
                  </a:lnTo>
                  <a:lnTo>
                    <a:pt x="115" y="412"/>
                  </a:lnTo>
                  <a:lnTo>
                    <a:pt x="154" y="353"/>
                  </a:lnTo>
                  <a:lnTo>
                    <a:pt x="198" y="296"/>
                  </a:lnTo>
                  <a:lnTo>
                    <a:pt x="246" y="243"/>
                  </a:lnTo>
                  <a:lnTo>
                    <a:pt x="298" y="195"/>
                  </a:lnTo>
                  <a:lnTo>
                    <a:pt x="354" y="152"/>
                  </a:lnTo>
                  <a:lnTo>
                    <a:pt x="415" y="114"/>
                  </a:lnTo>
                  <a:lnTo>
                    <a:pt x="479" y="79"/>
                  </a:lnTo>
                  <a:lnTo>
                    <a:pt x="545" y="51"/>
                  </a:lnTo>
                  <a:lnTo>
                    <a:pt x="614" y="29"/>
                  </a:lnTo>
                  <a:lnTo>
                    <a:pt x="686" y="13"/>
                  </a:lnTo>
                  <a:lnTo>
                    <a:pt x="760" y="3"/>
                  </a:lnTo>
                  <a:lnTo>
                    <a:pt x="83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-350" y="3259"/>
              <a:ext cx="73" cy="73"/>
            </a:xfrm>
            <a:custGeom>
              <a:avLst/>
              <a:gdLst>
                <a:gd name="T0" fmla="*/ 0 w 590"/>
                <a:gd name="T1" fmla="*/ 0 h 588"/>
                <a:gd name="T2" fmla="*/ 590 w 590"/>
                <a:gd name="T3" fmla="*/ 588 h 588"/>
                <a:gd name="T4" fmla="*/ 0 w 590"/>
                <a:gd name="T5" fmla="*/ 588 h 588"/>
                <a:gd name="T6" fmla="*/ 0 w 590"/>
                <a:gd name="T7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0" h="588">
                  <a:moveTo>
                    <a:pt x="0" y="0"/>
                  </a:moveTo>
                  <a:lnTo>
                    <a:pt x="590" y="588"/>
                  </a:lnTo>
                  <a:lnTo>
                    <a:pt x="0" y="5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-576" y="3243"/>
              <a:ext cx="315" cy="435"/>
            </a:xfrm>
            <a:custGeom>
              <a:avLst/>
              <a:gdLst>
                <a:gd name="T0" fmla="*/ 420 w 2520"/>
                <a:gd name="T1" fmla="*/ 1487 h 3479"/>
                <a:gd name="T2" fmla="*/ 420 w 2520"/>
                <a:gd name="T3" fmla="*/ 1739 h 3479"/>
                <a:gd name="T4" fmla="*/ 2100 w 2520"/>
                <a:gd name="T5" fmla="*/ 1739 h 3479"/>
                <a:gd name="T6" fmla="*/ 2100 w 2520"/>
                <a:gd name="T7" fmla="*/ 1487 h 3479"/>
                <a:gd name="T8" fmla="*/ 420 w 2520"/>
                <a:gd name="T9" fmla="*/ 1487 h 3479"/>
                <a:gd name="T10" fmla="*/ 0 w 2520"/>
                <a:gd name="T11" fmla="*/ 0 h 3479"/>
                <a:gd name="T12" fmla="*/ 1555 w 2520"/>
                <a:gd name="T13" fmla="*/ 0 h 3479"/>
                <a:gd name="T14" fmla="*/ 1555 w 2520"/>
                <a:gd name="T15" fmla="*/ 964 h 3479"/>
                <a:gd name="T16" fmla="*/ 2520 w 2520"/>
                <a:gd name="T17" fmla="*/ 964 h 3479"/>
                <a:gd name="T18" fmla="*/ 2520 w 2520"/>
                <a:gd name="T19" fmla="*/ 1770 h 3479"/>
                <a:gd name="T20" fmla="*/ 2433 w 2520"/>
                <a:gd name="T21" fmla="*/ 1774 h 3479"/>
                <a:gd name="T22" fmla="*/ 2348 w 2520"/>
                <a:gd name="T23" fmla="*/ 1784 h 3479"/>
                <a:gd name="T24" fmla="*/ 2265 w 2520"/>
                <a:gd name="T25" fmla="*/ 1800 h 3479"/>
                <a:gd name="T26" fmla="*/ 2184 w 2520"/>
                <a:gd name="T27" fmla="*/ 1823 h 3479"/>
                <a:gd name="T28" fmla="*/ 2107 w 2520"/>
                <a:gd name="T29" fmla="*/ 1852 h 3479"/>
                <a:gd name="T30" fmla="*/ 2031 w 2520"/>
                <a:gd name="T31" fmla="*/ 1885 h 3479"/>
                <a:gd name="T32" fmla="*/ 1959 w 2520"/>
                <a:gd name="T33" fmla="*/ 1926 h 3479"/>
                <a:gd name="T34" fmla="*/ 1891 w 2520"/>
                <a:gd name="T35" fmla="*/ 1970 h 3479"/>
                <a:gd name="T36" fmla="*/ 1826 w 2520"/>
                <a:gd name="T37" fmla="*/ 2021 h 3479"/>
                <a:gd name="T38" fmla="*/ 1765 w 2520"/>
                <a:gd name="T39" fmla="*/ 2074 h 3479"/>
                <a:gd name="T40" fmla="*/ 420 w 2520"/>
                <a:gd name="T41" fmla="*/ 2074 h 3479"/>
                <a:gd name="T42" fmla="*/ 420 w 2520"/>
                <a:gd name="T43" fmla="*/ 2326 h 3479"/>
                <a:gd name="T44" fmla="*/ 1571 w 2520"/>
                <a:gd name="T45" fmla="*/ 2326 h 3479"/>
                <a:gd name="T46" fmla="*/ 1538 w 2520"/>
                <a:gd name="T47" fmla="*/ 2388 h 3479"/>
                <a:gd name="T48" fmla="*/ 1510 w 2520"/>
                <a:gd name="T49" fmla="*/ 2454 h 3479"/>
                <a:gd name="T50" fmla="*/ 1485 w 2520"/>
                <a:gd name="T51" fmla="*/ 2521 h 3479"/>
                <a:gd name="T52" fmla="*/ 1465 w 2520"/>
                <a:gd name="T53" fmla="*/ 2591 h 3479"/>
                <a:gd name="T54" fmla="*/ 1450 w 2520"/>
                <a:gd name="T55" fmla="*/ 2661 h 3479"/>
                <a:gd name="T56" fmla="*/ 420 w 2520"/>
                <a:gd name="T57" fmla="*/ 2661 h 3479"/>
                <a:gd name="T58" fmla="*/ 420 w 2520"/>
                <a:gd name="T59" fmla="*/ 2912 h 3479"/>
                <a:gd name="T60" fmla="*/ 1435 w 2520"/>
                <a:gd name="T61" fmla="*/ 2912 h 3479"/>
                <a:gd name="T62" fmla="*/ 1441 w 2520"/>
                <a:gd name="T63" fmla="*/ 2991 h 3479"/>
                <a:gd name="T64" fmla="*/ 1454 w 2520"/>
                <a:gd name="T65" fmla="*/ 3067 h 3479"/>
                <a:gd name="T66" fmla="*/ 1472 w 2520"/>
                <a:gd name="T67" fmla="*/ 3142 h 3479"/>
                <a:gd name="T68" fmla="*/ 1494 w 2520"/>
                <a:gd name="T69" fmla="*/ 3214 h 3479"/>
                <a:gd name="T70" fmla="*/ 1522 w 2520"/>
                <a:gd name="T71" fmla="*/ 3283 h 3479"/>
                <a:gd name="T72" fmla="*/ 1553 w 2520"/>
                <a:gd name="T73" fmla="*/ 3352 h 3479"/>
                <a:gd name="T74" fmla="*/ 1590 w 2520"/>
                <a:gd name="T75" fmla="*/ 3416 h 3479"/>
                <a:gd name="T76" fmla="*/ 1631 w 2520"/>
                <a:gd name="T77" fmla="*/ 3479 h 3479"/>
                <a:gd name="T78" fmla="*/ 0 w 2520"/>
                <a:gd name="T79" fmla="*/ 3479 h 3479"/>
                <a:gd name="T80" fmla="*/ 0 w 2520"/>
                <a:gd name="T81" fmla="*/ 0 h 3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520" h="3479">
                  <a:moveTo>
                    <a:pt x="420" y="1487"/>
                  </a:moveTo>
                  <a:lnTo>
                    <a:pt x="420" y="1739"/>
                  </a:lnTo>
                  <a:lnTo>
                    <a:pt x="2100" y="1739"/>
                  </a:lnTo>
                  <a:lnTo>
                    <a:pt x="2100" y="1487"/>
                  </a:lnTo>
                  <a:lnTo>
                    <a:pt x="420" y="1487"/>
                  </a:lnTo>
                  <a:close/>
                  <a:moveTo>
                    <a:pt x="0" y="0"/>
                  </a:moveTo>
                  <a:lnTo>
                    <a:pt x="1555" y="0"/>
                  </a:lnTo>
                  <a:lnTo>
                    <a:pt x="1555" y="964"/>
                  </a:lnTo>
                  <a:lnTo>
                    <a:pt x="2520" y="964"/>
                  </a:lnTo>
                  <a:lnTo>
                    <a:pt x="2520" y="1770"/>
                  </a:lnTo>
                  <a:lnTo>
                    <a:pt x="2433" y="1774"/>
                  </a:lnTo>
                  <a:lnTo>
                    <a:pt x="2348" y="1784"/>
                  </a:lnTo>
                  <a:lnTo>
                    <a:pt x="2265" y="1800"/>
                  </a:lnTo>
                  <a:lnTo>
                    <a:pt x="2184" y="1823"/>
                  </a:lnTo>
                  <a:lnTo>
                    <a:pt x="2107" y="1852"/>
                  </a:lnTo>
                  <a:lnTo>
                    <a:pt x="2031" y="1885"/>
                  </a:lnTo>
                  <a:lnTo>
                    <a:pt x="1959" y="1926"/>
                  </a:lnTo>
                  <a:lnTo>
                    <a:pt x="1891" y="1970"/>
                  </a:lnTo>
                  <a:lnTo>
                    <a:pt x="1826" y="2021"/>
                  </a:lnTo>
                  <a:lnTo>
                    <a:pt x="1765" y="2074"/>
                  </a:lnTo>
                  <a:lnTo>
                    <a:pt x="420" y="2074"/>
                  </a:lnTo>
                  <a:lnTo>
                    <a:pt x="420" y="2326"/>
                  </a:lnTo>
                  <a:lnTo>
                    <a:pt x="1571" y="2326"/>
                  </a:lnTo>
                  <a:lnTo>
                    <a:pt x="1538" y="2388"/>
                  </a:lnTo>
                  <a:lnTo>
                    <a:pt x="1510" y="2454"/>
                  </a:lnTo>
                  <a:lnTo>
                    <a:pt x="1485" y="2521"/>
                  </a:lnTo>
                  <a:lnTo>
                    <a:pt x="1465" y="2591"/>
                  </a:lnTo>
                  <a:lnTo>
                    <a:pt x="1450" y="2661"/>
                  </a:lnTo>
                  <a:lnTo>
                    <a:pt x="420" y="2661"/>
                  </a:lnTo>
                  <a:lnTo>
                    <a:pt x="420" y="2912"/>
                  </a:lnTo>
                  <a:lnTo>
                    <a:pt x="1435" y="2912"/>
                  </a:lnTo>
                  <a:lnTo>
                    <a:pt x="1441" y="2991"/>
                  </a:lnTo>
                  <a:lnTo>
                    <a:pt x="1454" y="3067"/>
                  </a:lnTo>
                  <a:lnTo>
                    <a:pt x="1472" y="3142"/>
                  </a:lnTo>
                  <a:lnTo>
                    <a:pt x="1494" y="3214"/>
                  </a:lnTo>
                  <a:lnTo>
                    <a:pt x="1522" y="3283"/>
                  </a:lnTo>
                  <a:lnTo>
                    <a:pt x="1553" y="3352"/>
                  </a:lnTo>
                  <a:lnTo>
                    <a:pt x="1590" y="3416"/>
                  </a:lnTo>
                  <a:lnTo>
                    <a:pt x="1631" y="3479"/>
                  </a:lnTo>
                  <a:lnTo>
                    <a:pt x="0" y="347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693423" y="2288895"/>
            <a:ext cx="454146" cy="304932"/>
            <a:chOff x="1721801" y="2853410"/>
            <a:chExt cx="2101707" cy="1411170"/>
          </a:xfrm>
          <a:solidFill>
            <a:schemeClr val="bg1"/>
          </a:solidFill>
        </p:grpSpPr>
        <p:sp>
          <p:nvSpPr>
            <p:cNvPr id="30" name="Freeform 29"/>
            <p:cNvSpPr/>
            <p:nvPr/>
          </p:nvSpPr>
          <p:spPr>
            <a:xfrm rot="18045015">
              <a:off x="2182878" y="3021177"/>
              <a:ext cx="911102" cy="1297454"/>
            </a:xfrm>
            <a:custGeom>
              <a:avLst/>
              <a:gdLst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745536 w 911102"/>
                <a:gd name="connsiteY3" fmla="*/ 8370 h 1297454"/>
                <a:gd name="connsiteX4" fmla="*/ 824005 w 911102"/>
                <a:gd name="connsiteY4" fmla="*/ 195660 h 1297454"/>
                <a:gd name="connsiteX5" fmla="*/ 911102 w 911102"/>
                <a:gd name="connsiteY5" fmla="*/ 379668 h 1297454"/>
                <a:gd name="connsiteX6" fmla="*/ 907221 w 911102"/>
                <a:gd name="connsiteY6" fmla="*/ 382118 h 1297454"/>
                <a:gd name="connsiteX7" fmla="*/ 876660 w 911102"/>
                <a:gd name="connsiteY7" fmla="*/ 399710 h 1297454"/>
                <a:gd name="connsiteX8" fmla="*/ 490066 w 911102"/>
                <a:gd name="connsiteY8" fmla="*/ 297988 h 1297454"/>
                <a:gd name="connsiteX9" fmla="*/ 716083 w 911102"/>
                <a:gd name="connsiteY9" fmla="*/ 598865 h 1297454"/>
                <a:gd name="connsiteX10" fmla="*/ 777233 w 911102"/>
                <a:gd name="connsiteY10" fmla="*/ 615788 h 1297454"/>
                <a:gd name="connsiteX11" fmla="*/ 770153 w 911102"/>
                <a:gd name="connsiteY11" fmla="*/ 639019 h 1297454"/>
                <a:gd name="connsiteX12" fmla="*/ 753784 w 911102"/>
                <a:gd name="connsiteY12" fmla="*/ 665322 h 1297454"/>
                <a:gd name="connsiteX13" fmla="*/ 710088 w 911102"/>
                <a:gd name="connsiteY13" fmla="*/ 1078153 h 1297454"/>
                <a:gd name="connsiteX14" fmla="*/ 710501 w 911102"/>
                <a:gd name="connsiteY14" fmla="*/ 1086412 h 1297454"/>
                <a:gd name="connsiteX15" fmla="*/ 710454 w 911102"/>
                <a:gd name="connsiteY15" fmla="*/ 1087719 h 1297454"/>
                <a:gd name="connsiteX16" fmla="*/ 714164 w 911102"/>
                <a:gd name="connsiteY16" fmla="*/ 1201144 h 1297454"/>
                <a:gd name="connsiteX17" fmla="*/ 723293 w 911102"/>
                <a:gd name="connsiteY17" fmla="*/ 1277540 h 1297454"/>
                <a:gd name="connsiteX18" fmla="*/ 723407 w 911102"/>
                <a:gd name="connsiteY18" fmla="*/ 1278872 h 1297454"/>
                <a:gd name="connsiteX19" fmla="*/ 724025 w 911102"/>
                <a:gd name="connsiteY19" fmla="*/ 1283671 h 1297454"/>
                <a:gd name="connsiteX20" fmla="*/ 724876 w 911102"/>
                <a:gd name="connsiteY20" fmla="*/ 1290789 h 1297454"/>
                <a:gd name="connsiteX21" fmla="*/ 568039 w 911102"/>
                <a:gd name="connsiteY21" fmla="*/ 1230080 h 1297454"/>
                <a:gd name="connsiteX22" fmla="*/ 364868 w 911102"/>
                <a:gd name="connsiteY22" fmla="*/ 1184795 h 1297454"/>
                <a:gd name="connsiteX23" fmla="*/ 178811 w 911102"/>
                <a:gd name="connsiteY23" fmla="*/ 1123147 h 1297454"/>
                <a:gd name="connsiteX24" fmla="*/ 28040 w 911102"/>
                <a:gd name="connsiteY24" fmla="*/ 1036282 h 1297454"/>
                <a:gd name="connsiteX25" fmla="*/ 26077 w 911102"/>
                <a:gd name="connsiteY25" fmla="*/ 1027345 h 1297454"/>
                <a:gd name="connsiteX26" fmla="*/ 152633 w 911102"/>
                <a:gd name="connsiteY26" fmla="*/ 1035076 h 1297454"/>
                <a:gd name="connsiteX27" fmla="*/ 255738 w 911102"/>
                <a:gd name="connsiteY27" fmla="*/ 943843 h 1297454"/>
                <a:gd name="connsiteX28" fmla="*/ 231475 w 911102"/>
                <a:gd name="connsiteY28" fmla="*/ 873395 h 1297454"/>
                <a:gd name="connsiteX29" fmla="*/ 213502 w 911102"/>
                <a:gd name="connsiteY29" fmla="*/ 859613 h 1297454"/>
                <a:gd name="connsiteX30" fmla="*/ 216878 w 911102"/>
                <a:gd name="connsiteY30" fmla="*/ 859143 h 1297454"/>
                <a:gd name="connsiteX31" fmla="*/ 281693 w 911102"/>
                <a:gd name="connsiteY31" fmla="*/ 773235 h 1297454"/>
                <a:gd name="connsiteX32" fmla="*/ 227816 w 911102"/>
                <a:gd name="connsiteY32" fmla="*/ 680077 h 1297454"/>
                <a:gd name="connsiteX33" fmla="*/ 217008 w 911102"/>
                <a:gd name="connsiteY33" fmla="*/ 677199 h 1297454"/>
                <a:gd name="connsiteX34" fmla="*/ 226953 w 911102"/>
                <a:gd name="connsiteY34" fmla="*/ 675817 h 1297454"/>
                <a:gd name="connsiteX35" fmla="*/ 291768 w 911102"/>
                <a:gd name="connsiteY35" fmla="*/ 589909 h 1297454"/>
                <a:gd name="connsiteX36" fmla="*/ 237891 w 911102"/>
                <a:gd name="connsiteY36" fmla="*/ 496751 h 1297454"/>
                <a:gd name="connsiteX37" fmla="*/ 221568 w 911102"/>
                <a:gd name="connsiteY37" fmla="*/ 492404 h 1297454"/>
                <a:gd name="connsiteX38" fmla="*/ 249567 w 911102"/>
                <a:gd name="connsiteY38" fmla="*/ 475916 h 1297454"/>
                <a:gd name="connsiteX39" fmla="*/ 281129 w 911102"/>
                <a:gd name="connsiteY39" fmla="*/ 411193 h 1297454"/>
                <a:gd name="connsiteX40" fmla="*/ 281130 w 911102"/>
                <a:gd name="connsiteY40" fmla="*/ 411193 h 1297454"/>
                <a:gd name="connsiteX41" fmla="*/ 257681 w 911102"/>
                <a:gd name="connsiteY41" fmla="*/ 343108 h 1297454"/>
                <a:gd name="connsiteX42" fmla="*/ 192957 w 911102"/>
                <a:gd name="connsiteY42" fmla="*/ 311547 h 1297454"/>
                <a:gd name="connsiteX43" fmla="*/ 65424 w 911102"/>
                <a:gd name="connsiteY43" fmla="*/ 303757 h 1297454"/>
                <a:gd name="connsiteX44" fmla="*/ 41901 w 911102"/>
                <a:gd name="connsiteY44" fmla="*/ 309400 h 1297454"/>
                <a:gd name="connsiteX45" fmla="*/ 56412 w 911102"/>
                <a:gd name="connsiteY45" fmla="*/ 232310 h 1297454"/>
                <a:gd name="connsiteX46" fmla="*/ 127609 w 911102"/>
                <a:gd name="connsiteY46" fmla="*/ 8370 h 1297454"/>
                <a:gd name="connsiteX47" fmla="*/ 135979 w 911102"/>
                <a:gd name="connsiteY47" fmla="*/ 0 h 1297454"/>
                <a:gd name="connsiteX48" fmla="*/ 737166 w 911102"/>
                <a:gd name="connsiteY48" fmla="*/ 0 h 1297454"/>
                <a:gd name="connsiteX49" fmla="*/ 745536 w 911102"/>
                <a:gd name="connsiteY4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824005 w 911102"/>
                <a:gd name="connsiteY5" fmla="*/ 195660 h 1297454"/>
                <a:gd name="connsiteX6" fmla="*/ 911102 w 911102"/>
                <a:gd name="connsiteY6" fmla="*/ 379668 h 1297454"/>
                <a:gd name="connsiteX7" fmla="*/ 876660 w 911102"/>
                <a:gd name="connsiteY7" fmla="*/ 399710 h 1297454"/>
                <a:gd name="connsiteX8" fmla="*/ 490066 w 911102"/>
                <a:gd name="connsiteY8" fmla="*/ 297988 h 1297454"/>
                <a:gd name="connsiteX9" fmla="*/ 716083 w 911102"/>
                <a:gd name="connsiteY9" fmla="*/ 598865 h 1297454"/>
                <a:gd name="connsiteX10" fmla="*/ 777233 w 911102"/>
                <a:gd name="connsiteY10" fmla="*/ 615788 h 1297454"/>
                <a:gd name="connsiteX11" fmla="*/ 770153 w 911102"/>
                <a:gd name="connsiteY11" fmla="*/ 639019 h 1297454"/>
                <a:gd name="connsiteX12" fmla="*/ 753784 w 911102"/>
                <a:gd name="connsiteY12" fmla="*/ 665322 h 1297454"/>
                <a:gd name="connsiteX13" fmla="*/ 710088 w 911102"/>
                <a:gd name="connsiteY13" fmla="*/ 1078153 h 1297454"/>
                <a:gd name="connsiteX14" fmla="*/ 710501 w 911102"/>
                <a:gd name="connsiteY14" fmla="*/ 1086412 h 1297454"/>
                <a:gd name="connsiteX15" fmla="*/ 710454 w 911102"/>
                <a:gd name="connsiteY15" fmla="*/ 1087719 h 1297454"/>
                <a:gd name="connsiteX16" fmla="*/ 714164 w 911102"/>
                <a:gd name="connsiteY16" fmla="*/ 1201144 h 1297454"/>
                <a:gd name="connsiteX17" fmla="*/ 723293 w 911102"/>
                <a:gd name="connsiteY17" fmla="*/ 1277540 h 1297454"/>
                <a:gd name="connsiteX18" fmla="*/ 723407 w 911102"/>
                <a:gd name="connsiteY18" fmla="*/ 1278872 h 1297454"/>
                <a:gd name="connsiteX19" fmla="*/ 724025 w 911102"/>
                <a:gd name="connsiteY19" fmla="*/ 1283671 h 1297454"/>
                <a:gd name="connsiteX20" fmla="*/ 724876 w 911102"/>
                <a:gd name="connsiteY20" fmla="*/ 1290789 h 1297454"/>
                <a:gd name="connsiteX21" fmla="*/ 568039 w 911102"/>
                <a:gd name="connsiteY21" fmla="*/ 1230080 h 1297454"/>
                <a:gd name="connsiteX22" fmla="*/ 364868 w 911102"/>
                <a:gd name="connsiteY22" fmla="*/ 1184795 h 1297454"/>
                <a:gd name="connsiteX23" fmla="*/ 178811 w 911102"/>
                <a:gd name="connsiteY23" fmla="*/ 1123147 h 1297454"/>
                <a:gd name="connsiteX24" fmla="*/ 28040 w 911102"/>
                <a:gd name="connsiteY24" fmla="*/ 1036282 h 1297454"/>
                <a:gd name="connsiteX25" fmla="*/ 26077 w 911102"/>
                <a:gd name="connsiteY25" fmla="*/ 1027345 h 1297454"/>
                <a:gd name="connsiteX26" fmla="*/ 152633 w 911102"/>
                <a:gd name="connsiteY26" fmla="*/ 1035076 h 1297454"/>
                <a:gd name="connsiteX27" fmla="*/ 255738 w 911102"/>
                <a:gd name="connsiteY27" fmla="*/ 943843 h 1297454"/>
                <a:gd name="connsiteX28" fmla="*/ 231475 w 911102"/>
                <a:gd name="connsiteY28" fmla="*/ 873395 h 1297454"/>
                <a:gd name="connsiteX29" fmla="*/ 213502 w 911102"/>
                <a:gd name="connsiteY29" fmla="*/ 859613 h 1297454"/>
                <a:gd name="connsiteX30" fmla="*/ 216878 w 911102"/>
                <a:gd name="connsiteY30" fmla="*/ 859143 h 1297454"/>
                <a:gd name="connsiteX31" fmla="*/ 281693 w 911102"/>
                <a:gd name="connsiteY31" fmla="*/ 773235 h 1297454"/>
                <a:gd name="connsiteX32" fmla="*/ 227816 w 911102"/>
                <a:gd name="connsiteY32" fmla="*/ 680077 h 1297454"/>
                <a:gd name="connsiteX33" fmla="*/ 217008 w 911102"/>
                <a:gd name="connsiteY33" fmla="*/ 677199 h 1297454"/>
                <a:gd name="connsiteX34" fmla="*/ 226953 w 911102"/>
                <a:gd name="connsiteY34" fmla="*/ 675817 h 1297454"/>
                <a:gd name="connsiteX35" fmla="*/ 291768 w 911102"/>
                <a:gd name="connsiteY35" fmla="*/ 589909 h 1297454"/>
                <a:gd name="connsiteX36" fmla="*/ 237891 w 911102"/>
                <a:gd name="connsiteY36" fmla="*/ 496751 h 1297454"/>
                <a:gd name="connsiteX37" fmla="*/ 221568 w 911102"/>
                <a:gd name="connsiteY37" fmla="*/ 492404 h 1297454"/>
                <a:gd name="connsiteX38" fmla="*/ 249567 w 911102"/>
                <a:gd name="connsiteY38" fmla="*/ 475916 h 1297454"/>
                <a:gd name="connsiteX39" fmla="*/ 281129 w 911102"/>
                <a:gd name="connsiteY39" fmla="*/ 411193 h 1297454"/>
                <a:gd name="connsiteX40" fmla="*/ 281130 w 911102"/>
                <a:gd name="connsiteY40" fmla="*/ 411193 h 1297454"/>
                <a:gd name="connsiteX41" fmla="*/ 257681 w 911102"/>
                <a:gd name="connsiteY41" fmla="*/ 343108 h 1297454"/>
                <a:gd name="connsiteX42" fmla="*/ 192957 w 911102"/>
                <a:gd name="connsiteY42" fmla="*/ 311547 h 1297454"/>
                <a:gd name="connsiteX43" fmla="*/ 65424 w 911102"/>
                <a:gd name="connsiteY43" fmla="*/ 303757 h 1297454"/>
                <a:gd name="connsiteX44" fmla="*/ 41901 w 911102"/>
                <a:gd name="connsiteY44" fmla="*/ 309400 h 1297454"/>
                <a:gd name="connsiteX45" fmla="*/ 56412 w 911102"/>
                <a:gd name="connsiteY45" fmla="*/ 232310 h 1297454"/>
                <a:gd name="connsiteX46" fmla="*/ 127609 w 911102"/>
                <a:gd name="connsiteY46" fmla="*/ 8370 h 1297454"/>
                <a:gd name="connsiteX47" fmla="*/ 135979 w 911102"/>
                <a:gd name="connsiteY47" fmla="*/ 0 h 1297454"/>
                <a:gd name="connsiteX48" fmla="*/ 737166 w 911102"/>
                <a:gd name="connsiteY48" fmla="*/ 0 h 1297454"/>
                <a:gd name="connsiteX49" fmla="*/ 745536 w 911102"/>
                <a:gd name="connsiteY4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5765 w 911102"/>
                <a:gd name="connsiteY7" fmla="*/ 302911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53784 w 911102"/>
                <a:gd name="connsiteY10" fmla="*/ 665322 h 1297454"/>
                <a:gd name="connsiteX11" fmla="*/ 710088 w 911102"/>
                <a:gd name="connsiteY11" fmla="*/ 1078153 h 1297454"/>
                <a:gd name="connsiteX12" fmla="*/ 710501 w 911102"/>
                <a:gd name="connsiteY12" fmla="*/ 1086412 h 1297454"/>
                <a:gd name="connsiteX13" fmla="*/ 710454 w 911102"/>
                <a:gd name="connsiteY13" fmla="*/ 1087719 h 1297454"/>
                <a:gd name="connsiteX14" fmla="*/ 714164 w 911102"/>
                <a:gd name="connsiteY14" fmla="*/ 1201144 h 1297454"/>
                <a:gd name="connsiteX15" fmla="*/ 723293 w 911102"/>
                <a:gd name="connsiteY15" fmla="*/ 1277540 h 1297454"/>
                <a:gd name="connsiteX16" fmla="*/ 723407 w 911102"/>
                <a:gd name="connsiteY16" fmla="*/ 1278872 h 1297454"/>
                <a:gd name="connsiteX17" fmla="*/ 724025 w 911102"/>
                <a:gd name="connsiteY17" fmla="*/ 1283671 h 1297454"/>
                <a:gd name="connsiteX18" fmla="*/ 724876 w 911102"/>
                <a:gd name="connsiteY18" fmla="*/ 1290789 h 1297454"/>
                <a:gd name="connsiteX19" fmla="*/ 568039 w 911102"/>
                <a:gd name="connsiteY19" fmla="*/ 1230080 h 1297454"/>
                <a:gd name="connsiteX20" fmla="*/ 364868 w 911102"/>
                <a:gd name="connsiteY20" fmla="*/ 1184795 h 1297454"/>
                <a:gd name="connsiteX21" fmla="*/ 178811 w 911102"/>
                <a:gd name="connsiteY21" fmla="*/ 1123147 h 1297454"/>
                <a:gd name="connsiteX22" fmla="*/ 28040 w 911102"/>
                <a:gd name="connsiteY22" fmla="*/ 1036282 h 1297454"/>
                <a:gd name="connsiteX23" fmla="*/ 26077 w 911102"/>
                <a:gd name="connsiteY23" fmla="*/ 1027345 h 1297454"/>
                <a:gd name="connsiteX24" fmla="*/ 152633 w 911102"/>
                <a:gd name="connsiteY24" fmla="*/ 1035076 h 1297454"/>
                <a:gd name="connsiteX25" fmla="*/ 255738 w 911102"/>
                <a:gd name="connsiteY25" fmla="*/ 943843 h 1297454"/>
                <a:gd name="connsiteX26" fmla="*/ 231475 w 911102"/>
                <a:gd name="connsiteY26" fmla="*/ 873395 h 1297454"/>
                <a:gd name="connsiteX27" fmla="*/ 213502 w 911102"/>
                <a:gd name="connsiteY27" fmla="*/ 859613 h 1297454"/>
                <a:gd name="connsiteX28" fmla="*/ 216878 w 911102"/>
                <a:gd name="connsiteY28" fmla="*/ 859143 h 1297454"/>
                <a:gd name="connsiteX29" fmla="*/ 281693 w 911102"/>
                <a:gd name="connsiteY29" fmla="*/ 773235 h 1297454"/>
                <a:gd name="connsiteX30" fmla="*/ 227816 w 911102"/>
                <a:gd name="connsiteY30" fmla="*/ 680077 h 1297454"/>
                <a:gd name="connsiteX31" fmla="*/ 217008 w 911102"/>
                <a:gd name="connsiteY31" fmla="*/ 677199 h 1297454"/>
                <a:gd name="connsiteX32" fmla="*/ 226953 w 911102"/>
                <a:gd name="connsiteY32" fmla="*/ 675817 h 1297454"/>
                <a:gd name="connsiteX33" fmla="*/ 291768 w 911102"/>
                <a:gd name="connsiteY33" fmla="*/ 589909 h 1297454"/>
                <a:gd name="connsiteX34" fmla="*/ 237891 w 911102"/>
                <a:gd name="connsiteY34" fmla="*/ 496751 h 1297454"/>
                <a:gd name="connsiteX35" fmla="*/ 221568 w 911102"/>
                <a:gd name="connsiteY35" fmla="*/ 492404 h 1297454"/>
                <a:gd name="connsiteX36" fmla="*/ 249567 w 911102"/>
                <a:gd name="connsiteY36" fmla="*/ 475916 h 1297454"/>
                <a:gd name="connsiteX37" fmla="*/ 281129 w 911102"/>
                <a:gd name="connsiteY37" fmla="*/ 411193 h 1297454"/>
                <a:gd name="connsiteX38" fmla="*/ 281130 w 911102"/>
                <a:gd name="connsiteY38" fmla="*/ 411193 h 1297454"/>
                <a:gd name="connsiteX39" fmla="*/ 257681 w 911102"/>
                <a:gd name="connsiteY39" fmla="*/ 343108 h 1297454"/>
                <a:gd name="connsiteX40" fmla="*/ 192957 w 911102"/>
                <a:gd name="connsiteY40" fmla="*/ 311547 h 1297454"/>
                <a:gd name="connsiteX41" fmla="*/ 65424 w 911102"/>
                <a:gd name="connsiteY41" fmla="*/ 303757 h 1297454"/>
                <a:gd name="connsiteX42" fmla="*/ 41901 w 911102"/>
                <a:gd name="connsiteY42" fmla="*/ 309400 h 1297454"/>
                <a:gd name="connsiteX43" fmla="*/ 56412 w 911102"/>
                <a:gd name="connsiteY43" fmla="*/ 232310 h 1297454"/>
                <a:gd name="connsiteX44" fmla="*/ 127609 w 911102"/>
                <a:gd name="connsiteY44" fmla="*/ 8370 h 1297454"/>
                <a:gd name="connsiteX45" fmla="*/ 135979 w 911102"/>
                <a:gd name="connsiteY45" fmla="*/ 0 h 1297454"/>
                <a:gd name="connsiteX46" fmla="*/ 737166 w 911102"/>
                <a:gd name="connsiteY46" fmla="*/ 0 h 1297454"/>
                <a:gd name="connsiteX47" fmla="*/ 745536 w 911102"/>
                <a:gd name="connsiteY47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4164 w 911102"/>
                <a:gd name="connsiteY12" fmla="*/ 1201144 h 1297454"/>
                <a:gd name="connsiteX13" fmla="*/ 723293 w 911102"/>
                <a:gd name="connsiteY13" fmla="*/ 1277540 h 1297454"/>
                <a:gd name="connsiteX14" fmla="*/ 723407 w 911102"/>
                <a:gd name="connsiteY14" fmla="*/ 1278872 h 1297454"/>
                <a:gd name="connsiteX15" fmla="*/ 724025 w 911102"/>
                <a:gd name="connsiteY15" fmla="*/ 1283671 h 1297454"/>
                <a:gd name="connsiteX16" fmla="*/ 724876 w 911102"/>
                <a:gd name="connsiteY16" fmla="*/ 1290789 h 1297454"/>
                <a:gd name="connsiteX17" fmla="*/ 568039 w 911102"/>
                <a:gd name="connsiteY17" fmla="*/ 1230080 h 1297454"/>
                <a:gd name="connsiteX18" fmla="*/ 364868 w 911102"/>
                <a:gd name="connsiteY18" fmla="*/ 1184795 h 1297454"/>
                <a:gd name="connsiteX19" fmla="*/ 178811 w 911102"/>
                <a:gd name="connsiteY19" fmla="*/ 1123147 h 1297454"/>
                <a:gd name="connsiteX20" fmla="*/ 28040 w 911102"/>
                <a:gd name="connsiteY20" fmla="*/ 1036282 h 1297454"/>
                <a:gd name="connsiteX21" fmla="*/ 26077 w 911102"/>
                <a:gd name="connsiteY21" fmla="*/ 1027345 h 1297454"/>
                <a:gd name="connsiteX22" fmla="*/ 152633 w 911102"/>
                <a:gd name="connsiteY22" fmla="*/ 1035076 h 1297454"/>
                <a:gd name="connsiteX23" fmla="*/ 255738 w 911102"/>
                <a:gd name="connsiteY23" fmla="*/ 943843 h 1297454"/>
                <a:gd name="connsiteX24" fmla="*/ 231475 w 911102"/>
                <a:gd name="connsiteY24" fmla="*/ 873395 h 1297454"/>
                <a:gd name="connsiteX25" fmla="*/ 213502 w 911102"/>
                <a:gd name="connsiteY25" fmla="*/ 859613 h 1297454"/>
                <a:gd name="connsiteX26" fmla="*/ 216878 w 911102"/>
                <a:gd name="connsiteY26" fmla="*/ 859143 h 1297454"/>
                <a:gd name="connsiteX27" fmla="*/ 281693 w 911102"/>
                <a:gd name="connsiteY27" fmla="*/ 773235 h 1297454"/>
                <a:gd name="connsiteX28" fmla="*/ 227816 w 911102"/>
                <a:gd name="connsiteY28" fmla="*/ 680077 h 1297454"/>
                <a:gd name="connsiteX29" fmla="*/ 217008 w 911102"/>
                <a:gd name="connsiteY29" fmla="*/ 677199 h 1297454"/>
                <a:gd name="connsiteX30" fmla="*/ 226953 w 911102"/>
                <a:gd name="connsiteY30" fmla="*/ 675817 h 1297454"/>
                <a:gd name="connsiteX31" fmla="*/ 291768 w 911102"/>
                <a:gd name="connsiteY31" fmla="*/ 589909 h 1297454"/>
                <a:gd name="connsiteX32" fmla="*/ 237891 w 911102"/>
                <a:gd name="connsiteY32" fmla="*/ 496751 h 1297454"/>
                <a:gd name="connsiteX33" fmla="*/ 221568 w 911102"/>
                <a:gd name="connsiteY33" fmla="*/ 492404 h 1297454"/>
                <a:gd name="connsiteX34" fmla="*/ 249567 w 911102"/>
                <a:gd name="connsiteY34" fmla="*/ 475916 h 1297454"/>
                <a:gd name="connsiteX35" fmla="*/ 281129 w 911102"/>
                <a:gd name="connsiteY35" fmla="*/ 411193 h 1297454"/>
                <a:gd name="connsiteX36" fmla="*/ 281130 w 911102"/>
                <a:gd name="connsiteY36" fmla="*/ 411193 h 1297454"/>
                <a:gd name="connsiteX37" fmla="*/ 257681 w 911102"/>
                <a:gd name="connsiteY37" fmla="*/ 343108 h 1297454"/>
                <a:gd name="connsiteX38" fmla="*/ 192957 w 911102"/>
                <a:gd name="connsiteY38" fmla="*/ 311547 h 1297454"/>
                <a:gd name="connsiteX39" fmla="*/ 65424 w 911102"/>
                <a:gd name="connsiteY39" fmla="*/ 303757 h 1297454"/>
                <a:gd name="connsiteX40" fmla="*/ 41901 w 911102"/>
                <a:gd name="connsiteY40" fmla="*/ 309400 h 1297454"/>
                <a:gd name="connsiteX41" fmla="*/ 56412 w 911102"/>
                <a:gd name="connsiteY41" fmla="*/ 232310 h 1297454"/>
                <a:gd name="connsiteX42" fmla="*/ 127609 w 911102"/>
                <a:gd name="connsiteY42" fmla="*/ 8370 h 1297454"/>
                <a:gd name="connsiteX43" fmla="*/ 135979 w 911102"/>
                <a:gd name="connsiteY43" fmla="*/ 0 h 1297454"/>
                <a:gd name="connsiteX44" fmla="*/ 737166 w 911102"/>
                <a:gd name="connsiteY44" fmla="*/ 0 h 1297454"/>
                <a:gd name="connsiteX45" fmla="*/ 745536 w 911102"/>
                <a:gd name="connsiteY45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4164 w 911102"/>
                <a:gd name="connsiteY11" fmla="*/ 1201144 h 1297454"/>
                <a:gd name="connsiteX12" fmla="*/ 723293 w 911102"/>
                <a:gd name="connsiteY12" fmla="*/ 1277540 h 1297454"/>
                <a:gd name="connsiteX13" fmla="*/ 723407 w 911102"/>
                <a:gd name="connsiteY13" fmla="*/ 1278872 h 1297454"/>
                <a:gd name="connsiteX14" fmla="*/ 724025 w 911102"/>
                <a:gd name="connsiteY14" fmla="*/ 1283671 h 1297454"/>
                <a:gd name="connsiteX15" fmla="*/ 724876 w 911102"/>
                <a:gd name="connsiteY15" fmla="*/ 1290789 h 1297454"/>
                <a:gd name="connsiteX16" fmla="*/ 568039 w 911102"/>
                <a:gd name="connsiteY16" fmla="*/ 1230080 h 1297454"/>
                <a:gd name="connsiteX17" fmla="*/ 364868 w 911102"/>
                <a:gd name="connsiteY17" fmla="*/ 1184795 h 1297454"/>
                <a:gd name="connsiteX18" fmla="*/ 178811 w 911102"/>
                <a:gd name="connsiteY18" fmla="*/ 1123147 h 1297454"/>
                <a:gd name="connsiteX19" fmla="*/ 28040 w 911102"/>
                <a:gd name="connsiteY19" fmla="*/ 1036282 h 1297454"/>
                <a:gd name="connsiteX20" fmla="*/ 26077 w 911102"/>
                <a:gd name="connsiteY20" fmla="*/ 1027345 h 1297454"/>
                <a:gd name="connsiteX21" fmla="*/ 152633 w 911102"/>
                <a:gd name="connsiteY21" fmla="*/ 1035076 h 1297454"/>
                <a:gd name="connsiteX22" fmla="*/ 255738 w 911102"/>
                <a:gd name="connsiteY22" fmla="*/ 943843 h 1297454"/>
                <a:gd name="connsiteX23" fmla="*/ 231475 w 911102"/>
                <a:gd name="connsiteY23" fmla="*/ 873395 h 1297454"/>
                <a:gd name="connsiteX24" fmla="*/ 213502 w 911102"/>
                <a:gd name="connsiteY24" fmla="*/ 859613 h 1297454"/>
                <a:gd name="connsiteX25" fmla="*/ 216878 w 911102"/>
                <a:gd name="connsiteY25" fmla="*/ 859143 h 1297454"/>
                <a:gd name="connsiteX26" fmla="*/ 281693 w 911102"/>
                <a:gd name="connsiteY26" fmla="*/ 773235 h 1297454"/>
                <a:gd name="connsiteX27" fmla="*/ 227816 w 911102"/>
                <a:gd name="connsiteY27" fmla="*/ 680077 h 1297454"/>
                <a:gd name="connsiteX28" fmla="*/ 217008 w 911102"/>
                <a:gd name="connsiteY28" fmla="*/ 677199 h 1297454"/>
                <a:gd name="connsiteX29" fmla="*/ 226953 w 911102"/>
                <a:gd name="connsiteY29" fmla="*/ 675817 h 1297454"/>
                <a:gd name="connsiteX30" fmla="*/ 291768 w 911102"/>
                <a:gd name="connsiteY30" fmla="*/ 589909 h 1297454"/>
                <a:gd name="connsiteX31" fmla="*/ 237891 w 911102"/>
                <a:gd name="connsiteY31" fmla="*/ 496751 h 1297454"/>
                <a:gd name="connsiteX32" fmla="*/ 221568 w 911102"/>
                <a:gd name="connsiteY32" fmla="*/ 492404 h 1297454"/>
                <a:gd name="connsiteX33" fmla="*/ 249567 w 911102"/>
                <a:gd name="connsiteY33" fmla="*/ 475916 h 1297454"/>
                <a:gd name="connsiteX34" fmla="*/ 281129 w 911102"/>
                <a:gd name="connsiteY34" fmla="*/ 411193 h 1297454"/>
                <a:gd name="connsiteX35" fmla="*/ 281130 w 911102"/>
                <a:gd name="connsiteY35" fmla="*/ 411193 h 1297454"/>
                <a:gd name="connsiteX36" fmla="*/ 257681 w 911102"/>
                <a:gd name="connsiteY36" fmla="*/ 343108 h 1297454"/>
                <a:gd name="connsiteX37" fmla="*/ 192957 w 911102"/>
                <a:gd name="connsiteY37" fmla="*/ 311547 h 1297454"/>
                <a:gd name="connsiteX38" fmla="*/ 65424 w 911102"/>
                <a:gd name="connsiteY38" fmla="*/ 303757 h 1297454"/>
                <a:gd name="connsiteX39" fmla="*/ 41901 w 911102"/>
                <a:gd name="connsiteY39" fmla="*/ 309400 h 1297454"/>
                <a:gd name="connsiteX40" fmla="*/ 56412 w 911102"/>
                <a:gd name="connsiteY40" fmla="*/ 232310 h 1297454"/>
                <a:gd name="connsiteX41" fmla="*/ 127609 w 911102"/>
                <a:gd name="connsiteY41" fmla="*/ 8370 h 1297454"/>
                <a:gd name="connsiteX42" fmla="*/ 135979 w 911102"/>
                <a:gd name="connsiteY42" fmla="*/ 0 h 1297454"/>
                <a:gd name="connsiteX43" fmla="*/ 737166 w 911102"/>
                <a:gd name="connsiteY43" fmla="*/ 0 h 1297454"/>
                <a:gd name="connsiteX44" fmla="*/ 745536 w 911102"/>
                <a:gd name="connsiteY44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4164 w 911102"/>
                <a:gd name="connsiteY10" fmla="*/ 1201144 h 1297454"/>
                <a:gd name="connsiteX11" fmla="*/ 723293 w 911102"/>
                <a:gd name="connsiteY11" fmla="*/ 1277540 h 1297454"/>
                <a:gd name="connsiteX12" fmla="*/ 723407 w 911102"/>
                <a:gd name="connsiteY12" fmla="*/ 1278872 h 1297454"/>
                <a:gd name="connsiteX13" fmla="*/ 724025 w 911102"/>
                <a:gd name="connsiteY13" fmla="*/ 1283671 h 1297454"/>
                <a:gd name="connsiteX14" fmla="*/ 724876 w 911102"/>
                <a:gd name="connsiteY14" fmla="*/ 1290789 h 1297454"/>
                <a:gd name="connsiteX15" fmla="*/ 568039 w 911102"/>
                <a:gd name="connsiteY15" fmla="*/ 1230080 h 1297454"/>
                <a:gd name="connsiteX16" fmla="*/ 364868 w 911102"/>
                <a:gd name="connsiteY16" fmla="*/ 1184795 h 1297454"/>
                <a:gd name="connsiteX17" fmla="*/ 178811 w 911102"/>
                <a:gd name="connsiteY17" fmla="*/ 1123147 h 1297454"/>
                <a:gd name="connsiteX18" fmla="*/ 28040 w 911102"/>
                <a:gd name="connsiteY18" fmla="*/ 1036282 h 1297454"/>
                <a:gd name="connsiteX19" fmla="*/ 26077 w 911102"/>
                <a:gd name="connsiteY19" fmla="*/ 1027345 h 1297454"/>
                <a:gd name="connsiteX20" fmla="*/ 152633 w 911102"/>
                <a:gd name="connsiteY20" fmla="*/ 1035076 h 1297454"/>
                <a:gd name="connsiteX21" fmla="*/ 255738 w 911102"/>
                <a:gd name="connsiteY21" fmla="*/ 943843 h 1297454"/>
                <a:gd name="connsiteX22" fmla="*/ 231475 w 911102"/>
                <a:gd name="connsiteY22" fmla="*/ 873395 h 1297454"/>
                <a:gd name="connsiteX23" fmla="*/ 213502 w 911102"/>
                <a:gd name="connsiteY23" fmla="*/ 859613 h 1297454"/>
                <a:gd name="connsiteX24" fmla="*/ 216878 w 911102"/>
                <a:gd name="connsiteY24" fmla="*/ 859143 h 1297454"/>
                <a:gd name="connsiteX25" fmla="*/ 281693 w 911102"/>
                <a:gd name="connsiteY25" fmla="*/ 773235 h 1297454"/>
                <a:gd name="connsiteX26" fmla="*/ 227816 w 911102"/>
                <a:gd name="connsiteY26" fmla="*/ 680077 h 1297454"/>
                <a:gd name="connsiteX27" fmla="*/ 217008 w 911102"/>
                <a:gd name="connsiteY27" fmla="*/ 677199 h 1297454"/>
                <a:gd name="connsiteX28" fmla="*/ 226953 w 911102"/>
                <a:gd name="connsiteY28" fmla="*/ 675817 h 1297454"/>
                <a:gd name="connsiteX29" fmla="*/ 291768 w 911102"/>
                <a:gd name="connsiteY29" fmla="*/ 589909 h 1297454"/>
                <a:gd name="connsiteX30" fmla="*/ 237891 w 911102"/>
                <a:gd name="connsiteY30" fmla="*/ 496751 h 1297454"/>
                <a:gd name="connsiteX31" fmla="*/ 221568 w 911102"/>
                <a:gd name="connsiteY31" fmla="*/ 492404 h 1297454"/>
                <a:gd name="connsiteX32" fmla="*/ 249567 w 911102"/>
                <a:gd name="connsiteY32" fmla="*/ 475916 h 1297454"/>
                <a:gd name="connsiteX33" fmla="*/ 281129 w 911102"/>
                <a:gd name="connsiteY33" fmla="*/ 411193 h 1297454"/>
                <a:gd name="connsiteX34" fmla="*/ 281130 w 911102"/>
                <a:gd name="connsiteY34" fmla="*/ 411193 h 1297454"/>
                <a:gd name="connsiteX35" fmla="*/ 257681 w 911102"/>
                <a:gd name="connsiteY35" fmla="*/ 343108 h 1297454"/>
                <a:gd name="connsiteX36" fmla="*/ 192957 w 911102"/>
                <a:gd name="connsiteY36" fmla="*/ 311547 h 1297454"/>
                <a:gd name="connsiteX37" fmla="*/ 65424 w 911102"/>
                <a:gd name="connsiteY37" fmla="*/ 303757 h 1297454"/>
                <a:gd name="connsiteX38" fmla="*/ 41901 w 911102"/>
                <a:gd name="connsiteY38" fmla="*/ 309400 h 1297454"/>
                <a:gd name="connsiteX39" fmla="*/ 56412 w 911102"/>
                <a:gd name="connsiteY39" fmla="*/ 232310 h 1297454"/>
                <a:gd name="connsiteX40" fmla="*/ 127609 w 911102"/>
                <a:gd name="connsiteY40" fmla="*/ 8370 h 1297454"/>
                <a:gd name="connsiteX41" fmla="*/ 135979 w 911102"/>
                <a:gd name="connsiteY41" fmla="*/ 0 h 1297454"/>
                <a:gd name="connsiteX42" fmla="*/ 737166 w 911102"/>
                <a:gd name="connsiteY42" fmla="*/ 0 h 1297454"/>
                <a:gd name="connsiteX43" fmla="*/ 745536 w 911102"/>
                <a:gd name="connsiteY43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3407 w 911102"/>
                <a:gd name="connsiteY11" fmla="*/ 1278872 h 1297454"/>
                <a:gd name="connsiteX12" fmla="*/ 724025 w 911102"/>
                <a:gd name="connsiteY12" fmla="*/ 1283671 h 1297454"/>
                <a:gd name="connsiteX13" fmla="*/ 724876 w 911102"/>
                <a:gd name="connsiteY13" fmla="*/ 1290789 h 1297454"/>
                <a:gd name="connsiteX14" fmla="*/ 568039 w 911102"/>
                <a:gd name="connsiteY14" fmla="*/ 1230080 h 1297454"/>
                <a:gd name="connsiteX15" fmla="*/ 364868 w 911102"/>
                <a:gd name="connsiteY15" fmla="*/ 1184795 h 1297454"/>
                <a:gd name="connsiteX16" fmla="*/ 178811 w 911102"/>
                <a:gd name="connsiteY16" fmla="*/ 1123147 h 1297454"/>
                <a:gd name="connsiteX17" fmla="*/ 28040 w 911102"/>
                <a:gd name="connsiteY17" fmla="*/ 1036282 h 1297454"/>
                <a:gd name="connsiteX18" fmla="*/ 26077 w 911102"/>
                <a:gd name="connsiteY18" fmla="*/ 1027345 h 1297454"/>
                <a:gd name="connsiteX19" fmla="*/ 152633 w 911102"/>
                <a:gd name="connsiteY19" fmla="*/ 1035076 h 1297454"/>
                <a:gd name="connsiteX20" fmla="*/ 255738 w 911102"/>
                <a:gd name="connsiteY20" fmla="*/ 943843 h 1297454"/>
                <a:gd name="connsiteX21" fmla="*/ 231475 w 911102"/>
                <a:gd name="connsiteY21" fmla="*/ 873395 h 1297454"/>
                <a:gd name="connsiteX22" fmla="*/ 213502 w 911102"/>
                <a:gd name="connsiteY22" fmla="*/ 859613 h 1297454"/>
                <a:gd name="connsiteX23" fmla="*/ 216878 w 911102"/>
                <a:gd name="connsiteY23" fmla="*/ 859143 h 1297454"/>
                <a:gd name="connsiteX24" fmla="*/ 281693 w 911102"/>
                <a:gd name="connsiteY24" fmla="*/ 773235 h 1297454"/>
                <a:gd name="connsiteX25" fmla="*/ 227816 w 911102"/>
                <a:gd name="connsiteY25" fmla="*/ 680077 h 1297454"/>
                <a:gd name="connsiteX26" fmla="*/ 217008 w 911102"/>
                <a:gd name="connsiteY26" fmla="*/ 677199 h 1297454"/>
                <a:gd name="connsiteX27" fmla="*/ 226953 w 911102"/>
                <a:gd name="connsiteY27" fmla="*/ 675817 h 1297454"/>
                <a:gd name="connsiteX28" fmla="*/ 291768 w 911102"/>
                <a:gd name="connsiteY28" fmla="*/ 589909 h 1297454"/>
                <a:gd name="connsiteX29" fmla="*/ 237891 w 911102"/>
                <a:gd name="connsiteY29" fmla="*/ 496751 h 1297454"/>
                <a:gd name="connsiteX30" fmla="*/ 221568 w 911102"/>
                <a:gd name="connsiteY30" fmla="*/ 492404 h 1297454"/>
                <a:gd name="connsiteX31" fmla="*/ 249567 w 911102"/>
                <a:gd name="connsiteY31" fmla="*/ 475916 h 1297454"/>
                <a:gd name="connsiteX32" fmla="*/ 281129 w 911102"/>
                <a:gd name="connsiteY32" fmla="*/ 411193 h 1297454"/>
                <a:gd name="connsiteX33" fmla="*/ 281130 w 911102"/>
                <a:gd name="connsiteY33" fmla="*/ 411193 h 1297454"/>
                <a:gd name="connsiteX34" fmla="*/ 257681 w 911102"/>
                <a:gd name="connsiteY34" fmla="*/ 343108 h 1297454"/>
                <a:gd name="connsiteX35" fmla="*/ 192957 w 911102"/>
                <a:gd name="connsiteY35" fmla="*/ 311547 h 1297454"/>
                <a:gd name="connsiteX36" fmla="*/ 65424 w 911102"/>
                <a:gd name="connsiteY36" fmla="*/ 303757 h 1297454"/>
                <a:gd name="connsiteX37" fmla="*/ 41901 w 911102"/>
                <a:gd name="connsiteY37" fmla="*/ 309400 h 1297454"/>
                <a:gd name="connsiteX38" fmla="*/ 56412 w 911102"/>
                <a:gd name="connsiteY38" fmla="*/ 232310 h 1297454"/>
                <a:gd name="connsiteX39" fmla="*/ 127609 w 911102"/>
                <a:gd name="connsiteY39" fmla="*/ 8370 h 1297454"/>
                <a:gd name="connsiteX40" fmla="*/ 135979 w 911102"/>
                <a:gd name="connsiteY40" fmla="*/ 0 h 1297454"/>
                <a:gd name="connsiteX41" fmla="*/ 737166 w 911102"/>
                <a:gd name="connsiteY41" fmla="*/ 0 h 1297454"/>
                <a:gd name="connsiteX42" fmla="*/ 745536 w 911102"/>
                <a:gd name="connsiteY42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3407 w 911102"/>
                <a:gd name="connsiteY11" fmla="*/ 1278872 h 1297454"/>
                <a:gd name="connsiteX12" fmla="*/ 724876 w 911102"/>
                <a:gd name="connsiteY12" fmla="*/ 1290789 h 1297454"/>
                <a:gd name="connsiteX13" fmla="*/ 568039 w 911102"/>
                <a:gd name="connsiteY13" fmla="*/ 1230080 h 1297454"/>
                <a:gd name="connsiteX14" fmla="*/ 364868 w 911102"/>
                <a:gd name="connsiteY14" fmla="*/ 1184795 h 1297454"/>
                <a:gd name="connsiteX15" fmla="*/ 178811 w 911102"/>
                <a:gd name="connsiteY15" fmla="*/ 1123147 h 1297454"/>
                <a:gd name="connsiteX16" fmla="*/ 28040 w 911102"/>
                <a:gd name="connsiteY16" fmla="*/ 1036282 h 1297454"/>
                <a:gd name="connsiteX17" fmla="*/ 26077 w 911102"/>
                <a:gd name="connsiteY17" fmla="*/ 1027345 h 1297454"/>
                <a:gd name="connsiteX18" fmla="*/ 152633 w 911102"/>
                <a:gd name="connsiteY18" fmla="*/ 1035076 h 1297454"/>
                <a:gd name="connsiteX19" fmla="*/ 255738 w 911102"/>
                <a:gd name="connsiteY19" fmla="*/ 943843 h 1297454"/>
                <a:gd name="connsiteX20" fmla="*/ 231475 w 911102"/>
                <a:gd name="connsiteY20" fmla="*/ 873395 h 1297454"/>
                <a:gd name="connsiteX21" fmla="*/ 213502 w 911102"/>
                <a:gd name="connsiteY21" fmla="*/ 859613 h 1297454"/>
                <a:gd name="connsiteX22" fmla="*/ 216878 w 911102"/>
                <a:gd name="connsiteY22" fmla="*/ 859143 h 1297454"/>
                <a:gd name="connsiteX23" fmla="*/ 281693 w 911102"/>
                <a:gd name="connsiteY23" fmla="*/ 773235 h 1297454"/>
                <a:gd name="connsiteX24" fmla="*/ 227816 w 911102"/>
                <a:gd name="connsiteY24" fmla="*/ 680077 h 1297454"/>
                <a:gd name="connsiteX25" fmla="*/ 217008 w 911102"/>
                <a:gd name="connsiteY25" fmla="*/ 677199 h 1297454"/>
                <a:gd name="connsiteX26" fmla="*/ 226953 w 911102"/>
                <a:gd name="connsiteY26" fmla="*/ 675817 h 1297454"/>
                <a:gd name="connsiteX27" fmla="*/ 291768 w 911102"/>
                <a:gd name="connsiteY27" fmla="*/ 589909 h 1297454"/>
                <a:gd name="connsiteX28" fmla="*/ 237891 w 911102"/>
                <a:gd name="connsiteY28" fmla="*/ 496751 h 1297454"/>
                <a:gd name="connsiteX29" fmla="*/ 221568 w 911102"/>
                <a:gd name="connsiteY29" fmla="*/ 492404 h 1297454"/>
                <a:gd name="connsiteX30" fmla="*/ 249567 w 911102"/>
                <a:gd name="connsiteY30" fmla="*/ 475916 h 1297454"/>
                <a:gd name="connsiteX31" fmla="*/ 281129 w 911102"/>
                <a:gd name="connsiteY31" fmla="*/ 411193 h 1297454"/>
                <a:gd name="connsiteX32" fmla="*/ 281130 w 911102"/>
                <a:gd name="connsiteY32" fmla="*/ 411193 h 1297454"/>
                <a:gd name="connsiteX33" fmla="*/ 257681 w 911102"/>
                <a:gd name="connsiteY33" fmla="*/ 343108 h 1297454"/>
                <a:gd name="connsiteX34" fmla="*/ 192957 w 911102"/>
                <a:gd name="connsiteY34" fmla="*/ 311547 h 1297454"/>
                <a:gd name="connsiteX35" fmla="*/ 65424 w 911102"/>
                <a:gd name="connsiteY35" fmla="*/ 303757 h 1297454"/>
                <a:gd name="connsiteX36" fmla="*/ 41901 w 911102"/>
                <a:gd name="connsiteY36" fmla="*/ 309400 h 1297454"/>
                <a:gd name="connsiteX37" fmla="*/ 56412 w 911102"/>
                <a:gd name="connsiteY37" fmla="*/ 232310 h 1297454"/>
                <a:gd name="connsiteX38" fmla="*/ 127609 w 911102"/>
                <a:gd name="connsiteY38" fmla="*/ 8370 h 1297454"/>
                <a:gd name="connsiteX39" fmla="*/ 135979 w 911102"/>
                <a:gd name="connsiteY39" fmla="*/ 0 h 1297454"/>
                <a:gd name="connsiteX40" fmla="*/ 737166 w 911102"/>
                <a:gd name="connsiteY40" fmla="*/ 0 h 1297454"/>
                <a:gd name="connsiteX41" fmla="*/ 745536 w 911102"/>
                <a:gd name="connsiteY41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4876 w 911102"/>
                <a:gd name="connsiteY11" fmla="*/ 1290789 h 1297454"/>
                <a:gd name="connsiteX12" fmla="*/ 568039 w 911102"/>
                <a:gd name="connsiteY12" fmla="*/ 1230080 h 1297454"/>
                <a:gd name="connsiteX13" fmla="*/ 364868 w 911102"/>
                <a:gd name="connsiteY13" fmla="*/ 1184795 h 1297454"/>
                <a:gd name="connsiteX14" fmla="*/ 178811 w 911102"/>
                <a:gd name="connsiteY14" fmla="*/ 1123147 h 1297454"/>
                <a:gd name="connsiteX15" fmla="*/ 28040 w 911102"/>
                <a:gd name="connsiteY15" fmla="*/ 1036282 h 1297454"/>
                <a:gd name="connsiteX16" fmla="*/ 26077 w 911102"/>
                <a:gd name="connsiteY16" fmla="*/ 1027345 h 1297454"/>
                <a:gd name="connsiteX17" fmla="*/ 152633 w 911102"/>
                <a:gd name="connsiteY17" fmla="*/ 1035076 h 1297454"/>
                <a:gd name="connsiteX18" fmla="*/ 255738 w 911102"/>
                <a:gd name="connsiteY18" fmla="*/ 943843 h 1297454"/>
                <a:gd name="connsiteX19" fmla="*/ 231475 w 911102"/>
                <a:gd name="connsiteY19" fmla="*/ 873395 h 1297454"/>
                <a:gd name="connsiteX20" fmla="*/ 213502 w 911102"/>
                <a:gd name="connsiteY20" fmla="*/ 859613 h 1297454"/>
                <a:gd name="connsiteX21" fmla="*/ 216878 w 911102"/>
                <a:gd name="connsiteY21" fmla="*/ 859143 h 1297454"/>
                <a:gd name="connsiteX22" fmla="*/ 281693 w 911102"/>
                <a:gd name="connsiteY22" fmla="*/ 773235 h 1297454"/>
                <a:gd name="connsiteX23" fmla="*/ 227816 w 911102"/>
                <a:gd name="connsiteY23" fmla="*/ 680077 h 1297454"/>
                <a:gd name="connsiteX24" fmla="*/ 217008 w 911102"/>
                <a:gd name="connsiteY24" fmla="*/ 677199 h 1297454"/>
                <a:gd name="connsiteX25" fmla="*/ 226953 w 911102"/>
                <a:gd name="connsiteY25" fmla="*/ 675817 h 1297454"/>
                <a:gd name="connsiteX26" fmla="*/ 291768 w 911102"/>
                <a:gd name="connsiteY26" fmla="*/ 589909 h 1297454"/>
                <a:gd name="connsiteX27" fmla="*/ 237891 w 911102"/>
                <a:gd name="connsiteY27" fmla="*/ 496751 h 1297454"/>
                <a:gd name="connsiteX28" fmla="*/ 221568 w 911102"/>
                <a:gd name="connsiteY28" fmla="*/ 492404 h 1297454"/>
                <a:gd name="connsiteX29" fmla="*/ 249567 w 911102"/>
                <a:gd name="connsiteY29" fmla="*/ 475916 h 1297454"/>
                <a:gd name="connsiteX30" fmla="*/ 281129 w 911102"/>
                <a:gd name="connsiteY30" fmla="*/ 411193 h 1297454"/>
                <a:gd name="connsiteX31" fmla="*/ 281130 w 911102"/>
                <a:gd name="connsiteY31" fmla="*/ 411193 h 1297454"/>
                <a:gd name="connsiteX32" fmla="*/ 257681 w 911102"/>
                <a:gd name="connsiteY32" fmla="*/ 343108 h 1297454"/>
                <a:gd name="connsiteX33" fmla="*/ 192957 w 911102"/>
                <a:gd name="connsiteY33" fmla="*/ 311547 h 1297454"/>
                <a:gd name="connsiteX34" fmla="*/ 65424 w 911102"/>
                <a:gd name="connsiteY34" fmla="*/ 303757 h 1297454"/>
                <a:gd name="connsiteX35" fmla="*/ 41901 w 911102"/>
                <a:gd name="connsiteY35" fmla="*/ 309400 h 1297454"/>
                <a:gd name="connsiteX36" fmla="*/ 56412 w 911102"/>
                <a:gd name="connsiteY36" fmla="*/ 232310 h 1297454"/>
                <a:gd name="connsiteX37" fmla="*/ 127609 w 911102"/>
                <a:gd name="connsiteY37" fmla="*/ 8370 h 1297454"/>
                <a:gd name="connsiteX38" fmla="*/ 135979 w 911102"/>
                <a:gd name="connsiteY38" fmla="*/ 0 h 1297454"/>
                <a:gd name="connsiteX39" fmla="*/ 737166 w 911102"/>
                <a:gd name="connsiteY39" fmla="*/ 0 h 1297454"/>
                <a:gd name="connsiteX40" fmla="*/ 745536 w 911102"/>
                <a:gd name="connsiteY40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11102" h="1297454">
                  <a:moveTo>
                    <a:pt x="554" y="664205"/>
                  </a:moveTo>
                  <a:lnTo>
                    <a:pt x="0" y="664282"/>
                  </a:lnTo>
                  <a:cubicBezTo>
                    <a:pt x="5" y="664208"/>
                    <a:pt x="11" y="664135"/>
                    <a:pt x="16" y="664061"/>
                  </a:cubicBezTo>
                  <a:lnTo>
                    <a:pt x="554" y="664205"/>
                  </a:lnTo>
                  <a:close/>
                  <a:moveTo>
                    <a:pt x="745536" y="8370"/>
                  </a:moveTo>
                  <a:cubicBezTo>
                    <a:pt x="777296" y="94936"/>
                    <a:pt x="879455" y="311958"/>
                    <a:pt x="911102" y="379668"/>
                  </a:cubicBezTo>
                  <a:lnTo>
                    <a:pt x="876710" y="385825"/>
                  </a:lnTo>
                  <a:cubicBezTo>
                    <a:pt x="868621" y="377323"/>
                    <a:pt x="500563" y="302568"/>
                    <a:pt x="492061" y="310657"/>
                  </a:cubicBezTo>
                  <a:cubicBezTo>
                    <a:pt x="467650" y="368421"/>
                    <a:pt x="552876" y="601616"/>
                    <a:pt x="783320" y="626020"/>
                  </a:cubicBezTo>
                  <a:cubicBezTo>
                    <a:pt x="707017" y="751589"/>
                    <a:pt x="678492" y="1146233"/>
                    <a:pt x="724876" y="1290789"/>
                  </a:cubicBezTo>
                  <a:cubicBezTo>
                    <a:pt x="686289" y="1299923"/>
                    <a:pt x="599232" y="1312604"/>
                    <a:pt x="568039" y="1230080"/>
                  </a:cubicBezTo>
                  <a:cubicBezTo>
                    <a:pt x="505142" y="1271224"/>
                    <a:pt x="421109" y="1286153"/>
                    <a:pt x="364868" y="1184795"/>
                  </a:cubicBezTo>
                  <a:cubicBezTo>
                    <a:pt x="275380" y="1265558"/>
                    <a:pt x="187295" y="1190323"/>
                    <a:pt x="178811" y="1123147"/>
                  </a:cubicBezTo>
                  <a:cubicBezTo>
                    <a:pt x="136082" y="1156900"/>
                    <a:pt x="67183" y="1167242"/>
                    <a:pt x="28040" y="1036282"/>
                  </a:cubicBezTo>
                  <a:lnTo>
                    <a:pt x="26077" y="1027345"/>
                  </a:lnTo>
                  <a:lnTo>
                    <a:pt x="152633" y="1035076"/>
                  </a:lnTo>
                  <a:cubicBezTo>
                    <a:pt x="206298" y="1038354"/>
                    <a:pt x="252460" y="997507"/>
                    <a:pt x="255738" y="943843"/>
                  </a:cubicBezTo>
                  <a:cubicBezTo>
                    <a:pt x="257377" y="917011"/>
                    <a:pt x="247985" y="892054"/>
                    <a:pt x="231475" y="873395"/>
                  </a:cubicBezTo>
                  <a:lnTo>
                    <a:pt x="213502" y="859613"/>
                  </a:lnTo>
                  <a:lnTo>
                    <a:pt x="216878" y="859143"/>
                  </a:lnTo>
                  <a:cubicBezTo>
                    <a:pt x="252654" y="846522"/>
                    <a:pt x="279235" y="813484"/>
                    <a:pt x="281693" y="773235"/>
                  </a:cubicBezTo>
                  <a:cubicBezTo>
                    <a:pt x="284152" y="732987"/>
                    <a:pt x="261790" y="696958"/>
                    <a:pt x="227816" y="680077"/>
                  </a:cubicBezTo>
                  <a:lnTo>
                    <a:pt x="217008" y="677199"/>
                  </a:lnTo>
                  <a:lnTo>
                    <a:pt x="226953" y="675817"/>
                  </a:lnTo>
                  <a:cubicBezTo>
                    <a:pt x="262729" y="663196"/>
                    <a:pt x="289310" y="630158"/>
                    <a:pt x="291768" y="589909"/>
                  </a:cubicBezTo>
                  <a:cubicBezTo>
                    <a:pt x="294227" y="549660"/>
                    <a:pt x="271865" y="513632"/>
                    <a:pt x="237891" y="496751"/>
                  </a:cubicBezTo>
                  <a:lnTo>
                    <a:pt x="221568" y="492404"/>
                  </a:lnTo>
                  <a:lnTo>
                    <a:pt x="249567" y="475916"/>
                  </a:lnTo>
                  <a:cubicBezTo>
                    <a:pt x="267599" y="459959"/>
                    <a:pt x="279545" y="437125"/>
                    <a:pt x="281129" y="411193"/>
                  </a:cubicBezTo>
                  <a:lnTo>
                    <a:pt x="281130" y="411193"/>
                  </a:lnTo>
                  <a:cubicBezTo>
                    <a:pt x="282714" y="385260"/>
                    <a:pt x="273637" y="361142"/>
                    <a:pt x="257681" y="343108"/>
                  </a:cubicBezTo>
                  <a:cubicBezTo>
                    <a:pt x="241725" y="325077"/>
                    <a:pt x="218889" y="313132"/>
                    <a:pt x="192957" y="311547"/>
                  </a:cubicBezTo>
                  <a:lnTo>
                    <a:pt x="65424" y="303757"/>
                  </a:lnTo>
                  <a:lnTo>
                    <a:pt x="41901" y="309400"/>
                  </a:lnTo>
                  <a:lnTo>
                    <a:pt x="56412" y="232310"/>
                  </a:lnTo>
                  <a:cubicBezTo>
                    <a:pt x="76486" y="142148"/>
                    <a:pt x="100714" y="63554"/>
                    <a:pt x="127609" y="8370"/>
                  </a:cubicBezTo>
                  <a:cubicBezTo>
                    <a:pt x="127609" y="3747"/>
                    <a:pt x="131356" y="0"/>
                    <a:pt x="135979" y="0"/>
                  </a:cubicBezTo>
                  <a:lnTo>
                    <a:pt x="737166" y="0"/>
                  </a:lnTo>
                  <a:cubicBezTo>
                    <a:pt x="741789" y="0"/>
                    <a:pt x="745536" y="3747"/>
                    <a:pt x="745536" y="837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1" name="Rounded Rectangle 30"/>
            <p:cNvSpPr/>
            <p:nvPr/>
          </p:nvSpPr>
          <p:spPr>
            <a:xfrm rot="18254747">
              <a:off x="2121920" y="3773287"/>
              <a:ext cx="268275" cy="128977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2" name="Rounded Rectangle 31"/>
            <p:cNvSpPr/>
            <p:nvPr/>
          </p:nvSpPr>
          <p:spPr>
            <a:xfrm rot="18254747">
              <a:off x="2237781" y="3867949"/>
              <a:ext cx="311038" cy="143896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3" name="Rounded Rectangle 32"/>
            <p:cNvSpPr/>
            <p:nvPr/>
          </p:nvSpPr>
          <p:spPr>
            <a:xfrm rot="18254747">
              <a:off x="2396653" y="3967672"/>
              <a:ext cx="302453" cy="142014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4" name="Rounded Rectangle 33"/>
            <p:cNvSpPr/>
            <p:nvPr/>
          </p:nvSpPr>
          <p:spPr>
            <a:xfrm rot="18191826">
              <a:off x="2567056" y="4069412"/>
              <a:ext cx="257644" cy="132691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5" name="Rounded Rectangle 34"/>
            <p:cNvSpPr/>
            <p:nvPr/>
          </p:nvSpPr>
          <p:spPr>
            <a:xfrm rot="18170923">
              <a:off x="1446042" y="3129169"/>
              <a:ext cx="793564" cy="242045"/>
            </a:xfrm>
            <a:prstGeom prst="roundRect">
              <a:avLst>
                <a:gd name="adj" fmla="val 3458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6" name="Rounded Rectangle 35"/>
            <p:cNvSpPr/>
            <p:nvPr/>
          </p:nvSpPr>
          <p:spPr>
            <a:xfrm rot="18139869">
              <a:off x="1650404" y="3310198"/>
              <a:ext cx="701700" cy="59118"/>
            </a:xfrm>
            <a:prstGeom prst="roundRect">
              <a:avLst>
                <a:gd name="adj" fmla="val 5000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7" name="Rounded Rectangle 36"/>
            <p:cNvSpPr/>
            <p:nvPr/>
          </p:nvSpPr>
          <p:spPr>
            <a:xfrm rot="4209802">
              <a:off x="3305704" y="3176290"/>
              <a:ext cx="793564" cy="242045"/>
            </a:xfrm>
            <a:prstGeom prst="roundRect">
              <a:avLst>
                <a:gd name="adj" fmla="val 3458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8" name="Rounded Rectangle 37"/>
            <p:cNvSpPr/>
            <p:nvPr/>
          </p:nvSpPr>
          <p:spPr>
            <a:xfrm rot="4234155">
              <a:off x="3180849" y="3331995"/>
              <a:ext cx="701700" cy="59118"/>
            </a:xfrm>
            <a:prstGeom prst="roundRect">
              <a:avLst>
                <a:gd name="adj" fmla="val 5000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9" name="Freeform 38"/>
            <p:cNvSpPr/>
            <p:nvPr/>
          </p:nvSpPr>
          <p:spPr>
            <a:xfrm rot="20830502">
              <a:off x="2416807" y="3065880"/>
              <a:ext cx="1092446" cy="753122"/>
            </a:xfrm>
            <a:custGeom>
              <a:avLst/>
              <a:gdLst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1523 w 1092446"/>
                <a:gd name="connsiteY8" fmla="*/ 493267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99633 w 1092446"/>
                <a:gd name="connsiteY6" fmla="*/ 522004 h 741956"/>
                <a:gd name="connsiteX7" fmla="*/ 691523 w 1092446"/>
                <a:gd name="connsiteY7" fmla="*/ 493267 h 741956"/>
                <a:gd name="connsiteX8" fmla="*/ 576784 w 1092446"/>
                <a:gd name="connsiteY8" fmla="*/ 489842 h 741956"/>
                <a:gd name="connsiteX9" fmla="*/ 571648 w 1092446"/>
                <a:gd name="connsiteY9" fmla="*/ 489724 h 741956"/>
                <a:gd name="connsiteX10" fmla="*/ 481793 w 1092446"/>
                <a:gd name="connsiteY10" fmla="*/ 377963 h 741956"/>
                <a:gd name="connsiteX11" fmla="*/ 408161 w 1092446"/>
                <a:gd name="connsiteY11" fmla="*/ 225516 h 741956"/>
                <a:gd name="connsiteX12" fmla="*/ 0 w 1092446"/>
                <a:gd name="connsiteY12" fmla="*/ 271157 h 741956"/>
                <a:gd name="connsiteX13" fmla="*/ 393182 w 1092446"/>
                <a:gd name="connsiteY13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81793 w 1092446"/>
                <a:gd name="connsiteY8" fmla="*/ 377963 h 741956"/>
                <a:gd name="connsiteX9" fmla="*/ 408161 w 1092446"/>
                <a:gd name="connsiteY9" fmla="*/ 225516 h 741956"/>
                <a:gd name="connsiteX10" fmla="*/ 0 w 1092446"/>
                <a:gd name="connsiteY10" fmla="*/ 271157 h 741956"/>
                <a:gd name="connsiteX11" fmla="*/ 393182 w 1092446"/>
                <a:gd name="connsiteY11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53122"/>
                <a:gd name="connsiteX1" fmla="*/ 1030378 w 1092446"/>
                <a:gd name="connsiteY1" fmla="*/ 159143 h 753122"/>
                <a:gd name="connsiteX2" fmla="*/ 1092446 w 1092446"/>
                <a:gd name="connsiteY2" fmla="*/ 711193 h 753122"/>
                <a:gd name="connsiteX3" fmla="*/ 848296 w 1092446"/>
                <a:gd name="connsiteY3" fmla="*/ 752170 h 753122"/>
                <a:gd name="connsiteX4" fmla="*/ 600457 w 1092446"/>
                <a:gd name="connsiteY4" fmla="*/ 520096 h 753122"/>
                <a:gd name="connsiteX5" fmla="*/ 699633 w 1092446"/>
                <a:gd name="connsiteY5" fmla="*/ 522004 h 753122"/>
                <a:gd name="connsiteX6" fmla="*/ 689937 w 1092446"/>
                <a:gd name="connsiteY6" fmla="*/ 500232 h 753122"/>
                <a:gd name="connsiteX7" fmla="*/ 576784 w 1092446"/>
                <a:gd name="connsiteY7" fmla="*/ 489842 h 753122"/>
                <a:gd name="connsiteX8" fmla="*/ 408161 w 1092446"/>
                <a:gd name="connsiteY8" fmla="*/ 225516 h 753122"/>
                <a:gd name="connsiteX9" fmla="*/ 0 w 1092446"/>
                <a:gd name="connsiteY9" fmla="*/ 271157 h 753122"/>
                <a:gd name="connsiteX10" fmla="*/ 393182 w 1092446"/>
                <a:gd name="connsiteY10" fmla="*/ 0 h 753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92446" h="753122">
                  <a:moveTo>
                    <a:pt x="393182" y="0"/>
                  </a:moveTo>
                  <a:cubicBezTo>
                    <a:pt x="603014" y="50021"/>
                    <a:pt x="721952" y="145288"/>
                    <a:pt x="1030378" y="159143"/>
                  </a:cubicBezTo>
                  <a:cubicBezTo>
                    <a:pt x="1030378" y="348219"/>
                    <a:pt x="1061205" y="519889"/>
                    <a:pt x="1092446" y="711193"/>
                  </a:cubicBezTo>
                  <a:cubicBezTo>
                    <a:pt x="1032790" y="742751"/>
                    <a:pt x="923476" y="757108"/>
                    <a:pt x="848296" y="752170"/>
                  </a:cubicBezTo>
                  <a:cubicBezTo>
                    <a:pt x="798266" y="726242"/>
                    <a:pt x="684202" y="631576"/>
                    <a:pt x="600457" y="520096"/>
                  </a:cubicBezTo>
                  <a:cubicBezTo>
                    <a:pt x="633516" y="520732"/>
                    <a:pt x="684720" y="525315"/>
                    <a:pt x="699633" y="522004"/>
                  </a:cubicBezTo>
                  <a:cubicBezTo>
                    <a:pt x="714546" y="518693"/>
                    <a:pt x="725252" y="504787"/>
                    <a:pt x="689937" y="500232"/>
                  </a:cubicBezTo>
                  <a:cubicBezTo>
                    <a:pt x="654621" y="501428"/>
                    <a:pt x="614772" y="497298"/>
                    <a:pt x="576784" y="489842"/>
                  </a:cubicBezTo>
                  <a:cubicBezTo>
                    <a:pt x="507475" y="437824"/>
                    <a:pt x="432486" y="335672"/>
                    <a:pt x="408161" y="225516"/>
                  </a:cubicBezTo>
                  <a:cubicBezTo>
                    <a:pt x="253916" y="345672"/>
                    <a:pt x="75753" y="345602"/>
                    <a:pt x="0" y="271157"/>
                  </a:cubicBezTo>
                  <a:cubicBezTo>
                    <a:pt x="0" y="259422"/>
                    <a:pt x="381447" y="0"/>
                    <a:pt x="393182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sp>
        <p:nvSpPr>
          <p:cNvPr id="40" name="Freeform 20"/>
          <p:cNvSpPr>
            <a:spLocks noEditPoints="1"/>
          </p:cNvSpPr>
          <p:nvPr/>
        </p:nvSpPr>
        <p:spPr bwMode="auto">
          <a:xfrm>
            <a:off x="714390" y="3606527"/>
            <a:ext cx="400690" cy="400686"/>
          </a:xfrm>
          <a:custGeom>
            <a:avLst/>
            <a:gdLst>
              <a:gd name="T0" fmla="*/ 1531 w 3402"/>
              <a:gd name="T1" fmla="*/ 2381 h 3402"/>
              <a:gd name="T2" fmla="*/ 1531 w 3402"/>
              <a:gd name="T3" fmla="*/ 1905 h 3402"/>
              <a:gd name="T4" fmla="*/ 1796 w 3402"/>
              <a:gd name="T5" fmla="*/ 3 h 3402"/>
              <a:gd name="T6" fmla="*/ 2076 w 3402"/>
              <a:gd name="T7" fmla="*/ 43 h 3402"/>
              <a:gd name="T8" fmla="*/ 2347 w 3402"/>
              <a:gd name="T9" fmla="*/ 119 h 3402"/>
              <a:gd name="T10" fmla="*/ 1931 w 3402"/>
              <a:gd name="T11" fmla="*/ 359 h 3402"/>
              <a:gd name="T12" fmla="*/ 1701 w 3402"/>
              <a:gd name="T13" fmla="*/ 340 h 3402"/>
              <a:gd name="T14" fmla="*/ 1428 w 3402"/>
              <a:gd name="T15" fmla="*/ 368 h 3402"/>
              <a:gd name="T16" fmla="*/ 1173 w 3402"/>
              <a:gd name="T17" fmla="*/ 448 h 3402"/>
              <a:gd name="T18" fmla="*/ 941 w 3402"/>
              <a:gd name="T19" fmla="*/ 574 h 3402"/>
              <a:gd name="T20" fmla="*/ 740 w 3402"/>
              <a:gd name="T21" fmla="*/ 740 h 3402"/>
              <a:gd name="T22" fmla="*/ 574 w 3402"/>
              <a:gd name="T23" fmla="*/ 941 h 3402"/>
              <a:gd name="T24" fmla="*/ 448 w 3402"/>
              <a:gd name="T25" fmla="*/ 1173 h 3402"/>
              <a:gd name="T26" fmla="*/ 368 w 3402"/>
              <a:gd name="T27" fmla="*/ 1428 h 3402"/>
              <a:gd name="T28" fmla="*/ 340 w 3402"/>
              <a:gd name="T29" fmla="*/ 1701 h 3402"/>
              <a:gd name="T30" fmla="*/ 368 w 3402"/>
              <a:gd name="T31" fmla="*/ 1974 h 3402"/>
              <a:gd name="T32" fmla="*/ 448 w 3402"/>
              <a:gd name="T33" fmla="*/ 2229 h 3402"/>
              <a:gd name="T34" fmla="*/ 574 w 3402"/>
              <a:gd name="T35" fmla="*/ 2461 h 3402"/>
              <a:gd name="T36" fmla="*/ 740 w 3402"/>
              <a:gd name="T37" fmla="*/ 2662 h 3402"/>
              <a:gd name="T38" fmla="*/ 941 w 3402"/>
              <a:gd name="T39" fmla="*/ 2828 h 3402"/>
              <a:gd name="T40" fmla="*/ 1173 w 3402"/>
              <a:gd name="T41" fmla="*/ 2954 h 3402"/>
              <a:gd name="T42" fmla="*/ 1428 w 3402"/>
              <a:gd name="T43" fmla="*/ 3034 h 3402"/>
              <a:gd name="T44" fmla="*/ 1701 w 3402"/>
              <a:gd name="T45" fmla="*/ 3062 h 3402"/>
              <a:gd name="T46" fmla="*/ 1974 w 3402"/>
              <a:gd name="T47" fmla="*/ 3034 h 3402"/>
              <a:gd name="T48" fmla="*/ 2229 w 3402"/>
              <a:gd name="T49" fmla="*/ 2954 h 3402"/>
              <a:gd name="T50" fmla="*/ 2461 w 3402"/>
              <a:gd name="T51" fmla="*/ 2828 h 3402"/>
              <a:gd name="T52" fmla="*/ 2662 w 3402"/>
              <a:gd name="T53" fmla="*/ 2662 h 3402"/>
              <a:gd name="T54" fmla="*/ 2828 w 3402"/>
              <a:gd name="T55" fmla="*/ 2461 h 3402"/>
              <a:gd name="T56" fmla="*/ 2954 w 3402"/>
              <a:gd name="T57" fmla="*/ 2229 h 3402"/>
              <a:gd name="T58" fmla="*/ 3034 w 3402"/>
              <a:gd name="T59" fmla="*/ 1974 h 3402"/>
              <a:gd name="T60" fmla="*/ 3062 w 3402"/>
              <a:gd name="T61" fmla="*/ 1701 h 3402"/>
              <a:gd name="T62" fmla="*/ 3390 w 3402"/>
              <a:gd name="T63" fmla="*/ 1906 h 3402"/>
              <a:gd name="T64" fmla="*/ 3327 w 3402"/>
              <a:gd name="T65" fmla="*/ 2199 h 3402"/>
              <a:gd name="T66" fmla="*/ 3215 w 3402"/>
              <a:gd name="T67" fmla="*/ 2472 h 3402"/>
              <a:gd name="T68" fmla="*/ 3061 w 3402"/>
              <a:gd name="T69" fmla="*/ 2720 h 3402"/>
              <a:gd name="T70" fmla="*/ 2867 w 3402"/>
              <a:gd name="T71" fmla="*/ 2936 h 3402"/>
              <a:gd name="T72" fmla="*/ 2640 w 3402"/>
              <a:gd name="T73" fmla="*/ 3117 h 3402"/>
              <a:gd name="T74" fmla="*/ 2383 w 3402"/>
              <a:gd name="T75" fmla="*/ 3258 h 3402"/>
              <a:gd name="T76" fmla="*/ 2103 w 3402"/>
              <a:gd name="T77" fmla="*/ 3354 h 3402"/>
              <a:gd name="T78" fmla="*/ 1804 w 3402"/>
              <a:gd name="T79" fmla="*/ 3399 h 3402"/>
              <a:gd name="T80" fmla="*/ 1496 w 3402"/>
              <a:gd name="T81" fmla="*/ 3390 h 3402"/>
              <a:gd name="T82" fmla="*/ 1203 w 3402"/>
              <a:gd name="T83" fmla="*/ 3327 h 3402"/>
              <a:gd name="T84" fmla="*/ 930 w 3402"/>
              <a:gd name="T85" fmla="*/ 3215 h 3402"/>
              <a:gd name="T86" fmla="*/ 682 w 3402"/>
              <a:gd name="T87" fmla="*/ 3061 h 3402"/>
              <a:gd name="T88" fmla="*/ 466 w 3402"/>
              <a:gd name="T89" fmla="*/ 2867 h 3402"/>
              <a:gd name="T90" fmla="*/ 285 w 3402"/>
              <a:gd name="T91" fmla="*/ 2640 h 3402"/>
              <a:gd name="T92" fmla="*/ 144 w 3402"/>
              <a:gd name="T93" fmla="*/ 2383 h 3402"/>
              <a:gd name="T94" fmla="*/ 48 w 3402"/>
              <a:gd name="T95" fmla="*/ 2103 h 3402"/>
              <a:gd name="T96" fmla="*/ 3 w 3402"/>
              <a:gd name="T97" fmla="*/ 1804 h 3402"/>
              <a:gd name="T98" fmla="*/ 12 w 3402"/>
              <a:gd name="T99" fmla="*/ 1496 h 3402"/>
              <a:gd name="T100" fmla="*/ 75 w 3402"/>
              <a:gd name="T101" fmla="*/ 1203 h 3402"/>
              <a:gd name="T102" fmla="*/ 187 w 3402"/>
              <a:gd name="T103" fmla="*/ 930 h 3402"/>
              <a:gd name="T104" fmla="*/ 341 w 3402"/>
              <a:gd name="T105" fmla="*/ 682 h 3402"/>
              <a:gd name="T106" fmla="*/ 535 w 3402"/>
              <a:gd name="T107" fmla="*/ 466 h 3402"/>
              <a:gd name="T108" fmla="*/ 762 w 3402"/>
              <a:gd name="T109" fmla="*/ 285 h 3402"/>
              <a:gd name="T110" fmla="*/ 1019 w 3402"/>
              <a:gd name="T111" fmla="*/ 144 h 3402"/>
              <a:gd name="T112" fmla="*/ 1299 w 3402"/>
              <a:gd name="T113" fmla="*/ 48 h 3402"/>
              <a:gd name="T114" fmla="*/ 1598 w 3402"/>
              <a:gd name="T115" fmla="*/ 3 h 3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02" h="3402">
                <a:moveTo>
                  <a:pt x="2994" y="442"/>
                </a:moveTo>
                <a:lnTo>
                  <a:pt x="3232" y="680"/>
                </a:lnTo>
                <a:lnTo>
                  <a:pt x="1531" y="2381"/>
                </a:lnTo>
                <a:lnTo>
                  <a:pt x="766" y="1616"/>
                </a:lnTo>
                <a:lnTo>
                  <a:pt x="1003" y="1377"/>
                </a:lnTo>
                <a:lnTo>
                  <a:pt x="1531" y="1905"/>
                </a:lnTo>
                <a:lnTo>
                  <a:pt x="2994" y="442"/>
                </a:lnTo>
                <a:close/>
                <a:moveTo>
                  <a:pt x="1701" y="0"/>
                </a:moveTo>
                <a:lnTo>
                  <a:pt x="1796" y="3"/>
                </a:lnTo>
                <a:lnTo>
                  <a:pt x="1890" y="11"/>
                </a:lnTo>
                <a:lnTo>
                  <a:pt x="1983" y="26"/>
                </a:lnTo>
                <a:lnTo>
                  <a:pt x="2076" y="43"/>
                </a:lnTo>
                <a:lnTo>
                  <a:pt x="2168" y="65"/>
                </a:lnTo>
                <a:lnTo>
                  <a:pt x="2259" y="91"/>
                </a:lnTo>
                <a:lnTo>
                  <a:pt x="2347" y="119"/>
                </a:lnTo>
                <a:lnTo>
                  <a:pt x="2075" y="391"/>
                </a:lnTo>
                <a:lnTo>
                  <a:pt x="2004" y="373"/>
                </a:lnTo>
                <a:lnTo>
                  <a:pt x="1931" y="359"/>
                </a:lnTo>
                <a:lnTo>
                  <a:pt x="1858" y="348"/>
                </a:lnTo>
                <a:lnTo>
                  <a:pt x="1780" y="342"/>
                </a:lnTo>
                <a:lnTo>
                  <a:pt x="1701" y="340"/>
                </a:lnTo>
                <a:lnTo>
                  <a:pt x="1608" y="343"/>
                </a:lnTo>
                <a:lnTo>
                  <a:pt x="1517" y="354"/>
                </a:lnTo>
                <a:lnTo>
                  <a:pt x="1428" y="368"/>
                </a:lnTo>
                <a:lnTo>
                  <a:pt x="1340" y="390"/>
                </a:lnTo>
                <a:lnTo>
                  <a:pt x="1256" y="416"/>
                </a:lnTo>
                <a:lnTo>
                  <a:pt x="1173" y="448"/>
                </a:lnTo>
                <a:lnTo>
                  <a:pt x="1093" y="485"/>
                </a:lnTo>
                <a:lnTo>
                  <a:pt x="1015" y="527"/>
                </a:lnTo>
                <a:lnTo>
                  <a:pt x="941" y="574"/>
                </a:lnTo>
                <a:lnTo>
                  <a:pt x="871" y="625"/>
                </a:lnTo>
                <a:lnTo>
                  <a:pt x="804" y="680"/>
                </a:lnTo>
                <a:lnTo>
                  <a:pt x="740" y="740"/>
                </a:lnTo>
                <a:lnTo>
                  <a:pt x="680" y="804"/>
                </a:lnTo>
                <a:lnTo>
                  <a:pt x="625" y="871"/>
                </a:lnTo>
                <a:lnTo>
                  <a:pt x="574" y="941"/>
                </a:lnTo>
                <a:lnTo>
                  <a:pt x="527" y="1015"/>
                </a:lnTo>
                <a:lnTo>
                  <a:pt x="485" y="1093"/>
                </a:lnTo>
                <a:lnTo>
                  <a:pt x="448" y="1173"/>
                </a:lnTo>
                <a:lnTo>
                  <a:pt x="416" y="1256"/>
                </a:lnTo>
                <a:lnTo>
                  <a:pt x="390" y="1340"/>
                </a:lnTo>
                <a:lnTo>
                  <a:pt x="368" y="1428"/>
                </a:lnTo>
                <a:lnTo>
                  <a:pt x="354" y="1517"/>
                </a:lnTo>
                <a:lnTo>
                  <a:pt x="343" y="1608"/>
                </a:lnTo>
                <a:lnTo>
                  <a:pt x="340" y="1701"/>
                </a:lnTo>
                <a:lnTo>
                  <a:pt x="343" y="1794"/>
                </a:lnTo>
                <a:lnTo>
                  <a:pt x="354" y="1885"/>
                </a:lnTo>
                <a:lnTo>
                  <a:pt x="368" y="1974"/>
                </a:lnTo>
                <a:lnTo>
                  <a:pt x="390" y="2062"/>
                </a:lnTo>
                <a:lnTo>
                  <a:pt x="416" y="2146"/>
                </a:lnTo>
                <a:lnTo>
                  <a:pt x="448" y="2229"/>
                </a:lnTo>
                <a:lnTo>
                  <a:pt x="485" y="2309"/>
                </a:lnTo>
                <a:lnTo>
                  <a:pt x="527" y="2387"/>
                </a:lnTo>
                <a:lnTo>
                  <a:pt x="574" y="2461"/>
                </a:lnTo>
                <a:lnTo>
                  <a:pt x="625" y="2531"/>
                </a:lnTo>
                <a:lnTo>
                  <a:pt x="680" y="2598"/>
                </a:lnTo>
                <a:lnTo>
                  <a:pt x="740" y="2662"/>
                </a:lnTo>
                <a:lnTo>
                  <a:pt x="804" y="2722"/>
                </a:lnTo>
                <a:lnTo>
                  <a:pt x="871" y="2777"/>
                </a:lnTo>
                <a:lnTo>
                  <a:pt x="941" y="2828"/>
                </a:lnTo>
                <a:lnTo>
                  <a:pt x="1015" y="2875"/>
                </a:lnTo>
                <a:lnTo>
                  <a:pt x="1093" y="2917"/>
                </a:lnTo>
                <a:lnTo>
                  <a:pt x="1173" y="2954"/>
                </a:lnTo>
                <a:lnTo>
                  <a:pt x="1256" y="2986"/>
                </a:lnTo>
                <a:lnTo>
                  <a:pt x="1340" y="3012"/>
                </a:lnTo>
                <a:lnTo>
                  <a:pt x="1428" y="3034"/>
                </a:lnTo>
                <a:lnTo>
                  <a:pt x="1517" y="3048"/>
                </a:lnTo>
                <a:lnTo>
                  <a:pt x="1608" y="3059"/>
                </a:lnTo>
                <a:lnTo>
                  <a:pt x="1701" y="3062"/>
                </a:lnTo>
                <a:lnTo>
                  <a:pt x="1794" y="3059"/>
                </a:lnTo>
                <a:lnTo>
                  <a:pt x="1885" y="3048"/>
                </a:lnTo>
                <a:lnTo>
                  <a:pt x="1974" y="3034"/>
                </a:lnTo>
                <a:lnTo>
                  <a:pt x="2062" y="3012"/>
                </a:lnTo>
                <a:lnTo>
                  <a:pt x="2146" y="2986"/>
                </a:lnTo>
                <a:lnTo>
                  <a:pt x="2229" y="2954"/>
                </a:lnTo>
                <a:lnTo>
                  <a:pt x="2309" y="2917"/>
                </a:lnTo>
                <a:lnTo>
                  <a:pt x="2387" y="2875"/>
                </a:lnTo>
                <a:lnTo>
                  <a:pt x="2461" y="2828"/>
                </a:lnTo>
                <a:lnTo>
                  <a:pt x="2531" y="2777"/>
                </a:lnTo>
                <a:lnTo>
                  <a:pt x="2598" y="2722"/>
                </a:lnTo>
                <a:lnTo>
                  <a:pt x="2662" y="2662"/>
                </a:lnTo>
                <a:lnTo>
                  <a:pt x="2722" y="2598"/>
                </a:lnTo>
                <a:lnTo>
                  <a:pt x="2777" y="2531"/>
                </a:lnTo>
                <a:lnTo>
                  <a:pt x="2828" y="2461"/>
                </a:lnTo>
                <a:lnTo>
                  <a:pt x="2875" y="2387"/>
                </a:lnTo>
                <a:lnTo>
                  <a:pt x="2917" y="2309"/>
                </a:lnTo>
                <a:lnTo>
                  <a:pt x="2954" y="2229"/>
                </a:lnTo>
                <a:lnTo>
                  <a:pt x="2986" y="2146"/>
                </a:lnTo>
                <a:lnTo>
                  <a:pt x="3012" y="2062"/>
                </a:lnTo>
                <a:lnTo>
                  <a:pt x="3034" y="1974"/>
                </a:lnTo>
                <a:lnTo>
                  <a:pt x="3048" y="1885"/>
                </a:lnTo>
                <a:lnTo>
                  <a:pt x="3059" y="1794"/>
                </a:lnTo>
                <a:lnTo>
                  <a:pt x="3062" y="1701"/>
                </a:lnTo>
                <a:lnTo>
                  <a:pt x="3402" y="1701"/>
                </a:lnTo>
                <a:lnTo>
                  <a:pt x="3399" y="1804"/>
                </a:lnTo>
                <a:lnTo>
                  <a:pt x="3390" y="1906"/>
                </a:lnTo>
                <a:lnTo>
                  <a:pt x="3374" y="2005"/>
                </a:lnTo>
                <a:lnTo>
                  <a:pt x="3354" y="2103"/>
                </a:lnTo>
                <a:lnTo>
                  <a:pt x="3327" y="2199"/>
                </a:lnTo>
                <a:lnTo>
                  <a:pt x="3295" y="2293"/>
                </a:lnTo>
                <a:lnTo>
                  <a:pt x="3258" y="2383"/>
                </a:lnTo>
                <a:lnTo>
                  <a:pt x="3215" y="2472"/>
                </a:lnTo>
                <a:lnTo>
                  <a:pt x="3169" y="2558"/>
                </a:lnTo>
                <a:lnTo>
                  <a:pt x="3117" y="2640"/>
                </a:lnTo>
                <a:lnTo>
                  <a:pt x="3061" y="2720"/>
                </a:lnTo>
                <a:lnTo>
                  <a:pt x="3001" y="2795"/>
                </a:lnTo>
                <a:lnTo>
                  <a:pt x="2936" y="2867"/>
                </a:lnTo>
                <a:lnTo>
                  <a:pt x="2867" y="2936"/>
                </a:lnTo>
                <a:lnTo>
                  <a:pt x="2795" y="3001"/>
                </a:lnTo>
                <a:lnTo>
                  <a:pt x="2720" y="3061"/>
                </a:lnTo>
                <a:lnTo>
                  <a:pt x="2640" y="3117"/>
                </a:lnTo>
                <a:lnTo>
                  <a:pt x="2558" y="3169"/>
                </a:lnTo>
                <a:lnTo>
                  <a:pt x="2472" y="3215"/>
                </a:lnTo>
                <a:lnTo>
                  <a:pt x="2383" y="3258"/>
                </a:lnTo>
                <a:lnTo>
                  <a:pt x="2293" y="3295"/>
                </a:lnTo>
                <a:lnTo>
                  <a:pt x="2199" y="3327"/>
                </a:lnTo>
                <a:lnTo>
                  <a:pt x="2103" y="3354"/>
                </a:lnTo>
                <a:lnTo>
                  <a:pt x="2005" y="3374"/>
                </a:lnTo>
                <a:lnTo>
                  <a:pt x="1906" y="3390"/>
                </a:lnTo>
                <a:lnTo>
                  <a:pt x="1804" y="3399"/>
                </a:lnTo>
                <a:lnTo>
                  <a:pt x="1701" y="3402"/>
                </a:lnTo>
                <a:lnTo>
                  <a:pt x="1598" y="3399"/>
                </a:lnTo>
                <a:lnTo>
                  <a:pt x="1496" y="3390"/>
                </a:lnTo>
                <a:lnTo>
                  <a:pt x="1397" y="3374"/>
                </a:lnTo>
                <a:lnTo>
                  <a:pt x="1299" y="3354"/>
                </a:lnTo>
                <a:lnTo>
                  <a:pt x="1203" y="3327"/>
                </a:lnTo>
                <a:lnTo>
                  <a:pt x="1109" y="3295"/>
                </a:lnTo>
                <a:lnTo>
                  <a:pt x="1019" y="3258"/>
                </a:lnTo>
                <a:lnTo>
                  <a:pt x="930" y="3215"/>
                </a:lnTo>
                <a:lnTo>
                  <a:pt x="844" y="3169"/>
                </a:lnTo>
                <a:lnTo>
                  <a:pt x="762" y="3117"/>
                </a:lnTo>
                <a:lnTo>
                  <a:pt x="682" y="3061"/>
                </a:lnTo>
                <a:lnTo>
                  <a:pt x="607" y="3001"/>
                </a:lnTo>
                <a:lnTo>
                  <a:pt x="535" y="2936"/>
                </a:lnTo>
                <a:lnTo>
                  <a:pt x="466" y="2867"/>
                </a:lnTo>
                <a:lnTo>
                  <a:pt x="401" y="2795"/>
                </a:lnTo>
                <a:lnTo>
                  <a:pt x="341" y="2720"/>
                </a:lnTo>
                <a:lnTo>
                  <a:pt x="285" y="2640"/>
                </a:lnTo>
                <a:lnTo>
                  <a:pt x="233" y="2558"/>
                </a:lnTo>
                <a:lnTo>
                  <a:pt x="187" y="2472"/>
                </a:lnTo>
                <a:lnTo>
                  <a:pt x="144" y="2383"/>
                </a:lnTo>
                <a:lnTo>
                  <a:pt x="107" y="2293"/>
                </a:lnTo>
                <a:lnTo>
                  <a:pt x="75" y="2199"/>
                </a:lnTo>
                <a:lnTo>
                  <a:pt x="48" y="2103"/>
                </a:lnTo>
                <a:lnTo>
                  <a:pt x="28" y="2005"/>
                </a:lnTo>
                <a:lnTo>
                  <a:pt x="12" y="1906"/>
                </a:lnTo>
                <a:lnTo>
                  <a:pt x="3" y="1804"/>
                </a:lnTo>
                <a:lnTo>
                  <a:pt x="0" y="1701"/>
                </a:lnTo>
                <a:lnTo>
                  <a:pt x="3" y="1598"/>
                </a:lnTo>
                <a:lnTo>
                  <a:pt x="12" y="1496"/>
                </a:lnTo>
                <a:lnTo>
                  <a:pt x="28" y="1397"/>
                </a:lnTo>
                <a:lnTo>
                  <a:pt x="48" y="1299"/>
                </a:lnTo>
                <a:lnTo>
                  <a:pt x="75" y="1203"/>
                </a:lnTo>
                <a:lnTo>
                  <a:pt x="107" y="1109"/>
                </a:lnTo>
                <a:lnTo>
                  <a:pt x="144" y="1019"/>
                </a:lnTo>
                <a:lnTo>
                  <a:pt x="187" y="930"/>
                </a:lnTo>
                <a:lnTo>
                  <a:pt x="233" y="844"/>
                </a:lnTo>
                <a:lnTo>
                  <a:pt x="285" y="762"/>
                </a:lnTo>
                <a:lnTo>
                  <a:pt x="341" y="682"/>
                </a:lnTo>
                <a:lnTo>
                  <a:pt x="401" y="607"/>
                </a:lnTo>
                <a:lnTo>
                  <a:pt x="466" y="535"/>
                </a:lnTo>
                <a:lnTo>
                  <a:pt x="535" y="466"/>
                </a:lnTo>
                <a:lnTo>
                  <a:pt x="607" y="401"/>
                </a:lnTo>
                <a:lnTo>
                  <a:pt x="682" y="341"/>
                </a:lnTo>
                <a:lnTo>
                  <a:pt x="762" y="285"/>
                </a:lnTo>
                <a:lnTo>
                  <a:pt x="844" y="233"/>
                </a:lnTo>
                <a:lnTo>
                  <a:pt x="930" y="187"/>
                </a:lnTo>
                <a:lnTo>
                  <a:pt x="1019" y="144"/>
                </a:lnTo>
                <a:lnTo>
                  <a:pt x="1109" y="107"/>
                </a:lnTo>
                <a:lnTo>
                  <a:pt x="1203" y="75"/>
                </a:lnTo>
                <a:lnTo>
                  <a:pt x="1299" y="48"/>
                </a:lnTo>
                <a:lnTo>
                  <a:pt x="1397" y="28"/>
                </a:lnTo>
                <a:lnTo>
                  <a:pt x="1496" y="12"/>
                </a:lnTo>
                <a:lnTo>
                  <a:pt x="1598" y="3"/>
                </a:lnTo>
                <a:lnTo>
                  <a:pt x="1701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 bwMode="auto">
          <a:xfrm>
            <a:off x="774963" y="4286416"/>
            <a:ext cx="291066" cy="415810"/>
            <a:chOff x="-776" y="2272"/>
            <a:chExt cx="448" cy="640"/>
          </a:xfrm>
          <a:solidFill>
            <a:schemeClr val="bg1"/>
          </a:solidFill>
        </p:grpSpPr>
        <p:sp>
          <p:nvSpPr>
            <p:cNvPr id="8" name="Freeform 6"/>
            <p:cNvSpPr>
              <a:spLocks/>
            </p:cNvSpPr>
            <p:nvPr/>
          </p:nvSpPr>
          <p:spPr bwMode="auto">
            <a:xfrm>
              <a:off x="-776" y="2336"/>
              <a:ext cx="448" cy="576"/>
            </a:xfrm>
            <a:custGeom>
              <a:avLst/>
              <a:gdLst>
                <a:gd name="T0" fmla="*/ 2444 w 2684"/>
                <a:gd name="T1" fmla="*/ 0 h 3456"/>
                <a:gd name="T2" fmla="*/ 2171 w 2684"/>
                <a:gd name="T3" fmla="*/ 0 h 3456"/>
                <a:gd name="T4" fmla="*/ 2171 w 2684"/>
                <a:gd name="T5" fmla="*/ 88 h 3456"/>
                <a:gd name="T6" fmla="*/ 2169 w 2684"/>
                <a:gd name="T7" fmla="*/ 128 h 3456"/>
                <a:gd name="T8" fmla="*/ 2161 w 2684"/>
                <a:gd name="T9" fmla="*/ 166 h 3456"/>
                <a:gd name="T10" fmla="*/ 2148 w 2684"/>
                <a:gd name="T11" fmla="*/ 200 h 3456"/>
                <a:gd name="T12" fmla="*/ 2131 w 2684"/>
                <a:gd name="T13" fmla="*/ 232 h 3456"/>
                <a:gd name="T14" fmla="*/ 2444 w 2684"/>
                <a:gd name="T15" fmla="*/ 232 h 3456"/>
                <a:gd name="T16" fmla="*/ 2444 w 2684"/>
                <a:gd name="T17" fmla="*/ 3224 h 3456"/>
                <a:gd name="T18" fmla="*/ 233 w 2684"/>
                <a:gd name="T19" fmla="*/ 3224 h 3456"/>
                <a:gd name="T20" fmla="*/ 233 w 2684"/>
                <a:gd name="T21" fmla="*/ 232 h 3456"/>
                <a:gd name="T22" fmla="*/ 546 w 2684"/>
                <a:gd name="T23" fmla="*/ 232 h 3456"/>
                <a:gd name="T24" fmla="*/ 529 w 2684"/>
                <a:gd name="T25" fmla="*/ 199 h 3456"/>
                <a:gd name="T26" fmla="*/ 516 w 2684"/>
                <a:gd name="T27" fmla="*/ 163 h 3456"/>
                <a:gd name="T28" fmla="*/ 508 w 2684"/>
                <a:gd name="T29" fmla="*/ 126 h 3456"/>
                <a:gd name="T30" fmla="*/ 505 w 2684"/>
                <a:gd name="T31" fmla="*/ 88 h 3456"/>
                <a:gd name="T32" fmla="*/ 505 w 2684"/>
                <a:gd name="T33" fmla="*/ 0 h 3456"/>
                <a:gd name="T34" fmla="*/ 233 w 2684"/>
                <a:gd name="T35" fmla="*/ 0 h 3456"/>
                <a:gd name="T36" fmla="*/ 195 w 2684"/>
                <a:gd name="T37" fmla="*/ 3 h 3456"/>
                <a:gd name="T38" fmla="*/ 160 w 2684"/>
                <a:gd name="T39" fmla="*/ 12 h 3456"/>
                <a:gd name="T40" fmla="*/ 126 w 2684"/>
                <a:gd name="T41" fmla="*/ 26 h 3456"/>
                <a:gd name="T42" fmla="*/ 96 w 2684"/>
                <a:gd name="T43" fmla="*/ 45 h 3456"/>
                <a:gd name="T44" fmla="*/ 69 w 2684"/>
                <a:gd name="T45" fmla="*/ 67 h 3456"/>
                <a:gd name="T46" fmla="*/ 46 w 2684"/>
                <a:gd name="T47" fmla="*/ 95 h 3456"/>
                <a:gd name="T48" fmla="*/ 26 w 2684"/>
                <a:gd name="T49" fmla="*/ 126 h 3456"/>
                <a:gd name="T50" fmla="*/ 12 w 2684"/>
                <a:gd name="T51" fmla="*/ 158 h 3456"/>
                <a:gd name="T52" fmla="*/ 4 w 2684"/>
                <a:gd name="T53" fmla="*/ 194 h 3456"/>
                <a:gd name="T54" fmla="*/ 0 w 2684"/>
                <a:gd name="T55" fmla="*/ 232 h 3456"/>
                <a:gd name="T56" fmla="*/ 0 w 2684"/>
                <a:gd name="T57" fmla="*/ 3224 h 3456"/>
                <a:gd name="T58" fmla="*/ 4 w 2684"/>
                <a:gd name="T59" fmla="*/ 3262 h 3456"/>
                <a:gd name="T60" fmla="*/ 12 w 2684"/>
                <a:gd name="T61" fmla="*/ 3298 h 3456"/>
                <a:gd name="T62" fmla="*/ 26 w 2684"/>
                <a:gd name="T63" fmla="*/ 3330 h 3456"/>
                <a:gd name="T64" fmla="*/ 46 w 2684"/>
                <a:gd name="T65" fmla="*/ 3361 h 3456"/>
                <a:gd name="T66" fmla="*/ 69 w 2684"/>
                <a:gd name="T67" fmla="*/ 3389 h 3456"/>
                <a:gd name="T68" fmla="*/ 96 w 2684"/>
                <a:gd name="T69" fmla="*/ 3411 h 3456"/>
                <a:gd name="T70" fmla="*/ 126 w 2684"/>
                <a:gd name="T71" fmla="*/ 3430 h 3456"/>
                <a:gd name="T72" fmla="*/ 160 w 2684"/>
                <a:gd name="T73" fmla="*/ 3444 h 3456"/>
                <a:gd name="T74" fmla="*/ 195 w 2684"/>
                <a:gd name="T75" fmla="*/ 3453 h 3456"/>
                <a:gd name="T76" fmla="*/ 233 w 2684"/>
                <a:gd name="T77" fmla="*/ 3456 h 3456"/>
                <a:gd name="T78" fmla="*/ 2452 w 2684"/>
                <a:gd name="T79" fmla="*/ 3456 h 3456"/>
                <a:gd name="T80" fmla="*/ 2489 w 2684"/>
                <a:gd name="T81" fmla="*/ 3453 h 3456"/>
                <a:gd name="T82" fmla="*/ 2525 w 2684"/>
                <a:gd name="T83" fmla="*/ 3444 h 3456"/>
                <a:gd name="T84" fmla="*/ 2559 w 2684"/>
                <a:gd name="T85" fmla="*/ 3430 h 3456"/>
                <a:gd name="T86" fmla="*/ 2589 w 2684"/>
                <a:gd name="T87" fmla="*/ 3411 h 3456"/>
                <a:gd name="T88" fmla="*/ 2616 w 2684"/>
                <a:gd name="T89" fmla="*/ 3389 h 3456"/>
                <a:gd name="T90" fmla="*/ 2639 w 2684"/>
                <a:gd name="T91" fmla="*/ 3361 h 3456"/>
                <a:gd name="T92" fmla="*/ 2658 w 2684"/>
                <a:gd name="T93" fmla="*/ 3330 h 3456"/>
                <a:gd name="T94" fmla="*/ 2672 w 2684"/>
                <a:gd name="T95" fmla="*/ 3298 h 3456"/>
                <a:gd name="T96" fmla="*/ 2681 w 2684"/>
                <a:gd name="T97" fmla="*/ 3262 h 3456"/>
                <a:gd name="T98" fmla="*/ 2684 w 2684"/>
                <a:gd name="T99" fmla="*/ 3224 h 3456"/>
                <a:gd name="T100" fmla="*/ 2684 w 2684"/>
                <a:gd name="T101" fmla="*/ 232 h 3456"/>
                <a:gd name="T102" fmla="*/ 2679 w 2684"/>
                <a:gd name="T103" fmla="*/ 194 h 3456"/>
                <a:gd name="T104" fmla="*/ 2669 w 2684"/>
                <a:gd name="T105" fmla="*/ 158 h 3456"/>
                <a:gd name="T106" fmla="*/ 2653 w 2684"/>
                <a:gd name="T107" fmla="*/ 126 h 3456"/>
                <a:gd name="T108" fmla="*/ 2632 w 2684"/>
                <a:gd name="T109" fmla="*/ 95 h 3456"/>
                <a:gd name="T110" fmla="*/ 2609 w 2684"/>
                <a:gd name="T111" fmla="*/ 67 h 3456"/>
                <a:gd name="T112" fmla="*/ 2581 w 2684"/>
                <a:gd name="T113" fmla="*/ 45 h 3456"/>
                <a:gd name="T114" fmla="*/ 2551 w 2684"/>
                <a:gd name="T115" fmla="*/ 26 h 3456"/>
                <a:gd name="T116" fmla="*/ 2517 w 2684"/>
                <a:gd name="T117" fmla="*/ 12 h 3456"/>
                <a:gd name="T118" fmla="*/ 2481 w 2684"/>
                <a:gd name="T119" fmla="*/ 3 h 3456"/>
                <a:gd name="T120" fmla="*/ 2444 w 2684"/>
                <a:gd name="T121" fmla="*/ 0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84" h="3456">
                  <a:moveTo>
                    <a:pt x="2444" y="0"/>
                  </a:moveTo>
                  <a:lnTo>
                    <a:pt x="2171" y="0"/>
                  </a:lnTo>
                  <a:lnTo>
                    <a:pt x="2171" y="88"/>
                  </a:lnTo>
                  <a:lnTo>
                    <a:pt x="2169" y="128"/>
                  </a:lnTo>
                  <a:lnTo>
                    <a:pt x="2161" y="166"/>
                  </a:lnTo>
                  <a:lnTo>
                    <a:pt x="2148" y="200"/>
                  </a:lnTo>
                  <a:lnTo>
                    <a:pt x="2131" y="232"/>
                  </a:lnTo>
                  <a:lnTo>
                    <a:pt x="2444" y="232"/>
                  </a:lnTo>
                  <a:lnTo>
                    <a:pt x="2444" y="3224"/>
                  </a:lnTo>
                  <a:lnTo>
                    <a:pt x="233" y="3224"/>
                  </a:lnTo>
                  <a:lnTo>
                    <a:pt x="233" y="232"/>
                  </a:lnTo>
                  <a:lnTo>
                    <a:pt x="546" y="232"/>
                  </a:lnTo>
                  <a:lnTo>
                    <a:pt x="529" y="199"/>
                  </a:lnTo>
                  <a:lnTo>
                    <a:pt x="516" y="163"/>
                  </a:lnTo>
                  <a:lnTo>
                    <a:pt x="508" y="126"/>
                  </a:lnTo>
                  <a:lnTo>
                    <a:pt x="505" y="88"/>
                  </a:lnTo>
                  <a:lnTo>
                    <a:pt x="505" y="0"/>
                  </a:lnTo>
                  <a:lnTo>
                    <a:pt x="233" y="0"/>
                  </a:lnTo>
                  <a:lnTo>
                    <a:pt x="195" y="3"/>
                  </a:lnTo>
                  <a:lnTo>
                    <a:pt x="160" y="12"/>
                  </a:lnTo>
                  <a:lnTo>
                    <a:pt x="126" y="26"/>
                  </a:lnTo>
                  <a:lnTo>
                    <a:pt x="96" y="45"/>
                  </a:lnTo>
                  <a:lnTo>
                    <a:pt x="69" y="67"/>
                  </a:lnTo>
                  <a:lnTo>
                    <a:pt x="46" y="95"/>
                  </a:lnTo>
                  <a:lnTo>
                    <a:pt x="26" y="126"/>
                  </a:lnTo>
                  <a:lnTo>
                    <a:pt x="12" y="158"/>
                  </a:lnTo>
                  <a:lnTo>
                    <a:pt x="4" y="194"/>
                  </a:lnTo>
                  <a:lnTo>
                    <a:pt x="0" y="232"/>
                  </a:lnTo>
                  <a:lnTo>
                    <a:pt x="0" y="3224"/>
                  </a:lnTo>
                  <a:lnTo>
                    <a:pt x="4" y="3262"/>
                  </a:lnTo>
                  <a:lnTo>
                    <a:pt x="12" y="3298"/>
                  </a:lnTo>
                  <a:lnTo>
                    <a:pt x="26" y="3330"/>
                  </a:lnTo>
                  <a:lnTo>
                    <a:pt x="46" y="3361"/>
                  </a:lnTo>
                  <a:lnTo>
                    <a:pt x="69" y="3389"/>
                  </a:lnTo>
                  <a:lnTo>
                    <a:pt x="96" y="3411"/>
                  </a:lnTo>
                  <a:lnTo>
                    <a:pt x="126" y="3430"/>
                  </a:lnTo>
                  <a:lnTo>
                    <a:pt x="160" y="3444"/>
                  </a:lnTo>
                  <a:lnTo>
                    <a:pt x="195" y="3453"/>
                  </a:lnTo>
                  <a:lnTo>
                    <a:pt x="233" y="3456"/>
                  </a:lnTo>
                  <a:lnTo>
                    <a:pt x="2452" y="3456"/>
                  </a:lnTo>
                  <a:lnTo>
                    <a:pt x="2489" y="3453"/>
                  </a:lnTo>
                  <a:lnTo>
                    <a:pt x="2525" y="3444"/>
                  </a:lnTo>
                  <a:lnTo>
                    <a:pt x="2559" y="3430"/>
                  </a:lnTo>
                  <a:lnTo>
                    <a:pt x="2589" y="3411"/>
                  </a:lnTo>
                  <a:lnTo>
                    <a:pt x="2616" y="3389"/>
                  </a:lnTo>
                  <a:lnTo>
                    <a:pt x="2639" y="3361"/>
                  </a:lnTo>
                  <a:lnTo>
                    <a:pt x="2658" y="3330"/>
                  </a:lnTo>
                  <a:lnTo>
                    <a:pt x="2672" y="3298"/>
                  </a:lnTo>
                  <a:lnTo>
                    <a:pt x="2681" y="3262"/>
                  </a:lnTo>
                  <a:lnTo>
                    <a:pt x="2684" y="3224"/>
                  </a:lnTo>
                  <a:lnTo>
                    <a:pt x="2684" y="232"/>
                  </a:lnTo>
                  <a:lnTo>
                    <a:pt x="2679" y="194"/>
                  </a:lnTo>
                  <a:lnTo>
                    <a:pt x="2669" y="158"/>
                  </a:lnTo>
                  <a:lnTo>
                    <a:pt x="2653" y="126"/>
                  </a:lnTo>
                  <a:lnTo>
                    <a:pt x="2632" y="95"/>
                  </a:lnTo>
                  <a:lnTo>
                    <a:pt x="2609" y="67"/>
                  </a:lnTo>
                  <a:lnTo>
                    <a:pt x="2581" y="45"/>
                  </a:lnTo>
                  <a:lnTo>
                    <a:pt x="2551" y="26"/>
                  </a:lnTo>
                  <a:lnTo>
                    <a:pt x="2517" y="12"/>
                  </a:lnTo>
                  <a:lnTo>
                    <a:pt x="2481" y="3"/>
                  </a:lnTo>
                  <a:lnTo>
                    <a:pt x="244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7"/>
            <p:cNvSpPr>
              <a:spLocks/>
            </p:cNvSpPr>
            <p:nvPr/>
          </p:nvSpPr>
          <p:spPr bwMode="auto">
            <a:xfrm>
              <a:off x="-666" y="2272"/>
              <a:ext cx="227" cy="104"/>
            </a:xfrm>
            <a:custGeom>
              <a:avLst/>
              <a:gdLst>
                <a:gd name="T0" fmla="*/ 160 w 1363"/>
                <a:gd name="T1" fmla="*/ 624 h 624"/>
                <a:gd name="T2" fmla="*/ 1210 w 1363"/>
                <a:gd name="T3" fmla="*/ 624 h 624"/>
                <a:gd name="T4" fmla="*/ 1241 w 1363"/>
                <a:gd name="T5" fmla="*/ 620 h 624"/>
                <a:gd name="T6" fmla="*/ 1270 w 1363"/>
                <a:gd name="T7" fmla="*/ 612 h 624"/>
                <a:gd name="T8" fmla="*/ 1297 w 1363"/>
                <a:gd name="T9" fmla="*/ 597 h 624"/>
                <a:gd name="T10" fmla="*/ 1319 w 1363"/>
                <a:gd name="T11" fmla="*/ 578 h 624"/>
                <a:gd name="T12" fmla="*/ 1337 w 1363"/>
                <a:gd name="T13" fmla="*/ 555 h 624"/>
                <a:gd name="T14" fmla="*/ 1351 w 1363"/>
                <a:gd name="T15" fmla="*/ 529 h 624"/>
                <a:gd name="T16" fmla="*/ 1359 w 1363"/>
                <a:gd name="T17" fmla="*/ 502 h 624"/>
                <a:gd name="T18" fmla="*/ 1363 w 1363"/>
                <a:gd name="T19" fmla="*/ 472 h 624"/>
                <a:gd name="T20" fmla="*/ 1363 w 1363"/>
                <a:gd name="T21" fmla="*/ 296 h 624"/>
                <a:gd name="T22" fmla="*/ 1359 w 1363"/>
                <a:gd name="T23" fmla="*/ 264 h 624"/>
                <a:gd name="T24" fmla="*/ 1350 w 1363"/>
                <a:gd name="T25" fmla="*/ 235 h 624"/>
                <a:gd name="T26" fmla="*/ 1335 w 1363"/>
                <a:gd name="T27" fmla="*/ 209 h 624"/>
                <a:gd name="T28" fmla="*/ 1316 w 1363"/>
                <a:gd name="T29" fmla="*/ 187 h 624"/>
                <a:gd name="T30" fmla="*/ 1294 w 1363"/>
                <a:gd name="T31" fmla="*/ 169 h 624"/>
                <a:gd name="T32" fmla="*/ 1267 w 1363"/>
                <a:gd name="T33" fmla="*/ 156 h 624"/>
                <a:gd name="T34" fmla="*/ 1239 w 1363"/>
                <a:gd name="T35" fmla="*/ 147 h 624"/>
                <a:gd name="T36" fmla="*/ 1210 w 1363"/>
                <a:gd name="T37" fmla="*/ 144 h 624"/>
                <a:gd name="T38" fmla="*/ 1018 w 1363"/>
                <a:gd name="T39" fmla="*/ 144 h 624"/>
                <a:gd name="T40" fmla="*/ 970 w 1363"/>
                <a:gd name="T41" fmla="*/ 80 h 624"/>
                <a:gd name="T42" fmla="*/ 955 w 1363"/>
                <a:gd name="T43" fmla="*/ 57 h 624"/>
                <a:gd name="T44" fmla="*/ 936 w 1363"/>
                <a:gd name="T45" fmla="*/ 38 h 624"/>
                <a:gd name="T46" fmla="*/ 914 w 1363"/>
                <a:gd name="T47" fmla="*/ 22 h 624"/>
                <a:gd name="T48" fmla="*/ 888 w 1363"/>
                <a:gd name="T49" fmla="*/ 10 h 624"/>
                <a:gd name="T50" fmla="*/ 862 w 1363"/>
                <a:gd name="T51" fmla="*/ 2 h 624"/>
                <a:gd name="T52" fmla="*/ 834 w 1363"/>
                <a:gd name="T53" fmla="*/ 0 h 624"/>
                <a:gd name="T54" fmla="*/ 521 w 1363"/>
                <a:gd name="T55" fmla="*/ 0 h 624"/>
                <a:gd name="T56" fmla="*/ 493 w 1363"/>
                <a:gd name="T57" fmla="*/ 2 h 624"/>
                <a:gd name="T58" fmla="*/ 468 w 1363"/>
                <a:gd name="T59" fmla="*/ 10 h 624"/>
                <a:gd name="T60" fmla="*/ 444 w 1363"/>
                <a:gd name="T61" fmla="*/ 22 h 624"/>
                <a:gd name="T62" fmla="*/ 422 w 1363"/>
                <a:gd name="T63" fmla="*/ 38 h 624"/>
                <a:gd name="T64" fmla="*/ 402 w 1363"/>
                <a:gd name="T65" fmla="*/ 57 h 624"/>
                <a:gd name="T66" fmla="*/ 385 w 1363"/>
                <a:gd name="T67" fmla="*/ 80 h 624"/>
                <a:gd name="T68" fmla="*/ 345 w 1363"/>
                <a:gd name="T69" fmla="*/ 144 h 624"/>
                <a:gd name="T70" fmla="*/ 153 w 1363"/>
                <a:gd name="T71" fmla="*/ 144 h 624"/>
                <a:gd name="T72" fmla="*/ 120 w 1363"/>
                <a:gd name="T73" fmla="*/ 148 h 624"/>
                <a:gd name="T74" fmla="*/ 91 w 1363"/>
                <a:gd name="T75" fmla="*/ 156 h 624"/>
                <a:gd name="T76" fmla="*/ 66 w 1363"/>
                <a:gd name="T77" fmla="*/ 171 h 624"/>
                <a:gd name="T78" fmla="*/ 44 w 1363"/>
                <a:gd name="T79" fmla="*/ 190 h 624"/>
                <a:gd name="T80" fmla="*/ 25 w 1363"/>
                <a:gd name="T81" fmla="*/ 213 h 624"/>
                <a:gd name="T82" fmla="*/ 12 w 1363"/>
                <a:gd name="T83" fmla="*/ 239 h 624"/>
                <a:gd name="T84" fmla="*/ 3 w 1363"/>
                <a:gd name="T85" fmla="*/ 266 h 624"/>
                <a:gd name="T86" fmla="*/ 0 w 1363"/>
                <a:gd name="T87" fmla="*/ 296 h 624"/>
                <a:gd name="T88" fmla="*/ 0 w 1363"/>
                <a:gd name="T89" fmla="*/ 464 h 624"/>
                <a:gd name="T90" fmla="*/ 4 w 1363"/>
                <a:gd name="T91" fmla="*/ 496 h 624"/>
                <a:gd name="T92" fmla="*/ 13 w 1363"/>
                <a:gd name="T93" fmla="*/ 526 h 624"/>
                <a:gd name="T94" fmla="*/ 27 w 1363"/>
                <a:gd name="T95" fmla="*/ 553 h 624"/>
                <a:gd name="T96" fmla="*/ 47 w 1363"/>
                <a:gd name="T97" fmla="*/ 577 h 624"/>
                <a:gd name="T98" fmla="*/ 72 w 1363"/>
                <a:gd name="T99" fmla="*/ 597 h 624"/>
                <a:gd name="T100" fmla="*/ 98 w 1363"/>
                <a:gd name="T101" fmla="*/ 611 h 624"/>
                <a:gd name="T102" fmla="*/ 129 w 1363"/>
                <a:gd name="T103" fmla="*/ 620 h 624"/>
                <a:gd name="T104" fmla="*/ 160 w 1363"/>
                <a:gd name="T105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3" h="624">
                  <a:moveTo>
                    <a:pt x="160" y="624"/>
                  </a:moveTo>
                  <a:lnTo>
                    <a:pt x="1210" y="624"/>
                  </a:lnTo>
                  <a:lnTo>
                    <a:pt x="1241" y="620"/>
                  </a:lnTo>
                  <a:lnTo>
                    <a:pt x="1270" y="612"/>
                  </a:lnTo>
                  <a:lnTo>
                    <a:pt x="1297" y="597"/>
                  </a:lnTo>
                  <a:lnTo>
                    <a:pt x="1319" y="578"/>
                  </a:lnTo>
                  <a:lnTo>
                    <a:pt x="1337" y="555"/>
                  </a:lnTo>
                  <a:lnTo>
                    <a:pt x="1351" y="529"/>
                  </a:lnTo>
                  <a:lnTo>
                    <a:pt x="1359" y="502"/>
                  </a:lnTo>
                  <a:lnTo>
                    <a:pt x="1363" y="472"/>
                  </a:lnTo>
                  <a:lnTo>
                    <a:pt x="1363" y="296"/>
                  </a:lnTo>
                  <a:lnTo>
                    <a:pt x="1359" y="264"/>
                  </a:lnTo>
                  <a:lnTo>
                    <a:pt x="1350" y="235"/>
                  </a:lnTo>
                  <a:lnTo>
                    <a:pt x="1335" y="209"/>
                  </a:lnTo>
                  <a:lnTo>
                    <a:pt x="1316" y="187"/>
                  </a:lnTo>
                  <a:lnTo>
                    <a:pt x="1294" y="169"/>
                  </a:lnTo>
                  <a:lnTo>
                    <a:pt x="1267" y="156"/>
                  </a:lnTo>
                  <a:lnTo>
                    <a:pt x="1239" y="147"/>
                  </a:lnTo>
                  <a:lnTo>
                    <a:pt x="1210" y="144"/>
                  </a:lnTo>
                  <a:lnTo>
                    <a:pt x="1018" y="144"/>
                  </a:lnTo>
                  <a:lnTo>
                    <a:pt x="970" y="80"/>
                  </a:lnTo>
                  <a:lnTo>
                    <a:pt x="955" y="57"/>
                  </a:lnTo>
                  <a:lnTo>
                    <a:pt x="936" y="38"/>
                  </a:lnTo>
                  <a:lnTo>
                    <a:pt x="914" y="22"/>
                  </a:lnTo>
                  <a:lnTo>
                    <a:pt x="888" y="10"/>
                  </a:lnTo>
                  <a:lnTo>
                    <a:pt x="862" y="2"/>
                  </a:lnTo>
                  <a:lnTo>
                    <a:pt x="834" y="0"/>
                  </a:lnTo>
                  <a:lnTo>
                    <a:pt x="521" y="0"/>
                  </a:lnTo>
                  <a:lnTo>
                    <a:pt x="493" y="2"/>
                  </a:lnTo>
                  <a:lnTo>
                    <a:pt x="468" y="10"/>
                  </a:lnTo>
                  <a:lnTo>
                    <a:pt x="444" y="22"/>
                  </a:lnTo>
                  <a:lnTo>
                    <a:pt x="422" y="38"/>
                  </a:lnTo>
                  <a:lnTo>
                    <a:pt x="402" y="57"/>
                  </a:lnTo>
                  <a:lnTo>
                    <a:pt x="385" y="80"/>
                  </a:lnTo>
                  <a:lnTo>
                    <a:pt x="345" y="144"/>
                  </a:lnTo>
                  <a:lnTo>
                    <a:pt x="153" y="144"/>
                  </a:lnTo>
                  <a:lnTo>
                    <a:pt x="120" y="148"/>
                  </a:lnTo>
                  <a:lnTo>
                    <a:pt x="91" y="156"/>
                  </a:lnTo>
                  <a:lnTo>
                    <a:pt x="66" y="171"/>
                  </a:lnTo>
                  <a:lnTo>
                    <a:pt x="44" y="190"/>
                  </a:lnTo>
                  <a:lnTo>
                    <a:pt x="25" y="213"/>
                  </a:lnTo>
                  <a:lnTo>
                    <a:pt x="12" y="239"/>
                  </a:lnTo>
                  <a:lnTo>
                    <a:pt x="3" y="266"/>
                  </a:lnTo>
                  <a:lnTo>
                    <a:pt x="0" y="296"/>
                  </a:lnTo>
                  <a:lnTo>
                    <a:pt x="0" y="464"/>
                  </a:lnTo>
                  <a:lnTo>
                    <a:pt x="4" y="496"/>
                  </a:lnTo>
                  <a:lnTo>
                    <a:pt x="13" y="526"/>
                  </a:lnTo>
                  <a:lnTo>
                    <a:pt x="27" y="553"/>
                  </a:lnTo>
                  <a:lnTo>
                    <a:pt x="47" y="577"/>
                  </a:lnTo>
                  <a:lnTo>
                    <a:pt x="72" y="597"/>
                  </a:lnTo>
                  <a:lnTo>
                    <a:pt x="98" y="611"/>
                  </a:lnTo>
                  <a:lnTo>
                    <a:pt x="129" y="620"/>
                  </a:lnTo>
                  <a:lnTo>
                    <a:pt x="160" y="62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Rectangle 8"/>
            <p:cNvSpPr>
              <a:spLocks noChangeArrowheads="1"/>
            </p:cNvSpPr>
            <p:nvPr/>
          </p:nvSpPr>
          <p:spPr bwMode="auto">
            <a:xfrm>
              <a:off x="-702" y="2441"/>
              <a:ext cx="184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-702" y="2512"/>
              <a:ext cx="184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-702" y="2583"/>
              <a:ext cx="299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Rectangle 11"/>
            <p:cNvSpPr>
              <a:spLocks noChangeArrowheads="1"/>
            </p:cNvSpPr>
            <p:nvPr/>
          </p:nvSpPr>
          <p:spPr bwMode="auto">
            <a:xfrm>
              <a:off x="-702" y="2653"/>
              <a:ext cx="299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-574" y="2725"/>
              <a:ext cx="171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13"/>
            <p:cNvSpPr>
              <a:spLocks noChangeArrowheads="1"/>
            </p:cNvSpPr>
            <p:nvPr/>
          </p:nvSpPr>
          <p:spPr bwMode="auto">
            <a:xfrm>
              <a:off x="-574" y="2796"/>
              <a:ext cx="171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-695" y="2715"/>
              <a:ext cx="72" cy="112"/>
            </a:xfrm>
            <a:custGeom>
              <a:avLst/>
              <a:gdLst>
                <a:gd name="T0" fmla="*/ 248 w 432"/>
                <a:gd name="T1" fmla="*/ 617 h 673"/>
                <a:gd name="T2" fmla="*/ 311 w 432"/>
                <a:gd name="T3" fmla="*/ 609 h 673"/>
                <a:gd name="T4" fmla="*/ 363 w 432"/>
                <a:gd name="T5" fmla="*/ 586 h 673"/>
                <a:gd name="T6" fmla="*/ 405 w 432"/>
                <a:gd name="T7" fmla="*/ 544 h 673"/>
                <a:gd name="T8" fmla="*/ 428 w 432"/>
                <a:gd name="T9" fmla="*/ 483 h 673"/>
                <a:gd name="T10" fmla="*/ 429 w 432"/>
                <a:gd name="T11" fmla="*/ 422 h 673"/>
                <a:gd name="T12" fmla="*/ 414 w 432"/>
                <a:gd name="T13" fmla="*/ 376 h 673"/>
                <a:gd name="T14" fmla="*/ 384 w 432"/>
                <a:gd name="T15" fmla="*/ 337 h 673"/>
                <a:gd name="T16" fmla="*/ 348 w 432"/>
                <a:gd name="T17" fmla="*/ 313 h 673"/>
                <a:gd name="T18" fmla="*/ 304 w 432"/>
                <a:gd name="T19" fmla="*/ 294 h 673"/>
                <a:gd name="T20" fmla="*/ 248 w 432"/>
                <a:gd name="T21" fmla="*/ 281 h 673"/>
                <a:gd name="T22" fmla="*/ 287 w 432"/>
                <a:gd name="T23" fmla="*/ 140 h 673"/>
                <a:gd name="T24" fmla="*/ 368 w 432"/>
                <a:gd name="T25" fmla="*/ 177 h 673"/>
                <a:gd name="T26" fmla="*/ 382 w 432"/>
                <a:gd name="T27" fmla="*/ 80 h 673"/>
                <a:gd name="T28" fmla="*/ 298 w 432"/>
                <a:gd name="T29" fmla="*/ 49 h 673"/>
                <a:gd name="T30" fmla="*/ 256 w 432"/>
                <a:gd name="T31" fmla="*/ 0 h 673"/>
                <a:gd name="T32" fmla="*/ 200 w 432"/>
                <a:gd name="T33" fmla="*/ 41 h 673"/>
                <a:gd name="T34" fmla="*/ 139 w 432"/>
                <a:gd name="T35" fmla="*/ 48 h 673"/>
                <a:gd name="T36" fmla="*/ 92 w 432"/>
                <a:gd name="T37" fmla="*/ 71 h 673"/>
                <a:gd name="T38" fmla="*/ 51 w 432"/>
                <a:gd name="T39" fmla="*/ 114 h 673"/>
                <a:gd name="T40" fmla="*/ 26 w 432"/>
                <a:gd name="T41" fmla="*/ 171 h 673"/>
                <a:gd name="T42" fmla="*/ 25 w 432"/>
                <a:gd name="T43" fmla="*/ 228 h 673"/>
                <a:gd name="T44" fmla="*/ 39 w 432"/>
                <a:gd name="T45" fmla="*/ 272 h 673"/>
                <a:gd name="T46" fmla="*/ 64 w 432"/>
                <a:gd name="T47" fmla="*/ 305 h 673"/>
                <a:gd name="T48" fmla="*/ 120 w 432"/>
                <a:gd name="T49" fmla="*/ 336 h 673"/>
                <a:gd name="T50" fmla="*/ 200 w 432"/>
                <a:gd name="T51" fmla="*/ 361 h 673"/>
                <a:gd name="T52" fmla="*/ 164 w 432"/>
                <a:gd name="T53" fmla="*/ 512 h 673"/>
                <a:gd name="T54" fmla="*/ 92 w 432"/>
                <a:gd name="T55" fmla="*/ 476 h 673"/>
                <a:gd name="T56" fmla="*/ 0 w 432"/>
                <a:gd name="T57" fmla="*/ 521 h 673"/>
                <a:gd name="T58" fmla="*/ 73 w 432"/>
                <a:gd name="T59" fmla="*/ 571 h 673"/>
                <a:gd name="T60" fmla="*/ 157 w 432"/>
                <a:gd name="T61" fmla="*/ 601 h 673"/>
                <a:gd name="T62" fmla="*/ 200 w 432"/>
                <a:gd name="T63" fmla="*/ 665 h 673"/>
                <a:gd name="T64" fmla="*/ 248 w 432"/>
                <a:gd name="T65" fmla="*/ 673 h 673"/>
                <a:gd name="T66" fmla="*/ 270 w 432"/>
                <a:gd name="T67" fmla="*/ 393 h 673"/>
                <a:gd name="T68" fmla="*/ 302 w 432"/>
                <a:gd name="T69" fmla="*/ 410 h 673"/>
                <a:gd name="T70" fmla="*/ 318 w 432"/>
                <a:gd name="T71" fmla="*/ 424 h 673"/>
                <a:gd name="T72" fmla="*/ 326 w 432"/>
                <a:gd name="T73" fmla="*/ 448 h 673"/>
                <a:gd name="T74" fmla="*/ 325 w 432"/>
                <a:gd name="T75" fmla="*/ 481 h 673"/>
                <a:gd name="T76" fmla="*/ 304 w 432"/>
                <a:gd name="T77" fmla="*/ 514 h 673"/>
                <a:gd name="T78" fmla="*/ 278 w 432"/>
                <a:gd name="T79" fmla="*/ 531 h 673"/>
                <a:gd name="T80" fmla="*/ 240 w 432"/>
                <a:gd name="T81" fmla="*/ 537 h 673"/>
                <a:gd name="T82" fmla="*/ 248 w 432"/>
                <a:gd name="T83" fmla="*/ 386 h 673"/>
                <a:gd name="T84" fmla="*/ 128 w 432"/>
                <a:gd name="T85" fmla="*/ 231 h 673"/>
                <a:gd name="T86" fmla="*/ 120 w 432"/>
                <a:gd name="T87" fmla="*/ 201 h 673"/>
                <a:gd name="T88" fmla="*/ 130 w 432"/>
                <a:gd name="T89" fmla="*/ 169 h 673"/>
                <a:gd name="T90" fmla="*/ 156 w 432"/>
                <a:gd name="T91" fmla="*/ 144 h 673"/>
                <a:gd name="T92" fmla="*/ 182 w 432"/>
                <a:gd name="T93" fmla="*/ 134 h 673"/>
                <a:gd name="T94" fmla="*/ 200 w 432"/>
                <a:gd name="T95" fmla="*/ 273 h 673"/>
                <a:gd name="T96" fmla="*/ 158 w 432"/>
                <a:gd name="T97" fmla="*/ 254 h 673"/>
                <a:gd name="T98" fmla="*/ 136 w 432"/>
                <a:gd name="T99" fmla="*/ 241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2" h="673">
                  <a:moveTo>
                    <a:pt x="248" y="673"/>
                  </a:moveTo>
                  <a:lnTo>
                    <a:pt x="248" y="617"/>
                  </a:lnTo>
                  <a:lnTo>
                    <a:pt x="280" y="615"/>
                  </a:lnTo>
                  <a:lnTo>
                    <a:pt x="311" y="609"/>
                  </a:lnTo>
                  <a:lnTo>
                    <a:pt x="339" y="600"/>
                  </a:lnTo>
                  <a:lnTo>
                    <a:pt x="363" y="586"/>
                  </a:lnTo>
                  <a:lnTo>
                    <a:pt x="384" y="569"/>
                  </a:lnTo>
                  <a:lnTo>
                    <a:pt x="405" y="544"/>
                  </a:lnTo>
                  <a:lnTo>
                    <a:pt x="420" y="515"/>
                  </a:lnTo>
                  <a:lnTo>
                    <a:pt x="428" y="483"/>
                  </a:lnTo>
                  <a:lnTo>
                    <a:pt x="432" y="450"/>
                  </a:lnTo>
                  <a:lnTo>
                    <a:pt x="429" y="422"/>
                  </a:lnTo>
                  <a:lnTo>
                    <a:pt x="424" y="398"/>
                  </a:lnTo>
                  <a:lnTo>
                    <a:pt x="414" y="376"/>
                  </a:lnTo>
                  <a:lnTo>
                    <a:pt x="402" y="356"/>
                  </a:lnTo>
                  <a:lnTo>
                    <a:pt x="384" y="337"/>
                  </a:lnTo>
                  <a:lnTo>
                    <a:pt x="367" y="325"/>
                  </a:lnTo>
                  <a:lnTo>
                    <a:pt x="348" y="313"/>
                  </a:lnTo>
                  <a:lnTo>
                    <a:pt x="328" y="303"/>
                  </a:lnTo>
                  <a:lnTo>
                    <a:pt x="304" y="294"/>
                  </a:lnTo>
                  <a:lnTo>
                    <a:pt x="278" y="287"/>
                  </a:lnTo>
                  <a:lnTo>
                    <a:pt x="248" y="281"/>
                  </a:lnTo>
                  <a:lnTo>
                    <a:pt x="248" y="130"/>
                  </a:lnTo>
                  <a:lnTo>
                    <a:pt x="287" y="140"/>
                  </a:lnTo>
                  <a:lnTo>
                    <a:pt x="328" y="155"/>
                  </a:lnTo>
                  <a:lnTo>
                    <a:pt x="368" y="177"/>
                  </a:lnTo>
                  <a:lnTo>
                    <a:pt x="424" y="105"/>
                  </a:lnTo>
                  <a:lnTo>
                    <a:pt x="382" y="80"/>
                  </a:lnTo>
                  <a:lnTo>
                    <a:pt x="340" y="61"/>
                  </a:lnTo>
                  <a:lnTo>
                    <a:pt x="298" y="49"/>
                  </a:lnTo>
                  <a:lnTo>
                    <a:pt x="256" y="41"/>
                  </a:lnTo>
                  <a:lnTo>
                    <a:pt x="256" y="0"/>
                  </a:lnTo>
                  <a:lnTo>
                    <a:pt x="200" y="0"/>
                  </a:lnTo>
                  <a:lnTo>
                    <a:pt x="200" y="41"/>
                  </a:lnTo>
                  <a:lnTo>
                    <a:pt x="167" y="43"/>
                  </a:lnTo>
                  <a:lnTo>
                    <a:pt x="139" y="48"/>
                  </a:lnTo>
                  <a:lnTo>
                    <a:pt x="114" y="59"/>
                  </a:lnTo>
                  <a:lnTo>
                    <a:pt x="92" y="71"/>
                  </a:lnTo>
                  <a:lnTo>
                    <a:pt x="72" y="89"/>
                  </a:lnTo>
                  <a:lnTo>
                    <a:pt x="51" y="114"/>
                  </a:lnTo>
                  <a:lnTo>
                    <a:pt x="36" y="142"/>
                  </a:lnTo>
                  <a:lnTo>
                    <a:pt x="26" y="171"/>
                  </a:lnTo>
                  <a:lnTo>
                    <a:pt x="23" y="201"/>
                  </a:lnTo>
                  <a:lnTo>
                    <a:pt x="25" y="228"/>
                  </a:lnTo>
                  <a:lnTo>
                    <a:pt x="30" y="252"/>
                  </a:lnTo>
                  <a:lnTo>
                    <a:pt x="39" y="272"/>
                  </a:lnTo>
                  <a:lnTo>
                    <a:pt x="50" y="289"/>
                  </a:lnTo>
                  <a:lnTo>
                    <a:pt x="64" y="305"/>
                  </a:lnTo>
                  <a:lnTo>
                    <a:pt x="89" y="322"/>
                  </a:lnTo>
                  <a:lnTo>
                    <a:pt x="120" y="336"/>
                  </a:lnTo>
                  <a:lnTo>
                    <a:pt x="156" y="348"/>
                  </a:lnTo>
                  <a:lnTo>
                    <a:pt x="200" y="361"/>
                  </a:lnTo>
                  <a:lnTo>
                    <a:pt x="200" y="521"/>
                  </a:lnTo>
                  <a:lnTo>
                    <a:pt x="164" y="512"/>
                  </a:lnTo>
                  <a:lnTo>
                    <a:pt x="128" y="497"/>
                  </a:lnTo>
                  <a:lnTo>
                    <a:pt x="92" y="476"/>
                  </a:lnTo>
                  <a:lnTo>
                    <a:pt x="55" y="450"/>
                  </a:lnTo>
                  <a:lnTo>
                    <a:pt x="0" y="521"/>
                  </a:lnTo>
                  <a:lnTo>
                    <a:pt x="34" y="547"/>
                  </a:lnTo>
                  <a:lnTo>
                    <a:pt x="73" y="571"/>
                  </a:lnTo>
                  <a:lnTo>
                    <a:pt x="114" y="588"/>
                  </a:lnTo>
                  <a:lnTo>
                    <a:pt x="157" y="601"/>
                  </a:lnTo>
                  <a:lnTo>
                    <a:pt x="200" y="609"/>
                  </a:lnTo>
                  <a:lnTo>
                    <a:pt x="200" y="665"/>
                  </a:lnTo>
                  <a:lnTo>
                    <a:pt x="248" y="665"/>
                  </a:lnTo>
                  <a:lnTo>
                    <a:pt x="248" y="673"/>
                  </a:lnTo>
                  <a:close/>
                  <a:moveTo>
                    <a:pt x="248" y="386"/>
                  </a:moveTo>
                  <a:lnTo>
                    <a:pt x="270" y="393"/>
                  </a:lnTo>
                  <a:lnTo>
                    <a:pt x="288" y="401"/>
                  </a:lnTo>
                  <a:lnTo>
                    <a:pt x="302" y="410"/>
                  </a:lnTo>
                  <a:lnTo>
                    <a:pt x="312" y="417"/>
                  </a:lnTo>
                  <a:lnTo>
                    <a:pt x="318" y="424"/>
                  </a:lnTo>
                  <a:lnTo>
                    <a:pt x="322" y="434"/>
                  </a:lnTo>
                  <a:lnTo>
                    <a:pt x="326" y="448"/>
                  </a:lnTo>
                  <a:lnTo>
                    <a:pt x="328" y="465"/>
                  </a:lnTo>
                  <a:lnTo>
                    <a:pt x="325" y="481"/>
                  </a:lnTo>
                  <a:lnTo>
                    <a:pt x="316" y="497"/>
                  </a:lnTo>
                  <a:lnTo>
                    <a:pt x="304" y="514"/>
                  </a:lnTo>
                  <a:lnTo>
                    <a:pt x="291" y="524"/>
                  </a:lnTo>
                  <a:lnTo>
                    <a:pt x="278" y="531"/>
                  </a:lnTo>
                  <a:lnTo>
                    <a:pt x="261" y="536"/>
                  </a:lnTo>
                  <a:lnTo>
                    <a:pt x="240" y="537"/>
                  </a:lnTo>
                  <a:lnTo>
                    <a:pt x="240" y="386"/>
                  </a:lnTo>
                  <a:lnTo>
                    <a:pt x="248" y="386"/>
                  </a:lnTo>
                  <a:close/>
                  <a:moveTo>
                    <a:pt x="136" y="241"/>
                  </a:moveTo>
                  <a:lnTo>
                    <a:pt x="128" y="231"/>
                  </a:lnTo>
                  <a:lnTo>
                    <a:pt x="122" y="217"/>
                  </a:lnTo>
                  <a:lnTo>
                    <a:pt x="120" y="201"/>
                  </a:lnTo>
                  <a:lnTo>
                    <a:pt x="122" y="185"/>
                  </a:lnTo>
                  <a:lnTo>
                    <a:pt x="130" y="169"/>
                  </a:lnTo>
                  <a:lnTo>
                    <a:pt x="143" y="153"/>
                  </a:lnTo>
                  <a:lnTo>
                    <a:pt x="156" y="144"/>
                  </a:lnTo>
                  <a:lnTo>
                    <a:pt x="168" y="138"/>
                  </a:lnTo>
                  <a:lnTo>
                    <a:pt x="182" y="134"/>
                  </a:lnTo>
                  <a:lnTo>
                    <a:pt x="200" y="130"/>
                  </a:lnTo>
                  <a:lnTo>
                    <a:pt x="200" y="273"/>
                  </a:lnTo>
                  <a:lnTo>
                    <a:pt x="177" y="262"/>
                  </a:lnTo>
                  <a:lnTo>
                    <a:pt x="158" y="254"/>
                  </a:lnTo>
                  <a:lnTo>
                    <a:pt x="144" y="247"/>
                  </a:lnTo>
                  <a:lnTo>
                    <a:pt x="136" y="24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5"/>
            <p:cNvSpPr>
              <a:spLocks noEditPoints="1"/>
            </p:cNvSpPr>
            <p:nvPr/>
          </p:nvSpPr>
          <p:spPr bwMode="auto">
            <a:xfrm>
              <a:off x="-475" y="2441"/>
              <a:ext cx="73" cy="111"/>
            </a:xfrm>
            <a:custGeom>
              <a:avLst/>
              <a:gdLst>
                <a:gd name="T0" fmla="*/ 200 w 440"/>
                <a:gd name="T1" fmla="*/ 39 h 664"/>
                <a:gd name="T2" fmla="*/ 140 w 440"/>
                <a:gd name="T3" fmla="*/ 48 h 664"/>
                <a:gd name="T4" fmla="*/ 92 w 440"/>
                <a:gd name="T5" fmla="*/ 71 h 664"/>
                <a:gd name="T6" fmla="*/ 51 w 440"/>
                <a:gd name="T7" fmla="*/ 114 h 664"/>
                <a:gd name="T8" fmla="*/ 27 w 440"/>
                <a:gd name="T9" fmla="*/ 170 h 664"/>
                <a:gd name="T10" fmla="*/ 25 w 440"/>
                <a:gd name="T11" fmla="*/ 227 h 664"/>
                <a:gd name="T12" fmla="*/ 39 w 440"/>
                <a:gd name="T13" fmla="*/ 271 h 664"/>
                <a:gd name="T14" fmla="*/ 64 w 440"/>
                <a:gd name="T15" fmla="*/ 304 h 664"/>
                <a:gd name="T16" fmla="*/ 120 w 440"/>
                <a:gd name="T17" fmla="*/ 335 h 664"/>
                <a:gd name="T18" fmla="*/ 200 w 440"/>
                <a:gd name="T19" fmla="*/ 359 h 664"/>
                <a:gd name="T20" fmla="*/ 164 w 440"/>
                <a:gd name="T21" fmla="*/ 511 h 664"/>
                <a:gd name="T22" fmla="*/ 92 w 440"/>
                <a:gd name="T23" fmla="*/ 475 h 664"/>
                <a:gd name="T24" fmla="*/ 0 w 440"/>
                <a:gd name="T25" fmla="*/ 520 h 664"/>
                <a:gd name="T26" fmla="*/ 74 w 440"/>
                <a:gd name="T27" fmla="*/ 569 h 664"/>
                <a:gd name="T28" fmla="*/ 157 w 440"/>
                <a:gd name="T29" fmla="*/ 600 h 664"/>
                <a:gd name="T30" fmla="*/ 200 w 440"/>
                <a:gd name="T31" fmla="*/ 664 h 664"/>
                <a:gd name="T32" fmla="*/ 256 w 440"/>
                <a:gd name="T33" fmla="*/ 608 h 664"/>
                <a:gd name="T34" fmla="*/ 319 w 440"/>
                <a:gd name="T35" fmla="*/ 600 h 664"/>
                <a:gd name="T36" fmla="*/ 371 w 440"/>
                <a:gd name="T37" fmla="*/ 577 h 664"/>
                <a:gd name="T38" fmla="*/ 413 w 440"/>
                <a:gd name="T39" fmla="*/ 534 h 664"/>
                <a:gd name="T40" fmla="*/ 438 w 440"/>
                <a:gd name="T41" fmla="*/ 475 h 664"/>
                <a:gd name="T42" fmla="*/ 439 w 440"/>
                <a:gd name="T43" fmla="*/ 413 h 664"/>
                <a:gd name="T44" fmla="*/ 423 w 440"/>
                <a:gd name="T45" fmla="*/ 368 h 664"/>
                <a:gd name="T46" fmla="*/ 392 w 440"/>
                <a:gd name="T47" fmla="*/ 328 h 664"/>
                <a:gd name="T48" fmla="*/ 358 w 440"/>
                <a:gd name="T49" fmla="*/ 305 h 664"/>
                <a:gd name="T50" fmla="*/ 313 w 440"/>
                <a:gd name="T51" fmla="*/ 285 h 664"/>
                <a:gd name="T52" fmla="*/ 256 w 440"/>
                <a:gd name="T53" fmla="*/ 272 h 664"/>
                <a:gd name="T54" fmla="*/ 296 w 440"/>
                <a:gd name="T55" fmla="*/ 130 h 664"/>
                <a:gd name="T56" fmla="*/ 376 w 440"/>
                <a:gd name="T57" fmla="*/ 169 h 664"/>
                <a:gd name="T58" fmla="*/ 374 w 440"/>
                <a:gd name="T59" fmla="*/ 78 h 664"/>
                <a:gd name="T60" fmla="*/ 290 w 440"/>
                <a:gd name="T61" fmla="*/ 48 h 664"/>
                <a:gd name="T62" fmla="*/ 248 w 440"/>
                <a:gd name="T63" fmla="*/ 0 h 664"/>
                <a:gd name="T64" fmla="*/ 200 w 440"/>
                <a:gd name="T65" fmla="*/ 272 h 664"/>
                <a:gd name="T66" fmla="*/ 162 w 440"/>
                <a:gd name="T67" fmla="*/ 259 h 664"/>
                <a:gd name="T68" fmla="*/ 136 w 440"/>
                <a:gd name="T69" fmla="*/ 240 h 664"/>
                <a:gd name="T70" fmla="*/ 122 w 440"/>
                <a:gd name="T71" fmla="*/ 215 h 664"/>
                <a:gd name="T72" fmla="*/ 122 w 440"/>
                <a:gd name="T73" fmla="*/ 184 h 664"/>
                <a:gd name="T74" fmla="*/ 144 w 440"/>
                <a:gd name="T75" fmla="*/ 152 h 664"/>
                <a:gd name="T76" fmla="*/ 169 w 440"/>
                <a:gd name="T77" fmla="*/ 137 h 664"/>
                <a:gd name="T78" fmla="*/ 200 w 440"/>
                <a:gd name="T79" fmla="*/ 128 h 664"/>
                <a:gd name="T80" fmla="*/ 312 w 440"/>
                <a:gd name="T81" fmla="*/ 416 h 664"/>
                <a:gd name="T82" fmla="*/ 324 w 440"/>
                <a:gd name="T83" fmla="*/ 434 h 664"/>
                <a:gd name="T84" fmla="*/ 328 w 440"/>
                <a:gd name="T85" fmla="*/ 464 h 664"/>
                <a:gd name="T86" fmla="*/ 318 w 440"/>
                <a:gd name="T87" fmla="*/ 496 h 664"/>
                <a:gd name="T88" fmla="*/ 292 w 440"/>
                <a:gd name="T89" fmla="*/ 522 h 664"/>
                <a:gd name="T90" fmla="*/ 262 w 440"/>
                <a:gd name="T91" fmla="*/ 534 h 664"/>
                <a:gd name="T92" fmla="*/ 240 w 440"/>
                <a:gd name="T93" fmla="*/ 392 h 664"/>
                <a:gd name="T94" fmla="*/ 289 w 440"/>
                <a:gd name="T95" fmla="*/ 404 h 664"/>
                <a:gd name="T96" fmla="*/ 312 w 440"/>
                <a:gd name="T97" fmla="*/ 41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40" h="664">
                  <a:moveTo>
                    <a:pt x="200" y="0"/>
                  </a:moveTo>
                  <a:lnTo>
                    <a:pt x="200" y="39"/>
                  </a:lnTo>
                  <a:lnTo>
                    <a:pt x="169" y="42"/>
                  </a:lnTo>
                  <a:lnTo>
                    <a:pt x="140" y="48"/>
                  </a:lnTo>
                  <a:lnTo>
                    <a:pt x="115" y="57"/>
                  </a:lnTo>
                  <a:lnTo>
                    <a:pt x="92" y="71"/>
                  </a:lnTo>
                  <a:lnTo>
                    <a:pt x="72" y="88"/>
                  </a:lnTo>
                  <a:lnTo>
                    <a:pt x="51" y="114"/>
                  </a:lnTo>
                  <a:lnTo>
                    <a:pt x="36" y="141"/>
                  </a:lnTo>
                  <a:lnTo>
                    <a:pt x="27" y="170"/>
                  </a:lnTo>
                  <a:lnTo>
                    <a:pt x="24" y="200"/>
                  </a:lnTo>
                  <a:lnTo>
                    <a:pt x="25" y="227"/>
                  </a:lnTo>
                  <a:lnTo>
                    <a:pt x="31" y="250"/>
                  </a:lnTo>
                  <a:lnTo>
                    <a:pt x="39" y="271"/>
                  </a:lnTo>
                  <a:lnTo>
                    <a:pt x="51" y="288"/>
                  </a:lnTo>
                  <a:lnTo>
                    <a:pt x="64" y="304"/>
                  </a:lnTo>
                  <a:lnTo>
                    <a:pt x="90" y="321"/>
                  </a:lnTo>
                  <a:lnTo>
                    <a:pt x="120" y="335"/>
                  </a:lnTo>
                  <a:lnTo>
                    <a:pt x="156" y="348"/>
                  </a:lnTo>
                  <a:lnTo>
                    <a:pt x="200" y="359"/>
                  </a:lnTo>
                  <a:lnTo>
                    <a:pt x="200" y="520"/>
                  </a:lnTo>
                  <a:lnTo>
                    <a:pt x="164" y="511"/>
                  </a:lnTo>
                  <a:lnTo>
                    <a:pt x="128" y="496"/>
                  </a:lnTo>
                  <a:lnTo>
                    <a:pt x="92" y="475"/>
                  </a:lnTo>
                  <a:lnTo>
                    <a:pt x="56" y="448"/>
                  </a:lnTo>
                  <a:lnTo>
                    <a:pt x="0" y="520"/>
                  </a:lnTo>
                  <a:lnTo>
                    <a:pt x="35" y="547"/>
                  </a:lnTo>
                  <a:lnTo>
                    <a:pt x="74" y="569"/>
                  </a:lnTo>
                  <a:lnTo>
                    <a:pt x="115" y="587"/>
                  </a:lnTo>
                  <a:lnTo>
                    <a:pt x="157" y="600"/>
                  </a:lnTo>
                  <a:lnTo>
                    <a:pt x="200" y="608"/>
                  </a:lnTo>
                  <a:lnTo>
                    <a:pt x="200" y="664"/>
                  </a:lnTo>
                  <a:lnTo>
                    <a:pt x="256" y="664"/>
                  </a:lnTo>
                  <a:lnTo>
                    <a:pt x="256" y="608"/>
                  </a:lnTo>
                  <a:lnTo>
                    <a:pt x="289" y="606"/>
                  </a:lnTo>
                  <a:lnTo>
                    <a:pt x="319" y="600"/>
                  </a:lnTo>
                  <a:lnTo>
                    <a:pt x="347" y="591"/>
                  </a:lnTo>
                  <a:lnTo>
                    <a:pt x="371" y="577"/>
                  </a:lnTo>
                  <a:lnTo>
                    <a:pt x="392" y="560"/>
                  </a:lnTo>
                  <a:lnTo>
                    <a:pt x="413" y="534"/>
                  </a:lnTo>
                  <a:lnTo>
                    <a:pt x="429" y="506"/>
                  </a:lnTo>
                  <a:lnTo>
                    <a:pt x="438" y="475"/>
                  </a:lnTo>
                  <a:lnTo>
                    <a:pt x="440" y="440"/>
                  </a:lnTo>
                  <a:lnTo>
                    <a:pt x="439" y="413"/>
                  </a:lnTo>
                  <a:lnTo>
                    <a:pt x="433" y="389"/>
                  </a:lnTo>
                  <a:lnTo>
                    <a:pt x="423" y="368"/>
                  </a:lnTo>
                  <a:lnTo>
                    <a:pt x="410" y="348"/>
                  </a:lnTo>
                  <a:lnTo>
                    <a:pt x="392" y="328"/>
                  </a:lnTo>
                  <a:lnTo>
                    <a:pt x="376" y="316"/>
                  </a:lnTo>
                  <a:lnTo>
                    <a:pt x="358" y="305"/>
                  </a:lnTo>
                  <a:lnTo>
                    <a:pt x="337" y="294"/>
                  </a:lnTo>
                  <a:lnTo>
                    <a:pt x="313" y="285"/>
                  </a:lnTo>
                  <a:lnTo>
                    <a:pt x="286" y="277"/>
                  </a:lnTo>
                  <a:lnTo>
                    <a:pt x="256" y="272"/>
                  </a:lnTo>
                  <a:lnTo>
                    <a:pt x="256" y="120"/>
                  </a:lnTo>
                  <a:lnTo>
                    <a:pt x="296" y="130"/>
                  </a:lnTo>
                  <a:lnTo>
                    <a:pt x="337" y="146"/>
                  </a:lnTo>
                  <a:lnTo>
                    <a:pt x="376" y="169"/>
                  </a:lnTo>
                  <a:lnTo>
                    <a:pt x="417" y="103"/>
                  </a:lnTo>
                  <a:lnTo>
                    <a:pt x="374" y="78"/>
                  </a:lnTo>
                  <a:lnTo>
                    <a:pt x="332" y="60"/>
                  </a:lnTo>
                  <a:lnTo>
                    <a:pt x="290" y="48"/>
                  </a:lnTo>
                  <a:lnTo>
                    <a:pt x="248" y="39"/>
                  </a:lnTo>
                  <a:lnTo>
                    <a:pt x="248" y="0"/>
                  </a:lnTo>
                  <a:lnTo>
                    <a:pt x="200" y="0"/>
                  </a:lnTo>
                  <a:close/>
                  <a:moveTo>
                    <a:pt x="200" y="272"/>
                  </a:moveTo>
                  <a:lnTo>
                    <a:pt x="179" y="266"/>
                  </a:lnTo>
                  <a:lnTo>
                    <a:pt x="162" y="259"/>
                  </a:lnTo>
                  <a:lnTo>
                    <a:pt x="148" y="251"/>
                  </a:lnTo>
                  <a:lnTo>
                    <a:pt x="136" y="240"/>
                  </a:lnTo>
                  <a:lnTo>
                    <a:pt x="128" y="229"/>
                  </a:lnTo>
                  <a:lnTo>
                    <a:pt x="122" y="215"/>
                  </a:lnTo>
                  <a:lnTo>
                    <a:pt x="120" y="200"/>
                  </a:lnTo>
                  <a:lnTo>
                    <a:pt x="122" y="184"/>
                  </a:lnTo>
                  <a:lnTo>
                    <a:pt x="130" y="169"/>
                  </a:lnTo>
                  <a:lnTo>
                    <a:pt x="144" y="152"/>
                  </a:lnTo>
                  <a:lnTo>
                    <a:pt x="156" y="143"/>
                  </a:lnTo>
                  <a:lnTo>
                    <a:pt x="169" y="137"/>
                  </a:lnTo>
                  <a:lnTo>
                    <a:pt x="184" y="133"/>
                  </a:lnTo>
                  <a:lnTo>
                    <a:pt x="200" y="128"/>
                  </a:lnTo>
                  <a:lnTo>
                    <a:pt x="200" y="272"/>
                  </a:lnTo>
                  <a:close/>
                  <a:moveTo>
                    <a:pt x="312" y="416"/>
                  </a:moveTo>
                  <a:lnTo>
                    <a:pt x="318" y="423"/>
                  </a:lnTo>
                  <a:lnTo>
                    <a:pt x="324" y="434"/>
                  </a:lnTo>
                  <a:lnTo>
                    <a:pt x="327" y="448"/>
                  </a:lnTo>
                  <a:lnTo>
                    <a:pt x="328" y="464"/>
                  </a:lnTo>
                  <a:lnTo>
                    <a:pt x="326" y="480"/>
                  </a:lnTo>
                  <a:lnTo>
                    <a:pt x="318" y="496"/>
                  </a:lnTo>
                  <a:lnTo>
                    <a:pt x="304" y="512"/>
                  </a:lnTo>
                  <a:lnTo>
                    <a:pt x="292" y="522"/>
                  </a:lnTo>
                  <a:lnTo>
                    <a:pt x="278" y="530"/>
                  </a:lnTo>
                  <a:lnTo>
                    <a:pt x="262" y="534"/>
                  </a:lnTo>
                  <a:lnTo>
                    <a:pt x="240" y="536"/>
                  </a:lnTo>
                  <a:lnTo>
                    <a:pt x="240" y="392"/>
                  </a:lnTo>
                  <a:lnTo>
                    <a:pt x="268" y="398"/>
                  </a:lnTo>
                  <a:lnTo>
                    <a:pt x="289" y="404"/>
                  </a:lnTo>
                  <a:lnTo>
                    <a:pt x="303" y="409"/>
                  </a:lnTo>
                  <a:lnTo>
                    <a:pt x="312" y="41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3" name="Group 62"/>
          <p:cNvGrpSpPr>
            <a:grpSpLocks noChangeAspect="1"/>
          </p:cNvGrpSpPr>
          <p:nvPr/>
        </p:nvGrpSpPr>
        <p:grpSpPr bwMode="auto">
          <a:xfrm>
            <a:off x="774963" y="5655053"/>
            <a:ext cx="291066" cy="415810"/>
            <a:chOff x="-776" y="2272"/>
            <a:chExt cx="448" cy="640"/>
          </a:xfrm>
          <a:solidFill>
            <a:schemeClr val="bg1"/>
          </a:solidFill>
        </p:grpSpPr>
        <p:sp>
          <p:nvSpPr>
            <p:cNvPr id="71" name="Freeform 6"/>
            <p:cNvSpPr>
              <a:spLocks/>
            </p:cNvSpPr>
            <p:nvPr/>
          </p:nvSpPr>
          <p:spPr bwMode="auto">
            <a:xfrm>
              <a:off x="-776" y="2336"/>
              <a:ext cx="448" cy="576"/>
            </a:xfrm>
            <a:custGeom>
              <a:avLst/>
              <a:gdLst>
                <a:gd name="T0" fmla="*/ 2444 w 2684"/>
                <a:gd name="T1" fmla="*/ 0 h 3456"/>
                <a:gd name="T2" fmla="*/ 2171 w 2684"/>
                <a:gd name="T3" fmla="*/ 0 h 3456"/>
                <a:gd name="T4" fmla="*/ 2171 w 2684"/>
                <a:gd name="T5" fmla="*/ 88 h 3456"/>
                <a:gd name="T6" fmla="*/ 2169 w 2684"/>
                <a:gd name="T7" fmla="*/ 128 h 3456"/>
                <a:gd name="T8" fmla="*/ 2161 w 2684"/>
                <a:gd name="T9" fmla="*/ 166 h 3456"/>
                <a:gd name="T10" fmla="*/ 2148 w 2684"/>
                <a:gd name="T11" fmla="*/ 200 h 3456"/>
                <a:gd name="T12" fmla="*/ 2131 w 2684"/>
                <a:gd name="T13" fmla="*/ 232 h 3456"/>
                <a:gd name="T14" fmla="*/ 2444 w 2684"/>
                <a:gd name="T15" fmla="*/ 232 h 3456"/>
                <a:gd name="T16" fmla="*/ 2444 w 2684"/>
                <a:gd name="T17" fmla="*/ 3224 h 3456"/>
                <a:gd name="T18" fmla="*/ 233 w 2684"/>
                <a:gd name="T19" fmla="*/ 3224 h 3456"/>
                <a:gd name="T20" fmla="*/ 233 w 2684"/>
                <a:gd name="T21" fmla="*/ 232 h 3456"/>
                <a:gd name="T22" fmla="*/ 546 w 2684"/>
                <a:gd name="T23" fmla="*/ 232 h 3456"/>
                <a:gd name="T24" fmla="*/ 529 w 2684"/>
                <a:gd name="T25" fmla="*/ 199 h 3456"/>
                <a:gd name="T26" fmla="*/ 516 w 2684"/>
                <a:gd name="T27" fmla="*/ 163 h 3456"/>
                <a:gd name="T28" fmla="*/ 508 w 2684"/>
                <a:gd name="T29" fmla="*/ 126 h 3456"/>
                <a:gd name="T30" fmla="*/ 505 w 2684"/>
                <a:gd name="T31" fmla="*/ 88 h 3456"/>
                <a:gd name="T32" fmla="*/ 505 w 2684"/>
                <a:gd name="T33" fmla="*/ 0 h 3456"/>
                <a:gd name="T34" fmla="*/ 233 w 2684"/>
                <a:gd name="T35" fmla="*/ 0 h 3456"/>
                <a:gd name="T36" fmla="*/ 195 w 2684"/>
                <a:gd name="T37" fmla="*/ 3 h 3456"/>
                <a:gd name="T38" fmla="*/ 160 w 2684"/>
                <a:gd name="T39" fmla="*/ 12 h 3456"/>
                <a:gd name="T40" fmla="*/ 126 w 2684"/>
                <a:gd name="T41" fmla="*/ 26 h 3456"/>
                <a:gd name="T42" fmla="*/ 96 w 2684"/>
                <a:gd name="T43" fmla="*/ 45 h 3456"/>
                <a:gd name="T44" fmla="*/ 69 w 2684"/>
                <a:gd name="T45" fmla="*/ 67 h 3456"/>
                <a:gd name="T46" fmla="*/ 46 w 2684"/>
                <a:gd name="T47" fmla="*/ 95 h 3456"/>
                <a:gd name="T48" fmla="*/ 26 w 2684"/>
                <a:gd name="T49" fmla="*/ 126 h 3456"/>
                <a:gd name="T50" fmla="*/ 12 w 2684"/>
                <a:gd name="T51" fmla="*/ 158 h 3456"/>
                <a:gd name="T52" fmla="*/ 4 w 2684"/>
                <a:gd name="T53" fmla="*/ 194 h 3456"/>
                <a:gd name="T54" fmla="*/ 0 w 2684"/>
                <a:gd name="T55" fmla="*/ 232 h 3456"/>
                <a:gd name="T56" fmla="*/ 0 w 2684"/>
                <a:gd name="T57" fmla="*/ 3224 h 3456"/>
                <a:gd name="T58" fmla="*/ 4 w 2684"/>
                <a:gd name="T59" fmla="*/ 3262 h 3456"/>
                <a:gd name="T60" fmla="*/ 12 w 2684"/>
                <a:gd name="T61" fmla="*/ 3298 h 3456"/>
                <a:gd name="T62" fmla="*/ 26 w 2684"/>
                <a:gd name="T63" fmla="*/ 3330 h 3456"/>
                <a:gd name="T64" fmla="*/ 46 w 2684"/>
                <a:gd name="T65" fmla="*/ 3361 h 3456"/>
                <a:gd name="T66" fmla="*/ 69 w 2684"/>
                <a:gd name="T67" fmla="*/ 3389 h 3456"/>
                <a:gd name="T68" fmla="*/ 96 w 2684"/>
                <a:gd name="T69" fmla="*/ 3411 h 3456"/>
                <a:gd name="T70" fmla="*/ 126 w 2684"/>
                <a:gd name="T71" fmla="*/ 3430 h 3456"/>
                <a:gd name="T72" fmla="*/ 160 w 2684"/>
                <a:gd name="T73" fmla="*/ 3444 h 3456"/>
                <a:gd name="T74" fmla="*/ 195 w 2684"/>
                <a:gd name="T75" fmla="*/ 3453 h 3456"/>
                <a:gd name="T76" fmla="*/ 233 w 2684"/>
                <a:gd name="T77" fmla="*/ 3456 h 3456"/>
                <a:gd name="T78" fmla="*/ 2452 w 2684"/>
                <a:gd name="T79" fmla="*/ 3456 h 3456"/>
                <a:gd name="T80" fmla="*/ 2489 w 2684"/>
                <a:gd name="T81" fmla="*/ 3453 h 3456"/>
                <a:gd name="T82" fmla="*/ 2525 w 2684"/>
                <a:gd name="T83" fmla="*/ 3444 h 3456"/>
                <a:gd name="T84" fmla="*/ 2559 w 2684"/>
                <a:gd name="T85" fmla="*/ 3430 h 3456"/>
                <a:gd name="T86" fmla="*/ 2589 w 2684"/>
                <a:gd name="T87" fmla="*/ 3411 h 3456"/>
                <a:gd name="T88" fmla="*/ 2616 w 2684"/>
                <a:gd name="T89" fmla="*/ 3389 h 3456"/>
                <a:gd name="T90" fmla="*/ 2639 w 2684"/>
                <a:gd name="T91" fmla="*/ 3361 h 3456"/>
                <a:gd name="T92" fmla="*/ 2658 w 2684"/>
                <a:gd name="T93" fmla="*/ 3330 h 3456"/>
                <a:gd name="T94" fmla="*/ 2672 w 2684"/>
                <a:gd name="T95" fmla="*/ 3298 h 3456"/>
                <a:gd name="T96" fmla="*/ 2681 w 2684"/>
                <a:gd name="T97" fmla="*/ 3262 h 3456"/>
                <a:gd name="T98" fmla="*/ 2684 w 2684"/>
                <a:gd name="T99" fmla="*/ 3224 h 3456"/>
                <a:gd name="T100" fmla="*/ 2684 w 2684"/>
                <a:gd name="T101" fmla="*/ 232 h 3456"/>
                <a:gd name="T102" fmla="*/ 2679 w 2684"/>
                <a:gd name="T103" fmla="*/ 194 h 3456"/>
                <a:gd name="T104" fmla="*/ 2669 w 2684"/>
                <a:gd name="T105" fmla="*/ 158 h 3456"/>
                <a:gd name="T106" fmla="*/ 2653 w 2684"/>
                <a:gd name="T107" fmla="*/ 126 h 3456"/>
                <a:gd name="T108" fmla="*/ 2632 w 2684"/>
                <a:gd name="T109" fmla="*/ 95 h 3456"/>
                <a:gd name="T110" fmla="*/ 2609 w 2684"/>
                <a:gd name="T111" fmla="*/ 67 h 3456"/>
                <a:gd name="T112" fmla="*/ 2581 w 2684"/>
                <a:gd name="T113" fmla="*/ 45 h 3456"/>
                <a:gd name="T114" fmla="*/ 2551 w 2684"/>
                <a:gd name="T115" fmla="*/ 26 h 3456"/>
                <a:gd name="T116" fmla="*/ 2517 w 2684"/>
                <a:gd name="T117" fmla="*/ 12 h 3456"/>
                <a:gd name="T118" fmla="*/ 2481 w 2684"/>
                <a:gd name="T119" fmla="*/ 3 h 3456"/>
                <a:gd name="T120" fmla="*/ 2444 w 2684"/>
                <a:gd name="T121" fmla="*/ 0 h 3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684" h="3456">
                  <a:moveTo>
                    <a:pt x="2444" y="0"/>
                  </a:moveTo>
                  <a:lnTo>
                    <a:pt x="2171" y="0"/>
                  </a:lnTo>
                  <a:lnTo>
                    <a:pt x="2171" y="88"/>
                  </a:lnTo>
                  <a:lnTo>
                    <a:pt x="2169" y="128"/>
                  </a:lnTo>
                  <a:lnTo>
                    <a:pt x="2161" y="166"/>
                  </a:lnTo>
                  <a:lnTo>
                    <a:pt x="2148" y="200"/>
                  </a:lnTo>
                  <a:lnTo>
                    <a:pt x="2131" y="232"/>
                  </a:lnTo>
                  <a:lnTo>
                    <a:pt x="2444" y="232"/>
                  </a:lnTo>
                  <a:lnTo>
                    <a:pt x="2444" y="3224"/>
                  </a:lnTo>
                  <a:lnTo>
                    <a:pt x="233" y="3224"/>
                  </a:lnTo>
                  <a:lnTo>
                    <a:pt x="233" y="232"/>
                  </a:lnTo>
                  <a:lnTo>
                    <a:pt x="546" y="232"/>
                  </a:lnTo>
                  <a:lnTo>
                    <a:pt x="529" y="199"/>
                  </a:lnTo>
                  <a:lnTo>
                    <a:pt x="516" y="163"/>
                  </a:lnTo>
                  <a:lnTo>
                    <a:pt x="508" y="126"/>
                  </a:lnTo>
                  <a:lnTo>
                    <a:pt x="505" y="88"/>
                  </a:lnTo>
                  <a:lnTo>
                    <a:pt x="505" y="0"/>
                  </a:lnTo>
                  <a:lnTo>
                    <a:pt x="233" y="0"/>
                  </a:lnTo>
                  <a:lnTo>
                    <a:pt x="195" y="3"/>
                  </a:lnTo>
                  <a:lnTo>
                    <a:pt x="160" y="12"/>
                  </a:lnTo>
                  <a:lnTo>
                    <a:pt x="126" y="26"/>
                  </a:lnTo>
                  <a:lnTo>
                    <a:pt x="96" y="45"/>
                  </a:lnTo>
                  <a:lnTo>
                    <a:pt x="69" y="67"/>
                  </a:lnTo>
                  <a:lnTo>
                    <a:pt x="46" y="95"/>
                  </a:lnTo>
                  <a:lnTo>
                    <a:pt x="26" y="126"/>
                  </a:lnTo>
                  <a:lnTo>
                    <a:pt x="12" y="158"/>
                  </a:lnTo>
                  <a:lnTo>
                    <a:pt x="4" y="194"/>
                  </a:lnTo>
                  <a:lnTo>
                    <a:pt x="0" y="232"/>
                  </a:lnTo>
                  <a:lnTo>
                    <a:pt x="0" y="3224"/>
                  </a:lnTo>
                  <a:lnTo>
                    <a:pt x="4" y="3262"/>
                  </a:lnTo>
                  <a:lnTo>
                    <a:pt x="12" y="3298"/>
                  </a:lnTo>
                  <a:lnTo>
                    <a:pt x="26" y="3330"/>
                  </a:lnTo>
                  <a:lnTo>
                    <a:pt x="46" y="3361"/>
                  </a:lnTo>
                  <a:lnTo>
                    <a:pt x="69" y="3389"/>
                  </a:lnTo>
                  <a:lnTo>
                    <a:pt x="96" y="3411"/>
                  </a:lnTo>
                  <a:lnTo>
                    <a:pt x="126" y="3430"/>
                  </a:lnTo>
                  <a:lnTo>
                    <a:pt x="160" y="3444"/>
                  </a:lnTo>
                  <a:lnTo>
                    <a:pt x="195" y="3453"/>
                  </a:lnTo>
                  <a:lnTo>
                    <a:pt x="233" y="3456"/>
                  </a:lnTo>
                  <a:lnTo>
                    <a:pt x="2452" y="3456"/>
                  </a:lnTo>
                  <a:lnTo>
                    <a:pt x="2489" y="3453"/>
                  </a:lnTo>
                  <a:lnTo>
                    <a:pt x="2525" y="3444"/>
                  </a:lnTo>
                  <a:lnTo>
                    <a:pt x="2559" y="3430"/>
                  </a:lnTo>
                  <a:lnTo>
                    <a:pt x="2589" y="3411"/>
                  </a:lnTo>
                  <a:lnTo>
                    <a:pt x="2616" y="3389"/>
                  </a:lnTo>
                  <a:lnTo>
                    <a:pt x="2639" y="3361"/>
                  </a:lnTo>
                  <a:lnTo>
                    <a:pt x="2658" y="3330"/>
                  </a:lnTo>
                  <a:lnTo>
                    <a:pt x="2672" y="3298"/>
                  </a:lnTo>
                  <a:lnTo>
                    <a:pt x="2681" y="3262"/>
                  </a:lnTo>
                  <a:lnTo>
                    <a:pt x="2684" y="3224"/>
                  </a:lnTo>
                  <a:lnTo>
                    <a:pt x="2684" y="232"/>
                  </a:lnTo>
                  <a:lnTo>
                    <a:pt x="2679" y="194"/>
                  </a:lnTo>
                  <a:lnTo>
                    <a:pt x="2669" y="158"/>
                  </a:lnTo>
                  <a:lnTo>
                    <a:pt x="2653" y="126"/>
                  </a:lnTo>
                  <a:lnTo>
                    <a:pt x="2632" y="95"/>
                  </a:lnTo>
                  <a:lnTo>
                    <a:pt x="2609" y="67"/>
                  </a:lnTo>
                  <a:lnTo>
                    <a:pt x="2581" y="45"/>
                  </a:lnTo>
                  <a:lnTo>
                    <a:pt x="2551" y="26"/>
                  </a:lnTo>
                  <a:lnTo>
                    <a:pt x="2517" y="12"/>
                  </a:lnTo>
                  <a:lnTo>
                    <a:pt x="2481" y="3"/>
                  </a:lnTo>
                  <a:lnTo>
                    <a:pt x="244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7"/>
            <p:cNvSpPr>
              <a:spLocks/>
            </p:cNvSpPr>
            <p:nvPr/>
          </p:nvSpPr>
          <p:spPr bwMode="auto">
            <a:xfrm>
              <a:off x="-666" y="2272"/>
              <a:ext cx="227" cy="104"/>
            </a:xfrm>
            <a:custGeom>
              <a:avLst/>
              <a:gdLst>
                <a:gd name="T0" fmla="*/ 160 w 1363"/>
                <a:gd name="T1" fmla="*/ 624 h 624"/>
                <a:gd name="T2" fmla="*/ 1210 w 1363"/>
                <a:gd name="T3" fmla="*/ 624 h 624"/>
                <a:gd name="T4" fmla="*/ 1241 w 1363"/>
                <a:gd name="T5" fmla="*/ 620 h 624"/>
                <a:gd name="T6" fmla="*/ 1270 w 1363"/>
                <a:gd name="T7" fmla="*/ 612 h 624"/>
                <a:gd name="T8" fmla="*/ 1297 w 1363"/>
                <a:gd name="T9" fmla="*/ 597 h 624"/>
                <a:gd name="T10" fmla="*/ 1319 w 1363"/>
                <a:gd name="T11" fmla="*/ 578 h 624"/>
                <a:gd name="T12" fmla="*/ 1337 w 1363"/>
                <a:gd name="T13" fmla="*/ 555 h 624"/>
                <a:gd name="T14" fmla="*/ 1351 w 1363"/>
                <a:gd name="T15" fmla="*/ 529 h 624"/>
                <a:gd name="T16" fmla="*/ 1359 w 1363"/>
                <a:gd name="T17" fmla="*/ 502 h 624"/>
                <a:gd name="T18" fmla="*/ 1363 w 1363"/>
                <a:gd name="T19" fmla="*/ 472 h 624"/>
                <a:gd name="T20" fmla="*/ 1363 w 1363"/>
                <a:gd name="T21" fmla="*/ 296 h 624"/>
                <a:gd name="T22" fmla="*/ 1359 w 1363"/>
                <a:gd name="T23" fmla="*/ 264 h 624"/>
                <a:gd name="T24" fmla="*/ 1350 w 1363"/>
                <a:gd name="T25" fmla="*/ 235 h 624"/>
                <a:gd name="T26" fmla="*/ 1335 w 1363"/>
                <a:gd name="T27" fmla="*/ 209 h 624"/>
                <a:gd name="T28" fmla="*/ 1316 w 1363"/>
                <a:gd name="T29" fmla="*/ 187 h 624"/>
                <a:gd name="T30" fmla="*/ 1294 w 1363"/>
                <a:gd name="T31" fmla="*/ 169 h 624"/>
                <a:gd name="T32" fmla="*/ 1267 w 1363"/>
                <a:gd name="T33" fmla="*/ 156 h 624"/>
                <a:gd name="T34" fmla="*/ 1239 w 1363"/>
                <a:gd name="T35" fmla="*/ 147 h 624"/>
                <a:gd name="T36" fmla="*/ 1210 w 1363"/>
                <a:gd name="T37" fmla="*/ 144 h 624"/>
                <a:gd name="T38" fmla="*/ 1018 w 1363"/>
                <a:gd name="T39" fmla="*/ 144 h 624"/>
                <a:gd name="T40" fmla="*/ 970 w 1363"/>
                <a:gd name="T41" fmla="*/ 80 h 624"/>
                <a:gd name="T42" fmla="*/ 955 w 1363"/>
                <a:gd name="T43" fmla="*/ 57 h 624"/>
                <a:gd name="T44" fmla="*/ 936 w 1363"/>
                <a:gd name="T45" fmla="*/ 38 h 624"/>
                <a:gd name="T46" fmla="*/ 914 w 1363"/>
                <a:gd name="T47" fmla="*/ 22 h 624"/>
                <a:gd name="T48" fmla="*/ 888 w 1363"/>
                <a:gd name="T49" fmla="*/ 10 h 624"/>
                <a:gd name="T50" fmla="*/ 862 w 1363"/>
                <a:gd name="T51" fmla="*/ 2 h 624"/>
                <a:gd name="T52" fmla="*/ 834 w 1363"/>
                <a:gd name="T53" fmla="*/ 0 h 624"/>
                <a:gd name="T54" fmla="*/ 521 w 1363"/>
                <a:gd name="T55" fmla="*/ 0 h 624"/>
                <a:gd name="T56" fmla="*/ 493 w 1363"/>
                <a:gd name="T57" fmla="*/ 2 h 624"/>
                <a:gd name="T58" fmla="*/ 468 w 1363"/>
                <a:gd name="T59" fmla="*/ 10 h 624"/>
                <a:gd name="T60" fmla="*/ 444 w 1363"/>
                <a:gd name="T61" fmla="*/ 22 h 624"/>
                <a:gd name="T62" fmla="*/ 422 w 1363"/>
                <a:gd name="T63" fmla="*/ 38 h 624"/>
                <a:gd name="T64" fmla="*/ 402 w 1363"/>
                <a:gd name="T65" fmla="*/ 57 h 624"/>
                <a:gd name="T66" fmla="*/ 385 w 1363"/>
                <a:gd name="T67" fmla="*/ 80 h 624"/>
                <a:gd name="T68" fmla="*/ 345 w 1363"/>
                <a:gd name="T69" fmla="*/ 144 h 624"/>
                <a:gd name="T70" fmla="*/ 153 w 1363"/>
                <a:gd name="T71" fmla="*/ 144 h 624"/>
                <a:gd name="T72" fmla="*/ 120 w 1363"/>
                <a:gd name="T73" fmla="*/ 148 h 624"/>
                <a:gd name="T74" fmla="*/ 91 w 1363"/>
                <a:gd name="T75" fmla="*/ 156 h 624"/>
                <a:gd name="T76" fmla="*/ 66 w 1363"/>
                <a:gd name="T77" fmla="*/ 171 h 624"/>
                <a:gd name="T78" fmla="*/ 44 w 1363"/>
                <a:gd name="T79" fmla="*/ 190 h 624"/>
                <a:gd name="T80" fmla="*/ 25 w 1363"/>
                <a:gd name="T81" fmla="*/ 213 h 624"/>
                <a:gd name="T82" fmla="*/ 12 w 1363"/>
                <a:gd name="T83" fmla="*/ 239 h 624"/>
                <a:gd name="T84" fmla="*/ 3 w 1363"/>
                <a:gd name="T85" fmla="*/ 266 h 624"/>
                <a:gd name="T86" fmla="*/ 0 w 1363"/>
                <a:gd name="T87" fmla="*/ 296 h 624"/>
                <a:gd name="T88" fmla="*/ 0 w 1363"/>
                <a:gd name="T89" fmla="*/ 464 h 624"/>
                <a:gd name="T90" fmla="*/ 4 w 1363"/>
                <a:gd name="T91" fmla="*/ 496 h 624"/>
                <a:gd name="T92" fmla="*/ 13 w 1363"/>
                <a:gd name="T93" fmla="*/ 526 h 624"/>
                <a:gd name="T94" fmla="*/ 27 w 1363"/>
                <a:gd name="T95" fmla="*/ 553 h 624"/>
                <a:gd name="T96" fmla="*/ 47 w 1363"/>
                <a:gd name="T97" fmla="*/ 577 h 624"/>
                <a:gd name="T98" fmla="*/ 72 w 1363"/>
                <a:gd name="T99" fmla="*/ 597 h 624"/>
                <a:gd name="T100" fmla="*/ 98 w 1363"/>
                <a:gd name="T101" fmla="*/ 611 h 624"/>
                <a:gd name="T102" fmla="*/ 129 w 1363"/>
                <a:gd name="T103" fmla="*/ 620 h 624"/>
                <a:gd name="T104" fmla="*/ 160 w 1363"/>
                <a:gd name="T105" fmla="*/ 624 h 6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63" h="624">
                  <a:moveTo>
                    <a:pt x="160" y="624"/>
                  </a:moveTo>
                  <a:lnTo>
                    <a:pt x="1210" y="624"/>
                  </a:lnTo>
                  <a:lnTo>
                    <a:pt x="1241" y="620"/>
                  </a:lnTo>
                  <a:lnTo>
                    <a:pt x="1270" y="612"/>
                  </a:lnTo>
                  <a:lnTo>
                    <a:pt x="1297" y="597"/>
                  </a:lnTo>
                  <a:lnTo>
                    <a:pt x="1319" y="578"/>
                  </a:lnTo>
                  <a:lnTo>
                    <a:pt x="1337" y="555"/>
                  </a:lnTo>
                  <a:lnTo>
                    <a:pt x="1351" y="529"/>
                  </a:lnTo>
                  <a:lnTo>
                    <a:pt x="1359" y="502"/>
                  </a:lnTo>
                  <a:lnTo>
                    <a:pt x="1363" y="472"/>
                  </a:lnTo>
                  <a:lnTo>
                    <a:pt x="1363" y="296"/>
                  </a:lnTo>
                  <a:lnTo>
                    <a:pt x="1359" y="264"/>
                  </a:lnTo>
                  <a:lnTo>
                    <a:pt x="1350" y="235"/>
                  </a:lnTo>
                  <a:lnTo>
                    <a:pt x="1335" y="209"/>
                  </a:lnTo>
                  <a:lnTo>
                    <a:pt x="1316" y="187"/>
                  </a:lnTo>
                  <a:lnTo>
                    <a:pt x="1294" y="169"/>
                  </a:lnTo>
                  <a:lnTo>
                    <a:pt x="1267" y="156"/>
                  </a:lnTo>
                  <a:lnTo>
                    <a:pt x="1239" y="147"/>
                  </a:lnTo>
                  <a:lnTo>
                    <a:pt x="1210" y="144"/>
                  </a:lnTo>
                  <a:lnTo>
                    <a:pt x="1018" y="144"/>
                  </a:lnTo>
                  <a:lnTo>
                    <a:pt x="970" y="80"/>
                  </a:lnTo>
                  <a:lnTo>
                    <a:pt x="955" y="57"/>
                  </a:lnTo>
                  <a:lnTo>
                    <a:pt x="936" y="38"/>
                  </a:lnTo>
                  <a:lnTo>
                    <a:pt x="914" y="22"/>
                  </a:lnTo>
                  <a:lnTo>
                    <a:pt x="888" y="10"/>
                  </a:lnTo>
                  <a:lnTo>
                    <a:pt x="862" y="2"/>
                  </a:lnTo>
                  <a:lnTo>
                    <a:pt x="834" y="0"/>
                  </a:lnTo>
                  <a:lnTo>
                    <a:pt x="521" y="0"/>
                  </a:lnTo>
                  <a:lnTo>
                    <a:pt x="493" y="2"/>
                  </a:lnTo>
                  <a:lnTo>
                    <a:pt x="468" y="10"/>
                  </a:lnTo>
                  <a:lnTo>
                    <a:pt x="444" y="22"/>
                  </a:lnTo>
                  <a:lnTo>
                    <a:pt x="422" y="38"/>
                  </a:lnTo>
                  <a:lnTo>
                    <a:pt x="402" y="57"/>
                  </a:lnTo>
                  <a:lnTo>
                    <a:pt x="385" y="80"/>
                  </a:lnTo>
                  <a:lnTo>
                    <a:pt x="345" y="144"/>
                  </a:lnTo>
                  <a:lnTo>
                    <a:pt x="153" y="144"/>
                  </a:lnTo>
                  <a:lnTo>
                    <a:pt x="120" y="148"/>
                  </a:lnTo>
                  <a:lnTo>
                    <a:pt x="91" y="156"/>
                  </a:lnTo>
                  <a:lnTo>
                    <a:pt x="66" y="171"/>
                  </a:lnTo>
                  <a:lnTo>
                    <a:pt x="44" y="190"/>
                  </a:lnTo>
                  <a:lnTo>
                    <a:pt x="25" y="213"/>
                  </a:lnTo>
                  <a:lnTo>
                    <a:pt x="12" y="239"/>
                  </a:lnTo>
                  <a:lnTo>
                    <a:pt x="3" y="266"/>
                  </a:lnTo>
                  <a:lnTo>
                    <a:pt x="0" y="296"/>
                  </a:lnTo>
                  <a:lnTo>
                    <a:pt x="0" y="464"/>
                  </a:lnTo>
                  <a:lnTo>
                    <a:pt x="4" y="496"/>
                  </a:lnTo>
                  <a:lnTo>
                    <a:pt x="13" y="526"/>
                  </a:lnTo>
                  <a:lnTo>
                    <a:pt x="27" y="553"/>
                  </a:lnTo>
                  <a:lnTo>
                    <a:pt x="47" y="577"/>
                  </a:lnTo>
                  <a:lnTo>
                    <a:pt x="72" y="597"/>
                  </a:lnTo>
                  <a:lnTo>
                    <a:pt x="98" y="611"/>
                  </a:lnTo>
                  <a:lnTo>
                    <a:pt x="129" y="620"/>
                  </a:lnTo>
                  <a:lnTo>
                    <a:pt x="160" y="62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Rectangle 8"/>
            <p:cNvSpPr>
              <a:spLocks noChangeArrowheads="1"/>
            </p:cNvSpPr>
            <p:nvPr/>
          </p:nvSpPr>
          <p:spPr bwMode="auto">
            <a:xfrm>
              <a:off x="-702" y="2441"/>
              <a:ext cx="184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Rectangle 9"/>
            <p:cNvSpPr>
              <a:spLocks noChangeArrowheads="1"/>
            </p:cNvSpPr>
            <p:nvPr/>
          </p:nvSpPr>
          <p:spPr bwMode="auto">
            <a:xfrm>
              <a:off x="-702" y="2512"/>
              <a:ext cx="184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Rectangle 10"/>
            <p:cNvSpPr>
              <a:spLocks noChangeArrowheads="1"/>
            </p:cNvSpPr>
            <p:nvPr/>
          </p:nvSpPr>
          <p:spPr bwMode="auto">
            <a:xfrm>
              <a:off x="-702" y="2583"/>
              <a:ext cx="299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Rectangle 11"/>
            <p:cNvSpPr>
              <a:spLocks noChangeArrowheads="1"/>
            </p:cNvSpPr>
            <p:nvPr/>
          </p:nvSpPr>
          <p:spPr bwMode="auto">
            <a:xfrm>
              <a:off x="-702" y="2653"/>
              <a:ext cx="299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12"/>
            <p:cNvSpPr>
              <a:spLocks noChangeArrowheads="1"/>
            </p:cNvSpPr>
            <p:nvPr/>
          </p:nvSpPr>
          <p:spPr bwMode="auto">
            <a:xfrm>
              <a:off x="-574" y="2725"/>
              <a:ext cx="171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13"/>
            <p:cNvSpPr>
              <a:spLocks noChangeArrowheads="1"/>
            </p:cNvSpPr>
            <p:nvPr/>
          </p:nvSpPr>
          <p:spPr bwMode="auto">
            <a:xfrm>
              <a:off x="-574" y="2796"/>
              <a:ext cx="171" cy="32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Freeform 14"/>
            <p:cNvSpPr>
              <a:spLocks noEditPoints="1"/>
            </p:cNvSpPr>
            <p:nvPr/>
          </p:nvSpPr>
          <p:spPr bwMode="auto">
            <a:xfrm>
              <a:off x="-695" y="2715"/>
              <a:ext cx="72" cy="112"/>
            </a:xfrm>
            <a:custGeom>
              <a:avLst/>
              <a:gdLst>
                <a:gd name="T0" fmla="*/ 248 w 432"/>
                <a:gd name="T1" fmla="*/ 617 h 673"/>
                <a:gd name="T2" fmla="*/ 311 w 432"/>
                <a:gd name="T3" fmla="*/ 609 h 673"/>
                <a:gd name="T4" fmla="*/ 363 w 432"/>
                <a:gd name="T5" fmla="*/ 586 h 673"/>
                <a:gd name="T6" fmla="*/ 405 w 432"/>
                <a:gd name="T7" fmla="*/ 544 h 673"/>
                <a:gd name="T8" fmla="*/ 428 w 432"/>
                <a:gd name="T9" fmla="*/ 483 h 673"/>
                <a:gd name="T10" fmla="*/ 429 w 432"/>
                <a:gd name="T11" fmla="*/ 422 h 673"/>
                <a:gd name="T12" fmla="*/ 414 w 432"/>
                <a:gd name="T13" fmla="*/ 376 h 673"/>
                <a:gd name="T14" fmla="*/ 384 w 432"/>
                <a:gd name="T15" fmla="*/ 337 h 673"/>
                <a:gd name="T16" fmla="*/ 348 w 432"/>
                <a:gd name="T17" fmla="*/ 313 h 673"/>
                <a:gd name="T18" fmla="*/ 304 w 432"/>
                <a:gd name="T19" fmla="*/ 294 h 673"/>
                <a:gd name="T20" fmla="*/ 248 w 432"/>
                <a:gd name="T21" fmla="*/ 281 h 673"/>
                <a:gd name="T22" fmla="*/ 287 w 432"/>
                <a:gd name="T23" fmla="*/ 140 h 673"/>
                <a:gd name="T24" fmla="*/ 368 w 432"/>
                <a:gd name="T25" fmla="*/ 177 h 673"/>
                <a:gd name="T26" fmla="*/ 382 w 432"/>
                <a:gd name="T27" fmla="*/ 80 h 673"/>
                <a:gd name="T28" fmla="*/ 298 w 432"/>
                <a:gd name="T29" fmla="*/ 49 h 673"/>
                <a:gd name="T30" fmla="*/ 256 w 432"/>
                <a:gd name="T31" fmla="*/ 0 h 673"/>
                <a:gd name="T32" fmla="*/ 200 w 432"/>
                <a:gd name="T33" fmla="*/ 41 h 673"/>
                <a:gd name="T34" fmla="*/ 139 w 432"/>
                <a:gd name="T35" fmla="*/ 48 h 673"/>
                <a:gd name="T36" fmla="*/ 92 w 432"/>
                <a:gd name="T37" fmla="*/ 71 h 673"/>
                <a:gd name="T38" fmla="*/ 51 w 432"/>
                <a:gd name="T39" fmla="*/ 114 h 673"/>
                <a:gd name="T40" fmla="*/ 26 w 432"/>
                <a:gd name="T41" fmla="*/ 171 h 673"/>
                <a:gd name="T42" fmla="*/ 25 w 432"/>
                <a:gd name="T43" fmla="*/ 228 h 673"/>
                <a:gd name="T44" fmla="*/ 39 w 432"/>
                <a:gd name="T45" fmla="*/ 272 h 673"/>
                <a:gd name="T46" fmla="*/ 64 w 432"/>
                <a:gd name="T47" fmla="*/ 305 h 673"/>
                <a:gd name="T48" fmla="*/ 120 w 432"/>
                <a:gd name="T49" fmla="*/ 336 h 673"/>
                <a:gd name="T50" fmla="*/ 200 w 432"/>
                <a:gd name="T51" fmla="*/ 361 h 673"/>
                <a:gd name="T52" fmla="*/ 164 w 432"/>
                <a:gd name="T53" fmla="*/ 512 h 673"/>
                <a:gd name="T54" fmla="*/ 92 w 432"/>
                <a:gd name="T55" fmla="*/ 476 h 673"/>
                <a:gd name="T56" fmla="*/ 0 w 432"/>
                <a:gd name="T57" fmla="*/ 521 h 673"/>
                <a:gd name="T58" fmla="*/ 73 w 432"/>
                <a:gd name="T59" fmla="*/ 571 h 673"/>
                <a:gd name="T60" fmla="*/ 157 w 432"/>
                <a:gd name="T61" fmla="*/ 601 h 673"/>
                <a:gd name="T62" fmla="*/ 200 w 432"/>
                <a:gd name="T63" fmla="*/ 665 h 673"/>
                <a:gd name="T64" fmla="*/ 248 w 432"/>
                <a:gd name="T65" fmla="*/ 673 h 673"/>
                <a:gd name="T66" fmla="*/ 270 w 432"/>
                <a:gd name="T67" fmla="*/ 393 h 673"/>
                <a:gd name="T68" fmla="*/ 302 w 432"/>
                <a:gd name="T69" fmla="*/ 410 h 673"/>
                <a:gd name="T70" fmla="*/ 318 w 432"/>
                <a:gd name="T71" fmla="*/ 424 h 673"/>
                <a:gd name="T72" fmla="*/ 326 w 432"/>
                <a:gd name="T73" fmla="*/ 448 h 673"/>
                <a:gd name="T74" fmla="*/ 325 w 432"/>
                <a:gd name="T75" fmla="*/ 481 h 673"/>
                <a:gd name="T76" fmla="*/ 304 w 432"/>
                <a:gd name="T77" fmla="*/ 514 h 673"/>
                <a:gd name="T78" fmla="*/ 278 w 432"/>
                <a:gd name="T79" fmla="*/ 531 h 673"/>
                <a:gd name="T80" fmla="*/ 240 w 432"/>
                <a:gd name="T81" fmla="*/ 537 h 673"/>
                <a:gd name="T82" fmla="*/ 248 w 432"/>
                <a:gd name="T83" fmla="*/ 386 h 673"/>
                <a:gd name="T84" fmla="*/ 128 w 432"/>
                <a:gd name="T85" fmla="*/ 231 h 673"/>
                <a:gd name="T86" fmla="*/ 120 w 432"/>
                <a:gd name="T87" fmla="*/ 201 h 673"/>
                <a:gd name="T88" fmla="*/ 130 w 432"/>
                <a:gd name="T89" fmla="*/ 169 h 673"/>
                <a:gd name="T90" fmla="*/ 156 w 432"/>
                <a:gd name="T91" fmla="*/ 144 h 673"/>
                <a:gd name="T92" fmla="*/ 182 w 432"/>
                <a:gd name="T93" fmla="*/ 134 h 673"/>
                <a:gd name="T94" fmla="*/ 200 w 432"/>
                <a:gd name="T95" fmla="*/ 273 h 673"/>
                <a:gd name="T96" fmla="*/ 158 w 432"/>
                <a:gd name="T97" fmla="*/ 254 h 673"/>
                <a:gd name="T98" fmla="*/ 136 w 432"/>
                <a:gd name="T99" fmla="*/ 241 h 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432" h="673">
                  <a:moveTo>
                    <a:pt x="248" y="673"/>
                  </a:moveTo>
                  <a:lnTo>
                    <a:pt x="248" y="617"/>
                  </a:lnTo>
                  <a:lnTo>
                    <a:pt x="280" y="615"/>
                  </a:lnTo>
                  <a:lnTo>
                    <a:pt x="311" y="609"/>
                  </a:lnTo>
                  <a:lnTo>
                    <a:pt x="339" y="600"/>
                  </a:lnTo>
                  <a:lnTo>
                    <a:pt x="363" y="586"/>
                  </a:lnTo>
                  <a:lnTo>
                    <a:pt x="384" y="569"/>
                  </a:lnTo>
                  <a:lnTo>
                    <a:pt x="405" y="544"/>
                  </a:lnTo>
                  <a:lnTo>
                    <a:pt x="420" y="515"/>
                  </a:lnTo>
                  <a:lnTo>
                    <a:pt x="428" y="483"/>
                  </a:lnTo>
                  <a:lnTo>
                    <a:pt x="432" y="450"/>
                  </a:lnTo>
                  <a:lnTo>
                    <a:pt x="429" y="422"/>
                  </a:lnTo>
                  <a:lnTo>
                    <a:pt x="424" y="398"/>
                  </a:lnTo>
                  <a:lnTo>
                    <a:pt x="414" y="376"/>
                  </a:lnTo>
                  <a:lnTo>
                    <a:pt x="402" y="356"/>
                  </a:lnTo>
                  <a:lnTo>
                    <a:pt x="384" y="337"/>
                  </a:lnTo>
                  <a:lnTo>
                    <a:pt x="367" y="325"/>
                  </a:lnTo>
                  <a:lnTo>
                    <a:pt x="348" y="313"/>
                  </a:lnTo>
                  <a:lnTo>
                    <a:pt x="328" y="303"/>
                  </a:lnTo>
                  <a:lnTo>
                    <a:pt x="304" y="294"/>
                  </a:lnTo>
                  <a:lnTo>
                    <a:pt x="278" y="287"/>
                  </a:lnTo>
                  <a:lnTo>
                    <a:pt x="248" y="281"/>
                  </a:lnTo>
                  <a:lnTo>
                    <a:pt x="248" y="130"/>
                  </a:lnTo>
                  <a:lnTo>
                    <a:pt x="287" y="140"/>
                  </a:lnTo>
                  <a:lnTo>
                    <a:pt x="328" y="155"/>
                  </a:lnTo>
                  <a:lnTo>
                    <a:pt x="368" y="177"/>
                  </a:lnTo>
                  <a:lnTo>
                    <a:pt x="424" y="105"/>
                  </a:lnTo>
                  <a:lnTo>
                    <a:pt x="382" y="80"/>
                  </a:lnTo>
                  <a:lnTo>
                    <a:pt x="340" y="61"/>
                  </a:lnTo>
                  <a:lnTo>
                    <a:pt x="298" y="49"/>
                  </a:lnTo>
                  <a:lnTo>
                    <a:pt x="256" y="41"/>
                  </a:lnTo>
                  <a:lnTo>
                    <a:pt x="256" y="0"/>
                  </a:lnTo>
                  <a:lnTo>
                    <a:pt x="200" y="0"/>
                  </a:lnTo>
                  <a:lnTo>
                    <a:pt x="200" y="41"/>
                  </a:lnTo>
                  <a:lnTo>
                    <a:pt x="167" y="43"/>
                  </a:lnTo>
                  <a:lnTo>
                    <a:pt x="139" y="48"/>
                  </a:lnTo>
                  <a:lnTo>
                    <a:pt x="114" y="59"/>
                  </a:lnTo>
                  <a:lnTo>
                    <a:pt x="92" y="71"/>
                  </a:lnTo>
                  <a:lnTo>
                    <a:pt x="72" y="89"/>
                  </a:lnTo>
                  <a:lnTo>
                    <a:pt x="51" y="114"/>
                  </a:lnTo>
                  <a:lnTo>
                    <a:pt x="36" y="142"/>
                  </a:lnTo>
                  <a:lnTo>
                    <a:pt x="26" y="171"/>
                  </a:lnTo>
                  <a:lnTo>
                    <a:pt x="23" y="201"/>
                  </a:lnTo>
                  <a:lnTo>
                    <a:pt x="25" y="228"/>
                  </a:lnTo>
                  <a:lnTo>
                    <a:pt x="30" y="252"/>
                  </a:lnTo>
                  <a:lnTo>
                    <a:pt x="39" y="272"/>
                  </a:lnTo>
                  <a:lnTo>
                    <a:pt x="50" y="289"/>
                  </a:lnTo>
                  <a:lnTo>
                    <a:pt x="64" y="305"/>
                  </a:lnTo>
                  <a:lnTo>
                    <a:pt x="89" y="322"/>
                  </a:lnTo>
                  <a:lnTo>
                    <a:pt x="120" y="336"/>
                  </a:lnTo>
                  <a:lnTo>
                    <a:pt x="156" y="348"/>
                  </a:lnTo>
                  <a:lnTo>
                    <a:pt x="200" y="361"/>
                  </a:lnTo>
                  <a:lnTo>
                    <a:pt x="200" y="521"/>
                  </a:lnTo>
                  <a:lnTo>
                    <a:pt x="164" y="512"/>
                  </a:lnTo>
                  <a:lnTo>
                    <a:pt x="128" y="497"/>
                  </a:lnTo>
                  <a:lnTo>
                    <a:pt x="92" y="476"/>
                  </a:lnTo>
                  <a:lnTo>
                    <a:pt x="55" y="450"/>
                  </a:lnTo>
                  <a:lnTo>
                    <a:pt x="0" y="521"/>
                  </a:lnTo>
                  <a:lnTo>
                    <a:pt x="34" y="547"/>
                  </a:lnTo>
                  <a:lnTo>
                    <a:pt x="73" y="571"/>
                  </a:lnTo>
                  <a:lnTo>
                    <a:pt x="114" y="588"/>
                  </a:lnTo>
                  <a:lnTo>
                    <a:pt x="157" y="601"/>
                  </a:lnTo>
                  <a:lnTo>
                    <a:pt x="200" y="609"/>
                  </a:lnTo>
                  <a:lnTo>
                    <a:pt x="200" y="665"/>
                  </a:lnTo>
                  <a:lnTo>
                    <a:pt x="248" y="665"/>
                  </a:lnTo>
                  <a:lnTo>
                    <a:pt x="248" y="673"/>
                  </a:lnTo>
                  <a:close/>
                  <a:moveTo>
                    <a:pt x="248" y="386"/>
                  </a:moveTo>
                  <a:lnTo>
                    <a:pt x="270" y="393"/>
                  </a:lnTo>
                  <a:lnTo>
                    <a:pt x="288" y="401"/>
                  </a:lnTo>
                  <a:lnTo>
                    <a:pt x="302" y="410"/>
                  </a:lnTo>
                  <a:lnTo>
                    <a:pt x="312" y="417"/>
                  </a:lnTo>
                  <a:lnTo>
                    <a:pt x="318" y="424"/>
                  </a:lnTo>
                  <a:lnTo>
                    <a:pt x="322" y="434"/>
                  </a:lnTo>
                  <a:lnTo>
                    <a:pt x="326" y="448"/>
                  </a:lnTo>
                  <a:lnTo>
                    <a:pt x="328" y="465"/>
                  </a:lnTo>
                  <a:lnTo>
                    <a:pt x="325" y="481"/>
                  </a:lnTo>
                  <a:lnTo>
                    <a:pt x="316" y="497"/>
                  </a:lnTo>
                  <a:lnTo>
                    <a:pt x="304" y="514"/>
                  </a:lnTo>
                  <a:lnTo>
                    <a:pt x="291" y="524"/>
                  </a:lnTo>
                  <a:lnTo>
                    <a:pt x="278" y="531"/>
                  </a:lnTo>
                  <a:lnTo>
                    <a:pt x="261" y="536"/>
                  </a:lnTo>
                  <a:lnTo>
                    <a:pt x="240" y="537"/>
                  </a:lnTo>
                  <a:lnTo>
                    <a:pt x="240" y="386"/>
                  </a:lnTo>
                  <a:lnTo>
                    <a:pt x="248" y="386"/>
                  </a:lnTo>
                  <a:close/>
                  <a:moveTo>
                    <a:pt x="136" y="241"/>
                  </a:moveTo>
                  <a:lnTo>
                    <a:pt x="128" y="231"/>
                  </a:lnTo>
                  <a:lnTo>
                    <a:pt x="122" y="217"/>
                  </a:lnTo>
                  <a:lnTo>
                    <a:pt x="120" y="201"/>
                  </a:lnTo>
                  <a:lnTo>
                    <a:pt x="122" y="185"/>
                  </a:lnTo>
                  <a:lnTo>
                    <a:pt x="130" y="169"/>
                  </a:lnTo>
                  <a:lnTo>
                    <a:pt x="143" y="153"/>
                  </a:lnTo>
                  <a:lnTo>
                    <a:pt x="156" y="144"/>
                  </a:lnTo>
                  <a:lnTo>
                    <a:pt x="168" y="138"/>
                  </a:lnTo>
                  <a:lnTo>
                    <a:pt x="182" y="134"/>
                  </a:lnTo>
                  <a:lnTo>
                    <a:pt x="200" y="130"/>
                  </a:lnTo>
                  <a:lnTo>
                    <a:pt x="200" y="273"/>
                  </a:lnTo>
                  <a:lnTo>
                    <a:pt x="177" y="262"/>
                  </a:lnTo>
                  <a:lnTo>
                    <a:pt x="158" y="254"/>
                  </a:lnTo>
                  <a:lnTo>
                    <a:pt x="144" y="247"/>
                  </a:lnTo>
                  <a:lnTo>
                    <a:pt x="136" y="24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15"/>
            <p:cNvSpPr>
              <a:spLocks noEditPoints="1"/>
            </p:cNvSpPr>
            <p:nvPr/>
          </p:nvSpPr>
          <p:spPr bwMode="auto">
            <a:xfrm>
              <a:off x="-475" y="2441"/>
              <a:ext cx="73" cy="111"/>
            </a:xfrm>
            <a:custGeom>
              <a:avLst/>
              <a:gdLst>
                <a:gd name="T0" fmla="*/ 200 w 440"/>
                <a:gd name="T1" fmla="*/ 39 h 664"/>
                <a:gd name="T2" fmla="*/ 140 w 440"/>
                <a:gd name="T3" fmla="*/ 48 h 664"/>
                <a:gd name="T4" fmla="*/ 92 w 440"/>
                <a:gd name="T5" fmla="*/ 71 h 664"/>
                <a:gd name="T6" fmla="*/ 51 w 440"/>
                <a:gd name="T7" fmla="*/ 114 h 664"/>
                <a:gd name="T8" fmla="*/ 27 w 440"/>
                <a:gd name="T9" fmla="*/ 170 h 664"/>
                <a:gd name="T10" fmla="*/ 25 w 440"/>
                <a:gd name="T11" fmla="*/ 227 h 664"/>
                <a:gd name="T12" fmla="*/ 39 w 440"/>
                <a:gd name="T13" fmla="*/ 271 h 664"/>
                <a:gd name="T14" fmla="*/ 64 w 440"/>
                <a:gd name="T15" fmla="*/ 304 h 664"/>
                <a:gd name="T16" fmla="*/ 120 w 440"/>
                <a:gd name="T17" fmla="*/ 335 h 664"/>
                <a:gd name="T18" fmla="*/ 200 w 440"/>
                <a:gd name="T19" fmla="*/ 359 h 664"/>
                <a:gd name="T20" fmla="*/ 164 w 440"/>
                <a:gd name="T21" fmla="*/ 511 h 664"/>
                <a:gd name="T22" fmla="*/ 92 w 440"/>
                <a:gd name="T23" fmla="*/ 475 h 664"/>
                <a:gd name="T24" fmla="*/ 0 w 440"/>
                <a:gd name="T25" fmla="*/ 520 h 664"/>
                <a:gd name="T26" fmla="*/ 74 w 440"/>
                <a:gd name="T27" fmla="*/ 569 h 664"/>
                <a:gd name="T28" fmla="*/ 157 w 440"/>
                <a:gd name="T29" fmla="*/ 600 h 664"/>
                <a:gd name="T30" fmla="*/ 200 w 440"/>
                <a:gd name="T31" fmla="*/ 664 h 664"/>
                <a:gd name="T32" fmla="*/ 256 w 440"/>
                <a:gd name="T33" fmla="*/ 608 h 664"/>
                <a:gd name="T34" fmla="*/ 319 w 440"/>
                <a:gd name="T35" fmla="*/ 600 h 664"/>
                <a:gd name="T36" fmla="*/ 371 w 440"/>
                <a:gd name="T37" fmla="*/ 577 h 664"/>
                <a:gd name="T38" fmla="*/ 413 w 440"/>
                <a:gd name="T39" fmla="*/ 534 h 664"/>
                <a:gd name="T40" fmla="*/ 438 w 440"/>
                <a:gd name="T41" fmla="*/ 475 h 664"/>
                <a:gd name="T42" fmla="*/ 439 w 440"/>
                <a:gd name="T43" fmla="*/ 413 h 664"/>
                <a:gd name="T44" fmla="*/ 423 w 440"/>
                <a:gd name="T45" fmla="*/ 368 h 664"/>
                <a:gd name="T46" fmla="*/ 392 w 440"/>
                <a:gd name="T47" fmla="*/ 328 h 664"/>
                <a:gd name="T48" fmla="*/ 358 w 440"/>
                <a:gd name="T49" fmla="*/ 305 h 664"/>
                <a:gd name="T50" fmla="*/ 313 w 440"/>
                <a:gd name="T51" fmla="*/ 285 h 664"/>
                <a:gd name="T52" fmla="*/ 256 w 440"/>
                <a:gd name="T53" fmla="*/ 272 h 664"/>
                <a:gd name="T54" fmla="*/ 296 w 440"/>
                <a:gd name="T55" fmla="*/ 130 h 664"/>
                <a:gd name="T56" fmla="*/ 376 w 440"/>
                <a:gd name="T57" fmla="*/ 169 h 664"/>
                <a:gd name="T58" fmla="*/ 374 w 440"/>
                <a:gd name="T59" fmla="*/ 78 h 664"/>
                <a:gd name="T60" fmla="*/ 290 w 440"/>
                <a:gd name="T61" fmla="*/ 48 h 664"/>
                <a:gd name="T62" fmla="*/ 248 w 440"/>
                <a:gd name="T63" fmla="*/ 0 h 664"/>
                <a:gd name="T64" fmla="*/ 200 w 440"/>
                <a:gd name="T65" fmla="*/ 272 h 664"/>
                <a:gd name="T66" fmla="*/ 162 w 440"/>
                <a:gd name="T67" fmla="*/ 259 h 664"/>
                <a:gd name="T68" fmla="*/ 136 w 440"/>
                <a:gd name="T69" fmla="*/ 240 h 664"/>
                <a:gd name="T70" fmla="*/ 122 w 440"/>
                <a:gd name="T71" fmla="*/ 215 h 664"/>
                <a:gd name="T72" fmla="*/ 122 w 440"/>
                <a:gd name="T73" fmla="*/ 184 h 664"/>
                <a:gd name="T74" fmla="*/ 144 w 440"/>
                <a:gd name="T75" fmla="*/ 152 h 664"/>
                <a:gd name="T76" fmla="*/ 169 w 440"/>
                <a:gd name="T77" fmla="*/ 137 h 664"/>
                <a:gd name="T78" fmla="*/ 200 w 440"/>
                <a:gd name="T79" fmla="*/ 128 h 664"/>
                <a:gd name="T80" fmla="*/ 312 w 440"/>
                <a:gd name="T81" fmla="*/ 416 h 664"/>
                <a:gd name="T82" fmla="*/ 324 w 440"/>
                <a:gd name="T83" fmla="*/ 434 h 664"/>
                <a:gd name="T84" fmla="*/ 328 w 440"/>
                <a:gd name="T85" fmla="*/ 464 h 664"/>
                <a:gd name="T86" fmla="*/ 318 w 440"/>
                <a:gd name="T87" fmla="*/ 496 h 664"/>
                <a:gd name="T88" fmla="*/ 292 w 440"/>
                <a:gd name="T89" fmla="*/ 522 h 664"/>
                <a:gd name="T90" fmla="*/ 262 w 440"/>
                <a:gd name="T91" fmla="*/ 534 h 664"/>
                <a:gd name="T92" fmla="*/ 240 w 440"/>
                <a:gd name="T93" fmla="*/ 392 h 664"/>
                <a:gd name="T94" fmla="*/ 289 w 440"/>
                <a:gd name="T95" fmla="*/ 404 h 664"/>
                <a:gd name="T96" fmla="*/ 312 w 440"/>
                <a:gd name="T97" fmla="*/ 416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40" h="664">
                  <a:moveTo>
                    <a:pt x="200" y="0"/>
                  </a:moveTo>
                  <a:lnTo>
                    <a:pt x="200" y="39"/>
                  </a:lnTo>
                  <a:lnTo>
                    <a:pt x="169" y="42"/>
                  </a:lnTo>
                  <a:lnTo>
                    <a:pt x="140" y="48"/>
                  </a:lnTo>
                  <a:lnTo>
                    <a:pt x="115" y="57"/>
                  </a:lnTo>
                  <a:lnTo>
                    <a:pt x="92" y="71"/>
                  </a:lnTo>
                  <a:lnTo>
                    <a:pt x="72" y="88"/>
                  </a:lnTo>
                  <a:lnTo>
                    <a:pt x="51" y="114"/>
                  </a:lnTo>
                  <a:lnTo>
                    <a:pt x="36" y="141"/>
                  </a:lnTo>
                  <a:lnTo>
                    <a:pt x="27" y="170"/>
                  </a:lnTo>
                  <a:lnTo>
                    <a:pt x="24" y="200"/>
                  </a:lnTo>
                  <a:lnTo>
                    <a:pt x="25" y="227"/>
                  </a:lnTo>
                  <a:lnTo>
                    <a:pt x="31" y="250"/>
                  </a:lnTo>
                  <a:lnTo>
                    <a:pt x="39" y="271"/>
                  </a:lnTo>
                  <a:lnTo>
                    <a:pt x="51" y="288"/>
                  </a:lnTo>
                  <a:lnTo>
                    <a:pt x="64" y="304"/>
                  </a:lnTo>
                  <a:lnTo>
                    <a:pt x="90" y="321"/>
                  </a:lnTo>
                  <a:lnTo>
                    <a:pt x="120" y="335"/>
                  </a:lnTo>
                  <a:lnTo>
                    <a:pt x="156" y="348"/>
                  </a:lnTo>
                  <a:lnTo>
                    <a:pt x="200" y="359"/>
                  </a:lnTo>
                  <a:lnTo>
                    <a:pt x="200" y="520"/>
                  </a:lnTo>
                  <a:lnTo>
                    <a:pt x="164" y="511"/>
                  </a:lnTo>
                  <a:lnTo>
                    <a:pt x="128" y="496"/>
                  </a:lnTo>
                  <a:lnTo>
                    <a:pt x="92" y="475"/>
                  </a:lnTo>
                  <a:lnTo>
                    <a:pt x="56" y="448"/>
                  </a:lnTo>
                  <a:lnTo>
                    <a:pt x="0" y="520"/>
                  </a:lnTo>
                  <a:lnTo>
                    <a:pt x="35" y="547"/>
                  </a:lnTo>
                  <a:lnTo>
                    <a:pt x="74" y="569"/>
                  </a:lnTo>
                  <a:lnTo>
                    <a:pt x="115" y="587"/>
                  </a:lnTo>
                  <a:lnTo>
                    <a:pt x="157" y="600"/>
                  </a:lnTo>
                  <a:lnTo>
                    <a:pt x="200" y="608"/>
                  </a:lnTo>
                  <a:lnTo>
                    <a:pt x="200" y="664"/>
                  </a:lnTo>
                  <a:lnTo>
                    <a:pt x="256" y="664"/>
                  </a:lnTo>
                  <a:lnTo>
                    <a:pt x="256" y="608"/>
                  </a:lnTo>
                  <a:lnTo>
                    <a:pt x="289" y="606"/>
                  </a:lnTo>
                  <a:lnTo>
                    <a:pt x="319" y="600"/>
                  </a:lnTo>
                  <a:lnTo>
                    <a:pt x="347" y="591"/>
                  </a:lnTo>
                  <a:lnTo>
                    <a:pt x="371" y="577"/>
                  </a:lnTo>
                  <a:lnTo>
                    <a:pt x="392" y="560"/>
                  </a:lnTo>
                  <a:lnTo>
                    <a:pt x="413" y="534"/>
                  </a:lnTo>
                  <a:lnTo>
                    <a:pt x="429" y="506"/>
                  </a:lnTo>
                  <a:lnTo>
                    <a:pt x="438" y="475"/>
                  </a:lnTo>
                  <a:lnTo>
                    <a:pt x="440" y="440"/>
                  </a:lnTo>
                  <a:lnTo>
                    <a:pt x="439" y="413"/>
                  </a:lnTo>
                  <a:lnTo>
                    <a:pt x="433" y="389"/>
                  </a:lnTo>
                  <a:lnTo>
                    <a:pt x="423" y="368"/>
                  </a:lnTo>
                  <a:lnTo>
                    <a:pt x="410" y="348"/>
                  </a:lnTo>
                  <a:lnTo>
                    <a:pt x="392" y="328"/>
                  </a:lnTo>
                  <a:lnTo>
                    <a:pt x="376" y="316"/>
                  </a:lnTo>
                  <a:lnTo>
                    <a:pt x="358" y="305"/>
                  </a:lnTo>
                  <a:lnTo>
                    <a:pt x="337" y="294"/>
                  </a:lnTo>
                  <a:lnTo>
                    <a:pt x="313" y="285"/>
                  </a:lnTo>
                  <a:lnTo>
                    <a:pt x="286" y="277"/>
                  </a:lnTo>
                  <a:lnTo>
                    <a:pt x="256" y="272"/>
                  </a:lnTo>
                  <a:lnTo>
                    <a:pt x="256" y="120"/>
                  </a:lnTo>
                  <a:lnTo>
                    <a:pt x="296" y="130"/>
                  </a:lnTo>
                  <a:lnTo>
                    <a:pt x="337" y="146"/>
                  </a:lnTo>
                  <a:lnTo>
                    <a:pt x="376" y="169"/>
                  </a:lnTo>
                  <a:lnTo>
                    <a:pt x="417" y="103"/>
                  </a:lnTo>
                  <a:lnTo>
                    <a:pt x="374" y="78"/>
                  </a:lnTo>
                  <a:lnTo>
                    <a:pt x="332" y="60"/>
                  </a:lnTo>
                  <a:lnTo>
                    <a:pt x="290" y="48"/>
                  </a:lnTo>
                  <a:lnTo>
                    <a:pt x="248" y="39"/>
                  </a:lnTo>
                  <a:lnTo>
                    <a:pt x="248" y="0"/>
                  </a:lnTo>
                  <a:lnTo>
                    <a:pt x="200" y="0"/>
                  </a:lnTo>
                  <a:close/>
                  <a:moveTo>
                    <a:pt x="200" y="272"/>
                  </a:moveTo>
                  <a:lnTo>
                    <a:pt x="179" y="266"/>
                  </a:lnTo>
                  <a:lnTo>
                    <a:pt x="162" y="259"/>
                  </a:lnTo>
                  <a:lnTo>
                    <a:pt x="148" y="251"/>
                  </a:lnTo>
                  <a:lnTo>
                    <a:pt x="136" y="240"/>
                  </a:lnTo>
                  <a:lnTo>
                    <a:pt x="128" y="229"/>
                  </a:lnTo>
                  <a:lnTo>
                    <a:pt x="122" y="215"/>
                  </a:lnTo>
                  <a:lnTo>
                    <a:pt x="120" y="200"/>
                  </a:lnTo>
                  <a:lnTo>
                    <a:pt x="122" y="184"/>
                  </a:lnTo>
                  <a:lnTo>
                    <a:pt x="130" y="169"/>
                  </a:lnTo>
                  <a:lnTo>
                    <a:pt x="144" y="152"/>
                  </a:lnTo>
                  <a:lnTo>
                    <a:pt x="156" y="143"/>
                  </a:lnTo>
                  <a:lnTo>
                    <a:pt x="169" y="137"/>
                  </a:lnTo>
                  <a:lnTo>
                    <a:pt x="184" y="133"/>
                  </a:lnTo>
                  <a:lnTo>
                    <a:pt x="200" y="128"/>
                  </a:lnTo>
                  <a:lnTo>
                    <a:pt x="200" y="272"/>
                  </a:lnTo>
                  <a:close/>
                  <a:moveTo>
                    <a:pt x="312" y="416"/>
                  </a:moveTo>
                  <a:lnTo>
                    <a:pt x="318" y="423"/>
                  </a:lnTo>
                  <a:lnTo>
                    <a:pt x="324" y="434"/>
                  </a:lnTo>
                  <a:lnTo>
                    <a:pt x="327" y="448"/>
                  </a:lnTo>
                  <a:lnTo>
                    <a:pt x="328" y="464"/>
                  </a:lnTo>
                  <a:lnTo>
                    <a:pt x="326" y="480"/>
                  </a:lnTo>
                  <a:lnTo>
                    <a:pt x="318" y="496"/>
                  </a:lnTo>
                  <a:lnTo>
                    <a:pt x="304" y="512"/>
                  </a:lnTo>
                  <a:lnTo>
                    <a:pt x="292" y="522"/>
                  </a:lnTo>
                  <a:lnTo>
                    <a:pt x="278" y="530"/>
                  </a:lnTo>
                  <a:lnTo>
                    <a:pt x="262" y="534"/>
                  </a:lnTo>
                  <a:lnTo>
                    <a:pt x="240" y="536"/>
                  </a:lnTo>
                  <a:lnTo>
                    <a:pt x="240" y="392"/>
                  </a:lnTo>
                  <a:lnTo>
                    <a:pt x="268" y="398"/>
                  </a:lnTo>
                  <a:lnTo>
                    <a:pt x="289" y="404"/>
                  </a:lnTo>
                  <a:lnTo>
                    <a:pt x="303" y="409"/>
                  </a:lnTo>
                  <a:lnTo>
                    <a:pt x="312" y="41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9" name="Group 18"/>
          <p:cNvGrpSpPr>
            <a:grpSpLocks noChangeAspect="1"/>
          </p:cNvGrpSpPr>
          <p:nvPr/>
        </p:nvGrpSpPr>
        <p:grpSpPr bwMode="auto">
          <a:xfrm>
            <a:off x="739800" y="2946178"/>
            <a:ext cx="361393" cy="359006"/>
            <a:chOff x="-737" y="2406"/>
            <a:chExt cx="303" cy="301"/>
          </a:xfrm>
          <a:solidFill>
            <a:schemeClr val="bg1"/>
          </a:solidFill>
        </p:grpSpPr>
        <p:sp>
          <p:nvSpPr>
            <p:cNvPr id="22" name="Freeform 20"/>
            <p:cNvSpPr>
              <a:spLocks/>
            </p:cNvSpPr>
            <p:nvPr/>
          </p:nvSpPr>
          <p:spPr bwMode="auto">
            <a:xfrm>
              <a:off x="-512" y="2475"/>
              <a:ext cx="78" cy="27"/>
            </a:xfrm>
            <a:custGeom>
              <a:avLst/>
              <a:gdLst>
                <a:gd name="T0" fmla="*/ 0 w 860"/>
                <a:gd name="T1" fmla="*/ 0 h 300"/>
                <a:gd name="T2" fmla="*/ 709 w 860"/>
                <a:gd name="T3" fmla="*/ 0 h 300"/>
                <a:gd name="T4" fmla="*/ 739 w 860"/>
                <a:gd name="T5" fmla="*/ 3 h 300"/>
                <a:gd name="T6" fmla="*/ 768 w 860"/>
                <a:gd name="T7" fmla="*/ 11 h 300"/>
                <a:gd name="T8" fmla="*/ 793 w 860"/>
                <a:gd name="T9" fmla="*/ 26 h 300"/>
                <a:gd name="T10" fmla="*/ 816 w 860"/>
                <a:gd name="T11" fmla="*/ 43 h 300"/>
                <a:gd name="T12" fmla="*/ 834 w 860"/>
                <a:gd name="T13" fmla="*/ 66 h 300"/>
                <a:gd name="T14" fmla="*/ 849 w 860"/>
                <a:gd name="T15" fmla="*/ 91 h 300"/>
                <a:gd name="T16" fmla="*/ 857 w 860"/>
                <a:gd name="T17" fmla="*/ 119 h 300"/>
                <a:gd name="T18" fmla="*/ 860 w 860"/>
                <a:gd name="T19" fmla="*/ 149 h 300"/>
                <a:gd name="T20" fmla="*/ 857 w 860"/>
                <a:gd name="T21" fmla="*/ 180 h 300"/>
                <a:gd name="T22" fmla="*/ 849 w 860"/>
                <a:gd name="T23" fmla="*/ 209 h 300"/>
                <a:gd name="T24" fmla="*/ 834 w 860"/>
                <a:gd name="T25" fmla="*/ 234 h 300"/>
                <a:gd name="T26" fmla="*/ 816 w 860"/>
                <a:gd name="T27" fmla="*/ 256 h 300"/>
                <a:gd name="T28" fmla="*/ 793 w 860"/>
                <a:gd name="T29" fmla="*/ 274 h 300"/>
                <a:gd name="T30" fmla="*/ 768 w 860"/>
                <a:gd name="T31" fmla="*/ 289 h 300"/>
                <a:gd name="T32" fmla="*/ 739 w 860"/>
                <a:gd name="T33" fmla="*/ 297 h 300"/>
                <a:gd name="T34" fmla="*/ 709 w 860"/>
                <a:gd name="T35" fmla="*/ 300 h 300"/>
                <a:gd name="T36" fmla="*/ 246 w 860"/>
                <a:gd name="T37" fmla="*/ 300 h 300"/>
                <a:gd name="T38" fmla="*/ 205 w 860"/>
                <a:gd name="T39" fmla="*/ 234 h 300"/>
                <a:gd name="T40" fmla="*/ 159 w 860"/>
                <a:gd name="T41" fmla="*/ 170 h 300"/>
                <a:gd name="T42" fmla="*/ 110 w 860"/>
                <a:gd name="T43" fmla="*/ 110 h 300"/>
                <a:gd name="T44" fmla="*/ 57 w 860"/>
                <a:gd name="T45" fmla="*/ 53 h 300"/>
                <a:gd name="T46" fmla="*/ 0 w 860"/>
                <a:gd name="T4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0" h="300">
                  <a:moveTo>
                    <a:pt x="0" y="0"/>
                  </a:moveTo>
                  <a:lnTo>
                    <a:pt x="709" y="0"/>
                  </a:lnTo>
                  <a:lnTo>
                    <a:pt x="739" y="3"/>
                  </a:lnTo>
                  <a:lnTo>
                    <a:pt x="768" y="11"/>
                  </a:lnTo>
                  <a:lnTo>
                    <a:pt x="793" y="26"/>
                  </a:lnTo>
                  <a:lnTo>
                    <a:pt x="816" y="43"/>
                  </a:lnTo>
                  <a:lnTo>
                    <a:pt x="834" y="66"/>
                  </a:lnTo>
                  <a:lnTo>
                    <a:pt x="849" y="91"/>
                  </a:lnTo>
                  <a:lnTo>
                    <a:pt x="857" y="119"/>
                  </a:lnTo>
                  <a:lnTo>
                    <a:pt x="860" y="149"/>
                  </a:lnTo>
                  <a:lnTo>
                    <a:pt x="857" y="180"/>
                  </a:lnTo>
                  <a:lnTo>
                    <a:pt x="849" y="209"/>
                  </a:lnTo>
                  <a:lnTo>
                    <a:pt x="834" y="234"/>
                  </a:lnTo>
                  <a:lnTo>
                    <a:pt x="816" y="256"/>
                  </a:lnTo>
                  <a:lnTo>
                    <a:pt x="793" y="274"/>
                  </a:lnTo>
                  <a:lnTo>
                    <a:pt x="768" y="289"/>
                  </a:lnTo>
                  <a:lnTo>
                    <a:pt x="739" y="297"/>
                  </a:lnTo>
                  <a:lnTo>
                    <a:pt x="709" y="300"/>
                  </a:lnTo>
                  <a:lnTo>
                    <a:pt x="246" y="300"/>
                  </a:lnTo>
                  <a:lnTo>
                    <a:pt x="205" y="234"/>
                  </a:lnTo>
                  <a:lnTo>
                    <a:pt x="159" y="170"/>
                  </a:lnTo>
                  <a:lnTo>
                    <a:pt x="110" y="110"/>
                  </a:lnTo>
                  <a:lnTo>
                    <a:pt x="57" y="5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1"/>
            <p:cNvSpPr>
              <a:spLocks/>
            </p:cNvSpPr>
            <p:nvPr/>
          </p:nvSpPr>
          <p:spPr bwMode="auto">
            <a:xfrm>
              <a:off x="-486" y="2510"/>
              <a:ext cx="52" cy="27"/>
            </a:xfrm>
            <a:custGeom>
              <a:avLst/>
              <a:gdLst>
                <a:gd name="T0" fmla="*/ 0 w 573"/>
                <a:gd name="T1" fmla="*/ 0 h 301"/>
                <a:gd name="T2" fmla="*/ 422 w 573"/>
                <a:gd name="T3" fmla="*/ 0 h 301"/>
                <a:gd name="T4" fmla="*/ 452 w 573"/>
                <a:gd name="T5" fmla="*/ 3 h 301"/>
                <a:gd name="T6" fmla="*/ 481 w 573"/>
                <a:gd name="T7" fmla="*/ 12 h 301"/>
                <a:gd name="T8" fmla="*/ 506 w 573"/>
                <a:gd name="T9" fmla="*/ 25 h 301"/>
                <a:gd name="T10" fmla="*/ 529 w 573"/>
                <a:gd name="T11" fmla="*/ 44 h 301"/>
                <a:gd name="T12" fmla="*/ 547 w 573"/>
                <a:gd name="T13" fmla="*/ 66 h 301"/>
                <a:gd name="T14" fmla="*/ 562 w 573"/>
                <a:gd name="T15" fmla="*/ 92 h 301"/>
                <a:gd name="T16" fmla="*/ 570 w 573"/>
                <a:gd name="T17" fmla="*/ 120 h 301"/>
                <a:gd name="T18" fmla="*/ 573 w 573"/>
                <a:gd name="T19" fmla="*/ 150 h 301"/>
                <a:gd name="T20" fmla="*/ 570 w 573"/>
                <a:gd name="T21" fmla="*/ 180 h 301"/>
                <a:gd name="T22" fmla="*/ 562 w 573"/>
                <a:gd name="T23" fmla="*/ 208 h 301"/>
                <a:gd name="T24" fmla="*/ 547 w 573"/>
                <a:gd name="T25" fmla="*/ 234 h 301"/>
                <a:gd name="T26" fmla="*/ 529 w 573"/>
                <a:gd name="T27" fmla="*/ 256 h 301"/>
                <a:gd name="T28" fmla="*/ 506 w 573"/>
                <a:gd name="T29" fmla="*/ 275 h 301"/>
                <a:gd name="T30" fmla="*/ 481 w 573"/>
                <a:gd name="T31" fmla="*/ 288 h 301"/>
                <a:gd name="T32" fmla="*/ 452 w 573"/>
                <a:gd name="T33" fmla="*/ 298 h 301"/>
                <a:gd name="T34" fmla="*/ 422 w 573"/>
                <a:gd name="T35" fmla="*/ 301 h 301"/>
                <a:gd name="T36" fmla="*/ 98 w 573"/>
                <a:gd name="T37" fmla="*/ 301 h 301"/>
                <a:gd name="T38" fmla="*/ 81 w 573"/>
                <a:gd name="T39" fmla="*/ 222 h 301"/>
                <a:gd name="T40" fmla="*/ 59 w 573"/>
                <a:gd name="T41" fmla="*/ 146 h 301"/>
                <a:gd name="T42" fmla="*/ 32 w 573"/>
                <a:gd name="T43" fmla="*/ 72 h 301"/>
                <a:gd name="T44" fmla="*/ 0 w 573"/>
                <a:gd name="T45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73" h="301">
                  <a:moveTo>
                    <a:pt x="0" y="0"/>
                  </a:moveTo>
                  <a:lnTo>
                    <a:pt x="422" y="0"/>
                  </a:lnTo>
                  <a:lnTo>
                    <a:pt x="452" y="3"/>
                  </a:lnTo>
                  <a:lnTo>
                    <a:pt x="481" y="12"/>
                  </a:lnTo>
                  <a:lnTo>
                    <a:pt x="506" y="25"/>
                  </a:lnTo>
                  <a:lnTo>
                    <a:pt x="529" y="44"/>
                  </a:lnTo>
                  <a:lnTo>
                    <a:pt x="547" y="66"/>
                  </a:lnTo>
                  <a:lnTo>
                    <a:pt x="562" y="92"/>
                  </a:lnTo>
                  <a:lnTo>
                    <a:pt x="570" y="120"/>
                  </a:lnTo>
                  <a:lnTo>
                    <a:pt x="573" y="150"/>
                  </a:lnTo>
                  <a:lnTo>
                    <a:pt x="570" y="180"/>
                  </a:lnTo>
                  <a:lnTo>
                    <a:pt x="562" y="208"/>
                  </a:lnTo>
                  <a:lnTo>
                    <a:pt x="547" y="234"/>
                  </a:lnTo>
                  <a:lnTo>
                    <a:pt x="529" y="256"/>
                  </a:lnTo>
                  <a:lnTo>
                    <a:pt x="506" y="275"/>
                  </a:lnTo>
                  <a:lnTo>
                    <a:pt x="481" y="288"/>
                  </a:lnTo>
                  <a:lnTo>
                    <a:pt x="452" y="298"/>
                  </a:lnTo>
                  <a:lnTo>
                    <a:pt x="422" y="301"/>
                  </a:lnTo>
                  <a:lnTo>
                    <a:pt x="98" y="301"/>
                  </a:lnTo>
                  <a:lnTo>
                    <a:pt x="81" y="222"/>
                  </a:lnTo>
                  <a:lnTo>
                    <a:pt x="59" y="146"/>
                  </a:lnTo>
                  <a:lnTo>
                    <a:pt x="32" y="7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22"/>
            <p:cNvSpPr>
              <a:spLocks/>
            </p:cNvSpPr>
            <p:nvPr/>
          </p:nvSpPr>
          <p:spPr bwMode="auto">
            <a:xfrm>
              <a:off x="-563" y="2441"/>
              <a:ext cx="129" cy="27"/>
            </a:xfrm>
            <a:custGeom>
              <a:avLst/>
              <a:gdLst>
                <a:gd name="T0" fmla="*/ 142 w 1414"/>
                <a:gd name="T1" fmla="*/ 0 h 302"/>
                <a:gd name="T2" fmla="*/ 1263 w 1414"/>
                <a:gd name="T3" fmla="*/ 0 h 302"/>
                <a:gd name="T4" fmla="*/ 1293 w 1414"/>
                <a:gd name="T5" fmla="*/ 3 h 302"/>
                <a:gd name="T6" fmla="*/ 1322 w 1414"/>
                <a:gd name="T7" fmla="*/ 12 h 302"/>
                <a:gd name="T8" fmla="*/ 1347 w 1414"/>
                <a:gd name="T9" fmla="*/ 26 h 302"/>
                <a:gd name="T10" fmla="*/ 1370 w 1414"/>
                <a:gd name="T11" fmla="*/ 45 h 302"/>
                <a:gd name="T12" fmla="*/ 1388 w 1414"/>
                <a:gd name="T13" fmla="*/ 66 h 302"/>
                <a:gd name="T14" fmla="*/ 1403 w 1414"/>
                <a:gd name="T15" fmla="*/ 92 h 302"/>
                <a:gd name="T16" fmla="*/ 1411 w 1414"/>
                <a:gd name="T17" fmla="*/ 121 h 302"/>
                <a:gd name="T18" fmla="*/ 1414 w 1414"/>
                <a:gd name="T19" fmla="*/ 151 h 302"/>
                <a:gd name="T20" fmla="*/ 1411 w 1414"/>
                <a:gd name="T21" fmla="*/ 181 h 302"/>
                <a:gd name="T22" fmla="*/ 1403 w 1414"/>
                <a:gd name="T23" fmla="*/ 209 h 302"/>
                <a:gd name="T24" fmla="*/ 1388 w 1414"/>
                <a:gd name="T25" fmla="*/ 235 h 302"/>
                <a:gd name="T26" fmla="*/ 1370 w 1414"/>
                <a:gd name="T27" fmla="*/ 257 h 302"/>
                <a:gd name="T28" fmla="*/ 1347 w 1414"/>
                <a:gd name="T29" fmla="*/ 276 h 302"/>
                <a:gd name="T30" fmla="*/ 1322 w 1414"/>
                <a:gd name="T31" fmla="*/ 289 h 302"/>
                <a:gd name="T32" fmla="*/ 1293 w 1414"/>
                <a:gd name="T33" fmla="*/ 298 h 302"/>
                <a:gd name="T34" fmla="*/ 1263 w 1414"/>
                <a:gd name="T35" fmla="*/ 302 h 302"/>
                <a:gd name="T36" fmla="*/ 456 w 1414"/>
                <a:gd name="T37" fmla="*/ 302 h 302"/>
                <a:gd name="T38" fmla="*/ 387 w 1414"/>
                <a:gd name="T39" fmla="*/ 255 h 302"/>
                <a:gd name="T40" fmla="*/ 316 w 1414"/>
                <a:gd name="T41" fmla="*/ 213 h 302"/>
                <a:gd name="T42" fmla="*/ 241 w 1414"/>
                <a:gd name="T43" fmla="*/ 177 h 302"/>
                <a:gd name="T44" fmla="*/ 163 w 1414"/>
                <a:gd name="T45" fmla="*/ 146 h 302"/>
                <a:gd name="T46" fmla="*/ 83 w 1414"/>
                <a:gd name="T47" fmla="*/ 120 h 302"/>
                <a:gd name="T48" fmla="*/ 0 w 1414"/>
                <a:gd name="T49" fmla="*/ 99 h 302"/>
                <a:gd name="T50" fmla="*/ 11 w 1414"/>
                <a:gd name="T51" fmla="*/ 75 h 302"/>
                <a:gd name="T52" fmla="*/ 26 w 1414"/>
                <a:gd name="T53" fmla="*/ 54 h 302"/>
                <a:gd name="T54" fmla="*/ 44 w 1414"/>
                <a:gd name="T55" fmla="*/ 36 h 302"/>
                <a:gd name="T56" fmla="*/ 66 w 1414"/>
                <a:gd name="T57" fmla="*/ 21 h 302"/>
                <a:gd name="T58" fmla="*/ 89 w 1414"/>
                <a:gd name="T59" fmla="*/ 10 h 302"/>
                <a:gd name="T60" fmla="*/ 115 w 1414"/>
                <a:gd name="T61" fmla="*/ 3 h 302"/>
                <a:gd name="T62" fmla="*/ 142 w 1414"/>
                <a:gd name="T63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14" h="302">
                  <a:moveTo>
                    <a:pt x="142" y="0"/>
                  </a:moveTo>
                  <a:lnTo>
                    <a:pt x="1263" y="0"/>
                  </a:lnTo>
                  <a:lnTo>
                    <a:pt x="1293" y="3"/>
                  </a:lnTo>
                  <a:lnTo>
                    <a:pt x="1322" y="12"/>
                  </a:lnTo>
                  <a:lnTo>
                    <a:pt x="1347" y="26"/>
                  </a:lnTo>
                  <a:lnTo>
                    <a:pt x="1370" y="45"/>
                  </a:lnTo>
                  <a:lnTo>
                    <a:pt x="1388" y="66"/>
                  </a:lnTo>
                  <a:lnTo>
                    <a:pt x="1403" y="92"/>
                  </a:lnTo>
                  <a:lnTo>
                    <a:pt x="1411" y="121"/>
                  </a:lnTo>
                  <a:lnTo>
                    <a:pt x="1414" y="151"/>
                  </a:lnTo>
                  <a:lnTo>
                    <a:pt x="1411" y="181"/>
                  </a:lnTo>
                  <a:lnTo>
                    <a:pt x="1403" y="209"/>
                  </a:lnTo>
                  <a:lnTo>
                    <a:pt x="1388" y="235"/>
                  </a:lnTo>
                  <a:lnTo>
                    <a:pt x="1370" y="257"/>
                  </a:lnTo>
                  <a:lnTo>
                    <a:pt x="1347" y="276"/>
                  </a:lnTo>
                  <a:lnTo>
                    <a:pt x="1322" y="289"/>
                  </a:lnTo>
                  <a:lnTo>
                    <a:pt x="1293" y="298"/>
                  </a:lnTo>
                  <a:lnTo>
                    <a:pt x="1263" y="302"/>
                  </a:lnTo>
                  <a:lnTo>
                    <a:pt x="456" y="302"/>
                  </a:lnTo>
                  <a:lnTo>
                    <a:pt x="387" y="255"/>
                  </a:lnTo>
                  <a:lnTo>
                    <a:pt x="316" y="213"/>
                  </a:lnTo>
                  <a:lnTo>
                    <a:pt x="241" y="177"/>
                  </a:lnTo>
                  <a:lnTo>
                    <a:pt x="163" y="146"/>
                  </a:lnTo>
                  <a:lnTo>
                    <a:pt x="83" y="120"/>
                  </a:lnTo>
                  <a:lnTo>
                    <a:pt x="0" y="99"/>
                  </a:lnTo>
                  <a:lnTo>
                    <a:pt x="11" y="75"/>
                  </a:lnTo>
                  <a:lnTo>
                    <a:pt x="26" y="54"/>
                  </a:lnTo>
                  <a:lnTo>
                    <a:pt x="44" y="36"/>
                  </a:lnTo>
                  <a:lnTo>
                    <a:pt x="66" y="21"/>
                  </a:lnTo>
                  <a:lnTo>
                    <a:pt x="89" y="10"/>
                  </a:lnTo>
                  <a:lnTo>
                    <a:pt x="115" y="3"/>
                  </a:lnTo>
                  <a:lnTo>
                    <a:pt x="14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23"/>
            <p:cNvSpPr>
              <a:spLocks/>
            </p:cNvSpPr>
            <p:nvPr/>
          </p:nvSpPr>
          <p:spPr bwMode="auto">
            <a:xfrm>
              <a:off x="-564" y="2406"/>
              <a:ext cx="130" cy="28"/>
            </a:xfrm>
            <a:custGeom>
              <a:avLst/>
              <a:gdLst>
                <a:gd name="T0" fmla="*/ 151 w 1423"/>
                <a:gd name="T1" fmla="*/ 0 h 301"/>
                <a:gd name="T2" fmla="*/ 1272 w 1423"/>
                <a:gd name="T3" fmla="*/ 0 h 301"/>
                <a:gd name="T4" fmla="*/ 1302 w 1423"/>
                <a:gd name="T5" fmla="*/ 3 h 301"/>
                <a:gd name="T6" fmla="*/ 1331 w 1423"/>
                <a:gd name="T7" fmla="*/ 12 h 301"/>
                <a:gd name="T8" fmla="*/ 1356 w 1423"/>
                <a:gd name="T9" fmla="*/ 26 h 301"/>
                <a:gd name="T10" fmla="*/ 1379 w 1423"/>
                <a:gd name="T11" fmla="*/ 44 h 301"/>
                <a:gd name="T12" fmla="*/ 1397 w 1423"/>
                <a:gd name="T13" fmla="*/ 67 h 301"/>
                <a:gd name="T14" fmla="*/ 1412 w 1423"/>
                <a:gd name="T15" fmla="*/ 92 h 301"/>
                <a:gd name="T16" fmla="*/ 1420 w 1423"/>
                <a:gd name="T17" fmla="*/ 120 h 301"/>
                <a:gd name="T18" fmla="*/ 1423 w 1423"/>
                <a:gd name="T19" fmla="*/ 150 h 301"/>
                <a:gd name="T20" fmla="*/ 1420 w 1423"/>
                <a:gd name="T21" fmla="*/ 180 h 301"/>
                <a:gd name="T22" fmla="*/ 1412 w 1423"/>
                <a:gd name="T23" fmla="*/ 209 h 301"/>
                <a:gd name="T24" fmla="*/ 1397 w 1423"/>
                <a:gd name="T25" fmla="*/ 234 h 301"/>
                <a:gd name="T26" fmla="*/ 1379 w 1423"/>
                <a:gd name="T27" fmla="*/ 257 h 301"/>
                <a:gd name="T28" fmla="*/ 1356 w 1423"/>
                <a:gd name="T29" fmla="*/ 275 h 301"/>
                <a:gd name="T30" fmla="*/ 1331 w 1423"/>
                <a:gd name="T31" fmla="*/ 289 h 301"/>
                <a:gd name="T32" fmla="*/ 1302 w 1423"/>
                <a:gd name="T33" fmla="*/ 298 h 301"/>
                <a:gd name="T34" fmla="*/ 1272 w 1423"/>
                <a:gd name="T35" fmla="*/ 301 h 301"/>
                <a:gd name="T36" fmla="*/ 151 w 1423"/>
                <a:gd name="T37" fmla="*/ 301 h 301"/>
                <a:gd name="T38" fmla="*/ 120 w 1423"/>
                <a:gd name="T39" fmla="*/ 298 h 301"/>
                <a:gd name="T40" fmla="*/ 92 w 1423"/>
                <a:gd name="T41" fmla="*/ 289 h 301"/>
                <a:gd name="T42" fmla="*/ 67 w 1423"/>
                <a:gd name="T43" fmla="*/ 275 h 301"/>
                <a:gd name="T44" fmla="*/ 44 w 1423"/>
                <a:gd name="T45" fmla="*/ 257 h 301"/>
                <a:gd name="T46" fmla="*/ 26 w 1423"/>
                <a:gd name="T47" fmla="*/ 234 h 301"/>
                <a:gd name="T48" fmla="*/ 11 w 1423"/>
                <a:gd name="T49" fmla="*/ 209 h 301"/>
                <a:gd name="T50" fmla="*/ 3 w 1423"/>
                <a:gd name="T51" fmla="*/ 181 h 301"/>
                <a:gd name="T52" fmla="*/ 0 w 1423"/>
                <a:gd name="T53" fmla="*/ 151 h 301"/>
                <a:gd name="T54" fmla="*/ 3 w 1423"/>
                <a:gd name="T55" fmla="*/ 120 h 301"/>
                <a:gd name="T56" fmla="*/ 11 w 1423"/>
                <a:gd name="T57" fmla="*/ 92 h 301"/>
                <a:gd name="T58" fmla="*/ 26 w 1423"/>
                <a:gd name="T59" fmla="*/ 67 h 301"/>
                <a:gd name="T60" fmla="*/ 44 w 1423"/>
                <a:gd name="T61" fmla="*/ 44 h 301"/>
                <a:gd name="T62" fmla="*/ 67 w 1423"/>
                <a:gd name="T63" fmla="*/ 26 h 301"/>
                <a:gd name="T64" fmla="*/ 92 w 1423"/>
                <a:gd name="T65" fmla="*/ 12 h 301"/>
                <a:gd name="T66" fmla="*/ 120 w 1423"/>
                <a:gd name="T67" fmla="*/ 3 h 301"/>
                <a:gd name="T68" fmla="*/ 151 w 1423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3" h="301">
                  <a:moveTo>
                    <a:pt x="151" y="0"/>
                  </a:moveTo>
                  <a:lnTo>
                    <a:pt x="1272" y="0"/>
                  </a:lnTo>
                  <a:lnTo>
                    <a:pt x="1302" y="3"/>
                  </a:lnTo>
                  <a:lnTo>
                    <a:pt x="1331" y="12"/>
                  </a:lnTo>
                  <a:lnTo>
                    <a:pt x="1356" y="26"/>
                  </a:lnTo>
                  <a:lnTo>
                    <a:pt x="1379" y="44"/>
                  </a:lnTo>
                  <a:lnTo>
                    <a:pt x="1397" y="67"/>
                  </a:lnTo>
                  <a:lnTo>
                    <a:pt x="1412" y="92"/>
                  </a:lnTo>
                  <a:lnTo>
                    <a:pt x="1420" y="120"/>
                  </a:lnTo>
                  <a:lnTo>
                    <a:pt x="1423" y="150"/>
                  </a:lnTo>
                  <a:lnTo>
                    <a:pt x="1420" y="180"/>
                  </a:lnTo>
                  <a:lnTo>
                    <a:pt x="1412" y="209"/>
                  </a:lnTo>
                  <a:lnTo>
                    <a:pt x="1397" y="234"/>
                  </a:lnTo>
                  <a:lnTo>
                    <a:pt x="1379" y="257"/>
                  </a:lnTo>
                  <a:lnTo>
                    <a:pt x="1356" y="275"/>
                  </a:lnTo>
                  <a:lnTo>
                    <a:pt x="1331" y="289"/>
                  </a:lnTo>
                  <a:lnTo>
                    <a:pt x="1302" y="298"/>
                  </a:lnTo>
                  <a:lnTo>
                    <a:pt x="1272" y="301"/>
                  </a:lnTo>
                  <a:lnTo>
                    <a:pt x="151" y="301"/>
                  </a:lnTo>
                  <a:lnTo>
                    <a:pt x="120" y="298"/>
                  </a:lnTo>
                  <a:lnTo>
                    <a:pt x="92" y="289"/>
                  </a:lnTo>
                  <a:lnTo>
                    <a:pt x="67" y="275"/>
                  </a:lnTo>
                  <a:lnTo>
                    <a:pt x="44" y="257"/>
                  </a:lnTo>
                  <a:lnTo>
                    <a:pt x="26" y="234"/>
                  </a:lnTo>
                  <a:lnTo>
                    <a:pt x="11" y="209"/>
                  </a:lnTo>
                  <a:lnTo>
                    <a:pt x="3" y="181"/>
                  </a:lnTo>
                  <a:lnTo>
                    <a:pt x="0" y="151"/>
                  </a:lnTo>
                  <a:lnTo>
                    <a:pt x="3" y="120"/>
                  </a:lnTo>
                  <a:lnTo>
                    <a:pt x="11" y="92"/>
                  </a:lnTo>
                  <a:lnTo>
                    <a:pt x="26" y="67"/>
                  </a:lnTo>
                  <a:lnTo>
                    <a:pt x="44" y="44"/>
                  </a:lnTo>
                  <a:lnTo>
                    <a:pt x="67" y="26"/>
                  </a:lnTo>
                  <a:lnTo>
                    <a:pt x="92" y="12"/>
                  </a:lnTo>
                  <a:lnTo>
                    <a:pt x="120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24"/>
            <p:cNvSpPr>
              <a:spLocks/>
            </p:cNvSpPr>
            <p:nvPr/>
          </p:nvSpPr>
          <p:spPr bwMode="auto">
            <a:xfrm>
              <a:off x="-477" y="2544"/>
              <a:ext cx="43" cy="27"/>
            </a:xfrm>
            <a:custGeom>
              <a:avLst/>
              <a:gdLst>
                <a:gd name="T0" fmla="*/ 5 w 467"/>
                <a:gd name="T1" fmla="*/ 0 h 300"/>
                <a:gd name="T2" fmla="*/ 316 w 467"/>
                <a:gd name="T3" fmla="*/ 0 h 300"/>
                <a:gd name="T4" fmla="*/ 346 w 467"/>
                <a:gd name="T5" fmla="*/ 3 h 300"/>
                <a:gd name="T6" fmla="*/ 375 w 467"/>
                <a:gd name="T7" fmla="*/ 11 h 300"/>
                <a:gd name="T8" fmla="*/ 400 w 467"/>
                <a:gd name="T9" fmla="*/ 26 h 300"/>
                <a:gd name="T10" fmla="*/ 423 w 467"/>
                <a:gd name="T11" fmla="*/ 43 h 300"/>
                <a:gd name="T12" fmla="*/ 441 w 467"/>
                <a:gd name="T13" fmla="*/ 66 h 300"/>
                <a:gd name="T14" fmla="*/ 456 w 467"/>
                <a:gd name="T15" fmla="*/ 91 h 300"/>
                <a:gd name="T16" fmla="*/ 464 w 467"/>
                <a:gd name="T17" fmla="*/ 119 h 300"/>
                <a:gd name="T18" fmla="*/ 467 w 467"/>
                <a:gd name="T19" fmla="*/ 150 h 300"/>
                <a:gd name="T20" fmla="*/ 464 w 467"/>
                <a:gd name="T21" fmla="*/ 181 h 300"/>
                <a:gd name="T22" fmla="*/ 456 w 467"/>
                <a:gd name="T23" fmla="*/ 209 h 300"/>
                <a:gd name="T24" fmla="*/ 441 w 467"/>
                <a:gd name="T25" fmla="*/ 235 h 300"/>
                <a:gd name="T26" fmla="*/ 423 w 467"/>
                <a:gd name="T27" fmla="*/ 257 h 300"/>
                <a:gd name="T28" fmla="*/ 400 w 467"/>
                <a:gd name="T29" fmla="*/ 275 h 300"/>
                <a:gd name="T30" fmla="*/ 375 w 467"/>
                <a:gd name="T31" fmla="*/ 289 h 300"/>
                <a:gd name="T32" fmla="*/ 346 w 467"/>
                <a:gd name="T33" fmla="*/ 297 h 300"/>
                <a:gd name="T34" fmla="*/ 316 w 467"/>
                <a:gd name="T35" fmla="*/ 300 h 300"/>
                <a:gd name="T36" fmla="*/ 0 w 467"/>
                <a:gd name="T37" fmla="*/ 300 h 300"/>
                <a:gd name="T38" fmla="*/ 7 w 467"/>
                <a:gd name="T39" fmla="*/ 247 h 300"/>
                <a:gd name="T40" fmla="*/ 11 w 467"/>
                <a:gd name="T41" fmla="*/ 193 h 300"/>
                <a:gd name="T42" fmla="*/ 13 w 467"/>
                <a:gd name="T43" fmla="*/ 138 h 300"/>
                <a:gd name="T44" fmla="*/ 11 w 467"/>
                <a:gd name="T45" fmla="*/ 68 h 300"/>
                <a:gd name="T46" fmla="*/ 5 w 467"/>
                <a:gd name="T4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7" h="300">
                  <a:moveTo>
                    <a:pt x="5" y="0"/>
                  </a:moveTo>
                  <a:lnTo>
                    <a:pt x="316" y="0"/>
                  </a:lnTo>
                  <a:lnTo>
                    <a:pt x="346" y="3"/>
                  </a:lnTo>
                  <a:lnTo>
                    <a:pt x="375" y="11"/>
                  </a:lnTo>
                  <a:lnTo>
                    <a:pt x="400" y="26"/>
                  </a:lnTo>
                  <a:lnTo>
                    <a:pt x="423" y="43"/>
                  </a:lnTo>
                  <a:lnTo>
                    <a:pt x="441" y="66"/>
                  </a:lnTo>
                  <a:lnTo>
                    <a:pt x="456" y="91"/>
                  </a:lnTo>
                  <a:lnTo>
                    <a:pt x="464" y="119"/>
                  </a:lnTo>
                  <a:lnTo>
                    <a:pt x="467" y="150"/>
                  </a:lnTo>
                  <a:lnTo>
                    <a:pt x="464" y="181"/>
                  </a:lnTo>
                  <a:lnTo>
                    <a:pt x="456" y="209"/>
                  </a:lnTo>
                  <a:lnTo>
                    <a:pt x="441" y="235"/>
                  </a:lnTo>
                  <a:lnTo>
                    <a:pt x="423" y="257"/>
                  </a:lnTo>
                  <a:lnTo>
                    <a:pt x="400" y="275"/>
                  </a:lnTo>
                  <a:lnTo>
                    <a:pt x="375" y="289"/>
                  </a:lnTo>
                  <a:lnTo>
                    <a:pt x="346" y="297"/>
                  </a:lnTo>
                  <a:lnTo>
                    <a:pt x="316" y="300"/>
                  </a:lnTo>
                  <a:lnTo>
                    <a:pt x="0" y="300"/>
                  </a:lnTo>
                  <a:lnTo>
                    <a:pt x="7" y="247"/>
                  </a:lnTo>
                  <a:lnTo>
                    <a:pt x="11" y="193"/>
                  </a:lnTo>
                  <a:lnTo>
                    <a:pt x="13" y="138"/>
                  </a:lnTo>
                  <a:lnTo>
                    <a:pt x="11" y="68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25"/>
            <p:cNvSpPr>
              <a:spLocks/>
            </p:cNvSpPr>
            <p:nvPr/>
          </p:nvSpPr>
          <p:spPr bwMode="auto">
            <a:xfrm>
              <a:off x="-488" y="2579"/>
              <a:ext cx="54" cy="27"/>
            </a:xfrm>
            <a:custGeom>
              <a:avLst/>
              <a:gdLst>
                <a:gd name="T0" fmla="*/ 108 w 586"/>
                <a:gd name="T1" fmla="*/ 0 h 301"/>
                <a:gd name="T2" fmla="*/ 435 w 586"/>
                <a:gd name="T3" fmla="*/ 0 h 301"/>
                <a:gd name="T4" fmla="*/ 465 w 586"/>
                <a:gd name="T5" fmla="*/ 3 h 301"/>
                <a:gd name="T6" fmla="*/ 494 w 586"/>
                <a:gd name="T7" fmla="*/ 12 h 301"/>
                <a:gd name="T8" fmla="*/ 519 w 586"/>
                <a:gd name="T9" fmla="*/ 25 h 301"/>
                <a:gd name="T10" fmla="*/ 542 w 586"/>
                <a:gd name="T11" fmla="*/ 44 h 301"/>
                <a:gd name="T12" fmla="*/ 560 w 586"/>
                <a:gd name="T13" fmla="*/ 66 h 301"/>
                <a:gd name="T14" fmla="*/ 575 w 586"/>
                <a:gd name="T15" fmla="*/ 92 h 301"/>
                <a:gd name="T16" fmla="*/ 583 w 586"/>
                <a:gd name="T17" fmla="*/ 120 h 301"/>
                <a:gd name="T18" fmla="*/ 586 w 586"/>
                <a:gd name="T19" fmla="*/ 150 h 301"/>
                <a:gd name="T20" fmla="*/ 583 w 586"/>
                <a:gd name="T21" fmla="*/ 180 h 301"/>
                <a:gd name="T22" fmla="*/ 575 w 586"/>
                <a:gd name="T23" fmla="*/ 209 h 301"/>
                <a:gd name="T24" fmla="*/ 560 w 586"/>
                <a:gd name="T25" fmla="*/ 234 h 301"/>
                <a:gd name="T26" fmla="*/ 542 w 586"/>
                <a:gd name="T27" fmla="*/ 257 h 301"/>
                <a:gd name="T28" fmla="*/ 519 w 586"/>
                <a:gd name="T29" fmla="*/ 275 h 301"/>
                <a:gd name="T30" fmla="*/ 494 w 586"/>
                <a:gd name="T31" fmla="*/ 289 h 301"/>
                <a:gd name="T32" fmla="*/ 465 w 586"/>
                <a:gd name="T33" fmla="*/ 298 h 301"/>
                <a:gd name="T34" fmla="*/ 435 w 586"/>
                <a:gd name="T35" fmla="*/ 301 h 301"/>
                <a:gd name="T36" fmla="*/ 0 w 586"/>
                <a:gd name="T37" fmla="*/ 301 h 301"/>
                <a:gd name="T38" fmla="*/ 35 w 586"/>
                <a:gd name="T39" fmla="*/ 229 h 301"/>
                <a:gd name="T40" fmla="*/ 64 w 586"/>
                <a:gd name="T41" fmla="*/ 155 h 301"/>
                <a:gd name="T42" fmla="*/ 88 w 586"/>
                <a:gd name="T43" fmla="*/ 78 h 301"/>
                <a:gd name="T44" fmla="*/ 108 w 586"/>
                <a:gd name="T45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6" h="301">
                  <a:moveTo>
                    <a:pt x="108" y="0"/>
                  </a:moveTo>
                  <a:lnTo>
                    <a:pt x="435" y="0"/>
                  </a:lnTo>
                  <a:lnTo>
                    <a:pt x="465" y="3"/>
                  </a:lnTo>
                  <a:lnTo>
                    <a:pt x="494" y="12"/>
                  </a:lnTo>
                  <a:lnTo>
                    <a:pt x="519" y="25"/>
                  </a:lnTo>
                  <a:lnTo>
                    <a:pt x="542" y="44"/>
                  </a:lnTo>
                  <a:lnTo>
                    <a:pt x="560" y="66"/>
                  </a:lnTo>
                  <a:lnTo>
                    <a:pt x="575" y="92"/>
                  </a:lnTo>
                  <a:lnTo>
                    <a:pt x="583" y="120"/>
                  </a:lnTo>
                  <a:lnTo>
                    <a:pt x="586" y="150"/>
                  </a:lnTo>
                  <a:lnTo>
                    <a:pt x="583" y="180"/>
                  </a:lnTo>
                  <a:lnTo>
                    <a:pt x="575" y="209"/>
                  </a:lnTo>
                  <a:lnTo>
                    <a:pt x="560" y="234"/>
                  </a:lnTo>
                  <a:lnTo>
                    <a:pt x="542" y="257"/>
                  </a:lnTo>
                  <a:lnTo>
                    <a:pt x="519" y="275"/>
                  </a:lnTo>
                  <a:lnTo>
                    <a:pt x="494" y="289"/>
                  </a:lnTo>
                  <a:lnTo>
                    <a:pt x="465" y="298"/>
                  </a:lnTo>
                  <a:lnTo>
                    <a:pt x="435" y="301"/>
                  </a:lnTo>
                  <a:lnTo>
                    <a:pt x="0" y="301"/>
                  </a:lnTo>
                  <a:lnTo>
                    <a:pt x="35" y="229"/>
                  </a:lnTo>
                  <a:lnTo>
                    <a:pt x="64" y="155"/>
                  </a:lnTo>
                  <a:lnTo>
                    <a:pt x="88" y="78"/>
                  </a:lnTo>
                  <a:lnTo>
                    <a:pt x="1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26"/>
            <p:cNvSpPr>
              <a:spLocks/>
            </p:cNvSpPr>
            <p:nvPr/>
          </p:nvSpPr>
          <p:spPr bwMode="auto">
            <a:xfrm>
              <a:off x="-515" y="2613"/>
              <a:ext cx="81" cy="27"/>
            </a:xfrm>
            <a:custGeom>
              <a:avLst/>
              <a:gdLst>
                <a:gd name="T0" fmla="*/ 257 w 887"/>
                <a:gd name="T1" fmla="*/ 0 h 301"/>
                <a:gd name="T2" fmla="*/ 736 w 887"/>
                <a:gd name="T3" fmla="*/ 0 h 301"/>
                <a:gd name="T4" fmla="*/ 766 w 887"/>
                <a:gd name="T5" fmla="*/ 3 h 301"/>
                <a:gd name="T6" fmla="*/ 795 w 887"/>
                <a:gd name="T7" fmla="*/ 12 h 301"/>
                <a:gd name="T8" fmla="*/ 820 w 887"/>
                <a:gd name="T9" fmla="*/ 26 h 301"/>
                <a:gd name="T10" fmla="*/ 843 w 887"/>
                <a:gd name="T11" fmla="*/ 45 h 301"/>
                <a:gd name="T12" fmla="*/ 861 w 887"/>
                <a:gd name="T13" fmla="*/ 66 h 301"/>
                <a:gd name="T14" fmla="*/ 876 w 887"/>
                <a:gd name="T15" fmla="*/ 91 h 301"/>
                <a:gd name="T16" fmla="*/ 884 w 887"/>
                <a:gd name="T17" fmla="*/ 120 h 301"/>
                <a:gd name="T18" fmla="*/ 887 w 887"/>
                <a:gd name="T19" fmla="*/ 151 h 301"/>
                <a:gd name="T20" fmla="*/ 884 w 887"/>
                <a:gd name="T21" fmla="*/ 181 h 301"/>
                <a:gd name="T22" fmla="*/ 876 w 887"/>
                <a:gd name="T23" fmla="*/ 209 h 301"/>
                <a:gd name="T24" fmla="*/ 861 w 887"/>
                <a:gd name="T25" fmla="*/ 235 h 301"/>
                <a:gd name="T26" fmla="*/ 843 w 887"/>
                <a:gd name="T27" fmla="*/ 257 h 301"/>
                <a:gd name="T28" fmla="*/ 820 w 887"/>
                <a:gd name="T29" fmla="*/ 275 h 301"/>
                <a:gd name="T30" fmla="*/ 795 w 887"/>
                <a:gd name="T31" fmla="*/ 289 h 301"/>
                <a:gd name="T32" fmla="*/ 766 w 887"/>
                <a:gd name="T33" fmla="*/ 298 h 301"/>
                <a:gd name="T34" fmla="*/ 736 w 887"/>
                <a:gd name="T35" fmla="*/ 301 h 301"/>
                <a:gd name="T36" fmla="*/ 0 w 887"/>
                <a:gd name="T37" fmla="*/ 301 h 301"/>
                <a:gd name="T38" fmla="*/ 59 w 887"/>
                <a:gd name="T39" fmla="*/ 247 h 301"/>
                <a:gd name="T40" fmla="*/ 115 w 887"/>
                <a:gd name="T41" fmla="*/ 191 h 301"/>
                <a:gd name="T42" fmla="*/ 166 w 887"/>
                <a:gd name="T43" fmla="*/ 131 h 301"/>
                <a:gd name="T44" fmla="*/ 214 w 887"/>
                <a:gd name="T45" fmla="*/ 67 h 301"/>
                <a:gd name="T46" fmla="*/ 257 w 887"/>
                <a:gd name="T47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87" h="301">
                  <a:moveTo>
                    <a:pt x="257" y="0"/>
                  </a:moveTo>
                  <a:lnTo>
                    <a:pt x="736" y="0"/>
                  </a:lnTo>
                  <a:lnTo>
                    <a:pt x="766" y="3"/>
                  </a:lnTo>
                  <a:lnTo>
                    <a:pt x="795" y="12"/>
                  </a:lnTo>
                  <a:lnTo>
                    <a:pt x="820" y="26"/>
                  </a:lnTo>
                  <a:lnTo>
                    <a:pt x="843" y="45"/>
                  </a:lnTo>
                  <a:lnTo>
                    <a:pt x="861" y="66"/>
                  </a:lnTo>
                  <a:lnTo>
                    <a:pt x="876" y="91"/>
                  </a:lnTo>
                  <a:lnTo>
                    <a:pt x="884" y="120"/>
                  </a:lnTo>
                  <a:lnTo>
                    <a:pt x="887" y="151"/>
                  </a:lnTo>
                  <a:lnTo>
                    <a:pt x="884" y="181"/>
                  </a:lnTo>
                  <a:lnTo>
                    <a:pt x="876" y="209"/>
                  </a:lnTo>
                  <a:lnTo>
                    <a:pt x="861" y="235"/>
                  </a:lnTo>
                  <a:lnTo>
                    <a:pt x="843" y="257"/>
                  </a:lnTo>
                  <a:lnTo>
                    <a:pt x="820" y="275"/>
                  </a:lnTo>
                  <a:lnTo>
                    <a:pt x="795" y="289"/>
                  </a:lnTo>
                  <a:lnTo>
                    <a:pt x="766" y="298"/>
                  </a:lnTo>
                  <a:lnTo>
                    <a:pt x="736" y="301"/>
                  </a:lnTo>
                  <a:lnTo>
                    <a:pt x="0" y="301"/>
                  </a:lnTo>
                  <a:lnTo>
                    <a:pt x="59" y="247"/>
                  </a:lnTo>
                  <a:lnTo>
                    <a:pt x="115" y="191"/>
                  </a:lnTo>
                  <a:lnTo>
                    <a:pt x="166" y="131"/>
                  </a:lnTo>
                  <a:lnTo>
                    <a:pt x="214" y="67"/>
                  </a:lnTo>
                  <a:lnTo>
                    <a:pt x="25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27"/>
            <p:cNvSpPr>
              <a:spLocks/>
            </p:cNvSpPr>
            <p:nvPr/>
          </p:nvSpPr>
          <p:spPr bwMode="auto">
            <a:xfrm>
              <a:off x="-737" y="2542"/>
              <a:ext cx="42" cy="27"/>
            </a:xfrm>
            <a:custGeom>
              <a:avLst/>
              <a:gdLst>
                <a:gd name="T0" fmla="*/ 152 w 467"/>
                <a:gd name="T1" fmla="*/ 0 h 300"/>
                <a:gd name="T2" fmla="*/ 467 w 467"/>
                <a:gd name="T3" fmla="*/ 0 h 300"/>
                <a:gd name="T4" fmla="*/ 461 w 467"/>
                <a:gd name="T5" fmla="*/ 54 h 300"/>
                <a:gd name="T6" fmla="*/ 456 w 467"/>
                <a:gd name="T7" fmla="*/ 108 h 300"/>
                <a:gd name="T8" fmla="*/ 454 w 467"/>
                <a:gd name="T9" fmla="*/ 163 h 300"/>
                <a:gd name="T10" fmla="*/ 456 w 467"/>
                <a:gd name="T11" fmla="*/ 232 h 300"/>
                <a:gd name="T12" fmla="*/ 463 w 467"/>
                <a:gd name="T13" fmla="*/ 300 h 300"/>
                <a:gd name="T14" fmla="*/ 152 w 467"/>
                <a:gd name="T15" fmla="*/ 300 h 300"/>
                <a:gd name="T16" fmla="*/ 121 w 467"/>
                <a:gd name="T17" fmla="*/ 297 h 300"/>
                <a:gd name="T18" fmla="*/ 93 w 467"/>
                <a:gd name="T19" fmla="*/ 289 h 300"/>
                <a:gd name="T20" fmla="*/ 67 w 467"/>
                <a:gd name="T21" fmla="*/ 275 h 300"/>
                <a:gd name="T22" fmla="*/ 45 w 467"/>
                <a:gd name="T23" fmla="*/ 257 h 300"/>
                <a:gd name="T24" fmla="*/ 26 w 467"/>
                <a:gd name="T25" fmla="*/ 234 h 300"/>
                <a:gd name="T26" fmla="*/ 13 w 467"/>
                <a:gd name="T27" fmla="*/ 209 h 300"/>
                <a:gd name="T28" fmla="*/ 3 w 467"/>
                <a:gd name="T29" fmla="*/ 181 h 300"/>
                <a:gd name="T30" fmla="*/ 0 w 467"/>
                <a:gd name="T31" fmla="*/ 149 h 300"/>
                <a:gd name="T32" fmla="*/ 3 w 467"/>
                <a:gd name="T33" fmla="*/ 119 h 300"/>
                <a:gd name="T34" fmla="*/ 13 w 467"/>
                <a:gd name="T35" fmla="*/ 91 h 300"/>
                <a:gd name="T36" fmla="*/ 26 w 467"/>
                <a:gd name="T37" fmla="*/ 66 h 300"/>
                <a:gd name="T38" fmla="*/ 45 w 467"/>
                <a:gd name="T39" fmla="*/ 43 h 300"/>
                <a:gd name="T40" fmla="*/ 67 w 467"/>
                <a:gd name="T41" fmla="*/ 26 h 300"/>
                <a:gd name="T42" fmla="*/ 93 w 467"/>
                <a:gd name="T43" fmla="*/ 11 h 300"/>
                <a:gd name="T44" fmla="*/ 121 w 467"/>
                <a:gd name="T45" fmla="*/ 3 h 300"/>
                <a:gd name="T46" fmla="*/ 152 w 467"/>
                <a:gd name="T4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7" h="300">
                  <a:moveTo>
                    <a:pt x="152" y="0"/>
                  </a:moveTo>
                  <a:lnTo>
                    <a:pt x="467" y="0"/>
                  </a:lnTo>
                  <a:lnTo>
                    <a:pt x="461" y="54"/>
                  </a:lnTo>
                  <a:lnTo>
                    <a:pt x="456" y="108"/>
                  </a:lnTo>
                  <a:lnTo>
                    <a:pt x="454" y="163"/>
                  </a:lnTo>
                  <a:lnTo>
                    <a:pt x="456" y="232"/>
                  </a:lnTo>
                  <a:lnTo>
                    <a:pt x="463" y="300"/>
                  </a:lnTo>
                  <a:lnTo>
                    <a:pt x="152" y="300"/>
                  </a:lnTo>
                  <a:lnTo>
                    <a:pt x="121" y="297"/>
                  </a:lnTo>
                  <a:lnTo>
                    <a:pt x="93" y="289"/>
                  </a:lnTo>
                  <a:lnTo>
                    <a:pt x="67" y="275"/>
                  </a:lnTo>
                  <a:lnTo>
                    <a:pt x="45" y="257"/>
                  </a:lnTo>
                  <a:lnTo>
                    <a:pt x="26" y="234"/>
                  </a:lnTo>
                  <a:lnTo>
                    <a:pt x="13" y="209"/>
                  </a:lnTo>
                  <a:lnTo>
                    <a:pt x="3" y="181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3" y="91"/>
                  </a:lnTo>
                  <a:lnTo>
                    <a:pt x="26" y="66"/>
                  </a:lnTo>
                  <a:lnTo>
                    <a:pt x="45" y="43"/>
                  </a:lnTo>
                  <a:lnTo>
                    <a:pt x="67" y="26"/>
                  </a:lnTo>
                  <a:lnTo>
                    <a:pt x="93" y="11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28"/>
            <p:cNvSpPr>
              <a:spLocks/>
            </p:cNvSpPr>
            <p:nvPr/>
          </p:nvSpPr>
          <p:spPr bwMode="auto">
            <a:xfrm>
              <a:off x="-737" y="2576"/>
              <a:ext cx="52" cy="28"/>
            </a:xfrm>
            <a:custGeom>
              <a:avLst/>
              <a:gdLst>
                <a:gd name="T0" fmla="*/ 152 w 574"/>
                <a:gd name="T1" fmla="*/ 0 h 301"/>
                <a:gd name="T2" fmla="*/ 475 w 574"/>
                <a:gd name="T3" fmla="*/ 0 h 301"/>
                <a:gd name="T4" fmla="*/ 492 w 574"/>
                <a:gd name="T5" fmla="*/ 78 h 301"/>
                <a:gd name="T6" fmla="*/ 515 w 574"/>
                <a:gd name="T7" fmla="*/ 154 h 301"/>
                <a:gd name="T8" fmla="*/ 542 w 574"/>
                <a:gd name="T9" fmla="*/ 229 h 301"/>
                <a:gd name="T10" fmla="*/ 574 w 574"/>
                <a:gd name="T11" fmla="*/ 301 h 301"/>
                <a:gd name="T12" fmla="*/ 152 w 574"/>
                <a:gd name="T13" fmla="*/ 301 h 301"/>
                <a:gd name="T14" fmla="*/ 121 w 574"/>
                <a:gd name="T15" fmla="*/ 298 h 301"/>
                <a:gd name="T16" fmla="*/ 93 w 574"/>
                <a:gd name="T17" fmla="*/ 288 h 301"/>
                <a:gd name="T18" fmla="*/ 67 w 574"/>
                <a:gd name="T19" fmla="*/ 275 h 301"/>
                <a:gd name="T20" fmla="*/ 45 w 574"/>
                <a:gd name="T21" fmla="*/ 256 h 301"/>
                <a:gd name="T22" fmla="*/ 26 w 574"/>
                <a:gd name="T23" fmla="*/ 234 h 301"/>
                <a:gd name="T24" fmla="*/ 13 w 574"/>
                <a:gd name="T25" fmla="*/ 208 h 301"/>
                <a:gd name="T26" fmla="*/ 3 w 574"/>
                <a:gd name="T27" fmla="*/ 180 h 301"/>
                <a:gd name="T28" fmla="*/ 0 w 574"/>
                <a:gd name="T29" fmla="*/ 150 h 301"/>
                <a:gd name="T30" fmla="*/ 3 w 574"/>
                <a:gd name="T31" fmla="*/ 120 h 301"/>
                <a:gd name="T32" fmla="*/ 13 w 574"/>
                <a:gd name="T33" fmla="*/ 92 h 301"/>
                <a:gd name="T34" fmla="*/ 26 w 574"/>
                <a:gd name="T35" fmla="*/ 66 h 301"/>
                <a:gd name="T36" fmla="*/ 45 w 574"/>
                <a:gd name="T37" fmla="*/ 44 h 301"/>
                <a:gd name="T38" fmla="*/ 67 w 574"/>
                <a:gd name="T39" fmla="*/ 25 h 301"/>
                <a:gd name="T40" fmla="*/ 93 w 574"/>
                <a:gd name="T41" fmla="*/ 12 h 301"/>
                <a:gd name="T42" fmla="*/ 121 w 574"/>
                <a:gd name="T43" fmla="*/ 3 h 301"/>
                <a:gd name="T44" fmla="*/ 152 w 574"/>
                <a:gd name="T45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74" h="301">
                  <a:moveTo>
                    <a:pt x="152" y="0"/>
                  </a:moveTo>
                  <a:lnTo>
                    <a:pt x="475" y="0"/>
                  </a:lnTo>
                  <a:lnTo>
                    <a:pt x="492" y="78"/>
                  </a:lnTo>
                  <a:lnTo>
                    <a:pt x="515" y="154"/>
                  </a:lnTo>
                  <a:lnTo>
                    <a:pt x="542" y="229"/>
                  </a:lnTo>
                  <a:lnTo>
                    <a:pt x="574" y="301"/>
                  </a:lnTo>
                  <a:lnTo>
                    <a:pt x="152" y="301"/>
                  </a:lnTo>
                  <a:lnTo>
                    <a:pt x="121" y="298"/>
                  </a:lnTo>
                  <a:lnTo>
                    <a:pt x="93" y="288"/>
                  </a:lnTo>
                  <a:lnTo>
                    <a:pt x="67" y="275"/>
                  </a:lnTo>
                  <a:lnTo>
                    <a:pt x="45" y="256"/>
                  </a:lnTo>
                  <a:lnTo>
                    <a:pt x="26" y="234"/>
                  </a:lnTo>
                  <a:lnTo>
                    <a:pt x="13" y="208"/>
                  </a:lnTo>
                  <a:lnTo>
                    <a:pt x="3" y="180"/>
                  </a:lnTo>
                  <a:lnTo>
                    <a:pt x="0" y="150"/>
                  </a:lnTo>
                  <a:lnTo>
                    <a:pt x="3" y="120"/>
                  </a:lnTo>
                  <a:lnTo>
                    <a:pt x="13" y="92"/>
                  </a:lnTo>
                  <a:lnTo>
                    <a:pt x="26" y="66"/>
                  </a:lnTo>
                  <a:lnTo>
                    <a:pt x="45" y="44"/>
                  </a:lnTo>
                  <a:lnTo>
                    <a:pt x="67" y="25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29"/>
            <p:cNvSpPr>
              <a:spLocks/>
            </p:cNvSpPr>
            <p:nvPr/>
          </p:nvSpPr>
          <p:spPr bwMode="auto">
            <a:xfrm>
              <a:off x="-737" y="2507"/>
              <a:ext cx="53" cy="28"/>
            </a:xfrm>
            <a:custGeom>
              <a:avLst/>
              <a:gdLst>
                <a:gd name="T0" fmla="*/ 152 w 586"/>
                <a:gd name="T1" fmla="*/ 0 h 302"/>
                <a:gd name="T2" fmla="*/ 586 w 586"/>
                <a:gd name="T3" fmla="*/ 0 h 302"/>
                <a:gd name="T4" fmla="*/ 552 w 586"/>
                <a:gd name="T5" fmla="*/ 72 h 302"/>
                <a:gd name="T6" fmla="*/ 522 w 586"/>
                <a:gd name="T7" fmla="*/ 147 h 302"/>
                <a:gd name="T8" fmla="*/ 498 w 586"/>
                <a:gd name="T9" fmla="*/ 223 h 302"/>
                <a:gd name="T10" fmla="*/ 479 w 586"/>
                <a:gd name="T11" fmla="*/ 302 h 302"/>
                <a:gd name="T12" fmla="*/ 152 w 586"/>
                <a:gd name="T13" fmla="*/ 302 h 302"/>
                <a:gd name="T14" fmla="*/ 121 w 586"/>
                <a:gd name="T15" fmla="*/ 299 h 302"/>
                <a:gd name="T16" fmla="*/ 93 w 586"/>
                <a:gd name="T17" fmla="*/ 289 h 302"/>
                <a:gd name="T18" fmla="*/ 67 w 586"/>
                <a:gd name="T19" fmla="*/ 276 h 302"/>
                <a:gd name="T20" fmla="*/ 45 w 586"/>
                <a:gd name="T21" fmla="*/ 257 h 302"/>
                <a:gd name="T22" fmla="*/ 26 w 586"/>
                <a:gd name="T23" fmla="*/ 235 h 302"/>
                <a:gd name="T24" fmla="*/ 13 w 586"/>
                <a:gd name="T25" fmla="*/ 209 h 302"/>
                <a:gd name="T26" fmla="*/ 3 w 586"/>
                <a:gd name="T27" fmla="*/ 181 h 302"/>
                <a:gd name="T28" fmla="*/ 0 w 586"/>
                <a:gd name="T29" fmla="*/ 151 h 302"/>
                <a:gd name="T30" fmla="*/ 3 w 586"/>
                <a:gd name="T31" fmla="*/ 121 h 302"/>
                <a:gd name="T32" fmla="*/ 13 w 586"/>
                <a:gd name="T33" fmla="*/ 93 h 302"/>
                <a:gd name="T34" fmla="*/ 26 w 586"/>
                <a:gd name="T35" fmla="*/ 67 h 302"/>
                <a:gd name="T36" fmla="*/ 45 w 586"/>
                <a:gd name="T37" fmla="*/ 45 h 302"/>
                <a:gd name="T38" fmla="*/ 67 w 586"/>
                <a:gd name="T39" fmla="*/ 26 h 302"/>
                <a:gd name="T40" fmla="*/ 93 w 586"/>
                <a:gd name="T41" fmla="*/ 13 h 302"/>
                <a:gd name="T42" fmla="*/ 121 w 586"/>
                <a:gd name="T43" fmla="*/ 3 h 302"/>
                <a:gd name="T44" fmla="*/ 152 w 586"/>
                <a:gd name="T45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86" h="302">
                  <a:moveTo>
                    <a:pt x="152" y="0"/>
                  </a:moveTo>
                  <a:lnTo>
                    <a:pt x="586" y="0"/>
                  </a:lnTo>
                  <a:lnTo>
                    <a:pt x="552" y="72"/>
                  </a:lnTo>
                  <a:lnTo>
                    <a:pt x="522" y="147"/>
                  </a:lnTo>
                  <a:lnTo>
                    <a:pt x="498" y="223"/>
                  </a:lnTo>
                  <a:lnTo>
                    <a:pt x="479" y="302"/>
                  </a:lnTo>
                  <a:lnTo>
                    <a:pt x="152" y="302"/>
                  </a:lnTo>
                  <a:lnTo>
                    <a:pt x="121" y="299"/>
                  </a:lnTo>
                  <a:lnTo>
                    <a:pt x="93" y="289"/>
                  </a:lnTo>
                  <a:lnTo>
                    <a:pt x="67" y="276"/>
                  </a:lnTo>
                  <a:lnTo>
                    <a:pt x="45" y="257"/>
                  </a:lnTo>
                  <a:lnTo>
                    <a:pt x="26" y="235"/>
                  </a:lnTo>
                  <a:lnTo>
                    <a:pt x="13" y="209"/>
                  </a:lnTo>
                  <a:lnTo>
                    <a:pt x="3" y="181"/>
                  </a:lnTo>
                  <a:lnTo>
                    <a:pt x="0" y="151"/>
                  </a:lnTo>
                  <a:lnTo>
                    <a:pt x="3" y="121"/>
                  </a:lnTo>
                  <a:lnTo>
                    <a:pt x="13" y="93"/>
                  </a:lnTo>
                  <a:lnTo>
                    <a:pt x="26" y="67"/>
                  </a:lnTo>
                  <a:lnTo>
                    <a:pt x="45" y="45"/>
                  </a:lnTo>
                  <a:lnTo>
                    <a:pt x="67" y="26"/>
                  </a:lnTo>
                  <a:lnTo>
                    <a:pt x="93" y="13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30"/>
            <p:cNvSpPr>
              <a:spLocks/>
            </p:cNvSpPr>
            <p:nvPr/>
          </p:nvSpPr>
          <p:spPr bwMode="auto">
            <a:xfrm>
              <a:off x="-737" y="2473"/>
              <a:ext cx="81" cy="27"/>
            </a:xfrm>
            <a:custGeom>
              <a:avLst/>
              <a:gdLst>
                <a:gd name="T0" fmla="*/ 152 w 888"/>
                <a:gd name="T1" fmla="*/ 0 h 300"/>
                <a:gd name="T2" fmla="*/ 888 w 888"/>
                <a:gd name="T3" fmla="*/ 0 h 300"/>
                <a:gd name="T4" fmla="*/ 829 w 888"/>
                <a:gd name="T5" fmla="*/ 53 h 300"/>
                <a:gd name="T6" fmla="*/ 774 w 888"/>
                <a:gd name="T7" fmla="*/ 110 h 300"/>
                <a:gd name="T8" fmla="*/ 721 w 888"/>
                <a:gd name="T9" fmla="*/ 170 h 300"/>
                <a:gd name="T10" fmla="*/ 674 w 888"/>
                <a:gd name="T11" fmla="*/ 234 h 300"/>
                <a:gd name="T12" fmla="*/ 630 w 888"/>
                <a:gd name="T13" fmla="*/ 300 h 300"/>
                <a:gd name="T14" fmla="*/ 152 w 888"/>
                <a:gd name="T15" fmla="*/ 300 h 300"/>
                <a:gd name="T16" fmla="*/ 121 w 888"/>
                <a:gd name="T17" fmla="*/ 297 h 300"/>
                <a:gd name="T18" fmla="*/ 93 w 888"/>
                <a:gd name="T19" fmla="*/ 289 h 300"/>
                <a:gd name="T20" fmla="*/ 67 w 888"/>
                <a:gd name="T21" fmla="*/ 274 h 300"/>
                <a:gd name="T22" fmla="*/ 45 w 888"/>
                <a:gd name="T23" fmla="*/ 256 h 300"/>
                <a:gd name="T24" fmla="*/ 26 w 888"/>
                <a:gd name="T25" fmla="*/ 234 h 300"/>
                <a:gd name="T26" fmla="*/ 13 w 888"/>
                <a:gd name="T27" fmla="*/ 209 h 300"/>
                <a:gd name="T28" fmla="*/ 3 w 888"/>
                <a:gd name="T29" fmla="*/ 179 h 300"/>
                <a:gd name="T30" fmla="*/ 0 w 888"/>
                <a:gd name="T31" fmla="*/ 149 h 300"/>
                <a:gd name="T32" fmla="*/ 3 w 888"/>
                <a:gd name="T33" fmla="*/ 119 h 300"/>
                <a:gd name="T34" fmla="*/ 13 w 888"/>
                <a:gd name="T35" fmla="*/ 91 h 300"/>
                <a:gd name="T36" fmla="*/ 26 w 888"/>
                <a:gd name="T37" fmla="*/ 66 h 300"/>
                <a:gd name="T38" fmla="*/ 45 w 888"/>
                <a:gd name="T39" fmla="*/ 43 h 300"/>
                <a:gd name="T40" fmla="*/ 67 w 888"/>
                <a:gd name="T41" fmla="*/ 26 h 300"/>
                <a:gd name="T42" fmla="*/ 93 w 888"/>
                <a:gd name="T43" fmla="*/ 11 h 300"/>
                <a:gd name="T44" fmla="*/ 121 w 888"/>
                <a:gd name="T45" fmla="*/ 3 h 300"/>
                <a:gd name="T46" fmla="*/ 152 w 888"/>
                <a:gd name="T4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88" h="300">
                  <a:moveTo>
                    <a:pt x="152" y="0"/>
                  </a:moveTo>
                  <a:lnTo>
                    <a:pt x="888" y="0"/>
                  </a:lnTo>
                  <a:lnTo>
                    <a:pt x="829" y="53"/>
                  </a:lnTo>
                  <a:lnTo>
                    <a:pt x="774" y="110"/>
                  </a:lnTo>
                  <a:lnTo>
                    <a:pt x="721" y="170"/>
                  </a:lnTo>
                  <a:lnTo>
                    <a:pt x="674" y="234"/>
                  </a:lnTo>
                  <a:lnTo>
                    <a:pt x="630" y="300"/>
                  </a:lnTo>
                  <a:lnTo>
                    <a:pt x="152" y="300"/>
                  </a:lnTo>
                  <a:lnTo>
                    <a:pt x="121" y="297"/>
                  </a:lnTo>
                  <a:lnTo>
                    <a:pt x="93" y="289"/>
                  </a:lnTo>
                  <a:lnTo>
                    <a:pt x="67" y="274"/>
                  </a:lnTo>
                  <a:lnTo>
                    <a:pt x="45" y="256"/>
                  </a:lnTo>
                  <a:lnTo>
                    <a:pt x="26" y="234"/>
                  </a:lnTo>
                  <a:lnTo>
                    <a:pt x="13" y="209"/>
                  </a:lnTo>
                  <a:lnTo>
                    <a:pt x="3" y="179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3" y="91"/>
                  </a:lnTo>
                  <a:lnTo>
                    <a:pt x="26" y="66"/>
                  </a:lnTo>
                  <a:lnTo>
                    <a:pt x="45" y="43"/>
                  </a:lnTo>
                  <a:lnTo>
                    <a:pt x="67" y="26"/>
                  </a:lnTo>
                  <a:lnTo>
                    <a:pt x="93" y="11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31"/>
            <p:cNvSpPr>
              <a:spLocks/>
            </p:cNvSpPr>
            <p:nvPr/>
          </p:nvSpPr>
          <p:spPr bwMode="auto">
            <a:xfrm>
              <a:off x="-737" y="2611"/>
              <a:ext cx="78" cy="27"/>
            </a:xfrm>
            <a:custGeom>
              <a:avLst/>
              <a:gdLst>
                <a:gd name="T0" fmla="*/ 152 w 861"/>
                <a:gd name="T1" fmla="*/ 0 h 300"/>
                <a:gd name="T2" fmla="*/ 615 w 861"/>
                <a:gd name="T3" fmla="*/ 0 h 300"/>
                <a:gd name="T4" fmla="*/ 655 w 861"/>
                <a:gd name="T5" fmla="*/ 66 h 300"/>
                <a:gd name="T6" fmla="*/ 701 w 861"/>
                <a:gd name="T7" fmla="*/ 130 h 300"/>
                <a:gd name="T8" fmla="*/ 751 w 861"/>
                <a:gd name="T9" fmla="*/ 190 h 300"/>
                <a:gd name="T10" fmla="*/ 804 w 861"/>
                <a:gd name="T11" fmla="*/ 247 h 300"/>
                <a:gd name="T12" fmla="*/ 861 w 861"/>
                <a:gd name="T13" fmla="*/ 300 h 300"/>
                <a:gd name="T14" fmla="*/ 152 w 861"/>
                <a:gd name="T15" fmla="*/ 300 h 300"/>
                <a:gd name="T16" fmla="*/ 121 w 861"/>
                <a:gd name="T17" fmla="*/ 297 h 300"/>
                <a:gd name="T18" fmla="*/ 93 w 861"/>
                <a:gd name="T19" fmla="*/ 289 h 300"/>
                <a:gd name="T20" fmla="*/ 67 w 861"/>
                <a:gd name="T21" fmla="*/ 275 h 300"/>
                <a:gd name="T22" fmla="*/ 45 w 861"/>
                <a:gd name="T23" fmla="*/ 257 h 300"/>
                <a:gd name="T24" fmla="*/ 26 w 861"/>
                <a:gd name="T25" fmla="*/ 235 h 300"/>
                <a:gd name="T26" fmla="*/ 13 w 861"/>
                <a:gd name="T27" fmla="*/ 209 h 300"/>
                <a:gd name="T28" fmla="*/ 3 w 861"/>
                <a:gd name="T29" fmla="*/ 181 h 300"/>
                <a:gd name="T30" fmla="*/ 0 w 861"/>
                <a:gd name="T31" fmla="*/ 151 h 300"/>
                <a:gd name="T32" fmla="*/ 3 w 861"/>
                <a:gd name="T33" fmla="*/ 119 h 300"/>
                <a:gd name="T34" fmla="*/ 13 w 861"/>
                <a:gd name="T35" fmla="*/ 91 h 300"/>
                <a:gd name="T36" fmla="*/ 26 w 861"/>
                <a:gd name="T37" fmla="*/ 66 h 300"/>
                <a:gd name="T38" fmla="*/ 45 w 861"/>
                <a:gd name="T39" fmla="*/ 44 h 300"/>
                <a:gd name="T40" fmla="*/ 67 w 861"/>
                <a:gd name="T41" fmla="*/ 26 h 300"/>
                <a:gd name="T42" fmla="*/ 93 w 861"/>
                <a:gd name="T43" fmla="*/ 11 h 300"/>
                <a:gd name="T44" fmla="*/ 121 w 861"/>
                <a:gd name="T45" fmla="*/ 3 h 300"/>
                <a:gd name="T46" fmla="*/ 152 w 861"/>
                <a:gd name="T47" fmla="*/ 0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861" h="300">
                  <a:moveTo>
                    <a:pt x="152" y="0"/>
                  </a:moveTo>
                  <a:lnTo>
                    <a:pt x="615" y="0"/>
                  </a:lnTo>
                  <a:lnTo>
                    <a:pt x="655" y="66"/>
                  </a:lnTo>
                  <a:lnTo>
                    <a:pt x="701" y="130"/>
                  </a:lnTo>
                  <a:lnTo>
                    <a:pt x="751" y="190"/>
                  </a:lnTo>
                  <a:lnTo>
                    <a:pt x="804" y="247"/>
                  </a:lnTo>
                  <a:lnTo>
                    <a:pt x="861" y="300"/>
                  </a:lnTo>
                  <a:lnTo>
                    <a:pt x="152" y="300"/>
                  </a:lnTo>
                  <a:lnTo>
                    <a:pt x="121" y="297"/>
                  </a:lnTo>
                  <a:lnTo>
                    <a:pt x="93" y="289"/>
                  </a:lnTo>
                  <a:lnTo>
                    <a:pt x="67" y="275"/>
                  </a:lnTo>
                  <a:lnTo>
                    <a:pt x="45" y="257"/>
                  </a:lnTo>
                  <a:lnTo>
                    <a:pt x="26" y="235"/>
                  </a:lnTo>
                  <a:lnTo>
                    <a:pt x="13" y="209"/>
                  </a:lnTo>
                  <a:lnTo>
                    <a:pt x="3" y="181"/>
                  </a:lnTo>
                  <a:lnTo>
                    <a:pt x="0" y="151"/>
                  </a:lnTo>
                  <a:lnTo>
                    <a:pt x="3" y="119"/>
                  </a:lnTo>
                  <a:lnTo>
                    <a:pt x="13" y="91"/>
                  </a:lnTo>
                  <a:lnTo>
                    <a:pt x="26" y="66"/>
                  </a:lnTo>
                  <a:lnTo>
                    <a:pt x="45" y="44"/>
                  </a:lnTo>
                  <a:lnTo>
                    <a:pt x="67" y="26"/>
                  </a:lnTo>
                  <a:lnTo>
                    <a:pt x="93" y="11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32"/>
            <p:cNvSpPr>
              <a:spLocks/>
            </p:cNvSpPr>
            <p:nvPr/>
          </p:nvSpPr>
          <p:spPr bwMode="auto">
            <a:xfrm>
              <a:off x="-737" y="2645"/>
              <a:ext cx="128" cy="28"/>
            </a:xfrm>
            <a:custGeom>
              <a:avLst/>
              <a:gdLst>
                <a:gd name="T0" fmla="*/ 152 w 1414"/>
                <a:gd name="T1" fmla="*/ 0 h 301"/>
                <a:gd name="T2" fmla="*/ 958 w 1414"/>
                <a:gd name="T3" fmla="*/ 0 h 301"/>
                <a:gd name="T4" fmla="*/ 1027 w 1414"/>
                <a:gd name="T5" fmla="*/ 46 h 301"/>
                <a:gd name="T6" fmla="*/ 1099 w 1414"/>
                <a:gd name="T7" fmla="*/ 88 h 301"/>
                <a:gd name="T8" fmla="*/ 1174 w 1414"/>
                <a:gd name="T9" fmla="*/ 124 h 301"/>
                <a:gd name="T10" fmla="*/ 1251 w 1414"/>
                <a:gd name="T11" fmla="*/ 155 h 301"/>
                <a:gd name="T12" fmla="*/ 1332 w 1414"/>
                <a:gd name="T13" fmla="*/ 181 h 301"/>
                <a:gd name="T14" fmla="*/ 1414 w 1414"/>
                <a:gd name="T15" fmla="*/ 202 h 301"/>
                <a:gd name="T16" fmla="*/ 1403 w 1414"/>
                <a:gd name="T17" fmla="*/ 226 h 301"/>
                <a:gd name="T18" fmla="*/ 1388 w 1414"/>
                <a:gd name="T19" fmla="*/ 247 h 301"/>
                <a:gd name="T20" fmla="*/ 1370 w 1414"/>
                <a:gd name="T21" fmla="*/ 266 h 301"/>
                <a:gd name="T22" fmla="*/ 1349 w 1414"/>
                <a:gd name="T23" fmla="*/ 280 h 301"/>
                <a:gd name="T24" fmla="*/ 1325 w 1414"/>
                <a:gd name="T25" fmla="*/ 292 h 301"/>
                <a:gd name="T26" fmla="*/ 1300 w 1414"/>
                <a:gd name="T27" fmla="*/ 299 h 301"/>
                <a:gd name="T28" fmla="*/ 1273 w 1414"/>
                <a:gd name="T29" fmla="*/ 301 h 301"/>
                <a:gd name="T30" fmla="*/ 152 w 1414"/>
                <a:gd name="T31" fmla="*/ 301 h 301"/>
                <a:gd name="T32" fmla="*/ 121 w 1414"/>
                <a:gd name="T33" fmla="*/ 298 h 301"/>
                <a:gd name="T34" fmla="*/ 93 w 1414"/>
                <a:gd name="T35" fmla="*/ 290 h 301"/>
                <a:gd name="T36" fmla="*/ 67 w 1414"/>
                <a:gd name="T37" fmla="*/ 275 h 301"/>
                <a:gd name="T38" fmla="*/ 45 w 1414"/>
                <a:gd name="T39" fmla="*/ 257 h 301"/>
                <a:gd name="T40" fmla="*/ 26 w 1414"/>
                <a:gd name="T41" fmla="*/ 234 h 301"/>
                <a:gd name="T42" fmla="*/ 13 w 1414"/>
                <a:gd name="T43" fmla="*/ 210 h 301"/>
                <a:gd name="T44" fmla="*/ 3 w 1414"/>
                <a:gd name="T45" fmla="*/ 180 h 301"/>
                <a:gd name="T46" fmla="*/ 0 w 1414"/>
                <a:gd name="T47" fmla="*/ 150 h 301"/>
                <a:gd name="T48" fmla="*/ 3 w 1414"/>
                <a:gd name="T49" fmla="*/ 120 h 301"/>
                <a:gd name="T50" fmla="*/ 13 w 1414"/>
                <a:gd name="T51" fmla="*/ 92 h 301"/>
                <a:gd name="T52" fmla="*/ 26 w 1414"/>
                <a:gd name="T53" fmla="*/ 66 h 301"/>
                <a:gd name="T54" fmla="*/ 45 w 1414"/>
                <a:gd name="T55" fmla="*/ 44 h 301"/>
                <a:gd name="T56" fmla="*/ 67 w 1414"/>
                <a:gd name="T57" fmla="*/ 25 h 301"/>
                <a:gd name="T58" fmla="*/ 93 w 1414"/>
                <a:gd name="T59" fmla="*/ 12 h 301"/>
                <a:gd name="T60" fmla="*/ 121 w 1414"/>
                <a:gd name="T61" fmla="*/ 4 h 301"/>
                <a:gd name="T62" fmla="*/ 152 w 1414"/>
                <a:gd name="T63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14" h="301">
                  <a:moveTo>
                    <a:pt x="152" y="0"/>
                  </a:moveTo>
                  <a:lnTo>
                    <a:pt x="958" y="0"/>
                  </a:lnTo>
                  <a:lnTo>
                    <a:pt x="1027" y="46"/>
                  </a:lnTo>
                  <a:lnTo>
                    <a:pt x="1099" y="88"/>
                  </a:lnTo>
                  <a:lnTo>
                    <a:pt x="1174" y="124"/>
                  </a:lnTo>
                  <a:lnTo>
                    <a:pt x="1251" y="155"/>
                  </a:lnTo>
                  <a:lnTo>
                    <a:pt x="1332" y="181"/>
                  </a:lnTo>
                  <a:lnTo>
                    <a:pt x="1414" y="202"/>
                  </a:lnTo>
                  <a:lnTo>
                    <a:pt x="1403" y="226"/>
                  </a:lnTo>
                  <a:lnTo>
                    <a:pt x="1388" y="247"/>
                  </a:lnTo>
                  <a:lnTo>
                    <a:pt x="1370" y="266"/>
                  </a:lnTo>
                  <a:lnTo>
                    <a:pt x="1349" y="280"/>
                  </a:lnTo>
                  <a:lnTo>
                    <a:pt x="1325" y="292"/>
                  </a:lnTo>
                  <a:lnTo>
                    <a:pt x="1300" y="299"/>
                  </a:lnTo>
                  <a:lnTo>
                    <a:pt x="1273" y="301"/>
                  </a:lnTo>
                  <a:lnTo>
                    <a:pt x="152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7" y="275"/>
                  </a:lnTo>
                  <a:lnTo>
                    <a:pt x="45" y="257"/>
                  </a:lnTo>
                  <a:lnTo>
                    <a:pt x="26" y="234"/>
                  </a:lnTo>
                  <a:lnTo>
                    <a:pt x="13" y="210"/>
                  </a:lnTo>
                  <a:lnTo>
                    <a:pt x="3" y="180"/>
                  </a:lnTo>
                  <a:lnTo>
                    <a:pt x="0" y="150"/>
                  </a:lnTo>
                  <a:lnTo>
                    <a:pt x="3" y="120"/>
                  </a:lnTo>
                  <a:lnTo>
                    <a:pt x="13" y="92"/>
                  </a:lnTo>
                  <a:lnTo>
                    <a:pt x="26" y="66"/>
                  </a:lnTo>
                  <a:lnTo>
                    <a:pt x="45" y="44"/>
                  </a:lnTo>
                  <a:lnTo>
                    <a:pt x="67" y="25"/>
                  </a:lnTo>
                  <a:lnTo>
                    <a:pt x="93" y="12"/>
                  </a:lnTo>
                  <a:lnTo>
                    <a:pt x="121" y="4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33"/>
            <p:cNvSpPr>
              <a:spLocks/>
            </p:cNvSpPr>
            <p:nvPr/>
          </p:nvSpPr>
          <p:spPr bwMode="auto">
            <a:xfrm>
              <a:off x="-737" y="2680"/>
              <a:ext cx="129" cy="27"/>
            </a:xfrm>
            <a:custGeom>
              <a:avLst/>
              <a:gdLst>
                <a:gd name="T0" fmla="*/ 152 w 1424"/>
                <a:gd name="T1" fmla="*/ 0 h 302"/>
                <a:gd name="T2" fmla="*/ 1273 w 1424"/>
                <a:gd name="T3" fmla="*/ 0 h 302"/>
                <a:gd name="T4" fmla="*/ 1303 w 1424"/>
                <a:gd name="T5" fmla="*/ 3 h 302"/>
                <a:gd name="T6" fmla="*/ 1332 w 1424"/>
                <a:gd name="T7" fmla="*/ 13 h 302"/>
                <a:gd name="T8" fmla="*/ 1357 w 1424"/>
                <a:gd name="T9" fmla="*/ 26 h 302"/>
                <a:gd name="T10" fmla="*/ 1380 w 1424"/>
                <a:gd name="T11" fmla="*/ 45 h 302"/>
                <a:gd name="T12" fmla="*/ 1398 w 1424"/>
                <a:gd name="T13" fmla="*/ 67 h 302"/>
                <a:gd name="T14" fmla="*/ 1412 w 1424"/>
                <a:gd name="T15" fmla="*/ 92 h 302"/>
                <a:gd name="T16" fmla="*/ 1421 w 1424"/>
                <a:gd name="T17" fmla="*/ 121 h 302"/>
                <a:gd name="T18" fmla="*/ 1424 w 1424"/>
                <a:gd name="T19" fmla="*/ 151 h 302"/>
                <a:gd name="T20" fmla="*/ 1421 w 1424"/>
                <a:gd name="T21" fmla="*/ 181 h 302"/>
                <a:gd name="T22" fmla="*/ 1412 w 1424"/>
                <a:gd name="T23" fmla="*/ 209 h 302"/>
                <a:gd name="T24" fmla="*/ 1398 w 1424"/>
                <a:gd name="T25" fmla="*/ 235 h 302"/>
                <a:gd name="T26" fmla="*/ 1380 w 1424"/>
                <a:gd name="T27" fmla="*/ 257 h 302"/>
                <a:gd name="T28" fmla="*/ 1357 w 1424"/>
                <a:gd name="T29" fmla="*/ 276 h 302"/>
                <a:gd name="T30" fmla="*/ 1332 w 1424"/>
                <a:gd name="T31" fmla="*/ 289 h 302"/>
                <a:gd name="T32" fmla="*/ 1303 w 1424"/>
                <a:gd name="T33" fmla="*/ 299 h 302"/>
                <a:gd name="T34" fmla="*/ 1273 w 1424"/>
                <a:gd name="T35" fmla="*/ 302 h 302"/>
                <a:gd name="T36" fmla="*/ 152 w 1424"/>
                <a:gd name="T37" fmla="*/ 302 h 302"/>
                <a:gd name="T38" fmla="*/ 121 w 1424"/>
                <a:gd name="T39" fmla="*/ 299 h 302"/>
                <a:gd name="T40" fmla="*/ 93 w 1424"/>
                <a:gd name="T41" fmla="*/ 289 h 302"/>
                <a:gd name="T42" fmla="*/ 67 w 1424"/>
                <a:gd name="T43" fmla="*/ 276 h 302"/>
                <a:gd name="T44" fmla="*/ 45 w 1424"/>
                <a:gd name="T45" fmla="*/ 257 h 302"/>
                <a:gd name="T46" fmla="*/ 26 w 1424"/>
                <a:gd name="T47" fmla="*/ 235 h 302"/>
                <a:gd name="T48" fmla="*/ 13 w 1424"/>
                <a:gd name="T49" fmla="*/ 209 h 302"/>
                <a:gd name="T50" fmla="*/ 3 w 1424"/>
                <a:gd name="T51" fmla="*/ 181 h 302"/>
                <a:gd name="T52" fmla="*/ 0 w 1424"/>
                <a:gd name="T53" fmla="*/ 151 h 302"/>
                <a:gd name="T54" fmla="*/ 3 w 1424"/>
                <a:gd name="T55" fmla="*/ 121 h 302"/>
                <a:gd name="T56" fmla="*/ 13 w 1424"/>
                <a:gd name="T57" fmla="*/ 92 h 302"/>
                <a:gd name="T58" fmla="*/ 26 w 1424"/>
                <a:gd name="T59" fmla="*/ 67 h 302"/>
                <a:gd name="T60" fmla="*/ 45 w 1424"/>
                <a:gd name="T61" fmla="*/ 45 h 302"/>
                <a:gd name="T62" fmla="*/ 67 w 1424"/>
                <a:gd name="T63" fmla="*/ 26 h 302"/>
                <a:gd name="T64" fmla="*/ 93 w 1424"/>
                <a:gd name="T65" fmla="*/ 13 h 302"/>
                <a:gd name="T66" fmla="*/ 121 w 1424"/>
                <a:gd name="T67" fmla="*/ 3 h 302"/>
                <a:gd name="T68" fmla="*/ 152 w 1424"/>
                <a:gd name="T6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24" h="302">
                  <a:moveTo>
                    <a:pt x="152" y="0"/>
                  </a:moveTo>
                  <a:lnTo>
                    <a:pt x="1273" y="0"/>
                  </a:lnTo>
                  <a:lnTo>
                    <a:pt x="1303" y="3"/>
                  </a:lnTo>
                  <a:lnTo>
                    <a:pt x="1332" y="13"/>
                  </a:lnTo>
                  <a:lnTo>
                    <a:pt x="1357" y="26"/>
                  </a:lnTo>
                  <a:lnTo>
                    <a:pt x="1380" y="45"/>
                  </a:lnTo>
                  <a:lnTo>
                    <a:pt x="1398" y="67"/>
                  </a:lnTo>
                  <a:lnTo>
                    <a:pt x="1412" y="92"/>
                  </a:lnTo>
                  <a:lnTo>
                    <a:pt x="1421" y="121"/>
                  </a:lnTo>
                  <a:lnTo>
                    <a:pt x="1424" y="151"/>
                  </a:lnTo>
                  <a:lnTo>
                    <a:pt x="1421" y="181"/>
                  </a:lnTo>
                  <a:lnTo>
                    <a:pt x="1412" y="209"/>
                  </a:lnTo>
                  <a:lnTo>
                    <a:pt x="1398" y="235"/>
                  </a:lnTo>
                  <a:lnTo>
                    <a:pt x="1380" y="257"/>
                  </a:lnTo>
                  <a:lnTo>
                    <a:pt x="1357" y="276"/>
                  </a:lnTo>
                  <a:lnTo>
                    <a:pt x="1332" y="289"/>
                  </a:lnTo>
                  <a:lnTo>
                    <a:pt x="1303" y="299"/>
                  </a:lnTo>
                  <a:lnTo>
                    <a:pt x="1273" y="302"/>
                  </a:lnTo>
                  <a:lnTo>
                    <a:pt x="152" y="302"/>
                  </a:lnTo>
                  <a:lnTo>
                    <a:pt x="121" y="299"/>
                  </a:lnTo>
                  <a:lnTo>
                    <a:pt x="93" y="289"/>
                  </a:lnTo>
                  <a:lnTo>
                    <a:pt x="67" y="276"/>
                  </a:lnTo>
                  <a:lnTo>
                    <a:pt x="45" y="257"/>
                  </a:lnTo>
                  <a:lnTo>
                    <a:pt x="26" y="235"/>
                  </a:lnTo>
                  <a:lnTo>
                    <a:pt x="13" y="209"/>
                  </a:lnTo>
                  <a:lnTo>
                    <a:pt x="3" y="181"/>
                  </a:lnTo>
                  <a:lnTo>
                    <a:pt x="0" y="151"/>
                  </a:lnTo>
                  <a:lnTo>
                    <a:pt x="3" y="121"/>
                  </a:lnTo>
                  <a:lnTo>
                    <a:pt x="13" y="92"/>
                  </a:lnTo>
                  <a:lnTo>
                    <a:pt x="26" y="67"/>
                  </a:lnTo>
                  <a:lnTo>
                    <a:pt x="45" y="45"/>
                  </a:lnTo>
                  <a:lnTo>
                    <a:pt x="67" y="26"/>
                  </a:lnTo>
                  <a:lnTo>
                    <a:pt x="93" y="13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34"/>
            <p:cNvSpPr>
              <a:spLocks noEditPoints="1"/>
            </p:cNvSpPr>
            <p:nvPr/>
          </p:nvSpPr>
          <p:spPr bwMode="auto">
            <a:xfrm>
              <a:off x="-682" y="2461"/>
              <a:ext cx="193" cy="191"/>
            </a:xfrm>
            <a:custGeom>
              <a:avLst/>
              <a:gdLst>
                <a:gd name="T0" fmla="*/ 924 w 2119"/>
                <a:gd name="T1" fmla="*/ 314 h 2106"/>
                <a:gd name="T2" fmla="*/ 735 w 2119"/>
                <a:gd name="T3" fmla="*/ 374 h 2106"/>
                <a:gd name="T4" fmla="*/ 573 w 2119"/>
                <a:gd name="T5" fmla="*/ 479 h 2106"/>
                <a:gd name="T6" fmla="*/ 441 w 2119"/>
                <a:gd name="T7" fmla="*/ 620 h 2106"/>
                <a:gd name="T8" fmla="*/ 350 w 2119"/>
                <a:gd name="T9" fmla="*/ 792 h 2106"/>
                <a:gd name="T10" fmla="*/ 306 w 2119"/>
                <a:gd name="T11" fmla="*/ 985 h 2106"/>
                <a:gd name="T12" fmla="*/ 315 w 2119"/>
                <a:gd name="T13" fmla="*/ 1188 h 2106"/>
                <a:gd name="T14" fmla="*/ 376 w 2119"/>
                <a:gd name="T15" fmla="*/ 1375 h 2106"/>
                <a:gd name="T16" fmla="*/ 481 w 2119"/>
                <a:gd name="T17" fmla="*/ 1538 h 2106"/>
                <a:gd name="T18" fmla="*/ 623 w 2119"/>
                <a:gd name="T19" fmla="*/ 1668 h 2106"/>
                <a:gd name="T20" fmla="*/ 796 w 2119"/>
                <a:gd name="T21" fmla="*/ 1758 h 2106"/>
                <a:gd name="T22" fmla="*/ 991 w 2119"/>
                <a:gd name="T23" fmla="*/ 1803 h 2106"/>
                <a:gd name="T24" fmla="*/ 1196 w 2119"/>
                <a:gd name="T25" fmla="*/ 1793 h 2106"/>
                <a:gd name="T26" fmla="*/ 1384 w 2119"/>
                <a:gd name="T27" fmla="*/ 1733 h 2106"/>
                <a:gd name="T28" fmla="*/ 1548 w 2119"/>
                <a:gd name="T29" fmla="*/ 1628 h 2106"/>
                <a:gd name="T30" fmla="*/ 1678 w 2119"/>
                <a:gd name="T31" fmla="*/ 1487 h 2106"/>
                <a:gd name="T32" fmla="*/ 1770 w 2119"/>
                <a:gd name="T33" fmla="*/ 1316 h 2106"/>
                <a:gd name="T34" fmla="*/ 1813 w 2119"/>
                <a:gd name="T35" fmla="*/ 1122 h 2106"/>
                <a:gd name="T36" fmla="*/ 1804 w 2119"/>
                <a:gd name="T37" fmla="*/ 919 h 2106"/>
                <a:gd name="T38" fmla="*/ 1743 w 2119"/>
                <a:gd name="T39" fmla="*/ 732 h 2106"/>
                <a:gd name="T40" fmla="*/ 1639 w 2119"/>
                <a:gd name="T41" fmla="*/ 569 h 2106"/>
                <a:gd name="T42" fmla="*/ 1496 w 2119"/>
                <a:gd name="T43" fmla="*/ 439 h 2106"/>
                <a:gd name="T44" fmla="*/ 1324 w 2119"/>
                <a:gd name="T45" fmla="*/ 349 h 2106"/>
                <a:gd name="T46" fmla="*/ 1129 w 2119"/>
                <a:gd name="T47" fmla="*/ 304 h 2106"/>
                <a:gd name="T48" fmla="*/ 1142 w 2119"/>
                <a:gd name="T49" fmla="*/ 4 h 2106"/>
                <a:gd name="T50" fmla="*/ 1379 w 2119"/>
                <a:gd name="T51" fmla="*/ 49 h 2106"/>
                <a:gd name="T52" fmla="*/ 1595 w 2119"/>
                <a:gd name="T53" fmla="*/ 145 h 2106"/>
                <a:gd name="T54" fmla="*/ 1781 w 2119"/>
                <a:gd name="T55" fmla="*/ 282 h 2106"/>
                <a:gd name="T56" fmla="*/ 1933 w 2119"/>
                <a:gd name="T57" fmla="*/ 457 h 2106"/>
                <a:gd name="T58" fmla="*/ 2044 w 2119"/>
                <a:gd name="T59" fmla="*/ 662 h 2106"/>
                <a:gd name="T60" fmla="*/ 2107 w 2119"/>
                <a:gd name="T61" fmla="*/ 891 h 2106"/>
                <a:gd name="T62" fmla="*/ 2116 w 2119"/>
                <a:gd name="T63" fmla="*/ 1136 h 2106"/>
                <a:gd name="T64" fmla="*/ 2070 w 2119"/>
                <a:gd name="T65" fmla="*/ 1371 h 2106"/>
                <a:gd name="T66" fmla="*/ 1975 w 2119"/>
                <a:gd name="T67" fmla="*/ 1584 h 2106"/>
                <a:gd name="T68" fmla="*/ 1835 w 2119"/>
                <a:gd name="T69" fmla="*/ 1770 h 2106"/>
                <a:gd name="T70" fmla="*/ 1660 w 2119"/>
                <a:gd name="T71" fmla="*/ 1921 h 2106"/>
                <a:gd name="T72" fmla="*/ 1453 w 2119"/>
                <a:gd name="T73" fmla="*/ 2031 h 2106"/>
                <a:gd name="T74" fmla="*/ 1224 w 2119"/>
                <a:gd name="T75" fmla="*/ 2094 h 2106"/>
                <a:gd name="T76" fmla="*/ 977 w 2119"/>
                <a:gd name="T77" fmla="*/ 2103 h 2106"/>
                <a:gd name="T78" fmla="*/ 740 w 2119"/>
                <a:gd name="T79" fmla="*/ 2058 h 2106"/>
                <a:gd name="T80" fmla="*/ 526 w 2119"/>
                <a:gd name="T81" fmla="*/ 1962 h 2106"/>
                <a:gd name="T82" fmla="*/ 338 w 2119"/>
                <a:gd name="T83" fmla="*/ 1825 h 2106"/>
                <a:gd name="T84" fmla="*/ 187 w 2119"/>
                <a:gd name="T85" fmla="*/ 1650 h 2106"/>
                <a:gd name="T86" fmla="*/ 76 w 2119"/>
                <a:gd name="T87" fmla="*/ 1445 h 2106"/>
                <a:gd name="T88" fmla="*/ 13 w 2119"/>
                <a:gd name="T89" fmla="*/ 1216 h 2106"/>
                <a:gd name="T90" fmla="*/ 3 w 2119"/>
                <a:gd name="T91" fmla="*/ 972 h 2106"/>
                <a:gd name="T92" fmla="*/ 49 w 2119"/>
                <a:gd name="T93" fmla="*/ 736 h 2106"/>
                <a:gd name="T94" fmla="*/ 145 w 2119"/>
                <a:gd name="T95" fmla="*/ 523 h 2106"/>
                <a:gd name="T96" fmla="*/ 284 w 2119"/>
                <a:gd name="T97" fmla="*/ 337 h 2106"/>
                <a:gd name="T98" fmla="*/ 460 w 2119"/>
                <a:gd name="T99" fmla="*/ 187 h 2106"/>
                <a:gd name="T100" fmla="*/ 666 w 2119"/>
                <a:gd name="T101" fmla="*/ 76 h 2106"/>
                <a:gd name="T102" fmla="*/ 896 w 2119"/>
                <a:gd name="T103" fmla="*/ 13 h 2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19" h="2106">
                  <a:moveTo>
                    <a:pt x="1060" y="301"/>
                  </a:moveTo>
                  <a:lnTo>
                    <a:pt x="991" y="304"/>
                  </a:lnTo>
                  <a:lnTo>
                    <a:pt x="924" y="314"/>
                  </a:lnTo>
                  <a:lnTo>
                    <a:pt x="859" y="328"/>
                  </a:lnTo>
                  <a:lnTo>
                    <a:pt x="796" y="349"/>
                  </a:lnTo>
                  <a:lnTo>
                    <a:pt x="735" y="374"/>
                  </a:lnTo>
                  <a:lnTo>
                    <a:pt x="678" y="404"/>
                  </a:lnTo>
                  <a:lnTo>
                    <a:pt x="623" y="439"/>
                  </a:lnTo>
                  <a:lnTo>
                    <a:pt x="573" y="479"/>
                  </a:lnTo>
                  <a:lnTo>
                    <a:pt x="525" y="523"/>
                  </a:lnTo>
                  <a:lnTo>
                    <a:pt x="481" y="569"/>
                  </a:lnTo>
                  <a:lnTo>
                    <a:pt x="441" y="620"/>
                  </a:lnTo>
                  <a:lnTo>
                    <a:pt x="406" y="674"/>
                  </a:lnTo>
                  <a:lnTo>
                    <a:pt x="376" y="732"/>
                  </a:lnTo>
                  <a:lnTo>
                    <a:pt x="350" y="792"/>
                  </a:lnTo>
                  <a:lnTo>
                    <a:pt x="330" y="854"/>
                  </a:lnTo>
                  <a:lnTo>
                    <a:pt x="315" y="919"/>
                  </a:lnTo>
                  <a:lnTo>
                    <a:pt x="306" y="985"/>
                  </a:lnTo>
                  <a:lnTo>
                    <a:pt x="303" y="1054"/>
                  </a:lnTo>
                  <a:lnTo>
                    <a:pt x="306" y="1122"/>
                  </a:lnTo>
                  <a:lnTo>
                    <a:pt x="315" y="1188"/>
                  </a:lnTo>
                  <a:lnTo>
                    <a:pt x="330" y="1254"/>
                  </a:lnTo>
                  <a:lnTo>
                    <a:pt x="350" y="1316"/>
                  </a:lnTo>
                  <a:lnTo>
                    <a:pt x="376" y="1375"/>
                  </a:lnTo>
                  <a:lnTo>
                    <a:pt x="406" y="1433"/>
                  </a:lnTo>
                  <a:lnTo>
                    <a:pt x="441" y="1487"/>
                  </a:lnTo>
                  <a:lnTo>
                    <a:pt x="481" y="1538"/>
                  </a:lnTo>
                  <a:lnTo>
                    <a:pt x="525" y="1585"/>
                  </a:lnTo>
                  <a:lnTo>
                    <a:pt x="573" y="1628"/>
                  </a:lnTo>
                  <a:lnTo>
                    <a:pt x="623" y="1668"/>
                  </a:lnTo>
                  <a:lnTo>
                    <a:pt x="678" y="1703"/>
                  </a:lnTo>
                  <a:lnTo>
                    <a:pt x="735" y="1733"/>
                  </a:lnTo>
                  <a:lnTo>
                    <a:pt x="796" y="1758"/>
                  </a:lnTo>
                  <a:lnTo>
                    <a:pt x="859" y="1779"/>
                  </a:lnTo>
                  <a:lnTo>
                    <a:pt x="924" y="1793"/>
                  </a:lnTo>
                  <a:lnTo>
                    <a:pt x="991" y="1803"/>
                  </a:lnTo>
                  <a:lnTo>
                    <a:pt x="1060" y="1806"/>
                  </a:lnTo>
                  <a:lnTo>
                    <a:pt x="1129" y="1803"/>
                  </a:lnTo>
                  <a:lnTo>
                    <a:pt x="1196" y="1793"/>
                  </a:lnTo>
                  <a:lnTo>
                    <a:pt x="1261" y="1779"/>
                  </a:lnTo>
                  <a:lnTo>
                    <a:pt x="1324" y="1758"/>
                  </a:lnTo>
                  <a:lnTo>
                    <a:pt x="1384" y="1733"/>
                  </a:lnTo>
                  <a:lnTo>
                    <a:pt x="1442" y="1703"/>
                  </a:lnTo>
                  <a:lnTo>
                    <a:pt x="1496" y="1668"/>
                  </a:lnTo>
                  <a:lnTo>
                    <a:pt x="1548" y="1628"/>
                  </a:lnTo>
                  <a:lnTo>
                    <a:pt x="1595" y="1585"/>
                  </a:lnTo>
                  <a:lnTo>
                    <a:pt x="1639" y="1538"/>
                  </a:lnTo>
                  <a:lnTo>
                    <a:pt x="1678" y="1487"/>
                  </a:lnTo>
                  <a:lnTo>
                    <a:pt x="1713" y="1433"/>
                  </a:lnTo>
                  <a:lnTo>
                    <a:pt x="1743" y="1375"/>
                  </a:lnTo>
                  <a:lnTo>
                    <a:pt x="1770" y="1316"/>
                  </a:lnTo>
                  <a:lnTo>
                    <a:pt x="1789" y="1254"/>
                  </a:lnTo>
                  <a:lnTo>
                    <a:pt x="1804" y="1188"/>
                  </a:lnTo>
                  <a:lnTo>
                    <a:pt x="1813" y="1122"/>
                  </a:lnTo>
                  <a:lnTo>
                    <a:pt x="1817" y="1054"/>
                  </a:lnTo>
                  <a:lnTo>
                    <a:pt x="1813" y="985"/>
                  </a:lnTo>
                  <a:lnTo>
                    <a:pt x="1804" y="919"/>
                  </a:lnTo>
                  <a:lnTo>
                    <a:pt x="1789" y="854"/>
                  </a:lnTo>
                  <a:lnTo>
                    <a:pt x="1770" y="792"/>
                  </a:lnTo>
                  <a:lnTo>
                    <a:pt x="1743" y="732"/>
                  </a:lnTo>
                  <a:lnTo>
                    <a:pt x="1713" y="674"/>
                  </a:lnTo>
                  <a:lnTo>
                    <a:pt x="1678" y="620"/>
                  </a:lnTo>
                  <a:lnTo>
                    <a:pt x="1639" y="569"/>
                  </a:lnTo>
                  <a:lnTo>
                    <a:pt x="1595" y="523"/>
                  </a:lnTo>
                  <a:lnTo>
                    <a:pt x="1548" y="479"/>
                  </a:lnTo>
                  <a:lnTo>
                    <a:pt x="1496" y="439"/>
                  </a:lnTo>
                  <a:lnTo>
                    <a:pt x="1442" y="404"/>
                  </a:lnTo>
                  <a:lnTo>
                    <a:pt x="1384" y="374"/>
                  </a:lnTo>
                  <a:lnTo>
                    <a:pt x="1324" y="349"/>
                  </a:lnTo>
                  <a:lnTo>
                    <a:pt x="1261" y="328"/>
                  </a:lnTo>
                  <a:lnTo>
                    <a:pt x="1196" y="314"/>
                  </a:lnTo>
                  <a:lnTo>
                    <a:pt x="1129" y="304"/>
                  </a:lnTo>
                  <a:lnTo>
                    <a:pt x="1060" y="301"/>
                  </a:lnTo>
                  <a:close/>
                  <a:moveTo>
                    <a:pt x="1060" y="0"/>
                  </a:moveTo>
                  <a:lnTo>
                    <a:pt x="1142" y="4"/>
                  </a:lnTo>
                  <a:lnTo>
                    <a:pt x="1224" y="13"/>
                  </a:lnTo>
                  <a:lnTo>
                    <a:pt x="1303" y="29"/>
                  </a:lnTo>
                  <a:lnTo>
                    <a:pt x="1379" y="49"/>
                  </a:lnTo>
                  <a:lnTo>
                    <a:pt x="1453" y="76"/>
                  </a:lnTo>
                  <a:lnTo>
                    <a:pt x="1526" y="108"/>
                  </a:lnTo>
                  <a:lnTo>
                    <a:pt x="1595" y="145"/>
                  </a:lnTo>
                  <a:lnTo>
                    <a:pt x="1660" y="187"/>
                  </a:lnTo>
                  <a:lnTo>
                    <a:pt x="1722" y="232"/>
                  </a:lnTo>
                  <a:lnTo>
                    <a:pt x="1781" y="282"/>
                  </a:lnTo>
                  <a:lnTo>
                    <a:pt x="1835" y="337"/>
                  </a:lnTo>
                  <a:lnTo>
                    <a:pt x="1887" y="396"/>
                  </a:lnTo>
                  <a:lnTo>
                    <a:pt x="1933" y="457"/>
                  </a:lnTo>
                  <a:lnTo>
                    <a:pt x="1975" y="523"/>
                  </a:lnTo>
                  <a:lnTo>
                    <a:pt x="2011" y="591"/>
                  </a:lnTo>
                  <a:lnTo>
                    <a:pt x="2044" y="662"/>
                  </a:lnTo>
                  <a:lnTo>
                    <a:pt x="2070" y="736"/>
                  </a:lnTo>
                  <a:lnTo>
                    <a:pt x="2091" y="813"/>
                  </a:lnTo>
                  <a:lnTo>
                    <a:pt x="2107" y="891"/>
                  </a:lnTo>
                  <a:lnTo>
                    <a:pt x="2116" y="972"/>
                  </a:lnTo>
                  <a:lnTo>
                    <a:pt x="2119" y="1054"/>
                  </a:lnTo>
                  <a:lnTo>
                    <a:pt x="2116" y="1136"/>
                  </a:lnTo>
                  <a:lnTo>
                    <a:pt x="2107" y="1216"/>
                  </a:lnTo>
                  <a:lnTo>
                    <a:pt x="2091" y="1295"/>
                  </a:lnTo>
                  <a:lnTo>
                    <a:pt x="2070" y="1371"/>
                  </a:lnTo>
                  <a:lnTo>
                    <a:pt x="2044" y="1445"/>
                  </a:lnTo>
                  <a:lnTo>
                    <a:pt x="2011" y="1516"/>
                  </a:lnTo>
                  <a:lnTo>
                    <a:pt x="1975" y="1584"/>
                  </a:lnTo>
                  <a:lnTo>
                    <a:pt x="1933" y="1650"/>
                  </a:lnTo>
                  <a:lnTo>
                    <a:pt x="1887" y="1711"/>
                  </a:lnTo>
                  <a:lnTo>
                    <a:pt x="1835" y="1770"/>
                  </a:lnTo>
                  <a:lnTo>
                    <a:pt x="1781" y="1825"/>
                  </a:lnTo>
                  <a:lnTo>
                    <a:pt x="1722" y="1875"/>
                  </a:lnTo>
                  <a:lnTo>
                    <a:pt x="1660" y="1921"/>
                  </a:lnTo>
                  <a:lnTo>
                    <a:pt x="1595" y="1962"/>
                  </a:lnTo>
                  <a:lnTo>
                    <a:pt x="1526" y="1999"/>
                  </a:lnTo>
                  <a:lnTo>
                    <a:pt x="1453" y="2031"/>
                  </a:lnTo>
                  <a:lnTo>
                    <a:pt x="1379" y="2058"/>
                  </a:lnTo>
                  <a:lnTo>
                    <a:pt x="1303" y="2078"/>
                  </a:lnTo>
                  <a:lnTo>
                    <a:pt x="1224" y="2094"/>
                  </a:lnTo>
                  <a:lnTo>
                    <a:pt x="1142" y="2103"/>
                  </a:lnTo>
                  <a:lnTo>
                    <a:pt x="1060" y="2106"/>
                  </a:lnTo>
                  <a:lnTo>
                    <a:pt x="977" y="2103"/>
                  </a:lnTo>
                  <a:lnTo>
                    <a:pt x="896" y="2094"/>
                  </a:lnTo>
                  <a:lnTo>
                    <a:pt x="817" y="2078"/>
                  </a:lnTo>
                  <a:lnTo>
                    <a:pt x="740" y="2058"/>
                  </a:lnTo>
                  <a:lnTo>
                    <a:pt x="666" y="2031"/>
                  </a:lnTo>
                  <a:lnTo>
                    <a:pt x="594" y="1999"/>
                  </a:lnTo>
                  <a:lnTo>
                    <a:pt x="526" y="1962"/>
                  </a:lnTo>
                  <a:lnTo>
                    <a:pt x="460" y="1921"/>
                  </a:lnTo>
                  <a:lnTo>
                    <a:pt x="397" y="1875"/>
                  </a:lnTo>
                  <a:lnTo>
                    <a:pt x="338" y="1825"/>
                  </a:lnTo>
                  <a:lnTo>
                    <a:pt x="284" y="1770"/>
                  </a:lnTo>
                  <a:lnTo>
                    <a:pt x="233" y="1711"/>
                  </a:lnTo>
                  <a:lnTo>
                    <a:pt x="187" y="1650"/>
                  </a:lnTo>
                  <a:lnTo>
                    <a:pt x="145" y="1584"/>
                  </a:lnTo>
                  <a:lnTo>
                    <a:pt x="108" y="1516"/>
                  </a:lnTo>
                  <a:lnTo>
                    <a:pt x="76" y="1445"/>
                  </a:lnTo>
                  <a:lnTo>
                    <a:pt x="49" y="1371"/>
                  </a:lnTo>
                  <a:lnTo>
                    <a:pt x="28" y="1295"/>
                  </a:lnTo>
                  <a:lnTo>
                    <a:pt x="13" y="1216"/>
                  </a:lnTo>
                  <a:lnTo>
                    <a:pt x="3" y="1136"/>
                  </a:lnTo>
                  <a:lnTo>
                    <a:pt x="0" y="1054"/>
                  </a:lnTo>
                  <a:lnTo>
                    <a:pt x="3" y="972"/>
                  </a:lnTo>
                  <a:lnTo>
                    <a:pt x="13" y="891"/>
                  </a:lnTo>
                  <a:lnTo>
                    <a:pt x="28" y="813"/>
                  </a:lnTo>
                  <a:lnTo>
                    <a:pt x="49" y="736"/>
                  </a:lnTo>
                  <a:lnTo>
                    <a:pt x="76" y="662"/>
                  </a:lnTo>
                  <a:lnTo>
                    <a:pt x="108" y="591"/>
                  </a:lnTo>
                  <a:lnTo>
                    <a:pt x="145" y="523"/>
                  </a:lnTo>
                  <a:lnTo>
                    <a:pt x="187" y="457"/>
                  </a:lnTo>
                  <a:lnTo>
                    <a:pt x="233" y="396"/>
                  </a:lnTo>
                  <a:lnTo>
                    <a:pt x="284" y="337"/>
                  </a:lnTo>
                  <a:lnTo>
                    <a:pt x="338" y="282"/>
                  </a:lnTo>
                  <a:lnTo>
                    <a:pt x="397" y="232"/>
                  </a:lnTo>
                  <a:lnTo>
                    <a:pt x="460" y="187"/>
                  </a:lnTo>
                  <a:lnTo>
                    <a:pt x="526" y="145"/>
                  </a:lnTo>
                  <a:lnTo>
                    <a:pt x="594" y="108"/>
                  </a:lnTo>
                  <a:lnTo>
                    <a:pt x="666" y="76"/>
                  </a:lnTo>
                  <a:lnTo>
                    <a:pt x="740" y="49"/>
                  </a:lnTo>
                  <a:lnTo>
                    <a:pt x="817" y="29"/>
                  </a:lnTo>
                  <a:lnTo>
                    <a:pt x="896" y="13"/>
                  </a:lnTo>
                  <a:lnTo>
                    <a:pt x="977" y="4"/>
                  </a:lnTo>
                  <a:lnTo>
                    <a:pt x="10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35"/>
            <p:cNvSpPr>
              <a:spLocks noEditPoints="1"/>
            </p:cNvSpPr>
            <p:nvPr/>
          </p:nvSpPr>
          <p:spPr bwMode="auto">
            <a:xfrm>
              <a:off x="-621" y="2500"/>
              <a:ext cx="71" cy="113"/>
            </a:xfrm>
            <a:custGeom>
              <a:avLst/>
              <a:gdLst>
                <a:gd name="T0" fmla="*/ 480 w 774"/>
                <a:gd name="T1" fmla="*/ 963 h 1241"/>
                <a:gd name="T2" fmla="*/ 565 w 774"/>
                <a:gd name="T3" fmla="*/ 921 h 1241"/>
                <a:gd name="T4" fmla="*/ 600 w 774"/>
                <a:gd name="T5" fmla="*/ 836 h 1241"/>
                <a:gd name="T6" fmla="*/ 568 w 774"/>
                <a:gd name="T7" fmla="*/ 758 h 1241"/>
                <a:gd name="T8" fmla="*/ 493 w 774"/>
                <a:gd name="T9" fmla="*/ 717 h 1241"/>
                <a:gd name="T10" fmla="*/ 348 w 774"/>
                <a:gd name="T11" fmla="*/ 259 h 1241"/>
                <a:gd name="T12" fmla="*/ 236 w 774"/>
                <a:gd name="T13" fmla="*/ 297 h 1241"/>
                <a:gd name="T14" fmla="*/ 194 w 774"/>
                <a:gd name="T15" fmla="*/ 376 h 1241"/>
                <a:gd name="T16" fmla="*/ 233 w 774"/>
                <a:gd name="T17" fmla="*/ 458 h 1241"/>
                <a:gd name="T18" fmla="*/ 348 w 774"/>
                <a:gd name="T19" fmla="*/ 505 h 1241"/>
                <a:gd name="T20" fmla="*/ 414 w 774"/>
                <a:gd name="T21" fmla="*/ 9 h 1241"/>
                <a:gd name="T22" fmla="*/ 431 w 774"/>
                <a:gd name="T23" fmla="*/ 120 h 1241"/>
                <a:gd name="T24" fmla="*/ 534 w 774"/>
                <a:gd name="T25" fmla="*/ 135 h 1241"/>
                <a:gd name="T26" fmla="*/ 648 w 774"/>
                <a:gd name="T27" fmla="*/ 179 h 1241"/>
                <a:gd name="T28" fmla="*/ 734 w 774"/>
                <a:gd name="T29" fmla="*/ 251 h 1241"/>
                <a:gd name="T30" fmla="*/ 756 w 774"/>
                <a:gd name="T31" fmla="*/ 345 h 1241"/>
                <a:gd name="T32" fmla="*/ 709 w 774"/>
                <a:gd name="T33" fmla="*/ 401 h 1241"/>
                <a:gd name="T34" fmla="*/ 640 w 774"/>
                <a:gd name="T35" fmla="*/ 402 h 1241"/>
                <a:gd name="T36" fmla="*/ 592 w 774"/>
                <a:gd name="T37" fmla="*/ 357 h 1241"/>
                <a:gd name="T38" fmla="*/ 542 w 774"/>
                <a:gd name="T39" fmla="*/ 299 h 1241"/>
                <a:gd name="T40" fmla="*/ 459 w 774"/>
                <a:gd name="T41" fmla="*/ 261 h 1241"/>
                <a:gd name="T42" fmla="*/ 498 w 774"/>
                <a:gd name="T43" fmla="*/ 535 h 1241"/>
                <a:gd name="T44" fmla="*/ 619 w 774"/>
                <a:gd name="T45" fmla="*/ 576 h 1241"/>
                <a:gd name="T46" fmla="*/ 713 w 774"/>
                <a:gd name="T47" fmla="*/ 643 h 1241"/>
                <a:gd name="T48" fmla="*/ 767 w 774"/>
                <a:gd name="T49" fmla="*/ 749 h 1241"/>
                <a:gd name="T50" fmla="*/ 765 w 774"/>
                <a:gd name="T51" fmla="*/ 900 h 1241"/>
                <a:gd name="T52" fmla="*/ 692 w 774"/>
                <a:gd name="T53" fmla="*/ 1018 h 1241"/>
                <a:gd name="T54" fmla="*/ 562 w 774"/>
                <a:gd name="T55" fmla="*/ 1088 h 1241"/>
                <a:gd name="T56" fmla="*/ 431 w 774"/>
                <a:gd name="T57" fmla="*/ 1194 h 1241"/>
                <a:gd name="T58" fmla="*/ 402 w 774"/>
                <a:gd name="T59" fmla="*/ 1239 h 1241"/>
                <a:gd name="T60" fmla="*/ 356 w 774"/>
                <a:gd name="T61" fmla="*/ 1221 h 1241"/>
                <a:gd name="T62" fmla="*/ 300 w 774"/>
                <a:gd name="T63" fmla="*/ 1107 h 1241"/>
                <a:gd name="T64" fmla="*/ 144 w 774"/>
                <a:gd name="T65" fmla="*/ 1061 h 1241"/>
                <a:gd name="T66" fmla="*/ 44 w 774"/>
                <a:gd name="T67" fmla="*/ 978 h 1241"/>
                <a:gd name="T68" fmla="*/ 1 w 774"/>
                <a:gd name="T69" fmla="*/ 881 h 1241"/>
                <a:gd name="T70" fmla="*/ 17 w 774"/>
                <a:gd name="T71" fmla="*/ 801 h 1241"/>
                <a:gd name="T72" fmla="*/ 85 w 774"/>
                <a:gd name="T73" fmla="*/ 772 h 1241"/>
                <a:gd name="T74" fmla="*/ 150 w 774"/>
                <a:gd name="T75" fmla="*/ 792 h 1241"/>
                <a:gd name="T76" fmla="*/ 178 w 774"/>
                <a:gd name="T77" fmla="*/ 839 h 1241"/>
                <a:gd name="T78" fmla="*/ 201 w 774"/>
                <a:gd name="T79" fmla="*/ 897 h 1241"/>
                <a:gd name="T80" fmla="*/ 247 w 774"/>
                <a:gd name="T81" fmla="*/ 945 h 1241"/>
                <a:gd name="T82" fmla="*/ 348 w 774"/>
                <a:gd name="T83" fmla="*/ 970 h 1241"/>
                <a:gd name="T84" fmla="*/ 211 w 774"/>
                <a:gd name="T85" fmla="*/ 646 h 1241"/>
                <a:gd name="T86" fmla="*/ 82 w 774"/>
                <a:gd name="T87" fmla="*/ 565 h 1241"/>
                <a:gd name="T88" fmla="*/ 23 w 774"/>
                <a:gd name="T89" fmla="*/ 443 h 1241"/>
                <a:gd name="T90" fmla="*/ 41 w 774"/>
                <a:gd name="T91" fmla="*/ 300 h 1241"/>
                <a:gd name="T92" fmla="*/ 120 w 774"/>
                <a:gd name="T93" fmla="*/ 196 h 1241"/>
                <a:gd name="T94" fmla="*/ 241 w 774"/>
                <a:gd name="T95" fmla="*/ 135 h 1241"/>
                <a:gd name="T96" fmla="*/ 348 w 774"/>
                <a:gd name="T97" fmla="*/ 47 h 1241"/>
                <a:gd name="T98" fmla="*/ 376 w 774"/>
                <a:gd name="T99" fmla="*/ 3 h 12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774" h="1241">
                  <a:moveTo>
                    <a:pt x="431" y="699"/>
                  </a:moveTo>
                  <a:lnTo>
                    <a:pt x="431" y="970"/>
                  </a:lnTo>
                  <a:lnTo>
                    <a:pt x="456" y="967"/>
                  </a:lnTo>
                  <a:lnTo>
                    <a:pt x="480" y="963"/>
                  </a:lnTo>
                  <a:lnTo>
                    <a:pt x="504" y="956"/>
                  </a:lnTo>
                  <a:lnTo>
                    <a:pt x="526" y="947"/>
                  </a:lnTo>
                  <a:lnTo>
                    <a:pt x="547" y="935"/>
                  </a:lnTo>
                  <a:lnTo>
                    <a:pt x="565" y="921"/>
                  </a:lnTo>
                  <a:lnTo>
                    <a:pt x="579" y="904"/>
                  </a:lnTo>
                  <a:lnTo>
                    <a:pt x="591" y="884"/>
                  </a:lnTo>
                  <a:lnTo>
                    <a:pt x="598" y="861"/>
                  </a:lnTo>
                  <a:lnTo>
                    <a:pt x="600" y="836"/>
                  </a:lnTo>
                  <a:lnTo>
                    <a:pt x="598" y="812"/>
                  </a:lnTo>
                  <a:lnTo>
                    <a:pt x="592" y="792"/>
                  </a:lnTo>
                  <a:lnTo>
                    <a:pt x="581" y="774"/>
                  </a:lnTo>
                  <a:lnTo>
                    <a:pt x="568" y="758"/>
                  </a:lnTo>
                  <a:lnTo>
                    <a:pt x="552" y="745"/>
                  </a:lnTo>
                  <a:lnTo>
                    <a:pt x="534" y="733"/>
                  </a:lnTo>
                  <a:lnTo>
                    <a:pt x="514" y="724"/>
                  </a:lnTo>
                  <a:lnTo>
                    <a:pt x="493" y="717"/>
                  </a:lnTo>
                  <a:lnTo>
                    <a:pt x="473" y="709"/>
                  </a:lnTo>
                  <a:lnTo>
                    <a:pt x="452" y="704"/>
                  </a:lnTo>
                  <a:lnTo>
                    <a:pt x="431" y="699"/>
                  </a:lnTo>
                  <a:close/>
                  <a:moveTo>
                    <a:pt x="348" y="259"/>
                  </a:moveTo>
                  <a:lnTo>
                    <a:pt x="314" y="262"/>
                  </a:lnTo>
                  <a:lnTo>
                    <a:pt x="284" y="271"/>
                  </a:lnTo>
                  <a:lnTo>
                    <a:pt x="258" y="282"/>
                  </a:lnTo>
                  <a:lnTo>
                    <a:pt x="236" y="297"/>
                  </a:lnTo>
                  <a:lnTo>
                    <a:pt x="218" y="313"/>
                  </a:lnTo>
                  <a:lnTo>
                    <a:pt x="205" y="333"/>
                  </a:lnTo>
                  <a:lnTo>
                    <a:pt x="196" y="354"/>
                  </a:lnTo>
                  <a:lnTo>
                    <a:pt x="194" y="376"/>
                  </a:lnTo>
                  <a:lnTo>
                    <a:pt x="196" y="399"/>
                  </a:lnTo>
                  <a:lnTo>
                    <a:pt x="203" y="421"/>
                  </a:lnTo>
                  <a:lnTo>
                    <a:pt x="215" y="441"/>
                  </a:lnTo>
                  <a:lnTo>
                    <a:pt x="233" y="458"/>
                  </a:lnTo>
                  <a:lnTo>
                    <a:pt x="254" y="472"/>
                  </a:lnTo>
                  <a:lnTo>
                    <a:pt x="281" y="485"/>
                  </a:lnTo>
                  <a:lnTo>
                    <a:pt x="312" y="495"/>
                  </a:lnTo>
                  <a:lnTo>
                    <a:pt x="348" y="505"/>
                  </a:lnTo>
                  <a:lnTo>
                    <a:pt x="348" y="259"/>
                  </a:lnTo>
                  <a:close/>
                  <a:moveTo>
                    <a:pt x="389" y="0"/>
                  </a:moveTo>
                  <a:lnTo>
                    <a:pt x="402" y="3"/>
                  </a:lnTo>
                  <a:lnTo>
                    <a:pt x="414" y="9"/>
                  </a:lnTo>
                  <a:lnTo>
                    <a:pt x="423" y="20"/>
                  </a:lnTo>
                  <a:lnTo>
                    <a:pt x="429" y="33"/>
                  </a:lnTo>
                  <a:lnTo>
                    <a:pt x="431" y="47"/>
                  </a:lnTo>
                  <a:lnTo>
                    <a:pt x="431" y="120"/>
                  </a:lnTo>
                  <a:lnTo>
                    <a:pt x="454" y="121"/>
                  </a:lnTo>
                  <a:lnTo>
                    <a:pt x="479" y="124"/>
                  </a:lnTo>
                  <a:lnTo>
                    <a:pt x="506" y="129"/>
                  </a:lnTo>
                  <a:lnTo>
                    <a:pt x="534" y="135"/>
                  </a:lnTo>
                  <a:lnTo>
                    <a:pt x="564" y="144"/>
                  </a:lnTo>
                  <a:lnTo>
                    <a:pt x="593" y="154"/>
                  </a:lnTo>
                  <a:lnTo>
                    <a:pt x="621" y="165"/>
                  </a:lnTo>
                  <a:lnTo>
                    <a:pt x="648" y="179"/>
                  </a:lnTo>
                  <a:lnTo>
                    <a:pt x="674" y="195"/>
                  </a:lnTo>
                  <a:lnTo>
                    <a:pt x="698" y="211"/>
                  </a:lnTo>
                  <a:lnTo>
                    <a:pt x="718" y="230"/>
                  </a:lnTo>
                  <a:lnTo>
                    <a:pt x="734" y="251"/>
                  </a:lnTo>
                  <a:lnTo>
                    <a:pt x="748" y="274"/>
                  </a:lnTo>
                  <a:lnTo>
                    <a:pt x="755" y="298"/>
                  </a:lnTo>
                  <a:lnTo>
                    <a:pt x="758" y="324"/>
                  </a:lnTo>
                  <a:lnTo>
                    <a:pt x="756" y="345"/>
                  </a:lnTo>
                  <a:lnTo>
                    <a:pt x="749" y="364"/>
                  </a:lnTo>
                  <a:lnTo>
                    <a:pt x="740" y="380"/>
                  </a:lnTo>
                  <a:lnTo>
                    <a:pt x="726" y="392"/>
                  </a:lnTo>
                  <a:lnTo>
                    <a:pt x="709" y="401"/>
                  </a:lnTo>
                  <a:lnTo>
                    <a:pt x="691" y="407"/>
                  </a:lnTo>
                  <a:lnTo>
                    <a:pt x="671" y="408"/>
                  </a:lnTo>
                  <a:lnTo>
                    <a:pt x="655" y="407"/>
                  </a:lnTo>
                  <a:lnTo>
                    <a:pt x="640" y="402"/>
                  </a:lnTo>
                  <a:lnTo>
                    <a:pt x="626" y="393"/>
                  </a:lnTo>
                  <a:lnTo>
                    <a:pt x="615" y="383"/>
                  </a:lnTo>
                  <a:lnTo>
                    <a:pt x="603" y="370"/>
                  </a:lnTo>
                  <a:lnTo>
                    <a:pt x="592" y="357"/>
                  </a:lnTo>
                  <a:lnTo>
                    <a:pt x="580" y="342"/>
                  </a:lnTo>
                  <a:lnTo>
                    <a:pt x="569" y="328"/>
                  </a:lnTo>
                  <a:lnTo>
                    <a:pt x="555" y="313"/>
                  </a:lnTo>
                  <a:lnTo>
                    <a:pt x="542" y="299"/>
                  </a:lnTo>
                  <a:lnTo>
                    <a:pt x="525" y="286"/>
                  </a:lnTo>
                  <a:lnTo>
                    <a:pt x="506" y="276"/>
                  </a:lnTo>
                  <a:lnTo>
                    <a:pt x="484" y="267"/>
                  </a:lnTo>
                  <a:lnTo>
                    <a:pt x="459" y="261"/>
                  </a:lnTo>
                  <a:lnTo>
                    <a:pt x="431" y="259"/>
                  </a:lnTo>
                  <a:lnTo>
                    <a:pt x="431" y="519"/>
                  </a:lnTo>
                  <a:lnTo>
                    <a:pt x="464" y="526"/>
                  </a:lnTo>
                  <a:lnTo>
                    <a:pt x="498" y="535"/>
                  </a:lnTo>
                  <a:lnTo>
                    <a:pt x="530" y="543"/>
                  </a:lnTo>
                  <a:lnTo>
                    <a:pt x="562" y="552"/>
                  </a:lnTo>
                  <a:lnTo>
                    <a:pt x="591" y="564"/>
                  </a:lnTo>
                  <a:lnTo>
                    <a:pt x="619" y="576"/>
                  </a:lnTo>
                  <a:lnTo>
                    <a:pt x="646" y="590"/>
                  </a:lnTo>
                  <a:lnTo>
                    <a:pt x="670" y="605"/>
                  </a:lnTo>
                  <a:lnTo>
                    <a:pt x="693" y="623"/>
                  </a:lnTo>
                  <a:lnTo>
                    <a:pt x="713" y="643"/>
                  </a:lnTo>
                  <a:lnTo>
                    <a:pt x="731" y="666"/>
                  </a:lnTo>
                  <a:lnTo>
                    <a:pt x="746" y="691"/>
                  </a:lnTo>
                  <a:lnTo>
                    <a:pt x="757" y="719"/>
                  </a:lnTo>
                  <a:lnTo>
                    <a:pt x="767" y="749"/>
                  </a:lnTo>
                  <a:lnTo>
                    <a:pt x="772" y="783"/>
                  </a:lnTo>
                  <a:lnTo>
                    <a:pt x="774" y="821"/>
                  </a:lnTo>
                  <a:lnTo>
                    <a:pt x="771" y="861"/>
                  </a:lnTo>
                  <a:lnTo>
                    <a:pt x="765" y="900"/>
                  </a:lnTo>
                  <a:lnTo>
                    <a:pt x="752" y="934"/>
                  </a:lnTo>
                  <a:lnTo>
                    <a:pt x="736" y="965"/>
                  </a:lnTo>
                  <a:lnTo>
                    <a:pt x="716" y="993"/>
                  </a:lnTo>
                  <a:lnTo>
                    <a:pt x="692" y="1018"/>
                  </a:lnTo>
                  <a:lnTo>
                    <a:pt x="665" y="1040"/>
                  </a:lnTo>
                  <a:lnTo>
                    <a:pt x="634" y="1059"/>
                  </a:lnTo>
                  <a:lnTo>
                    <a:pt x="599" y="1075"/>
                  </a:lnTo>
                  <a:lnTo>
                    <a:pt x="562" y="1088"/>
                  </a:lnTo>
                  <a:lnTo>
                    <a:pt x="521" y="1098"/>
                  </a:lnTo>
                  <a:lnTo>
                    <a:pt x="477" y="1106"/>
                  </a:lnTo>
                  <a:lnTo>
                    <a:pt x="431" y="1110"/>
                  </a:lnTo>
                  <a:lnTo>
                    <a:pt x="431" y="1194"/>
                  </a:lnTo>
                  <a:lnTo>
                    <a:pt x="429" y="1209"/>
                  </a:lnTo>
                  <a:lnTo>
                    <a:pt x="423" y="1221"/>
                  </a:lnTo>
                  <a:lnTo>
                    <a:pt x="414" y="1231"/>
                  </a:lnTo>
                  <a:lnTo>
                    <a:pt x="402" y="1239"/>
                  </a:lnTo>
                  <a:lnTo>
                    <a:pt x="389" y="1241"/>
                  </a:lnTo>
                  <a:lnTo>
                    <a:pt x="376" y="1239"/>
                  </a:lnTo>
                  <a:lnTo>
                    <a:pt x="365" y="1231"/>
                  </a:lnTo>
                  <a:lnTo>
                    <a:pt x="356" y="1221"/>
                  </a:lnTo>
                  <a:lnTo>
                    <a:pt x="350" y="1209"/>
                  </a:lnTo>
                  <a:lnTo>
                    <a:pt x="348" y="1194"/>
                  </a:lnTo>
                  <a:lnTo>
                    <a:pt x="348" y="1110"/>
                  </a:lnTo>
                  <a:lnTo>
                    <a:pt x="300" y="1107"/>
                  </a:lnTo>
                  <a:lnTo>
                    <a:pt x="256" y="1099"/>
                  </a:lnTo>
                  <a:lnTo>
                    <a:pt x="215" y="1090"/>
                  </a:lnTo>
                  <a:lnTo>
                    <a:pt x="177" y="1077"/>
                  </a:lnTo>
                  <a:lnTo>
                    <a:pt x="144" y="1061"/>
                  </a:lnTo>
                  <a:lnTo>
                    <a:pt x="113" y="1042"/>
                  </a:lnTo>
                  <a:lnTo>
                    <a:pt x="87" y="1022"/>
                  </a:lnTo>
                  <a:lnTo>
                    <a:pt x="64" y="1001"/>
                  </a:lnTo>
                  <a:lnTo>
                    <a:pt x="44" y="978"/>
                  </a:lnTo>
                  <a:lnTo>
                    <a:pt x="29" y="954"/>
                  </a:lnTo>
                  <a:lnTo>
                    <a:pt x="16" y="930"/>
                  </a:lnTo>
                  <a:lnTo>
                    <a:pt x="7" y="906"/>
                  </a:lnTo>
                  <a:lnTo>
                    <a:pt x="1" y="881"/>
                  </a:lnTo>
                  <a:lnTo>
                    <a:pt x="0" y="858"/>
                  </a:lnTo>
                  <a:lnTo>
                    <a:pt x="2" y="836"/>
                  </a:lnTo>
                  <a:lnTo>
                    <a:pt x="8" y="818"/>
                  </a:lnTo>
                  <a:lnTo>
                    <a:pt x="17" y="801"/>
                  </a:lnTo>
                  <a:lnTo>
                    <a:pt x="30" y="788"/>
                  </a:lnTo>
                  <a:lnTo>
                    <a:pt x="45" y="779"/>
                  </a:lnTo>
                  <a:lnTo>
                    <a:pt x="64" y="774"/>
                  </a:lnTo>
                  <a:lnTo>
                    <a:pt x="85" y="772"/>
                  </a:lnTo>
                  <a:lnTo>
                    <a:pt x="106" y="773"/>
                  </a:lnTo>
                  <a:lnTo>
                    <a:pt x="124" y="777"/>
                  </a:lnTo>
                  <a:lnTo>
                    <a:pt x="139" y="783"/>
                  </a:lnTo>
                  <a:lnTo>
                    <a:pt x="150" y="792"/>
                  </a:lnTo>
                  <a:lnTo>
                    <a:pt x="159" y="802"/>
                  </a:lnTo>
                  <a:lnTo>
                    <a:pt x="167" y="813"/>
                  </a:lnTo>
                  <a:lnTo>
                    <a:pt x="173" y="826"/>
                  </a:lnTo>
                  <a:lnTo>
                    <a:pt x="178" y="839"/>
                  </a:lnTo>
                  <a:lnTo>
                    <a:pt x="184" y="853"/>
                  </a:lnTo>
                  <a:lnTo>
                    <a:pt x="189" y="867"/>
                  </a:lnTo>
                  <a:lnTo>
                    <a:pt x="194" y="882"/>
                  </a:lnTo>
                  <a:lnTo>
                    <a:pt x="201" y="897"/>
                  </a:lnTo>
                  <a:lnTo>
                    <a:pt x="210" y="910"/>
                  </a:lnTo>
                  <a:lnTo>
                    <a:pt x="219" y="924"/>
                  </a:lnTo>
                  <a:lnTo>
                    <a:pt x="233" y="935"/>
                  </a:lnTo>
                  <a:lnTo>
                    <a:pt x="247" y="945"/>
                  </a:lnTo>
                  <a:lnTo>
                    <a:pt x="266" y="955"/>
                  </a:lnTo>
                  <a:lnTo>
                    <a:pt x="289" y="962"/>
                  </a:lnTo>
                  <a:lnTo>
                    <a:pt x="317" y="967"/>
                  </a:lnTo>
                  <a:lnTo>
                    <a:pt x="348" y="970"/>
                  </a:lnTo>
                  <a:lnTo>
                    <a:pt x="348" y="684"/>
                  </a:lnTo>
                  <a:lnTo>
                    <a:pt x="299" y="674"/>
                  </a:lnTo>
                  <a:lnTo>
                    <a:pt x="254" y="662"/>
                  </a:lnTo>
                  <a:lnTo>
                    <a:pt x="211" y="646"/>
                  </a:lnTo>
                  <a:lnTo>
                    <a:pt x="173" y="629"/>
                  </a:lnTo>
                  <a:lnTo>
                    <a:pt x="139" y="611"/>
                  </a:lnTo>
                  <a:lnTo>
                    <a:pt x="108" y="589"/>
                  </a:lnTo>
                  <a:lnTo>
                    <a:pt x="82" y="565"/>
                  </a:lnTo>
                  <a:lnTo>
                    <a:pt x="60" y="538"/>
                  </a:lnTo>
                  <a:lnTo>
                    <a:pt x="43" y="509"/>
                  </a:lnTo>
                  <a:lnTo>
                    <a:pt x="31" y="477"/>
                  </a:lnTo>
                  <a:lnTo>
                    <a:pt x="23" y="443"/>
                  </a:lnTo>
                  <a:lnTo>
                    <a:pt x="20" y="407"/>
                  </a:lnTo>
                  <a:lnTo>
                    <a:pt x="23" y="368"/>
                  </a:lnTo>
                  <a:lnTo>
                    <a:pt x="30" y="333"/>
                  </a:lnTo>
                  <a:lnTo>
                    <a:pt x="41" y="300"/>
                  </a:lnTo>
                  <a:lnTo>
                    <a:pt x="56" y="269"/>
                  </a:lnTo>
                  <a:lnTo>
                    <a:pt x="74" y="242"/>
                  </a:lnTo>
                  <a:lnTo>
                    <a:pt x="96" y="217"/>
                  </a:lnTo>
                  <a:lnTo>
                    <a:pt x="120" y="196"/>
                  </a:lnTo>
                  <a:lnTo>
                    <a:pt x="147" y="176"/>
                  </a:lnTo>
                  <a:lnTo>
                    <a:pt x="176" y="160"/>
                  </a:lnTo>
                  <a:lnTo>
                    <a:pt x="209" y="147"/>
                  </a:lnTo>
                  <a:lnTo>
                    <a:pt x="241" y="135"/>
                  </a:lnTo>
                  <a:lnTo>
                    <a:pt x="276" y="127"/>
                  </a:lnTo>
                  <a:lnTo>
                    <a:pt x="312" y="122"/>
                  </a:lnTo>
                  <a:lnTo>
                    <a:pt x="348" y="120"/>
                  </a:lnTo>
                  <a:lnTo>
                    <a:pt x="348" y="47"/>
                  </a:lnTo>
                  <a:lnTo>
                    <a:pt x="350" y="33"/>
                  </a:lnTo>
                  <a:lnTo>
                    <a:pt x="356" y="20"/>
                  </a:lnTo>
                  <a:lnTo>
                    <a:pt x="365" y="9"/>
                  </a:lnTo>
                  <a:lnTo>
                    <a:pt x="376" y="3"/>
                  </a:lnTo>
                  <a:lnTo>
                    <a:pt x="38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7" name="Group 4"/>
          <p:cNvGrpSpPr>
            <a:grpSpLocks noChangeAspect="1"/>
          </p:cNvGrpSpPr>
          <p:nvPr/>
        </p:nvGrpSpPr>
        <p:grpSpPr bwMode="auto">
          <a:xfrm>
            <a:off x="727277" y="4985421"/>
            <a:ext cx="386439" cy="386439"/>
            <a:chOff x="592" y="2862"/>
            <a:chExt cx="324" cy="324"/>
          </a:xfrm>
          <a:solidFill>
            <a:schemeClr val="bg1"/>
          </a:solidFill>
        </p:grpSpPr>
        <p:sp>
          <p:nvSpPr>
            <p:cNvPr id="88" name="Freeform 6"/>
            <p:cNvSpPr>
              <a:spLocks noEditPoints="1"/>
            </p:cNvSpPr>
            <p:nvPr/>
          </p:nvSpPr>
          <p:spPr bwMode="auto">
            <a:xfrm>
              <a:off x="785" y="3061"/>
              <a:ext cx="131" cy="125"/>
            </a:xfrm>
            <a:custGeom>
              <a:avLst/>
              <a:gdLst>
                <a:gd name="T0" fmla="*/ 648 w 1432"/>
                <a:gd name="T1" fmla="*/ 3 h 1377"/>
                <a:gd name="T2" fmla="*/ 515 w 1432"/>
                <a:gd name="T3" fmla="*/ 27 h 1377"/>
                <a:gd name="T4" fmla="*/ 393 w 1432"/>
                <a:gd name="T5" fmla="*/ 73 h 1377"/>
                <a:gd name="T6" fmla="*/ 283 w 1432"/>
                <a:gd name="T7" fmla="*/ 140 h 1377"/>
                <a:gd name="T8" fmla="*/ 188 w 1432"/>
                <a:gd name="T9" fmla="*/ 224 h 1377"/>
                <a:gd name="T10" fmla="*/ 109 w 1432"/>
                <a:gd name="T11" fmla="*/ 323 h 1377"/>
                <a:gd name="T12" fmla="*/ 50 w 1432"/>
                <a:gd name="T13" fmla="*/ 435 h 1377"/>
                <a:gd name="T14" fmla="*/ 13 w 1432"/>
                <a:gd name="T15" fmla="*/ 558 h 1377"/>
                <a:gd name="T16" fmla="*/ 0 w 1432"/>
                <a:gd name="T17" fmla="*/ 688 h 1377"/>
                <a:gd name="T18" fmla="*/ 13 w 1432"/>
                <a:gd name="T19" fmla="*/ 819 h 1377"/>
                <a:gd name="T20" fmla="*/ 50 w 1432"/>
                <a:gd name="T21" fmla="*/ 942 h 1377"/>
                <a:gd name="T22" fmla="*/ 109 w 1432"/>
                <a:gd name="T23" fmla="*/ 1053 h 1377"/>
                <a:gd name="T24" fmla="*/ 188 w 1432"/>
                <a:gd name="T25" fmla="*/ 1153 h 1377"/>
                <a:gd name="T26" fmla="*/ 283 w 1432"/>
                <a:gd name="T27" fmla="*/ 1236 h 1377"/>
                <a:gd name="T28" fmla="*/ 393 w 1432"/>
                <a:gd name="T29" fmla="*/ 1303 h 1377"/>
                <a:gd name="T30" fmla="*/ 515 w 1432"/>
                <a:gd name="T31" fmla="*/ 1350 h 1377"/>
                <a:gd name="T32" fmla="*/ 648 w 1432"/>
                <a:gd name="T33" fmla="*/ 1374 h 1377"/>
                <a:gd name="T34" fmla="*/ 785 w 1432"/>
                <a:gd name="T35" fmla="*/ 1374 h 1377"/>
                <a:gd name="T36" fmla="*/ 917 w 1432"/>
                <a:gd name="T37" fmla="*/ 1350 h 1377"/>
                <a:gd name="T38" fmla="*/ 1039 w 1432"/>
                <a:gd name="T39" fmla="*/ 1303 h 1377"/>
                <a:gd name="T40" fmla="*/ 1149 w 1432"/>
                <a:gd name="T41" fmla="*/ 1236 h 1377"/>
                <a:gd name="T42" fmla="*/ 1245 w 1432"/>
                <a:gd name="T43" fmla="*/ 1153 h 1377"/>
                <a:gd name="T44" fmla="*/ 1323 w 1432"/>
                <a:gd name="T45" fmla="*/ 1053 h 1377"/>
                <a:gd name="T46" fmla="*/ 1382 w 1432"/>
                <a:gd name="T47" fmla="*/ 942 h 1377"/>
                <a:gd name="T48" fmla="*/ 1419 w 1432"/>
                <a:gd name="T49" fmla="*/ 819 h 1377"/>
                <a:gd name="T50" fmla="*/ 1432 w 1432"/>
                <a:gd name="T51" fmla="*/ 689 h 1377"/>
                <a:gd name="T52" fmla="*/ 1419 w 1432"/>
                <a:gd name="T53" fmla="*/ 558 h 1377"/>
                <a:gd name="T54" fmla="*/ 1382 w 1432"/>
                <a:gd name="T55" fmla="*/ 436 h 1377"/>
                <a:gd name="T56" fmla="*/ 1323 w 1432"/>
                <a:gd name="T57" fmla="*/ 323 h 1377"/>
                <a:gd name="T58" fmla="*/ 1245 w 1432"/>
                <a:gd name="T59" fmla="*/ 224 h 1377"/>
                <a:gd name="T60" fmla="*/ 1149 w 1432"/>
                <a:gd name="T61" fmla="*/ 140 h 1377"/>
                <a:gd name="T62" fmla="*/ 1039 w 1432"/>
                <a:gd name="T63" fmla="*/ 73 h 1377"/>
                <a:gd name="T64" fmla="*/ 917 w 1432"/>
                <a:gd name="T65" fmla="*/ 27 h 1377"/>
                <a:gd name="T66" fmla="*/ 785 w 1432"/>
                <a:gd name="T67" fmla="*/ 3 h 1377"/>
                <a:gd name="T68" fmla="*/ 1013 w 1432"/>
                <a:gd name="T69" fmla="*/ 877 h 1377"/>
                <a:gd name="T70" fmla="*/ 1033 w 1432"/>
                <a:gd name="T71" fmla="*/ 912 h 1377"/>
                <a:gd name="T72" fmla="*/ 1033 w 1432"/>
                <a:gd name="T73" fmla="*/ 950 h 1377"/>
                <a:gd name="T74" fmla="*/ 1014 w 1432"/>
                <a:gd name="T75" fmla="*/ 984 h 1377"/>
                <a:gd name="T76" fmla="*/ 979 w 1432"/>
                <a:gd name="T77" fmla="*/ 1004 h 1377"/>
                <a:gd name="T78" fmla="*/ 940 w 1432"/>
                <a:gd name="T79" fmla="*/ 1004 h 1377"/>
                <a:gd name="T80" fmla="*/ 906 w 1432"/>
                <a:gd name="T81" fmla="*/ 984 h 1377"/>
                <a:gd name="T82" fmla="*/ 526 w 1432"/>
                <a:gd name="T83" fmla="*/ 984 h 1377"/>
                <a:gd name="T84" fmla="*/ 492 w 1432"/>
                <a:gd name="T85" fmla="*/ 1004 h 1377"/>
                <a:gd name="T86" fmla="*/ 453 w 1432"/>
                <a:gd name="T87" fmla="*/ 1004 h 1377"/>
                <a:gd name="T88" fmla="*/ 419 w 1432"/>
                <a:gd name="T89" fmla="*/ 984 h 1377"/>
                <a:gd name="T90" fmla="*/ 399 w 1432"/>
                <a:gd name="T91" fmla="*/ 950 h 1377"/>
                <a:gd name="T92" fmla="*/ 399 w 1432"/>
                <a:gd name="T93" fmla="*/ 912 h 1377"/>
                <a:gd name="T94" fmla="*/ 419 w 1432"/>
                <a:gd name="T95" fmla="*/ 877 h 1377"/>
                <a:gd name="T96" fmla="*/ 419 w 1432"/>
                <a:gd name="T97" fmla="*/ 500 h 1377"/>
                <a:gd name="T98" fmla="*/ 399 w 1432"/>
                <a:gd name="T99" fmla="*/ 466 h 1377"/>
                <a:gd name="T100" fmla="*/ 399 w 1432"/>
                <a:gd name="T101" fmla="*/ 427 h 1377"/>
                <a:gd name="T102" fmla="*/ 419 w 1432"/>
                <a:gd name="T103" fmla="*/ 392 h 1377"/>
                <a:gd name="T104" fmla="*/ 453 w 1432"/>
                <a:gd name="T105" fmla="*/ 373 h 1377"/>
                <a:gd name="T106" fmla="*/ 491 w 1432"/>
                <a:gd name="T107" fmla="*/ 373 h 1377"/>
                <a:gd name="T108" fmla="*/ 526 w 1432"/>
                <a:gd name="T109" fmla="*/ 392 h 1377"/>
                <a:gd name="T110" fmla="*/ 906 w 1432"/>
                <a:gd name="T111" fmla="*/ 392 h 1377"/>
                <a:gd name="T112" fmla="*/ 940 w 1432"/>
                <a:gd name="T113" fmla="*/ 373 h 1377"/>
                <a:gd name="T114" fmla="*/ 979 w 1432"/>
                <a:gd name="T115" fmla="*/ 373 h 1377"/>
                <a:gd name="T116" fmla="*/ 1013 w 1432"/>
                <a:gd name="T117" fmla="*/ 392 h 1377"/>
                <a:gd name="T118" fmla="*/ 1033 w 1432"/>
                <a:gd name="T119" fmla="*/ 427 h 1377"/>
                <a:gd name="T120" fmla="*/ 1032 w 1432"/>
                <a:gd name="T121" fmla="*/ 466 h 1377"/>
                <a:gd name="T122" fmla="*/ 1013 w 1432"/>
                <a:gd name="T123" fmla="*/ 500 h 1377"/>
                <a:gd name="T124" fmla="*/ 1013 w 1432"/>
                <a:gd name="T125" fmla="*/ 877 h 1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32" h="1377">
                  <a:moveTo>
                    <a:pt x="716" y="0"/>
                  </a:moveTo>
                  <a:lnTo>
                    <a:pt x="648" y="3"/>
                  </a:lnTo>
                  <a:lnTo>
                    <a:pt x="581" y="12"/>
                  </a:lnTo>
                  <a:lnTo>
                    <a:pt x="515" y="27"/>
                  </a:lnTo>
                  <a:lnTo>
                    <a:pt x="453" y="48"/>
                  </a:lnTo>
                  <a:lnTo>
                    <a:pt x="393" y="73"/>
                  </a:lnTo>
                  <a:lnTo>
                    <a:pt x="337" y="105"/>
                  </a:lnTo>
                  <a:lnTo>
                    <a:pt x="283" y="140"/>
                  </a:lnTo>
                  <a:lnTo>
                    <a:pt x="233" y="180"/>
                  </a:lnTo>
                  <a:lnTo>
                    <a:pt x="188" y="224"/>
                  </a:lnTo>
                  <a:lnTo>
                    <a:pt x="146" y="272"/>
                  </a:lnTo>
                  <a:lnTo>
                    <a:pt x="109" y="323"/>
                  </a:lnTo>
                  <a:lnTo>
                    <a:pt x="77" y="377"/>
                  </a:lnTo>
                  <a:lnTo>
                    <a:pt x="50" y="435"/>
                  </a:lnTo>
                  <a:lnTo>
                    <a:pt x="29" y="495"/>
                  </a:lnTo>
                  <a:lnTo>
                    <a:pt x="13" y="558"/>
                  </a:lnTo>
                  <a:lnTo>
                    <a:pt x="3" y="622"/>
                  </a:lnTo>
                  <a:lnTo>
                    <a:pt x="0" y="688"/>
                  </a:lnTo>
                  <a:lnTo>
                    <a:pt x="3" y="755"/>
                  </a:lnTo>
                  <a:lnTo>
                    <a:pt x="13" y="819"/>
                  </a:lnTo>
                  <a:lnTo>
                    <a:pt x="29" y="881"/>
                  </a:lnTo>
                  <a:lnTo>
                    <a:pt x="50" y="942"/>
                  </a:lnTo>
                  <a:lnTo>
                    <a:pt x="77" y="999"/>
                  </a:lnTo>
                  <a:lnTo>
                    <a:pt x="109" y="1053"/>
                  </a:lnTo>
                  <a:lnTo>
                    <a:pt x="146" y="1105"/>
                  </a:lnTo>
                  <a:lnTo>
                    <a:pt x="188" y="1153"/>
                  </a:lnTo>
                  <a:lnTo>
                    <a:pt x="233" y="1196"/>
                  </a:lnTo>
                  <a:lnTo>
                    <a:pt x="283" y="1236"/>
                  </a:lnTo>
                  <a:lnTo>
                    <a:pt x="337" y="1272"/>
                  </a:lnTo>
                  <a:lnTo>
                    <a:pt x="393" y="1303"/>
                  </a:lnTo>
                  <a:lnTo>
                    <a:pt x="453" y="1329"/>
                  </a:lnTo>
                  <a:lnTo>
                    <a:pt x="515" y="1350"/>
                  </a:lnTo>
                  <a:lnTo>
                    <a:pt x="581" y="1365"/>
                  </a:lnTo>
                  <a:lnTo>
                    <a:pt x="648" y="1374"/>
                  </a:lnTo>
                  <a:lnTo>
                    <a:pt x="716" y="1377"/>
                  </a:lnTo>
                  <a:lnTo>
                    <a:pt x="785" y="1374"/>
                  </a:lnTo>
                  <a:lnTo>
                    <a:pt x="852" y="1365"/>
                  </a:lnTo>
                  <a:lnTo>
                    <a:pt x="917" y="1350"/>
                  </a:lnTo>
                  <a:lnTo>
                    <a:pt x="979" y="1329"/>
                  </a:lnTo>
                  <a:lnTo>
                    <a:pt x="1039" y="1303"/>
                  </a:lnTo>
                  <a:lnTo>
                    <a:pt x="1096" y="1272"/>
                  </a:lnTo>
                  <a:lnTo>
                    <a:pt x="1149" y="1236"/>
                  </a:lnTo>
                  <a:lnTo>
                    <a:pt x="1198" y="1196"/>
                  </a:lnTo>
                  <a:lnTo>
                    <a:pt x="1245" y="1153"/>
                  </a:lnTo>
                  <a:lnTo>
                    <a:pt x="1286" y="1105"/>
                  </a:lnTo>
                  <a:lnTo>
                    <a:pt x="1323" y="1053"/>
                  </a:lnTo>
                  <a:lnTo>
                    <a:pt x="1355" y="999"/>
                  </a:lnTo>
                  <a:lnTo>
                    <a:pt x="1382" y="942"/>
                  </a:lnTo>
                  <a:lnTo>
                    <a:pt x="1404" y="881"/>
                  </a:lnTo>
                  <a:lnTo>
                    <a:pt x="1419" y="819"/>
                  </a:lnTo>
                  <a:lnTo>
                    <a:pt x="1428" y="755"/>
                  </a:lnTo>
                  <a:lnTo>
                    <a:pt x="1432" y="689"/>
                  </a:lnTo>
                  <a:lnTo>
                    <a:pt x="1428" y="622"/>
                  </a:lnTo>
                  <a:lnTo>
                    <a:pt x="1419" y="558"/>
                  </a:lnTo>
                  <a:lnTo>
                    <a:pt x="1404" y="495"/>
                  </a:lnTo>
                  <a:lnTo>
                    <a:pt x="1382" y="436"/>
                  </a:lnTo>
                  <a:lnTo>
                    <a:pt x="1355" y="377"/>
                  </a:lnTo>
                  <a:lnTo>
                    <a:pt x="1323" y="323"/>
                  </a:lnTo>
                  <a:lnTo>
                    <a:pt x="1286" y="272"/>
                  </a:lnTo>
                  <a:lnTo>
                    <a:pt x="1245" y="224"/>
                  </a:lnTo>
                  <a:lnTo>
                    <a:pt x="1198" y="180"/>
                  </a:lnTo>
                  <a:lnTo>
                    <a:pt x="1149" y="140"/>
                  </a:lnTo>
                  <a:lnTo>
                    <a:pt x="1096" y="105"/>
                  </a:lnTo>
                  <a:lnTo>
                    <a:pt x="1039" y="73"/>
                  </a:lnTo>
                  <a:lnTo>
                    <a:pt x="979" y="48"/>
                  </a:lnTo>
                  <a:lnTo>
                    <a:pt x="917" y="27"/>
                  </a:lnTo>
                  <a:lnTo>
                    <a:pt x="852" y="12"/>
                  </a:lnTo>
                  <a:lnTo>
                    <a:pt x="785" y="3"/>
                  </a:lnTo>
                  <a:lnTo>
                    <a:pt x="716" y="0"/>
                  </a:lnTo>
                  <a:close/>
                  <a:moveTo>
                    <a:pt x="1013" y="877"/>
                  </a:moveTo>
                  <a:lnTo>
                    <a:pt x="1026" y="893"/>
                  </a:lnTo>
                  <a:lnTo>
                    <a:pt x="1033" y="912"/>
                  </a:lnTo>
                  <a:lnTo>
                    <a:pt x="1035" y="930"/>
                  </a:lnTo>
                  <a:lnTo>
                    <a:pt x="1033" y="950"/>
                  </a:lnTo>
                  <a:lnTo>
                    <a:pt x="1026" y="968"/>
                  </a:lnTo>
                  <a:lnTo>
                    <a:pt x="1014" y="984"/>
                  </a:lnTo>
                  <a:lnTo>
                    <a:pt x="998" y="996"/>
                  </a:lnTo>
                  <a:lnTo>
                    <a:pt x="979" y="1004"/>
                  </a:lnTo>
                  <a:lnTo>
                    <a:pt x="960" y="1007"/>
                  </a:lnTo>
                  <a:lnTo>
                    <a:pt x="940" y="1004"/>
                  </a:lnTo>
                  <a:lnTo>
                    <a:pt x="922" y="997"/>
                  </a:lnTo>
                  <a:lnTo>
                    <a:pt x="906" y="984"/>
                  </a:lnTo>
                  <a:lnTo>
                    <a:pt x="716" y="795"/>
                  </a:lnTo>
                  <a:lnTo>
                    <a:pt x="526" y="984"/>
                  </a:lnTo>
                  <a:lnTo>
                    <a:pt x="509" y="997"/>
                  </a:lnTo>
                  <a:lnTo>
                    <a:pt x="492" y="1004"/>
                  </a:lnTo>
                  <a:lnTo>
                    <a:pt x="473" y="1007"/>
                  </a:lnTo>
                  <a:lnTo>
                    <a:pt x="453" y="1004"/>
                  </a:lnTo>
                  <a:lnTo>
                    <a:pt x="435" y="996"/>
                  </a:lnTo>
                  <a:lnTo>
                    <a:pt x="419" y="984"/>
                  </a:lnTo>
                  <a:lnTo>
                    <a:pt x="407" y="968"/>
                  </a:lnTo>
                  <a:lnTo>
                    <a:pt x="399" y="950"/>
                  </a:lnTo>
                  <a:lnTo>
                    <a:pt x="397" y="930"/>
                  </a:lnTo>
                  <a:lnTo>
                    <a:pt x="399" y="912"/>
                  </a:lnTo>
                  <a:lnTo>
                    <a:pt x="407" y="893"/>
                  </a:lnTo>
                  <a:lnTo>
                    <a:pt x="419" y="877"/>
                  </a:lnTo>
                  <a:lnTo>
                    <a:pt x="609" y="689"/>
                  </a:lnTo>
                  <a:lnTo>
                    <a:pt x="419" y="500"/>
                  </a:lnTo>
                  <a:lnTo>
                    <a:pt x="407" y="483"/>
                  </a:lnTo>
                  <a:lnTo>
                    <a:pt x="399" y="466"/>
                  </a:lnTo>
                  <a:lnTo>
                    <a:pt x="397" y="447"/>
                  </a:lnTo>
                  <a:lnTo>
                    <a:pt x="399" y="427"/>
                  </a:lnTo>
                  <a:lnTo>
                    <a:pt x="407" y="409"/>
                  </a:lnTo>
                  <a:lnTo>
                    <a:pt x="419" y="392"/>
                  </a:lnTo>
                  <a:lnTo>
                    <a:pt x="435" y="381"/>
                  </a:lnTo>
                  <a:lnTo>
                    <a:pt x="453" y="373"/>
                  </a:lnTo>
                  <a:lnTo>
                    <a:pt x="473" y="371"/>
                  </a:lnTo>
                  <a:lnTo>
                    <a:pt x="491" y="373"/>
                  </a:lnTo>
                  <a:lnTo>
                    <a:pt x="509" y="381"/>
                  </a:lnTo>
                  <a:lnTo>
                    <a:pt x="526" y="392"/>
                  </a:lnTo>
                  <a:lnTo>
                    <a:pt x="716" y="582"/>
                  </a:lnTo>
                  <a:lnTo>
                    <a:pt x="906" y="392"/>
                  </a:lnTo>
                  <a:lnTo>
                    <a:pt x="922" y="381"/>
                  </a:lnTo>
                  <a:lnTo>
                    <a:pt x="940" y="373"/>
                  </a:lnTo>
                  <a:lnTo>
                    <a:pt x="960" y="371"/>
                  </a:lnTo>
                  <a:lnTo>
                    <a:pt x="979" y="373"/>
                  </a:lnTo>
                  <a:lnTo>
                    <a:pt x="996" y="381"/>
                  </a:lnTo>
                  <a:lnTo>
                    <a:pt x="1013" y="392"/>
                  </a:lnTo>
                  <a:lnTo>
                    <a:pt x="1026" y="409"/>
                  </a:lnTo>
                  <a:lnTo>
                    <a:pt x="1033" y="427"/>
                  </a:lnTo>
                  <a:lnTo>
                    <a:pt x="1035" y="447"/>
                  </a:lnTo>
                  <a:lnTo>
                    <a:pt x="1032" y="466"/>
                  </a:lnTo>
                  <a:lnTo>
                    <a:pt x="1026" y="483"/>
                  </a:lnTo>
                  <a:lnTo>
                    <a:pt x="1013" y="500"/>
                  </a:lnTo>
                  <a:lnTo>
                    <a:pt x="824" y="689"/>
                  </a:lnTo>
                  <a:lnTo>
                    <a:pt x="1013" y="87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7"/>
            <p:cNvSpPr>
              <a:spLocks noEditPoints="1"/>
            </p:cNvSpPr>
            <p:nvPr/>
          </p:nvSpPr>
          <p:spPr bwMode="auto">
            <a:xfrm>
              <a:off x="592" y="2862"/>
              <a:ext cx="225" cy="291"/>
            </a:xfrm>
            <a:custGeom>
              <a:avLst/>
              <a:gdLst>
                <a:gd name="T0" fmla="*/ 1987 w 2473"/>
                <a:gd name="T1" fmla="*/ 2735 h 3197"/>
                <a:gd name="T2" fmla="*/ 2048 w 2473"/>
                <a:gd name="T3" fmla="*/ 2538 h 3197"/>
                <a:gd name="T4" fmla="*/ 2154 w 2473"/>
                <a:gd name="T5" fmla="*/ 2366 h 3197"/>
                <a:gd name="T6" fmla="*/ 2297 w 2473"/>
                <a:gd name="T7" fmla="*/ 2222 h 3197"/>
                <a:gd name="T8" fmla="*/ 2473 w 2473"/>
                <a:gd name="T9" fmla="*/ 2116 h 3197"/>
                <a:gd name="T10" fmla="*/ 2464 w 2473"/>
                <a:gd name="T11" fmla="*/ 2 h 3197"/>
                <a:gd name="T12" fmla="*/ 9 w 2473"/>
                <a:gd name="T13" fmla="*/ 2 h 3197"/>
                <a:gd name="T14" fmla="*/ 0 w 2473"/>
                <a:gd name="T15" fmla="*/ 3179 h 3197"/>
                <a:gd name="T16" fmla="*/ 19 w 2473"/>
                <a:gd name="T17" fmla="*/ 3197 h 3197"/>
                <a:gd name="T18" fmla="*/ 1999 w 2473"/>
                <a:gd name="T19" fmla="*/ 3074 h 3197"/>
                <a:gd name="T20" fmla="*/ 1974 w 2473"/>
                <a:gd name="T21" fmla="*/ 2876 h 3197"/>
                <a:gd name="T22" fmla="*/ 1933 w 2473"/>
                <a:gd name="T23" fmla="*/ 526 h 3197"/>
                <a:gd name="T24" fmla="*/ 1979 w 2473"/>
                <a:gd name="T25" fmla="*/ 562 h 3197"/>
                <a:gd name="T26" fmla="*/ 1986 w 2473"/>
                <a:gd name="T27" fmla="*/ 620 h 3197"/>
                <a:gd name="T28" fmla="*/ 1951 w 2473"/>
                <a:gd name="T29" fmla="*/ 665 h 3197"/>
                <a:gd name="T30" fmla="*/ 560 w 2473"/>
                <a:gd name="T31" fmla="*/ 675 h 3197"/>
                <a:gd name="T32" fmla="*/ 507 w 2473"/>
                <a:gd name="T33" fmla="*/ 654 h 3197"/>
                <a:gd name="T34" fmla="*/ 484 w 2473"/>
                <a:gd name="T35" fmla="*/ 599 h 3197"/>
                <a:gd name="T36" fmla="*/ 507 w 2473"/>
                <a:gd name="T37" fmla="*/ 546 h 3197"/>
                <a:gd name="T38" fmla="*/ 560 w 2473"/>
                <a:gd name="T39" fmla="*/ 524 h 3197"/>
                <a:gd name="T40" fmla="*/ 1933 w 2473"/>
                <a:gd name="T41" fmla="*/ 1026 h 3197"/>
                <a:gd name="T42" fmla="*/ 1979 w 2473"/>
                <a:gd name="T43" fmla="*/ 1060 h 3197"/>
                <a:gd name="T44" fmla="*/ 1986 w 2473"/>
                <a:gd name="T45" fmla="*/ 1119 h 3197"/>
                <a:gd name="T46" fmla="*/ 1951 w 2473"/>
                <a:gd name="T47" fmla="*/ 1164 h 3197"/>
                <a:gd name="T48" fmla="*/ 560 w 2473"/>
                <a:gd name="T49" fmla="*/ 1175 h 3197"/>
                <a:gd name="T50" fmla="*/ 507 w 2473"/>
                <a:gd name="T51" fmla="*/ 1152 h 3197"/>
                <a:gd name="T52" fmla="*/ 484 w 2473"/>
                <a:gd name="T53" fmla="*/ 1099 h 3197"/>
                <a:gd name="T54" fmla="*/ 507 w 2473"/>
                <a:gd name="T55" fmla="*/ 1045 h 3197"/>
                <a:gd name="T56" fmla="*/ 560 w 2473"/>
                <a:gd name="T57" fmla="*/ 1024 h 3197"/>
                <a:gd name="T58" fmla="*/ 1933 w 2473"/>
                <a:gd name="T59" fmla="*/ 1526 h 3197"/>
                <a:gd name="T60" fmla="*/ 1979 w 2473"/>
                <a:gd name="T61" fmla="*/ 1560 h 3197"/>
                <a:gd name="T62" fmla="*/ 1986 w 2473"/>
                <a:gd name="T63" fmla="*/ 1619 h 3197"/>
                <a:gd name="T64" fmla="*/ 1951 w 2473"/>
                <a:gd name="T65" fmla="*/ 1664 h 3197"/>
                <a:gd name="T66" fmla="*/ 560 w 2473"/>
                <a:gd name="T67" fmla="*/ 1675 h 3197"/>
                <a:gd name="T68" fmla="*/ 507 w 2473"/>
                <a:gd name="T69" fmla="*/ 1652 h 3197"/>
                <a:gd name="T70" fmla="*/ 484 w 2473"/>
                <a:gd name="T71" fmla="*/ 1598 h 3197"/>
                <a:gd name="T72" fmla="*/ 507 w 2473"/>
                <a:gd name="T73" fmla="*/ 1545 h 3197"/>
                <a:gd name="T74" fmla="*/ 560 w 2473"/>
                <a:gd name="T75" fmla="*/ 1522 h 3197"/>
                <a:gd name="T76" fmla="*/ 1933 w 2473"/>
                <a:gd name="T77" fmla="*/ 2025 h 3197"/>
                <a:gd name="T78" fmla="*/ 1979 w 2473"/>
                <a:gd name="T79" fmla="*/ 2060 h 3197"/>
                <a:gd name="T80" fmla="*/ 1986 w 2473"/>
                <a:gd name="T81" fmla="*/ 2118 h 3197"/>
                <a:gd name="T82" fmla="*/ 1951 w 2473"/>
                <a:gd name="T83" fmla="*/ 2164 h 3197"/>
                <a:gd name="T84" fmla="*/ 560 w 2473"/>
                <a:gd name="T85" fmla="*/ 2174 h 3197"/>
                <a:gd name="T86" fmla="*/ 507 w 2473"/>
                <a:gd name="T87" fmla="*/ 2152 h 3197"/>
                <a:gd name="T88" fmla="*/ 484 w 2473"/>
                <a:gd name="T89" fmla="*/ 2098 h 3197"/>
                <a:gd name="T90" fmla="*/ 507 w 2473"/>
                <a:gd name="T91" fmla="*/ 2045 h 3197"/>
                <a:gd name="T92" fmla="*/ 560 w 2473"/>
                <a:gd name="T93" fmla="*/ 2022 h 3197"/>
                <a:gd name="T94" fmla="*/ 540 w 2473"/>
                <a:gd name="T95" fmla="*/ 2670 h 3197"/>
                <a:gd name="T96" fmla="*/ 495 w 2473"/>
                <a:gd name="T97" fmla="*/ 2636 h 3197"/>
                <a:gd name="T98" fmla="*/ 487 w 2473"/>
                <a:gd name="T99" fmla="*/ 2577 h 3197"/>
                <a:gd name="T100" fmla="*/ 522 w 2473"/>
                <a:gd name="T101" fmla="*/ 2532 h 3197"/>
                <a:gd name="T102" fmla="*/ 1913 w 2473"/>
                <a:gd name="T103" fmla="*/ 2522 h 3197"/>
                <a:gd name="T104" fmla="*/ 1967 w 2473"/>
                <a:gd name="T105" fmla="*/ 2544 h 3197"/>
                <a:gd name="T106" fmla="*/ 1988 w 2473"/>
                <a:gd name="T107" fmla="*/ 2598 h 3197"/>
                <a:gd name="T108" fmla="*/ 1967 w 2473"/>
                <a:gd name="T109" fmla="*/ 2651 h 3197"/>
                <a:gd name="T110" fmla="*/ 1913 w 2473"/>
                <a:gd name="T111" fmla="*/ 2674 h 3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73" h="3197">
                  <a:moveTo>
                    <a:pt x="1974" y="2876"/>
                  </a:moveTo>
                  <a:lnTo>
                    <a:pt x="1978" y="2804"/>
                  </a:lnTo>
                  <a:lnTo>
                    <a:pt x="1987" y="2735"/>
                  </a:lnTo>
                  <a:lnTo>
                    <a:pt x="2001" y="2667"/>
                  </a:lnTo>
                  <a:lnTo>
                    <a:pt x="2022" y="2602"/>
                  </a:lnTo>
                  <a:lnTo>
                    <a:pt x="2048" y="2538"/>
                  </a:lnTo>
                  <a:lnTo>
                    <a:pt x="2078" y="2478"/>
                  </a:lnTo>
                  <a:lnTo>
                    <a:pt x="2114" y="2420"/>
                  </a:lnTo>
                  <a:lnTo>
                    <a:pt x="2154" y="2366"/>
                  </a:lnTo>
                  <a:lnTo>
                    <a:pt x="2198" y="2314"/>
                  </a:lnTo>
                  <a:lnTo>
                    <a:pt x="2245" y="2267"/>
                  </a:lnTo>
                  <a:lnTo>
                    <a:pt x="2297" y="2222"/>
                  </a:lnTo>
                  <a:lnTo>
                    <a:pt x="2352" y="2182"/>
                  </a:lnTo>
                  <a:lnTo>
                    <a:pt x="2412" y="2147"/>
                  </a:lnTo>
                  <a:lnTo>
                    <a:pt x="2473" y="2116"/>
                  </a:lnTo>
                  <a:lnTo>
                    <a:pt x="2473" y="18"/>
                  </a:lnTo>
                  <a:lnTo>
                    <a:pt x="2470" y="9"/>
                  </a:lnTo>
                  <a:lnTo>
                    <a:pt x="2464" y="2"/>
                  </a:lnTo>
                  <a:lnTo>
                    <a:pt x="2454" y="0"/>
                  </a:lnTo>
                  <a:lnTo>
                    <a:pt x="19" y="0"/>
                  </a:lnTo>
                  <a:lnTo>
                    <a:pt x="9" y="2"/>
                  </a:lnTo>
                  <a:lnTo>
                    <a:pt x="2" y="9"/>
                  </a:lnTo>
                  <a:lnTo>
                    <a:pt x="0" y="18"/>
                  </a:lnTo>
                  <a:lnTo>
                    <a:pt x="0" y="3179"/>
                  </a:lnTo>
                  <a:lnTo>
                    <a:pt x="2" y="3189"/>
                  </a:lnTo>
                  <a:lnTo>
                    <a:pt x="9" y="3195"/>
                  </a:lnTo>
                  <a:lnTo>
                    <a:pt x="19" y="3197"/>
                  </a:lnTo>
                  <a:lnTo>
                    <a:pt x="2041" y="3197"/>
                  </a:lnTo>
                  <a:lnTo>
                    <a:pt x="2018" y="3137"/>
                  </a:lnTo>
                  <a:lnTo>
                    <a:pt x="1999" y="3074"/>
                  </a:lnTo>
                  <a:lnTo>
                    <a:pt x="1986" y="3010"/>
                  </a:lnTo>
                  <a:lnTo>
                    <a:pt x="1978" y="2943"/>
                  </a:lnTo>
                  <a:lnTo>
                    <a:pt x="1974" y="2876"/>
                  </a:lnTo>
                  <a:close/>
                  <a:moveTo>
                    <a:pt x="560" y="524"/>
                  </a:moveTo>
                  <a:lnTo>
                    <a:pt x="1913" y="524"/>
                  </a:lnTo>
                  <a:lnTo>
                    <a:pt x="1933" y="526"/>
                  </a:lnTo>
                  <a:lnTo>
                    <a:pt x="1951" y="534"/>
                  </a:lnTo>
                  <a:lnTo>
                    <a:pt x="1967" y="545"/>
                  </a:lnTo>
                  <a:lnTo>
                    <a:pt x="1979" y="562"/>
                  </a:lnTo>
                  <a:lnTo>
                    <a:pt x="1986" y="579"/>
                  </a:lnTo>
                  <a:lnTo>
                    <a:pt x="1988" y="599"/>
                  </a:lnTo>
                  <a:lnTo>
                    <a:pt x="1986" y="620"/>
                  </a:lnTo>
                  <a:lnTo>
                    <a:pt x="1979" y="637"/>
                  </a:lnTo>
                  <a:lnTo>
                    <a:pt x="1967" y="654"/>
                  </a:lnTo>
                  <a:lnTo>
                    <a:pt x="1951" y="665"/>
                  </a:lnTo>
                  <a:lnTo>
                    <a:pt x="1933" y="673"/>
                  </a:lnTo>
                  <a:lnTo>
                    <a:pt x="1913" y="675"/>
                  </a:lnTo>
                  <a:lnTo>
                    <a:pt x="560" y="675"/>
                  </a:lnTo>
                  <a:lnTo>
                    <a:pt x="540" y="673"/>
                  </a:lnTo>
                  <a:lnTo>
                    <a:pt x="522" y="665"/>
                  </a:lnTo>
                  <a:lnTo>
                    <a:pt x="507" y="654"/>
                  </a:lnTo>
                  <a:lnTo>
                    <a:pt x="495" y="637"/>
                  </a:lnTo>
                  <a:lnTo>
                    <a:pt x="487" y="620"/>
                  </a:lnTo>
                  <a:lnTo>
                    <a:pt x="484" y="599"/>
                  </a:lnTo>
                  <a:lnTo>
                    <a:pt x="487" y="579"/>
                  </a:lnTo>
                  <a:lnTo>
                    <a:pt x="495" y="562"/>
                  </a:lnTo>
                  <a:lnTo>
                    <a:pt x="507" y="546"/>
                  </a:lnTo>
                  <a:lnTo>
                    <a:pt x="522" y="534"/>
                  </a:lnTo>
                  <a:lnTo>
                    <a:pt x="540" y="527"/>
                  </a:lnTo>
                  <a:lnTo>
                    <a:pt x="560" y="524"/>
                  </a:lnTo>
                  <a:close/>
                  <a:moveTo>
                    <a:pt x="560" y="1024"/>
                  </a:moveTo>
                  <a:lnTo>
                    <a:pt x="1913" y="1024"/>
                  </a:lnTo>
                  <a:lnTo>
                    <a:pt x="1933" y="1026"/>
                  </a:lnTo>
                  <a:lnTo>
                    <a:pt x="1951" y="1033"/>
                  </a:lnTo>
                  <a:lnTo>
                    <a:pt x="1967" y="1045"/>
                  </a:lnTo>
                  <a:lnTo>
                    <a:pt x="1979" y="1060"/>
                  </a:lnTo>
                  <a:lnTo>
                    <a:pt x="1986" y="1079"/>
                  </a:lnTo>
                  <a:lnTo>
                    <a:pt x="1988" y="1099"/>
                  </a:lnTo>
                  <a:lnTo>
                    <a:pt x="1986" y="1119"/>
                  </a:lnTo>
                  <a:lnTo>
                    <a:pt x="1979" y="1137"/>
                  </a:lnTo>
                  <a:lnTo>
                    <a:pt x="1967" y="1152"/>
                  </a:lnTo>
                  <a:lnTo>
                    <a:pt x="1951" y="1164"/>
                  </a:lnTo>
                  <a:lnTo>
                    <a:pt x="1933" y="1172"/>
                  </a:lnTo>
                  <a:lnTo>
                    <a:pt x="1913" y="1175"/>
                  </a:lnTo>
                  <a:lnTo>
                    <a:pt x="560" y="1175"/>
                  </a:lnTo>
                  <a:lnTo>
                    <a:pt x="540" y="1172"/>
                  </a:lnTo>
                  <a:lnTo>
                    <a:pt x="522" y="1164"/>
                  </a:lnTo>
                  <a:lnTo>
                    <a:pt x="507" y="1152"/>
                  </a:lnTo>
                  <a:lnTo>
                    <a:pt x="495" y="1137"/>
                  </a:lnTo>
                  <a:lnTo>
                    <a:pt x="487" y="1119"/>
                  </a:lnTo>
                  <a:lnTo>
                    <a:pt x="484" y="1099"/>
                  </a:lnTo>
                  <a:lnTo>
                    <a:pt x="487" y="1079"/>
                  </a:lnTo>
                  <a:lnTo>
                    <a:pt x="495" y="1060"/>
                  </a:lnTo>
                  <a:lnTo>
                    <a:pt x="507" y="1045"/>
                  </a:lnTo>
                  <a:lnTo>
                    <a:pt x="522" y="1033"/>
                  </a:lnTo>
                  <a:lnTo>
                    <a:pt x="540" y="1026"/>
                  </a:lnTo>
                  <a:lnTo>
                    <a:pt x="560" y="1024"/>
                  </a:lnTo>
                  <a:close/>
                  <a:moveTo>
                    <a:pt x="560" y="1522"/>
                  </a:moveTo>
                  <a:lnTo>
                    <a:pt x="1913" y="1522"/>
                  </a:lnTo>
                  <a:lnTo>
                    <a:pt x="1933" y="1526"/>
                  </a:lnTo>
                  <a:lnTo>
                    <a:pt x="1951" y="1533"/>
                  </a:lnTo>
                  <a:lnTo>
                    <a:pt x="1967" y="1545"/>
                  </a:lnTo>
                  <a:lnTo>
                    <a:pt x="1979" y="1560"/>
                  </a:lnTo>
                  <a:lnTo>
                    <a:pt x="1986" y="1579"/>
                  </a:lnTo>
                  <a:lnTo>
                    <a:pt x="1988" y="1598"/>
                  </a:lnTo>
                  <a:lnTo>
                    <a:pt x="1986" y="1619"/>
                  </a:lnTo>
                  <a:lnTo>
                    <a:pt x="1979" y="1637"/>
                  </a:lnTo>
                  <a:lnTo>
                    <a:pt x="1967" y="1652"/>
                  </a:lnTo>
                  <a:lnTo>
                    <a:pt x="1951" y="1664"/>
                  </a:lnTo>
                  <a:lnTo>
                    <a:pt x="1933" y="1672"/>
                  </a:lnTo>
                  <a:lnTo>
                    <a:pt x="1913" y="1675"/>
                  </a:lnTo>
                  <a:lnTo>
                    <a:pt x="560" y="1675"/>
                  </a:lnTo>
                  <a:lnTo>
                    <a:pt x="540" y="1672"/>
                  </a:lnTo>
                  <a:lnTo>
                    <a:pt x="522" y="1664"/>
                  </a:lnTo>
                  <a:lnTo>
                    <a:pt x="507" y="1652"/>
                  </a:lnTo>
                  <a:lnTo>
                    <a:pt x="495" y="1637"/>
                  </a:lnTo>
                  <a:lnTo>
                    <a:pt x="487" y="1619"/>
                  </a:lnTo>
                  <a:lnTo>
                    <a:pt x="484" y="1598"/>
                  </a:lnTo>
                  <a:lnTo>
                    <a:pt x="487" y="1579"/>
                  </a:lnTo>
                  <a:lnTo>
                    <a:pt x="495" y="1560"/>
                  </a:lnTo>
                  <a:lnTo>
                    <a:pt x="507" y="1545"/>
                  </a:lnTo>
                  <a:lnTo>
                    <a:pt x="522" y="1533"/>
                  </a:lnTo>
                  <a:lnTo>
                    <a:pt x="540" y="1526"/>
                  </a:lnTo>
                  <a:lnTo>
                    <a:pt x="560" y="1522"/>
                  </a:lnTo>
                  <a:close/>
                  <a:moveTo>
                    <a:pt x="560" y="2022"/>
                  </a:moveTo>
                  <a:lnTo>
                    <a:pt x="1913" y="2022"/>
                  </a:lnTo>
                  <a:lnTo>
                    <a:pt x="1933" y="2025"/>
                  </a:lnTo>
                  <a:lnTo>
                    <a:pt x="1951" y="2033"/>
                  </a:lnTo>
                  <a:lnTo>
                    <a:pt x="1967" y="2045"/>
                  </a:lnTo>
                  <a:lnTo>
                    <a:pt x="1979" y="2060"/>
                  </a:lnTo>
                  <a:lnTo>
                    <a:pt x="1986" y="2077"/>
                  </a:lnTo>
                  <a:lnTo>
                    <a:pt x="1988" y="2098"/>
                  </a:lnTo>
                  <a:lnTo>
                    <a:pt x="1986" y="2118"/>
                  </a:lnTo>
                  <a:lnTo>
                    <a:pt x="1979" y="2136"/>
                  </a:lnTo>
                  <a:lnTo>
                    <a:pt x="1967" y="2152"/>
                  </a:lnTo>
                  <a:lnTo>
                    <a:pt x="1951" y="2164"/>
                  </a:lnTo>
                  <a:lnTo>
                    <a:pt x="1933" y="2172"/>
                  </a:lnTo>
                  <a:lnTo>
                    <a:pt x="1913" y="2174"/>
                  </a:lnTo>
                  <a:lnTo>
                    <a:pt x="560" y="2174"/>
                  </a:lnTo>
                  <a:lnTo>
                    <a:pt x="540" y="2172"/>
                  </a:lnTo>
                  <a:lnTo>
                    <a:pt x="522" y="2164"/>
                  </a:lnTo>
                  <a:lnTo>
                    <a:pt x="507" y="2152"/>
                  </a:lnTo>
                  <a:lnTo>
                    <a:pt x="495" y="2136"/>
                  </a:lnTo>
                  <a:lnTo>
                    <a:pt x="487" y="2118"/>
                  </a:lnTo>
                  <a:lnTo>
                    <a:pt x="484" y="2098"/>
                  </a:lnTo>
                  <a:lnTo>
                    <a:pt x="487" y="2077"/>
                  </a:lnTo>
                  <a:lnTo>
                    <a:pt x="495" y="2060"/>
                  </a:lnTo>
                  <a:lnTo>
                    <a:pt x="507" y="2045"/>
                  </a:lnTo>
                  <a:lnTo>
                    <a:pt x="522" y="2033"/>
                  </a:lnTo>
                  <a:lnTo>
                    <a:pt x="540" y="2025"/>
                  </a:lnTo>
                  <a:lnTo>
                    <a:pt x="560" y="2022"/>
                  </a:lnTo>
                  <a:close/>
                  <a:moveTo>
                    <a:pt x="1913" y="2674"/>
                  </a:moveTo>
                  <a:lnTo>
                    <a:pt x="560" y="2674"/>
                  </a:lnTo>
                  <a:lnTo>
                    <a:pt x="540" y="2670"/>
                  </a:lnTo>
                  <a:lnTo>
                    <a:pt x="522" y="2663"/>
                  </a:lnTo>
                  <a:lnTo>
                    <a:pt x="507" y="2651"/>
                  </a:lnTo>
                  <a:lnTo>
                    <a:pt x="495" y="2636"/>
                  </a:lnTo>
                  <a:lnTo>
                    <a:pt x="487" y="2618"/>
                  </a:lnTo>
                  <a:lnTo>
                    <a:pt x="484" y="2598"/>
                  </a:lnTo>
                  <a:lnTo>
                    <a:pt x="487" y="2577"/>
                  </a:lnTo>
                  <a:lnTo>
                    <a:pt x="495" y="2560"/>
                  </a:lnTo>
                  <a:lnTo>
                    <a:pt x="507" y="2544"/>
                  </a:lnTo>
                  <a:lnTo>
                    <a:pt x="522" y="2532"/>
                  </a:lnTo>
                  <a:lnTo>
                    <a:pt x="540" y="2524"/>
                  </a:lnTo>
                  <a:lnTo>
                    <a:pt x="560" y="2522"/>
                  </a:lnTo>
                  <a:lnTo>
                    <a:pt x="1913" y="2522"/>
                  </a:lnTo>
                  <a:lnTo>
                    <a:pt x="1933" y="2524"/>
                  </a:lnTo>
                  <a:lnTo>
                    <a:pt x="1951" y="2532"/>
                  </a:lnTo>
                  <a:lnTo>
                    <a:pt x="1967" y="2544"/>
                  </a:lnTo>
                  <a:lnTo>
                    <a:pt x="1979" y="2560"/>
                  </a:lnTo>
                  <a:lnTo>
                    <a:pt x="1986" y="2577"/>
                  </a:lnTo>
                  <a:lnTo>
                    <a:pt x="1988" y="2598"/>
                  </a:lnTo>
                  <a:lnTo>
                    <a:pt x="1986" y="2618"/>
                  </a:lnTo>
                  <a:lnTo>
                    <a:pt x="1979" y="2636"/>
                  </a:lnTo>
                  <a:lnTo>
                    <a:pt x="1967" y="2651"/>
                  </a:lnTo>
                  <a:lnTo>
                    <a:pt x="1951" y="2663"/>
                  </a:lnTo>
                  <a:lnTo>
                    <a:pt x="1933" y="2670"/>
                  </a:lnTo>
                  <a:lnTo>
                    <a:pt x="1913" y="267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5347536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usiness and Family Media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2</a:t>
            </a:fld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763F3AE1-8764-478A-9938-ADC8D7B6DC27}"/>
              </a:ext>
            </a:extLst>
          </p:cNvPr>
          <p:cNvCxnSpPr/>
          <p:nvPr/>
        </p:nvCxnSpPr>
        <p:spPr>
          <a:xfrm rot="16200000">
            <a:off x="3451401" y="4304807"/>
            <a:ext cx="5289201" cy="0"/>
          </a:xfrm>
          <a:prstGeom prst="line">
            <a:avLst/>
          </a:prstGeom>
          <a:ln w="0">
            <a:gradFill>
              <a:gsLst>
                <a:gs pos="76000">
                  <a:schemeClr val="bg1">
                    <a:lumMod val="50000"/>
                  </a:schemeClr>
                </a:gs>
                <a:gs pos="26000">
                  <a:schemeClr val="bg1">
                    <a:lumMod val="50000"/>
                  </a:schemeClr>
                </a:gs>
                <a:gs pos="0">
                  <a:schemeClr val="bg1">
                    <a:alpha val="0"/>
                  </a:schemeClr>
                </a:gs>
                <a:gs pos="100000">
                  <a:schemeClr val="bg1">
                    <a:alpha val="0"/>
                  </a:scheme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oup 54"/>
          <p:cNvGrpSpPr/>
          <p:nvPr/>
        </p:nvGrpSpPr>
        <p:grpSpPr>
          <a:xfrm>
            <a:off x="920755" y="1459581"/>
            <a:ext cx="4206240" cy="499024"/>
            <a:chOff x="1401927" y="1459581"/>
            <a:chExt cx="4206240" cy="499024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B81F1B30-04B6-4886-A5C7-694BFC87B9A3}"/>
                </a:ext>
              </a:extLst>
            </p:cNvPr>
            <p:cNvSpPr/>
            <p:nvPr/>
          </p:nvSpPr>
          <p:spPr>
            <a:xfrm>
              <a:off x="1401927" y="1459581"/>
              <a:ext cx="4206240" cy="499024"/>
            </a:xfrm>
            <a:prstGeom prst="rect">
              <a:avLst/>
            </a:prstGeom>
            <a:gradFill flip="none" rotWithShape="1">
              <a:gsLst>
                <a:gs pos="100000">
                  <a:schemeClr val="bg1">
                    <a:lumMod val="95000"/>
                  </a:schemeClr>
                </a:gs>
                <a:gs pos="0">
                  <a:schemeClr val="bg1">
                    <a:lumMod val="50000"/>
                    <a:alpha val="0"/>
                  </a:schemeClr>
                </a:gs>
              </a:gsLst>
              <a:lin ang="108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400"/>
            </a:p>
          </p:txBody>
        </p:sp>
        <p:sp>
          <p:nvSpPr>
            <p:cNvPr id="7" name="Rectangle 22">
              <a:extLst>
                <a:ext uri="{FF2B5EF4-FFF2-40B4-BE49-F238E27FC236}">
                  <a16:creationId xmlns:a16="http://schemas.microsoft.com/office/drawing/2014/main" xmlns="" id="{51FCDE39-A812-42C2-97E0-F608A754D3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374257" y="1509038"/>
              <a:ext cx="2261580" cy="400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r>
                <a:rPr lang="en-US" altLang="en-US" sz="2000" b="1" dirty="0">
                  <a:solidFill>
                    <a:srgbClr val="00569B"/>
                  </a:solidFill>
                </a:rPr>
                <a:t>The </a:t>
              </a:r>
              <a:r>
                <a:rPr lang="en-US" altLang="en-US" sz="2000" b="1" dirty="0" err="1">
                  <a:solidFill>
                    <a:srgbClr val="00569B"/>
                  </a:solidFill>
                </a:rPr>
                <a:t>Larner</a:t>
              </a:r>
              <a:r>
                <a:rPr lang="en-US" altLang="en-US" sz="2000" b="1" dirty="0">
                  <a:solidFill>
                    <a:srgbClr val="00569B"/>
                  </a:solidFill>
                </a:rPr>
                <a:t> Pyramid</a:t>
              </a:r>
            </a:p>
          </p:txBody>
        </p:sp>
      </p:grp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FDB8994D-7277-4D77-8963-A4B313858053}"/>
              </a:ext>
            </a:extLst>
          </p:cNvPr>
          <p:cNvSpPr/>
          <p:nvPr/>
        </p:nvSpPr>
        <p:spPr>
          <a:xfrm flipH="1">
            <a:off x="7174047" y="1459581"/>
            <a:ext cx="4202434" cy="499024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95000"/>
                </a:schemeClr>
              </a:gs>
              <a:gs pos="0">
                <a:schemeClr val="bg1">
                  <a:lumMod val="50000"/>
                  <a:alpha val="0"/>
                </a:schemeClr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/>
          </a:p>
        </p:txBody>
      </p:sp>
      <p:sp>
        <p:nvSpPr>
          <p:cNvPr id="9" name="Rectangle 25">
            <a:extLst>
              <a:ext uri="{FF2B5EF4-FFF2-40B4-BE49-F238E27FC236}">
                <a16:creationId xmlns:a16="http://schemas.microsoft.com/office/drawing/2014/main" xmlns="" id="{F021EB46-B836-4CED-9FB9-346E386FA9D5}"/>
              </a:ext>
            </a:extLst>
          </p:cNvPr>
          <p:cNvSpPr>
            <a:spLocks noChangeArrowheads="1"/>
          </p:cNvSpPr>
          <p:nvPr/>
        </p:nvSpPr>
        <p:spPr bwMode="auto">
          <a:xfrm>
            <a:off x="8357385" y="1509038"/>
            <a:ext cx="1835759" cy="400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r>
              <a:rPr lang="en-US" altLang="en-US" sz="2000" b="1" dirty="0">
                <a:solidFill>
                  <a:srgbClr val="00569B"/>
                </a:solidFill>
              </a:rPr>
              <a:t>The </a:t>
            </a:r>
            <a:r>
              <a:rPr lang="en-US" altLang="en-US" sz="2000" b="1" dirty="0" err="1">
                <a:solidFill>
                  <a:srgbClr val="00569B"/>
                </a:solidFill>
              </a:rPr>
              <a:t>Larner</a:t>
            </a:r>
            <a:r>
              <a:rPr lang="en-US" altLang="en-US" sz="2000" b="1" dirty="0">
                <a:solidFill>
                  <a:srgbClr val="00569B"/>
                </a:solidFill>
              </a:rPr>
              <a:t> Grid</a:t>
            </a:r>
          </a:p>
        </p:txBody>
      </p:sp>
      <p:grpSp>
        <p:nvGrpSpPr>
          <p:cNvPr id="10" name="Group 21">
            <a:extLst>
              <a:ext uri="{FF2B5EF4-FFF2-40B4-BE49-F238E27FC236}">
                <a16:creationId xmlns:a16="http://schemas.microsoft.com/office/drawing/2014/main" xmlns="" id="{074815E1-36D2-4494-AE17-584E6E744558}"/>
              </a:ext>
            </a:extLst>
          </p:cNvPr>
          <p:cNvGrpSpPr>
            <a:grpSpLocks/>
          </p:cNvGrpSpPr>
          <p:nvPr/>
        </p:nvGrpSpPr>
        <p:grpSpPr bwMode="auto">
          <a:xfrm>
            <a:off x="7337905" y="2237969"/>
            <a:ext cx="3874719" cy="3943672"/>
            <a:chOff x="5229076" y="2461239"/>
            <a:chExt cx="3119415" cy="3174773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xmlns="" id="{F5CE42CF-B44A-480C-B4AB-1E883CA7AB05}"/>
                </a:ext>
              </a:extLst>
            </p:cNvPr>
            <p:cNvSpPr/>
            <p:nvPr/>
          </p:nvSpPr>
          <p:spPr>
            <a:xfrm>
              <a:off x="5301925" y="2810522"/>
              <a:ext cx="2973718" cy="238334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400"/>
            </a:p>
          </p:txBody>
        </p:sp>
        <p:grpSp>
          <p:nvGrpSpPr>
            <p:cNvPr id="12" name="Group 117">
              <a:extLst>
                <a:ext uri="{FF2B5EF4-FFF2-40B4-BE49-F238E27FC236}">
                  <a16:creationId xmlns:a16="http://schemas.microsoft.com/office/drawing/2014/main" xmlns="" id="{0FF6922A-63B9-4F9A-8500-29C687A79066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229076" y="2461239"/>
              <a:ext cx="3119415" cy="3164362"/>
              <a:chOff x="5462588" y="2565403"/>
              <a:chExt cx="2921759" cy="2963859"/>
            </a:xfrm>
          </p:grpSpPr>
          <p:sp>
            <p:nvSpPr>
              <p:cNvPr id="24" name="Rounded Rectangle 23">
                <a:extLst>
                  <a:ext uri="{FF2B5EF4-FFF2-40B4-BE49-F238E27FC236}">
                    <a16:creationId xmlns:a16="http://schemas.microsoft.com/office/drawing/2014/main" xmlns="" id="{9EF09803-16D3-4D84-B3A9-5F71A6E22AA3}"/>
                  </a:ext>
                </a:extLst>
              </p:cNvPr>
              <p:cNvSpPr/>
              <p:nvPr/>
            </p:nvSpPr>
            <p:spPr>
              <a:xfrm>
                <a:off x="5478335" y="2565403"/>
                <a:ext cx="1417141" cy="1401328"/>
              </a:xfrm>
              <a:prstGeom prst="roundRect">
                <a:avLst>
                  <a:gd name="adj" fmla="val 11437"/>
                </a:avLst>
              </a:prstGeom>
              <a:solidFill>
                <a:srgbClr val="30AA9E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2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5" name="Rounded Rectangle 24">
                <a:extLst>
                  <a:ext uri="{FF2B5EF4-FFF2-40B4-BE49-F238E27FC236}">
                    <a16:creationId xmlns:a16="http://schemas.microsoft.com/office/drawing/2014/main" xmlns="" id="{03A97C94-A658-4E05-84D4-417C19C39BE4}"/>
                  </a:ext>
                </a:extLst>
              </p:cNvPr>
              <p:cNvSpPr/>
              <p:nvPr/>
            </p:nvSpPr>
            <p:spPr>
              <a:xfrm flipV="1">
                <a:off x="5462588" y="4118936"/>
                <a:ext cx="1432887" cy="1410076"/>
              </a:xfrm>
              <a:prstGeom prst="roundRect">
                <a:avLst>
                  <a:gd name="adj" fmla="val 11437"/>
                </a:avLst>
              </a:prstGeom>
              <a:solidFill>
                <a:srgbClr val="00569B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2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6" name="Rounded Rectangle 25">
                <a:extLst>
                  <a:ext uri="{FF2B5EF4-FFF2-40B4-BE49-F238E27FC236}">
                    <a16:creationId xmlns:a16="http://schemas.microsoft.com/office/drawing/2014/main" xmlns="" id="{5B013BAD-ED9F-47CA-8386-5689AD9F0809}"/>
                  </a:ext>
                </a:extLst>
              </p:cNvPr>
              <p:cNvSpPr/>
              <p:nvPr/>
            </p:nvSpPr>
            <p:spPr>
              <a:xfrm rot="5400000">
                <a:off x="6959368" y="2588988"/>
                <a:ext cx="1448564" cy="1401394"/>
              </a:xfrm>
              <a:prstGeom prst="roundRect">
                <a:avLst>
                  <a:gd name="adj" fmla="val 11437"/>
                </a:avLst>
              </a:prstGeom>
              <a:solidFill>
                <a:srgbClr val="00569B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2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7" name="Rounded Rectangle 26">
                <a:extLst>
                  <a:ext uri="{FF2B5EF4-FFF2-40B4-BE49-F238E27FC236}">
                    <a16:creationId xmlns:a16="http://schemas.microsoft.com/office/drawing/2014/main" xmlns="" id="{DEBC8536-55D9-42F0-9B2A-8C1D79523694}"/>
                  </a:ext>
                </a:extLst>
              </p:cNvPr>
              <p:cNvSpPr/>
              <p:nvPr/>
            </p:nvSpPr>
            <p:spPr>
              <a:xfrm rot="16200000" flipV="1">
                <a:off x="6975113" y="4119778"/>
                <a:ext cx="1417074" cy="1401394"/>
              </a:xfrm>
              <a:prstGeom prst="roundRect">
                <a:avLst>
                  <a:gd name="adj" fmla="val 11437"/>
                </a:avLst>
              </a:prstGeom>
              <a:solidFill>
                <a:srgbClr val="30AA9E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1200"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3" name="Group 41">
              <a:extLst>
                <a:ext uri="{FF2B5EF4-FFF2-40B4-BE49-F238E27FC236}">
                  <a16:creationId xmlns:a16="http://schemas.microsoft.com/office/drawing/2014/main" xmlns="" id="{05AF0CB3-7BC8-4B6F-AA1F-2BF69B3E1A84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5301791" y="2557022"/>
              <a:ext cx="2973985" cy="2972797"/>
              <a:chOff x="5090786" y="2207702"/>
              <a:chExt cx="3754490" cy="3679044"/>
            </a:xfrm>
          </p:grpSpPr>
          <p:sp>
            <p:nvSpPr>
              <p:cNvPr id="18" name="Donut 17">
                <a:extLst>
                  <a:ext uri="{FF2B5EF4-FFF2-40B4-BE49-F238E27FC236}">
                    <a16:creationId xmlns:a16="http://schemas.microsoft.com/office/drawing/2014/main" xmlns="" id="{EC56B7CF-0410-45D7-827C-1B825312E647}"/>
                  </a:ext>
                </a:extLst>
              </p:cNvPr>
              <p:cNvSpPr/>
              <p:nvPr/>
            </p:nvSpPr>
            <p:spPr>
              <a:xfrm>
                <a:off x="5090955" y="2207053"/>
                <a:ext cx="3754153" cy="3680009"/>
              </a:xfrm>
              <a:prstGeom prst="donut">
                <a:avLst>
                  <a:gd name="adj" fmla="val 14794"/>
                </a:avLst>
              </a:prstGeom>
              <a:solidFill>
                <a:schemeClr val="bg1">
                  <a:lumMod val="85000"/>
                </a:schemeClr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US" sz="240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9" name="Group 43">
                <a:extLst>
                  <a:ext uri="{FF2B5EF4-FFF2-40B4-BE49-F238E27FC236}">
                    <a16:creationId xmlns:a16="http://schemas.microsoft.com/office/drawing/2014/main" xmlns="" id="{23E22D6A-971D-42B4-B91B-8C5DE364029A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5371859" y="2483548"/>
                <a:ext cx="3184038" cy="3149985"/>
                <a:chOff x="1916877" y="883076"/>
                <a:chExt cx="5657671" cy="5597162"/>
              </a:xfrm>
            </p:grpSpPr>
            <p:sp>
              <p:nvSpPr>
                <p:cNvPr id="20" name="TextBox 19">
                  <a:extLst>
                    <a:ext uri="{FF2B5EF4-FFF2-40B4-BE49-F238E27FC236}">
                      <a16:creationId xmlns:a16="http://schemas.microsoft.com/office/drawing/2014/main" xmlns="" id="{3C3AA548-43E2-485B-9F3C-087C61AABB6E}"/>
                    </a:ext>
                  </a:extLst>
                </p:cNvPr>
                <p:cNvSpPr txBox="1"/>
                <p:nvPr/>
              </p:nvSpPr>
              <p:spPr>
                <a:xfrm rot="16140000">
                  <a:off x="1226029" y="2964262"/>
                  <a:ext cx="2525801" cy="1144105"/>
                </a:xfrm>
                <a:prstGeom prst="rect">
                  <a:avLst/>
                </a:prstGeom>
                <a:noFill/>
                <a:scene3d>
                  <a:camera prst="orthographicFront"/>
                  <a:lightRig rig="threePt" dir="t"/>
                </a:scene3d>
              </p:spPr>
              <p:txBody>
                <a:bodyPr spcFirstLastPara="1" wrap="none" anchor="ctr">
                  <a:prstTxWarp prst="textArchUp">
                    <a:avLst/>
                  </a:prstTxWarp>
                  <a:spAutoFit/>
                </a:bodyPr>
                <a:lstStyle/>
                <a:p>
                  <a:pPr algn="ctr">
                    <a:defRPr/>
                  </a:pPr>
                  <a:r>
                    <a:rPr lang="en-US" sz="14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Narrow</a:t>
                  </a:r>
                </a:p>
              </p:txBody>
            </p:sp>
            <p:sp>
              <p:nvSpPr>
                <p:cNvPr id="21" name="TextBox 20">
                  <a:extLst>
                    <a:ext uri="{FF2B5EF4-FFF2-40B4-BE49-F238E27FC236}">
                      <a16:creationId xmlns:a16="http://schemas.microsoft.com/office/drawing/2014/main" xmlns="" id="{D7F70920-B2E4-41AC-BADB-8F433F14E3AF}"/>
                    </a:ext>
                  </a:extLst>
                </p:cNvPr>
                <p:cNvSpPr txBox="1"/>
                <p:nvPr/>
              </p:nvSpPr>
              <p:spPr>
                <a:xfrm rot="5400000">
                  <a:off x="5739593" y="3059927"/>
                  <a:ext cx="2525806" cy="1144104"/>
                </a:xfrm>
                <a:prstGeom prst="rect">
                  <a:avLst/>
                </a:prstGeom>
                <a:noFill/>
                <a:scene3d>
                  <a:camera prst="orthographicFront"/>
                  <a:lightRig rig="threePt" dir="t"/>
                </a:scene3d>
              </p:spPr>
              <p:txBody>
                <a:bodyPr spcFirstLastPara="1" wrap="none" anchor="ctr">
                  <a:prstTxWarp prst="textArchUp">
                    <a:avLst/>
                  </a:prstTxWarp>
                  <a:spAutoFit/>
                </a:bodyPr>
                <a:lstStyle/>
                <a:p>
                  <a:pPr algn="ctr">
                    <a:defRPr/>
                  </a:pPr>
                  <a:r>
                    <a:rPr lang="en-US" sz="14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Broad</a:t>
                  </a:r>
                </a:p>
              </p:txBody>
            </p:sp>
            <p:sp>
              <p:nvSpPr>
                <p:cNvPr id="22" name="TextBox 21">
                  <a:extLst>
                    <a:ext uri="{FF2B5EF4-FFF2-40B4-BE49-F238E27FC236}">
                      <a16:creationId xmlns:a16="http://schemas.microsoft.com/office/drawing/2014/main" xmlns="" id="{AE208E65-3426-44D0-B520-F34D4862A1B8}"/>
                    </a:ext>
                  </a:extLst>
                </p:cNvPr>
                <p:cNvSpPr txBox="1"/>
                <p:nvPr/>
              </p:nvSpPr>
              <p:spPr>
                <a:xfrm>
                  <a:off x="3510665" y="883076"/>
                  <a:ext cx="2525805" cy="1144105"/>
                </a:xfrm>
                <a:prstGeom prst="rect">
                  <a:avLst/>
                </a:prstGeom>
                <a:noFill/>
                <a:scene3d>
                  <a:camera prst="orthographicFront"/>
                  <a:lightRig rig="threePt" dir="t"/>
                </a:scene3d>
              </p:spPr>
              <p:txBody>
                <a:bodyPr spcFirstLastPara="1" wrap="none" anchor="ctr">
                  <a:prstTxWarp prst="textArchUp">
                    <a:avLst/>
                  </a:prstTxWarp>
                  <a:spAutoFit/>
                </a:bodyPr>
                <a:lstStyle/>
                <a:p>
                  <a:pPr algn="ctr">
                    <a:defRPr/>
                  </a:pPr>
                  <a:r>
                    <a:rPr lang="en-US" sz="14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Directive</a:t>
                  </a:r>
                </a:p>
              </p:txBody>
            </p:sp>
            <p:sp>
              <p:nvSpPr>
                <p:cNvPr id="23" name="TextBox 22">
                  <a:extLst>
                    <a:ext uri="{FF2B5EF4-FFF2-40B4-BE49-F238E27FC236}">
                      <a16:creationId xmlns:a16="http://schemas.microsoft.com/office/drawing/2014/main" xmlns="" id="{1FC549EB-8B64-4E70-8E0A-6E4EAF17AEF5}"/>
                    </a:ext>
                  </a:extLst>
                </p:cNvPr>
                <p:cNvSpPr txBox="1"/>
                <p:nvPr/>
              </p:nvSpPr>
              <p:spPr>
                <a:xfrm rot="60000">
                  <a:off x="3441045" y="5824635"/>
                  <a:ext cx="2525804" cy="655603"/>
                </a:xfrm>
                <a:prstGeom prst="rect">
                  <a:avLst/>
                </a:prstGeom>
                <a:noFill/>
                <a:scene3d>
                  <a:camera prst="orthographicFront"/>
                  <a:lightRig rig="threePt" dir="t"/>
                </a:scene3d>
              </p:spPr>
              <p:txBody>
                <a:bodyPr spcFirstLastPara="1" wrap="none" anchor="ctr">
                  <a:prstTxWarp prst="textArchDown">
                    <a:avLst/>
                  </a:prstTxWarp>
                  <a:spAutoFit/>
                </a:bodyPr>
                <a:lstStyle/>
                <a:p>
                  <a:pPr algn="ctr">
                    <a:defRPr/>
                  </a:pPr>
                  <a:r>
                    <a:rPr lang="en-US" sz="1400" b="1" dirty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Facilitative</a:t>
                  </a:r>
                </a:p>
              </p:txBody>
            </p:sp>
          </p:grp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9C1D008E-86FB-41BE-B06B-93885AE28A95}"/>
                </a:ext>
              </a:extLst>
            </p:cNvPr>
            <p:cNvSpPr txBox="1"/>
            <p:nvPr/>
          </p:nvSpPr>
          <p:spPr>
            <a:xfrm>
              <a:off x="5306602" y="2499128"/>
              <a:ext cx="782643" cy="254831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algn="ctr">
                <a:defRPr/>
              </a:pPr>
              <a:r>
                <a:rPr lang="en-US" sz="11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Judiciary</a:t>
              </a:r>
            </a:p>
          </p:txBody>
        </p:sp>
        <p:sp>
          <p:nvSpPr>
            <p:cNvPr id="15" name="Right Arrow 14">
              <a:extLst>
                <a:ext uri="{FF2B5EF4-FFF2-40B4-BE49-F238E27FC236}">
                  <a16:creationId xmlns:a16="http://schemas.microsoft.com/office/drawing/2014/main" xmlns="" id="{D66A7F5F-8EB7-48BA-BF35-55B654D70189}"/>
                </a:ext>
              </a:extLst>
            </p:cNvPr>
            <p:cNvSpPr/>
            <p:nvPr/>
          </p:nvSpPr>
          <p:spPr>
            <a:xfrm rot="13530610">
              <a:off x="5710072" y="2983289"/>
              <a:ext cx="371698" cy="295130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400"/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xmlns="" id="{0F58C465-E567-4A36-86B3-AF3B6C787CF2}"/>
                </a:ext>
              </a:extLst>
            </p:cNvPr>
            <p:cNvSpPr txBox="1"/>
            <p:nvPr/>
          </p:nvSpPr>
          <p:spPr>
            <a:xfrm>
              <a:off x="7235026" y="5381181"/>
              <a:ext cx="1104320" cy="254831"/>
            </a:xfrm>
            <a:prstGeom prst="rect">
              <a:avLst/>
            </a:prstGeom>
            <a:noFill/>
          </p:spPr>
          <p:txBody>
            <a:bodyPr wrap="none" anchor="ctr">
              <a:spAutoFit/>
            </a:bodyPr>
            <a:lstStyle/>
            <a:p>
              <a:pPr algn="ctr">
                <a:defRPr/>
              </a:pPr>
              <a:r>
                <a:rPr lang="en-US" sz="11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Psychological</a:t>
              </a:r>
            </a:p>
          </p:txBody>
        </p:sp>
        <p:sp>
          <p:nvSpPr>
            <p:cNvPr id="17" name="Right Arrow 16">
              <a:extLst>
                <a:ext uri="{FF2B5EF4-FFF2-40B4-BE49-F238E27FC236}">
                  <a16:creationId xmlns:a16="http://schemas.microsoft.com/office/drawing/2014/main" xmlns="" id="{8C63C8BD-B451-495B-ABB0-C0E0435C3689}"/>
                </a:ext>
              </a:extLst>
            </p:cNvPr>
            <p:cNvSpPr/>
            <p:nvPr/>
          </p:nvSpPr>
          <p:spPr>
            <a:xfrm rot="2714440">
              <a:off x="7533155" y="4770797"/>
              <a:ext cx="369829" cy="296998"/>
            </a:xfrm>
            <a:prstGeom prst="right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 sz="2400"/>
            </a:p>
          </p:txBody>
        </p:sp>
      </p:grp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D6689D3D-0ABF-4DF7-ADB7-F376F7AC733F}"/>
              </a:ext>
            </a:extLst>
          </p:cNvPr>
          <p:cNvSpPr txBox="1"/>
          <p:nvPr/>
        </p:nvSpPr>
        <p:spPr>
          <a:xfrm>
            <a:off x="863954" y="2020770"/>
            <a:ext cx="4319842" cy="523220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1400" i="1" dirty="0">
                <a:solidFill>
                  <a:srgbClr val="00569B"/>
                </a:solidFill>
              </a:rPr>
              <a:t>These five stages are sequential. Each stage works better when the prior stage has been satisfied.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808188" y="2841009"/>
            <a:ext cx="4431374" cy="3344144"/>
            <a:chOff x="1414335" y="2777509"/>
            <a:chExt cx="4431374" cy="3344144"/>
          </a:xfrm>
        </p:grpSpPr>
        <p:grpSp>
          <p:nvGrpSpPr>
            <p:cNvPr id="29" name="Group 95">
              <a:extLst>
                <a:ext uri="{FF2B5EF4-FFF2-40B4-BE49-F238E27FC236}">
                  <a16:creationId xmlns:a16="http://schemas.microsoft.com/office/drawing/2014/main" xmlns="" id="{5C49169F-7244-46A1-B20F-A0BA185259B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1414335" y="2777509"/>
              <a:ext cx="4431374" cy="3344144"/>
              <a:chOff x="189853" y="981075"/>
              <a:chExt cx="6281480" cy="4737475"/>
            </a:xfrm>
          </p:grpSpPr>
          <p:grpSp>
            <p:nvGrpSpPr>
              <p:cNvPr id="30" name="Group 96">
                <a:extLst>
                  <a:ext uri="{FF2B5EF4-FFF2-40B4-BE49-F238E27FC236}">
                    <a16:creationId xmlns:a16="http://schemas.microsoft.com/office/drawing/2014/main" xmlns="" id="{9C51EF8F-22F9-4FB2-BDB1-24328DE6F117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89853" y="4069281"/>
                <a:ext cx="6281480" cy="1649269"/>
                <a:chOff x="189853" y="4069281"/>
                <a:chExt cx="6281480" cy="1649269"/>
              </a:xfrm>
            </p:grpSpPr>
            <p:sp>
              <p:nvSpPr>
                <p:cNvPr id="46" name="Freeform 16">
                  <a:extLst>
                    <a:ext uri="{FF2B5EF4-FFF2-40B4-BE49-F238E27FC236}">
                      <a16:creationId xmlns:a16="http://schemas.microsoft.com/office/drawing/2014/main" xmlns="" id="{AEE1511F-F341-40A9-A5B9-4470342FCD7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72660" y="4083252"/>
                  <a:ext cx="1198673" cy="1632580"/>
                </a:xfrm>
                <a:custGeom>
                  <a:avLst/>
                  <a:gdLst>
                    <a:gd name="T0" fmla="*/ 240 w 741"/>
                    <a:gd name="T1" fmla="*/ 0 h 988"/>
                    <a:gd name="T2" fmla="*/ 741 w 741"/>
                    <a:gd name="T3" fmla="*/ 571 h 988"/>
                    <a:gd name="T4" fmla="*/ 389 w 741"/>
                    <a:gd name="T5" fmla="*/ 988 h 988"/>
                    <a:gd name="T6" fmla="*/ 0 w 741"/>
                    <a:gd name="T7" fmla="*/ 287 h 988"/>
                    <a:gd name="T8" fmla="*/ 240 w 741"/>
                    <a:gd name="T9" fmla="*/ 0 h 988"/>
                    <a:gd name="connsiteX0" fmla="*/ 3773 w 10534"/>
                    <a:gd name="connsiteY0" fmla="*/ 0 h 10000"/>
                    <a:gd name="connsiteX1" fmla="*/ 10534 w 10534"/>
                    <a:gd name="connsiteY1" fmla="*/ 5779 h 10000"/>
                    <a:gd name="connsiteX2" fmla="*/ 5784 w 10534"/>
                    <a:gd name="connsiteY2" fmla="*/ 10000 h 10000"/>
                    <a:gd name="connsiteX3" fmla="*/ 0 w 10534"/>
                    <a:gd name="connsiteY3" fmla="*/ 3172 h 10000"/>
                    <a:gd name="connsiteX4" fmla="*/ 3773 w 10534"/>
                    <a:gd name="connsiteY4" fmla="*/ 0 h 10000"/>
                    <a:gd name="connsiteX0" fmla="*/ 3773 w 10534"/>
                    <a:gd name="connsiteY0" fmla="*/ 0 h 10067"/>
                    <a:gd name="connsiteX1" fmla="*/ 10534 w 10534"/>
                    <a:gd name="connsiteY1" fmla="*/ 5779 h 10067"/>
                    <a:gd name="connsiteX2" fmla="*/ 5517 w 10534"/>
                    <a:gd name="connsiteY2" fmla="*/ 10067 h 10067"/>
                    <a:gd name="connsiteX3" fmla="*/ 0 w 10534"/>
                    <a:gd name="connsiteY3" fmla="*/ 3172 h 10067"/>
                    <a:gd name="connsiteX4" fmla="*/ 3773 w 10534"/>
                    <a:gd name="connsiteY4" fmla="*/ 0 h 10067"/>
                    <a:gd name="connsiteX0" fmla="*/ 3773 w 11958"/>
                    <a:gd name="connsiteY0" fmla="*/ 0 h 10067"/>
                    <a:gd name="connsiteX1" fmla="*/ 11958 w 11958"/>
                    <a:gd name="connsiteY1" fmla="*/ 4644 h 10067"/>
                    <a:gd name="connsiteX2" fmla="*/ 5517 w 11958"/>
                    <a:gd name="connsiteY2" fmla="*/ 10067 h 10067"/>
                    <a:gd name="connsiteX3" fmla="*/ 0 w 11958"/>
                    <a:gd name="connsiteY3" fmla="*/ 3172 h 10067"/>
                    <a:gd name="connsiteX4" fmla="*/ 3773 w 11958"/>
                    <a:gd name="connsiteY4" fmla="*/ 0 h 10067"/>
                    <a:gd name="connsiteX0" fmla="*/ 4841 w 11958"/>
                    <a:gd name="connsiteY0" fmla="*/ 0 h 11335"/>
                    <a:gd name="connsiteX1" fmla="*/ 11958 w 11958"/>
                    <a:gd name="connsiteY1" fmla="*/ 5912 h 11335"/>
                    <a:gd name="connsiteX2" fmla="*/ 5517 w 11958"/>
                    <a:gd name="connsiteY2" fmla="*/ 11335 h 11335"/>
                    <a:gd name="connsiteX3" fmla="*/ 0 w 11958"/>
                    <a:gd name="connsiteY3" fmla="*/ 4440 h 11335"/>
                    <a:gd name="connsiteX4" fmla="*/ 4841 w 11958"/>
                    <a:gd name="connsiteY4" fmla="*/ 0 h 11335"/>
                    <a:gd name="connsiteX0" fmla="*/ 4841 w 11958"/>
                    <a:gd name="connsiteY0" fmla="*/ 0 h 11469"/>
                    <a:gd name="connsiteX1" fmla="*/ 11958 w 11958"/>
                    <a:gd name="connsiteY1" fmla="*/ 5912 h 11469"/>
                    <a:gd name="connsiteX2" fmla="*/ 5517 w 11958"/>
                    <a:gd name="connsiteY2" fmla="*/ 11469 h 11469"/>
                    <a:gd name="connsiteX3" fmla="*/ 0 w 11958"/>
                    <a:gd name="connsiteY3" fmla="*/ 4440 h 11469"/>
                    <a:gd name="connsiteX4" fmla="*/ 4841 w 11958"/>
                    <a:gd name="connsiteY4" fmla="*/ 0 h 11469"/>
                    <a:gd name="connsiteX0" fmla="*/ 4756 w 11873"/>
                    <a:gd name="connsiteY0" fmla="*/ 0 h 11469"/>
                    <a:gd name="connsiteX1" fmla="*/ 11873 w 11873"/>
                    <a:gd name="connsiteY1" fmla="*/ 5912 h 11469"/>
                    <a:gd name="connsiteX2" fmla="*/ 5432 w 11873"/>
                    <a:gd name="connsiteY2" fmla="*/ 11469 h 11469"/>
                    <a:gd name="connsiteX3" fmla="*/ 0 w 11873"/>
                    <a:gd name="connsiteY3" fmla="*/ 4440 h 11469"/>
                    <a:gd name="connsiteX4" fmla="*/ 4756 w 11873"/>
                    <a:gd name="connsiteY4" fmla="*/ 0 h 11469"/>
                    <a:gd name="connsiteX0" fmla="*/ 4756 w 11873"/>
                    <a:gd name="connsiteY0" fmla="*/ 0 h 11469"/>
                    <a:gd name="connsiteX1" fmla="*/ 11873 w 11873"/>
                    <a:gd name="connsiteY1" fmla="*/ 5912 h 11469"/>
                    <a:gd name="connsiteX2" fmla="*/ 5432 w 11873"/>
                    <a:gd name="connsiteY2" fmla="*/ 11469 h 11469"/>
                    <a:gd name="connsiteX3" fmla="*/ 0 w 11873"/>
                    <a:gd name="connsiteY3" fmla="*/ 4503 h 11469"/>
                    <a:gd name="connsiteX4" fmla="*/ 4756 w 11873"/>
                    <a:gd name="connsiteY4" fmla="*/ 0 h 11469"/>
                    <a:gd name="connsiteX0" fmla="*/ 4756 w 11873"/>
                    <a:gd name="connsiteY0" fmla="*/ 0 h 11420"/>
                    <a:gd name="connsiteX1" fmla="*/ 11873 w 11873"/>
                    <a:gd name="connsiteY1" fmla="*/ 5863 h 11420"/>
                    <a:gd name="connsiteX2" fmla="*/ 5432 w 11873"/>
                    <a:gd name="connsiteY2" fmla="*/ 11420 h 11420"/>
                    <a:gd name="connsiteX3" fmla="*/ 0 w 11873"/>
                    <a:gd name="connsiteY3" fmla="*/ 4454 h 11420"/>
                    <a:gd name="connsiteX4" fmla="*/ 4756 w 11873"/>
                    <a:gd name="connsiteY4" fmla="*/ 0 h 11420"/>
                    <a:gd name="connsiteX0" fmla="*/ 4756 w 11873"/>
                    <a:gd name="connsiteY0" fmla="*/ 0 h 11469"/>
                    <a:gd name="connsiteX1" fmla="*/ 11873 w 11873"/>
                    <a:gd name="connsiteY1" fmla="*/ 5912 h 11469"/>
                    <a:gd name="connsiteX2" fmla="*/ 5432 w 11873"/>
                    <a:gd name="connsiteY2" fmla="*/ 11469 h 11469"/>
                    <a:gd name="connsiteX3" fmla="*/ 0 w 11873"/>
                    <a:gd name="connsiteY3" fmla="*/ 4503 h 11469"/>
                    <a:gd name="connsiteX4" fmla="*/ 4756 w 11873"/>
                    <a:gd name="connsiteY4" fmla="*/ 0 h 11469"/>
                    <a:gd name="connsiteX0" fmla="*/ 4756 w 11873"/>
                    <a:gd name="connsiteY0" fmla="*/ 0 h 11420"/>
                    <a:gd name="connsiteX1" fmla="*/ 11873 w 11873"/>
                    <a:gd name="connsiteY1" fmla="*/ 5863 h 11420"/>
                    <a:gd name="connsiteX2" fmla="*/ 5432 w 11873"/>
                    <a:gd name="connsiteY2" fmla="*/ 11420 h 11420"/>
                    <a:gd name="connsiteX3" fmla="*/ 0 w 11873"/>
                    <a:gd name="connsiteY3" fmla="*/ 4454 h 11420"/>
                    <a:gd name="connsiteX4" fmla="*/ 4756 w 11873"/>
                    <a:gd name="connsiteY4" fmla="*/ 0 h 11420"/>
                    <a:gd name="connsiteX0" fmla="*/ 4756 w 11873"/>
                    <a:gd name="connsiteY0" fmla="*/ 0 h 11469"/>
                    <a:gd name="connsiteX1" fmla="*/ 11873 w 11873"/>
                    <a:gd name="connsiteY1" fmla="*/ 5912 h 11469"/>
                    <a:gd name="connsiteX2" fmla="*/ 5432 w 11873"/>
                    <a:gd name="connsiteY2" fmla="*/ 11469 h 11469"/>
                    <a:gd name="connsiteX3" fmla="*/ 0 w 11873"/>
                    <a:gd name="connsiteY3" fmla="*/ 4503 h 11469"/>
                    <a:gd name="connsiteX4" fmla="*/ 4756 w 11873"/>
                    <a:gd name="connsiteY4" fmla="*/ 0 h 11469"/>
                    <a:gd name="connsiteX0" fmla="*/ 4756 w 11873"/>
                    <a:gd name="connsiteY0" fmla="*/ 0 h 11444"/>
                    <a:gd name="connsiteX1" fmla="*/ 11873 w 11873"/>
                    <a:gd name="connsiteY1" fmla="*/ 5887 h 11444"/>
                    <a:gd name="connsiteX2" fmla="*/ 5432 w 11873"/>
                    <a:gd name="connsiteY2" fmla="*/ 11444 h 11444"/>
                    <a:gd name="connsiteX3" fmla="*/ 0 w 11873"/>
                    <a:gd name="connsiteY3" fmla="*/ 4478 h 11444"/>
                    <a:gd name="connsiteX4" fmla="*/ 4756 w 11873"/>
                    <a:gd name="connsiteY4" fmla="*/ 0 h 11444"/>
                    <a:gd name="connsiteX0" fmla="*/ 4714 w 11873"/>
                    <a:gd name="connsiteY0" fmla="*/ 0 h 11444"/>
                    <a:gd name="connsiteX1" fmla="*/ 11873 w 11873"/>
                    <a:gd name="connsiteY1" fmla="*/ 5887 h 11444"/>
                    <a:gd name="connsiteX2" fmla="*/ 5432 w 11873"/>
                    <a:gd name="connsiteY2" fmla="*/ 11444 h 11444"/>
                    <a:gd name="connsiteX3" fmla="*/ 0 w 11873"/>
                    <a:gd name="connsiteY3" fmla="*/ 4478 h 11444"/>
                    <a:gd name="connsiteX4" fmla="*/ 4714 w 11873"/>
                    <a:gd name="connsiteY4" fmla="*/ 0 h 11444"/>
                    <a:gd name="connsiteX0" fmla="*/ 4756 w 11873"/>
                    <a:gd name="connsiteY0" fmla="*/ 0 h 11507"/>
                    <a:gd name="connsiteX1" fmla="*/ 11873 w 11873"/>
                    <a:gd name="connsiteY1" fmla="*/ 5950 h 11507"/>
                    <a:gd name="connsiteX2" fmla="*/ 5432 w 11873"/>
                    <a:gd name="connsiteY2" fmla="*/ 11507 h 11507"/>
                    <a:gd name="connsiteX3" fmla="*/ 0 w 11873"/>
                    <a:gd name="connsiteY3" fmla="*/ 4541 h 11507"/>
                    <a:gd name="connsiteX4" fmla="*/ 4756 w 11873"/>
                    <a:gd name="connsiteY4" fmla="*/ 0 h 11507"/>
                    <a:gd name="connsiteX0" fmla="*/ 4714 w 11873"/>
                    <a:gd name="connsiteY0" fmla="*/ 0 h 11444"/>
                    <a:gd name="connsiteX1" fmla="*/ 11873 w 11873"/>
                    <a:gd name="connsiteY1" fmla="*/ 5887 h 11444"/>
                    <a:gd name="connsiteX2" fmla="*/ 5432 w 11873"/>
                    <a:gd name="connsiteY2" fmla="*/ 11444 h 11444"/>
                    <a:gd name="connsiteX3" fmla="*/ 0 w 11873"/>
                    <a:gd name="connsiteY3" fmla="*/ 4478 h 11444"/>
                    <a:gd name="connsiteX4" fmla="*/ 4714 w 11873"/>
                    <a:gd name="connsiteY4" fmla="*/ 0 h 11444"/>
                    <a:gd name="connsiteX0" fmla="*/ 4714 w 11873"/>
                    <a:gd name="connsiteY0" fmla="*/ 0 h 11476"/>
                    <a:gd name="connsiteX1" fmla="*/ 11873 w 11873"/>
                    <a:gd name="connsiteY1" fmla="*/ 5919 h 11476"/>
                    <a:gd name="connsiteX2" fmla="*/ 5432 w 11873"/>
                    <a:gd name="connsiteY2" fmla="*/ 11476 h 11476"/>
                    <a:gd name="connsiteX3" fmla="*/ 0 w 11873"/>
                    <a:gd name="connsiteY3" fmla="*/ 4510 h 11476"/>
                    <a:gd name="connsiteX4" fmla="*/ 4714 w 11873"/>
                    <a:gd name="connsiteY4" fmla="*/ 0 h 11476"/>
                    <a:gd name="connsiteX0" fmla="*/ 4714 w 11873"/>
                    <a:gd name="connsiteY0" fmla="*/ 0 h 11444"/>
                    <a:gd name="connsiteX1" fmla="*/ 11873 w 11873"/>
                    <a:gd name="connsiteY1" fmla="*/ 5887 h 11444"/>
                    <a:gd name="connsiteX2" fmla="*/ 5432 w 11873"/>
                    <a:gd name="connsiteY2" fmla="*/ 11444 h 11444"/>
                    <a:gd name="connsiteX3" fmla="*/ 0 w 11873"/>
                    <a:gd name="connsiteY3" fmla="*/ 4478 h 11444"/>
                    <a:gd name="connsiteX4" fmla="*/ 4714 w 11873"/>
                    <a:gd name="connsiteY4" fmla="*/ 0 h 11444"/>
                    <a:gd name="connsiteX0" fmla="*/ 4714 w 11873"/>
                    <a:gd name="connsiteY0" fmla="*/ 0 h 11461"/>
                    <a:gd name="connsiteX1" fmla="*/ 11873 w 11873"/>
                    <a:gd name="connsiteY1" fmla="*/ 5904 h 11461"/>
                    <a:gd name="connsiteX2" fmla="*/ 5432 w 11873"/>
                    <a:gd name="connsiteY2" fmla="*/ 11461 h 11461"/>
                    <a:gd name="connsiteX3" fmla="*/ 0 w 11873"/>
                    <a:gd name="connsiteY3" fmla="*/ 4495 h 11461"/>
                    <a:gd name="connsiteX4" fmla="*/ 4714 w 11873"/>
                    <a:gd name="connsiteY4" fmla="*/ 0 h 11461"/>
                    <a:gd name="connsiteX0" fmla="*/ 4736 w 11873"/>
                    <a:gd name="connsiteY0" fmla="*/ 0 h 11444"/>
                    <a:gd name="connsiteX1" fmla="*/ 11873 w 11873"/>
                    <a:gd name="connsiteY1" fmla="*/ 5887 h 11444"/>
                    <a:gd name="connsiteX2" fmla="*/ 5432 w 11873"/>
                    <a:gd name="connsiteY2" fmla="*/ 11444 h 11444"/>
                    <a:gd name="connsiteX3" fmla="*/ 0 w 11873"/>
                    <a:gd name="connsiteY3" fmla="*/ 4478 h 11444"/>
                    <a:gd name="connsiteX4" fmla="*/ 4736 w 11873"/>
                    <a:gd name="connsiteY4" fmla="*/ 0 h 11444"/>
                    <a:gd name="connsiteX0" fmla="*/ 4758 w 11873"/>
                    <a:gd name="connsiteY0" fmla="*/ 0 h 11461"/>
                    <a:gd name="connsiteX1" fmla="*/ 11873 w 11873"/>
                    <a:gd name="connsiteY1" fmla="*/ 5904 h 11461"/>
                    <a:gd name="connsiteX2" fmla="*/ 5432 w 11873"/>
                    <a:gd name="connsiteY2" fmla="*/ 11461 h 11461"/>
                    <a:gd name="connsiteX3" fmla="*/ 0 w 11873"/>
                    <a:gd name="connsiteY3" fmla="*/ 4495 h 11461"/>
                    <a:gd name="connsiteX4" fmla="*/ 4758 w 11873"/>
                    <a:gd name="connsiteY4" fmla="*/ 0 h 11461"/>
                    <a:gd name="connsiteX0" fmla="*/ 4832 w 11873"/>
                    <a:gd name="connsiteY0" fmla="*/ 0 h 11405"/>
                    <a:gd name="connsiteX1" fmla="*/ 11873 w 11873"/>
                    <a:gd name="connsiteY1" fmla="*/ 5848 h 11405"/>
                    <a:gd name="connsiteX2" fmla="*/ 5432 w 11873"/>
                    <a:gd name="connsiteY2" fmla="*/ 11405 h 11405"/>
                    <a:gd name="connsiteX3" fmla="*/ 0 w 11873"/>
                    <a:gd name="connsiteY3" fmla="*/ 4439 h 11405"/>
                    <a:gd name="connsiteX4" fmla="*/ 4832 w 11873"/>
                    <a:gd name="connsiteY4" fmla="*/ 0 h 11405"/>
                    <a:gd name="connsiteX0" fmla="*/ 4881 w 11873"/>
                    <a:gd name="connsiteY0" fmla="*/ 0 h 11386"/>
                    <a:gd name="connsiteX1" fmla="*/ 11873 w 11873"/>
                    <a:gd name="connsiteY1" fmla="*/ 5829 h 11386"/>
                    <a:gd name="connsiteX2" fmla="*/ 5432 w 11873"/>
                    <a:gd name="connsiteY2" fmla="*/ 11386 h 11386"/>
                    <a:gd name="connsiteX3" fmla="*/ 0 w 11873"/>
                    <a:gd name="connsiteY3" fmla="*/ 4420 h 11386"/>
                    <a:gd name="connsiteX4" fmla="*/ 4881 w 11873"/>
                    <a:gd name="connsiteY4" fmla="*/ 0 h 11386"/>
                    <a:gd name="connsiteX0" fmla="*/ 4881 w 11873"/>
                    <a:gd name="connsiteY0" fmla="*/ 0 h 11434"/>
                    <a:gd name="connsiteX1" fmla="*/ 11873 w 11873"/>
                    <a:gd name="connsiteY1" fmla="*/ 5829 h 11434"/>
                    <a:gd name="connsiteX2" fmla="*/ 5527 w 11873"/>
                    <a:gd name="connsiteY2" fmla="*/ 11434 h 11434"/>
                    <a:gd name="connsiteX3" fmla="*/ 0 w 11873"/>
                    <a:gd name="connsiteY3" fmla="*/ 4420 h 11434"/>
                    <a:gd name="connsiteX4" fmla="*/ 4881 w 11873"/>
                    <a:gd name="connsiteY4" fmla="*/ 0 h 11434"/>
                    <a:gd name="connsiteX0" fmla="*/ 4881 w 11873"/>
                    <a:gd name="connsiteY0" fmla="*/ 0 h 11410"/>
                    <a:gd name="connsiteX1" fmla="*/ 11873 w 11873"/>
                    <a:gd name="connsiteY1" fmla="*/ 5829 h 11410"/>
                    <a:gd name="connsiteX2" fmla="*/ 5591 w 11873"/>
                    <a:gd name="connsiteY2" fmla="*/ 11410 h 11410"/>
                    <a:gd name="connsiteX3" fmla="*/ 0 w 11873"/>
                    <a:gd name="connsiteY3" fmla="*/ 4420 h 11410"/>
                    <a:gd name="connsiteX4" fmla="*/ 4881 w 11873"/>
                    <a:gd name="connsiteY4" fmla="*/ 0 h 11410"/>
                    <a:gd name="connsiteX0" fmla="*/ 4881 w 11873"/>
                    <a:gd name="connsiteY0" fmla="*/ 0 h 11434"/>
                    <a:gd name="connsiteX1" fmla="*/ 11873 w 11873"/>
                    <a:gd name="connsiteY1" fmla="*/ 5829 h 11434"/>
                    <a:gd name="connsiteX2" fmla="*/ 5655 w 11873"/>
                    <a:gd name="connsiteY2" fmla="*/ 11434 h 11434"/>
                    <a:gd name="connsiteX3" fmla="*/ 0 w 11873"/>
                    <a:gd name="connsiteY3" fmla="*/ 4420 h 11434"/>
                    <a:gd name="connsiteX4" fmla="*/ 4881 w 11873"/>
                    <a:gd name="connsiteY4" fmla="*/ 0 h 11434"/>
                    <a:gd name="connsiteX0" fmla="*/ 4881 w 11873"/>
                    <a:gd name="connsiteY0" fmla="*/ 0 h 11434"/>
                    <a:gd name="connsiteX1" fmla="*/ 11873 w 11873"/>
                    <a:gd name="connsiteY1" fmla="*/ 5829 h 11434"/>
                    <a:gd name="connsiteX2" fmla="*/ 5655 w 11873"/>
                    <a:gd name="connsiteY2" fmla="*/ 11434 h 11434"/>
                    <a:gd name="connsiteX3" fmla="*/ 0 w 11873"/>
                    <a:gd name="connsiteY3" fmla="*/ 4420 h 11434"/>
                    <a:gd name="connsiteX4" fmla="*/ 4881 w 11873"/>
                    <a:gd name="connsiteY4" fmla="*/ 0 h 11434"/>
                    <a:gd name="connsiteX0" fmla="*/ 4881 w 11873"/>
                    <a:gd name="connsiteY0" fmla="*/ 0 h 11434"/>
                    <a:gd name="connsiteX1" fmla="*/ 11873 w 11873"/>
                    <a:gd name="connsiteY1" fmla="*/ 5829 h 11434"/>
                    <a:gd name="connsiteX2" fmla="*/ 5750 w 11873"/>
                    <a:gd name="connsiteY2" fmla="*/ 11434 h 11434"/>
                    <a:gd name="connsiteX3" fmla="*/ 0 w 11873"/>
                    <a:gd name="connsiteY3" fmla="*/ 4420 h 11434"/>
                    <a:gd name="connsiteX4" fmla="*/ 4881 w 11873"/>
                    <a:gd name="connsiteY4" fmla="*/ 0 h 11434"/>
                    <a:gd name="connsiteX0" fmla="*/ 4881 w 11873"/>
                    <a:gd name="connsiteY0" fmla="*/ 0 h 11458"/>
                    <a:gd name="connsiteX1" fmla="*/ 11873 w 11873"/>
                    <a:gd name="connsiteY1" fmla="*/ 5829 h 11458"/>
                    <a:gd name="connsiteX2" fmla="*/ 5686 w 11873"/>
                    <a:gd name="connsiteY2" fmla="*/ 11458 h 11458"/>
                    <a:gd name="connsiteX3" fmla="*/ 0 w 11873"/>
                    <a:gd name="connsiteY3" fmla="*/ 4420 h 11458"/>
                    <a:gd name="connsiteX4" fmla="*/ 4881 w 11873"/>
                    <a:gd name="connsiteY4" fmla="*/ 0 h 11458"/>
                    <a:gd name="connsiteX0" fmla="*/ 6691 w 11873"/>
                    <a:gd name="connsiteY0" fmla="*/ 0 h 13455"/>
                    <a:gd name="connsiteX1" fmla="*/ 11873 w 11873"/>
                    <a:gd name="connsiteY1" fmla="*/ 7826 h 13455"/>
                    <a:gd name="connsiteX2" fmla="*/ 5686 w 11873"/>
                    <a:gd name="connsiteY2" fmla="*/ 13455 h 13455"/>
                    <a:gd name="connsiteX3" fmla="*/ 0 w 11873"/>
                    <a:gd name="connsiteY3" fmla="*/ 6417 h 13455"/>
                    <a:gd name="connsiteX4" fmla="*/ 6691 w 11873"/>
                    <a:gd name="connsiteY4" fmla="*/ 0 h 13455"/>
                    <a:gd name="connsiteX0" fmla="*/ 6691 w 14748"/>
                    <a:gd name="connsiteY0" fmla="*/ 0 h 13455"/>
                    <a:gd name="connsiteX1" fmla="*/ 14748 w 14748"/>
                    <a:gd name="connsiteY1" fmla="*/ 4951 h 13455"/>
                    <a:gd name="connsiteX2" fmla="*/ 5686 w 14748"/>
                    <a:gd name="connsiteY2" fmla="*/ 13455 h 13455"/>
                    <a:gd name="connsiteX3" fmla="*/ 0 w 14748"/>
                    <a:gd name="connsiteY3" fmla="*/ 6417 h 13455"/>
                    <a:gd name="connsiteX4" fmla="*/ 6691 w 14748"/>
                    <a:gd name="connsiteY4" fmla="*/ 0 h 13455"/>
                    <a:gd name="connsiteX0" fmla="*/ 6372 w 14748"/>
                    <a:gd name="connsiteY0" fmla="*/ 0 h 13136"/>
                    <a:gd name="connsiteX1" fmla="*/ 14748 w 14748"/>
                    <a:gd name="connsiteY1" fmla="*/ 4632 h 13136"/>
                    <a:gd name="connsiteX2" fmla="*/ 5686 w 14748"/>
                    <a:gd name="connsiteY2" fmla="*/ 13136 h 13136"/>
                    <a:gd name="connsiteX3" fmla="*/ 0 w 14748"/>
                    <a:gd name="connsiteY3" fmla="*/ 6098 h 13136"/>
                    <a:gd name="connsiteX4" fmla="*/ 6372 w 14748"/>
                    <a:gd name="connsiteY4" fmla="*/ 0 h 13136"/>
                    <a:gd name="connsiteX0" fmla="*/ 6372 w 13044"/>
                    <a:gd name="connsiteY0" fmla="*/ 0 h 13136"/>
                    <a:gd name="connsiteX1" fmla="*/ 13044 w 13044"/>
                    <a:gd name="connsiteY1" fmla="*/ 5910 h 13136"/>
                    <a:gd name="connsiteX2" fmla="*/ 5686 w 13044"/>
                    <a:gd name="connsiteY2" fmla="*/ 13136 h 13136"/>
                    <a:gd name="connsiteX3" fmla="*/ 0 w 13044"/>
                    <a:gd name="connsiteY3" fmla="*/ 6098 h 13136"/>
                    <a:gd name="connsiteX4" fmla="*/ 6372 w 13044"/>
                    <a:gd name="connsiteY4" fmla="*/ 0 h 13136"/>
                    <a:gd name="connsiteX0" fmla="*/ 6553 w 13225"/>
                    <a:gd name="connsiteY0" fmla="*/ 0 h 13136"/>
                    <a:gd name="connsiteX1" fmla="*/ 13225 w 13225"/>
                    <a:gd name="connsiteY1" fmla="*/ 5910 h 13136"/>
                    <a:gd name="connsiteX2" fmla="*/ 5867 w 13225"/>
                    <a:gd name="connsiteY2" fmla="*/ 13136 h 13136"/>
                    <a:gd name="connsiteX3" fmla="*/ 0 w 13225"/>
                    <a:gd name="connsiteY3" fmla="*/ 5895 h 13136"/>
                    <a:gd name="connsiteX4" fmla="*/ 6553 w 13225"/>
                    <a:gd name="connsiteY4" fmla="*/ 0 h 13136"/>
                    <a:gd name="connsiteX0" fmla="*/ 6766 w 13438"/>
                    <a:gd name="connsiteY0" fmla="*/ 0 h 13136"/>
                    <a:gd name="connsiteX1" fmla="*/ 13438 w 13438"/>
                    <a:gd name="connsiteY1" fmla="*/ 5910 h 13136"/>
                    <a:gd name="connsiteX2" fmla="*/ 6080 w 13438"/>
                    <a:gd name="connsiteY2" fmla="*/ 13136 h 13136"/>
                    <a:gd name="connsiteX3" fmla="*/ 0 w 13438"/>
                    <a:gd name="connsiteY3" fmla="*/ 5815 h 13136"/>
                    <a:gd name="connsiteX4" fmla="*/ 6766 w 13438"/>
                    <a:gd name="connsiteY4" fmla="*/ 0 h 13136"/>
                    <a:gd name="connsiteX0" fmla="*/ 6127 w 13438"/>
                    <a:gd name="connsiteY0" fmla="*/ 0 h 13216"/>
                    <a:gd name="connsiteX1" fmla="*/ 13438 w 13438"/>
                    <a:gd name="connsiteY1" fmla="*/ 5990 h 13216"/>
                    <a:gd name="connsiteX2" fmla="*/ 6080 w 13438"/>
                    <a:gd name="connsiteY2" fmla="*/ 13216 h 13216"/>
                    <a:gd name="connsiteX3" fmla="*/ 0 w 13438"/>
                    <a:gd name="connsiteY3" fmla="*/ 5895 h 13216"/>
                    <a:gd name="connsiteX4" fmla="*/ 6127 w 13438"/>
                    <a:gd name="connsiteY4" fmla="*/ 0 h 13216"/>
                    <a:gd name="connsiteX0" fmla="*/ 6340 w 13651"/>
                    <a:gd name="connsiteY0" fmla="*/ 0 h 13216"/>
                    <a:gd name="connsiteX1" fmla="*/ 13651 w 13651"/>
                    <a:gd name="connsiteY1" fmla="*/ 5990 h 13216"/>
                    <a:gd name="connsiteX2" fmla="*/ 6293 w 13651"/>
                    <a:gd name="connsiteY2" fmla="*/ 13216 h 13216"/>
                    <a:gd name="connsiteX3" fmla="*/ 0 w 13651"/>
                    <a:gd name="connsiteY3" fmla="*/ 5815 h 13216"/>
                    <a:gd name="connsiteX4" fmla="*/ 6340 w 13651"/>
                    <a:gd name="connsiteY4" fmla="*/ 0 h 13216"/>
                    <a:gd name="connsiteX0" fmla="*/ 6340 w 13651"/>
                    <a:gd name="connsiteY0" fmla="*/ 0 h 13296"/>
                    <a:gd name="connsiteX1" fmla="*/ 13651 w 13651"/>
                    <a:gd name="connsiteY1" fmla="*/ 6070 h 13296"/>
                    <a:gd name="connsiteX2" fmla="*/ 6293 w 13651"/>
                    <a:gd name="connsiteY2" fmla="*/ 13296 h 13296"/>
                    <a:gd name="connsiteX3" fmla="*/ 0 w 13651"/>
                    <a:gd name="connsiteY3" fmla="*/ 5895 h 13296"/>
                    <a:gd name="connsiteX4" fmla="*/ 6340 w 13651"/>
                    <a:gd name="connsiteY4" fmla="*/ 0 h 13296"/>
                    <a:gd name="connsiteX0" fmla="*/ 6340 w 13651"/>
                    <a:gd name="connsiteY0" fmla="*/ 0 h 13216"/>
                    <a:gd name="connsiteX1" fmla="*/ 13651 w 13651"/>
                    <a:gd name="connsiteY1" fmla="*/ 6070 h 13216"/>
                    <a:gd name="connsiteX2" fmla="*/ 6346 w 13651"/>
                    <a:gd name="connsiteY2" fmla="*/ 13216 h 13216"/>
                    <a:gd name="connsiteX3" fmla="*/ 0 w 13651"/>
                    <a:gd name="connsiteY3" fmla="*/ 5895 h 13216"/>
                    <a:gd name="connsiteX4" fmla="*/ 6340 w 13651"/>
                    <a:gd name="connsiteY4" fmla="*/ 0 h 13216"/>
                    <a:gd name="connsiteX0" fmla="*/ 6340 w 13258"/>
                    <a:gd name="connsiteY0" fmla="*/ 0 h 13216"/>
                    <a:gd name="connsiteX1" fmla="*/ 13258 w 13258"/>
                    <a:gd name="connsiteY1" fmla="*/ 5923 h 13216"/>
                    <a:gd name="connsiteX2" fmla="*/ 6346 w 13258"/>
                    <a:gd name="connsiteY2" fmla="*/ 13216 h 13216"/>
                    <a:gd name="connsiteX3" fmla="*/ 0 w 13258"/>
                    <a:gd name="connsiteY3" fmla="*/ 5895 h 13216"/>
                    <a:gd name="connsiteX4" fmla="*/ 6340 w 13258"/>
                    <a:gd name="connsiteY4" fmla="*/ 0 h 13216"/>
                    <a:gd name="connsiteX0" fmla="*/ 6340 w 12964"/>
                    <a:gd name="connsiteY0" fmla="*/ 0 h 13216"/>
                    <a:gd name="connsiteX1" fmla="*/ 12964 w 12964"/>
                    <a:gd name="connsiteY1" fmla="*/ 5702 h 13216"/>
                    <a:gd name="connsiteX2" fmla="*/ 6346 w 12964"/>
                    <a:gd name="connsiteY2" fmla="*/ 13216 h 13216"/>
                    <a:gd name="connsiteX3" fmla="*/ 0 w 12964"/>
                    <a:gd name="connsiteY3" fmla="*/ 5895 h 13216"/>
                    <a:gd name="connsiteX4" fmla="*/ 6340 w 12964"/>
                    <a:gd name="connsiteY4" fmla="*/ 0 h 13216"/>
                    <a:gd name="connsiteX0" fmla="*/ 6263 w 12964"/>
                    <a:gd name="connsiteY0" fmla="*/ 0 h 13235"/>
                    <a:gd name="connsiteX1" fmla="*/ 12964 w 12964"/>
                    <a:gd name="connsiteY1" fmla="*/ 5721 h 13235"/>
                    <a:gd name="connsiteX2" fmla="*/ 6346 w 12964"/>
                    <a:gd name="connsiteY2" fmla="*/ 13235 h 13235"/>
                    <a:gd name="connsiteX3" fmla="*/ 0 w 12964"/>
                    <a:gd name="connsiteY3" fmla="*/ 5914 h 13235"/>
                    <a:gd name="connsiteX4" fmla="*/ 6263 w 12964"/>
                    <a:gd name="connsiteY4" fmla="*/ 0 h 13235"/>
                    <a:gd name="connsiteX0" fmla="*/ 6366 w 12964"/>
                    <a:gd name="connsiteY0" fmla="*/ 0 h 13274"/>
                    <a:gd name="connsiteX1" fmla="*/ 12964 w 12964"/>
                    <a:gd name="connsiteY1" fmla="*/ 5760 h 13274"/>
                    <a:gd name="connsiteX2" fmla="*/ 6346 w 12964"/>
                    <a:gd name="connsiteY2" fmla="*/ 13274 h 13274"/>
                    <a:gd name="connsiteX3" fmla="*/ 0 w 12964"/>
                    <a:gd name="connsiteY3" fmla="*/ 5953 h 13274"/>
                    <a:gd name="connsiteX4" fmla="*/ 6366 w 12964"/>
                    <a:gd name="connsiteY4" fmla="*/ 0 h 13274"/>
                    <a:gd name="connsiteX0" fmla="*/ 6366 w 12964"/>
                    <a:gd name="connsiteY0" fmla="*/ 0 h 13235"/>
                    <a:gd name="connsiteX1" fmla="*/ 12964 w 12964"/>
                    <a:gd name="connsiteY1" fmla="*/ 5721 h 13235"/>
                    <a:gd name="connsiteX2" fmla="*/ 6346 w 12964"/>
                    <a:gd name="connsiteY2" fmla="*/ 13235 h 13235"/>
                    <a:gd name="connsiteX3" fmla="*/ 0 w 12964"/>
                    <a:gd name="connsiteY3" fmla="*/ 5914 h 13235"/>
                    <a:gd name="connsiteX4" fmla="*/ 6366 w 12964"/>
                    <a:gd name="connsiteY4" fmla="*/ 0 h 1323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2964" h="13235">
                      <a:moveTo>
                        <a:pt x="6366" y="0"/>
                      </a:moveTo>
                      <a:lnTo>
                        <a:pt x="12964" y="5721"/>
                      </a:lnTo>
                      <a:lnTo>
                        <a:pt x="6346" y="13235"/>
                      </a:lnTo>
                      <a:lnTo>
                        <a:pt x="0" y="5914"/>
                      </a:lnTo>
                      <a:lnTo>
                        <a:pt x="6366" y="0"/>
                      </a:lnTo>
                      <a:close/>
                    </a:path>
                  </a:pathLst>
                </a:custGeom>
                <a:solidFill>
                  <a:srgbClr val="21D1C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lIns="52994" tIns="26497" rIns="52994" bIns="26497"/>
                <a:lstStyle/>
                <a:p>
                  <a:pPr defTabSz="529922">
                    <a:defRPr/>
                  </a:pPr>
                  <a:endParaRPr lang="en-US" sz="1600" kern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47" name="Freeform 13">
                  <a:extLst>
                    <a:ext uri="{FF2B5EF4-FFF2-40B4-BE49-F238E27FC236}">
                      <a16:creationId xmlns:a16="http://schemas.microsoft.com/office/drawing/2014/main" xmlns="" id="{9A0A9902-9772-4E46-8211-3E6C47DFF4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9853" y="4797676"/>
                  <a:ext cx="5672630" cy="920874"/>
                </a:xfrm>
                <a:custGeom>
                  <a:avLst/>
                  <a:gdLst>
                    <a:gd name="T0" fmla="*/ 433 w 2601"/>
                    <a:gd name="T1" fmla="*/ 0 h 701"/>
                    <a:gd name="T2" fmla="*/ 2212 w 2601"/>
                    <a:gd name="T3" fmla="*/ 0 h 701"/>
                    <a:gd name="T4" fmla="*/ 2601 w 2601"/>
                    <a:gd name="T5" fmla="*/ 701 h 701"/>
                    <a:gd name="T6" fmla="*/ 0 w 2601"/>
                    <a:gd name="T7" fmla="*/ 701 h 701"/>
                    <a:gd name="T8" fmla="*/ 433 w 2601"/>
                    <a:gd name="T9" fmla="*/ 0 h 701"/>
                    <a:gd name="connsiteX0" fmla="*/ 1665 w 11901"/>
                    <a:gd name="connsiteY0" fmla="*/ 210 h 10210"/>
                    <a:gd name="connsiteX1" fmla="*/ 11901 w 11901"/>
                    <a:gd name="connsiteY1" fmla="*/ 0 h 10210"/>
                    <a:gd name="connsiteX2" fmla="*/ 10000 w 11901"/>
                    <a:gd name="connsiteY2" fmla="*/ 10210 h 10210"/>
                    <a:gd name="connsiteX3" fmla="*/ 0 w 11901"/>
                    <a:gd name="connsiteY3" fmla="*/ 10210 h 10210"/>
                    <a:gd name="connsiteX4" fmla="*/ 1665 w 11901"/>
                    <a:gd name="connsiteY4" fmla="*/ 210 h 10210"/>
                    <a:gd name="connsiteX0" fmla="*/ 1665 w 12774"/>
                    <a:gd name="connsiteY0" fmla="*/ 210 h 10210"/>
                    <a:gd name="connsiteX1" fmla="*/ 11901 w 12774"/>
                    <a:gd name="connsiteY1" fmla="*/ 0 h 10210"/>
                    <a:gd name="connsiteX2" fmla="*/ 12774 w 12774"/>
                    <a:gd name="connsiteY2" fmla="*/ 10105 h 10210"/>
                    <a:gd name="connsiteX3" fmla="*/ 0 w 12774"/>
                    <a:gd name="connsiteY3" fmla="*/ 10210 h 10210"/>
                    <a:gd name="connsiteX4" fmla="*/ 1665 w 12774"/>
                    <a:gd name="connsiteY4" fmla="*/ 210 h 10210"/>
                    <a:gd name="connsiteX0" fmla="*/ 1665 w 13765"/>
                    <a:gd name="connsiteY0" fmla="*/ 210 h 10210"/>
                    <a:gd name="connsiteX1" fmla="*/ 11901 w 13765"/>
                    <a:gd name="connsiteY1" fmla="*/ 0 h 10210"/>
                    <a:gd name="connsiteX2" fmla="*/ 13765 w 13765"/>
                    <a:gd name="connsiteY2" fmla="*/ 9580 h 10210"/>
                    <a:gd name="connsiteX3" fmla="*/ 0 w 13765"/>
                    <a:gd name="connsiteY3" fmla="*/ 10210 h 10210"/>
                    <a:gd name="connsiteX4" fmla="*/ 1665 w 13765"/>
                    <a:gd name="connsiteY4" fmla="*/ 210 h 10210"/>
                    <a:gd name="connsiteX0" fmla="*/ 1665 w 13801"/>
                    <a:gd name="connsiteY0" fmla="*/ 210 h 10210"/>
                    <a:gd name="connsiteX1" fmla="*/ 11901 w 13801"/>
                    <a:gd name="connsiteY1" fmla="*/ 0 h 10210"/>
                    <a:gd name="connsiteX2" fmla="*/ 13801 w 13801"/>
                    <a:gd name="connsiteY2" fmla="*/ 9850 h 10210"/>
                    <a:gd name="connsiteX3" fmla="*/ 0 w 13801"/>
                    <a:gd name="connsiteY3" fmla="*/ 10210 h 10210"/>
                    <a:gd name="connsiteX4" fmla="*/ 1665 w 13801"/>
                    <a:gd name="connsiteY4" fmla="*/ 210 h 10210"/>
                    <a:gd name="connsiteX0" fmla="*/ 1665 w 13837"/>
                    <a:gd name="connsiteY0" fmla="*/ 210 h 10210"/>
                    <a:gd name="connsiteX1" fmla="*/ 11901 w 13837"/>
                    <a:gd name="connsiteY1" fmla="*/ 0 h 10210"/>
                    <a:gd name="connsiteX2" fmla="*/ 13837 w 13837"/>
                    <a:gd name="connsiteY2" fmla="*/ 10052 h 10210"/>
                    <a:gd name="connsiteX3" fmla="*/ 0 w 13837"/>
                    <a:gd name="connsiteY3" fmla="*/ 10210 h 10210"/>
                    <a:gd name="connsiteX4" fmla="*/ 1665 w 13837"/>
                    <a:gd name="connsiteY4" fmla="*/ 210 h 10210"/>
                    <a:gd name="connsiteX0" fmla="*/ 1665 w 13873"/>
                    <a:gd name="connsiteY0" fmla="*/ 210 h 10456"/>
                    <a:gd name="connsiteX1" fmla="*/ 11901 w 13873"/>
                    <a:gd name="connsiteY1" fmla="*/ 0 h 10456"/>
                    <a:gd name="connsiteX2" fmla="*/ 13873 w 13873"/>
                    <a:gd name="connsiteY2" fmla="*/ 10456 h 10456"/>
                    <a:gd name="connsiteX3" fmla="*/ 0 w 13873"/>
                    <a:gd name="connsiteY3" fmla="*/ 10210 h 10456"/>
                    <a:gd name="connsiteX4" fmla="*/ 1665 w 13873"/>
                    <a:gd name="connsiteY4" fmla="*/ 210 h 10456"/>
                    <a:gd name="connsiteX0" fmla="*/ 1665 w 13891"/>
                    <a:gd name="connsiteY0" fmla="*/ 210 h 10254"/>
                    <a:gd name="connsiteX1" fmla="*/ 11901 w 13891"/>
                    <a:gd name="connsiteY1" fmla="*/ 0 h 10254"/>
                    <a:gd name="connsiteX2" fmla="*/ 13891 w 13891"/>
                    <a:gd name="connsiteY2" fmla="*/ 10254 h 10254"/>
                    <a:gd name="connsiteX3" fmla="*/ 0 w 13891"/>
                    <a:gd name="connsiteY3" fmla="*/ 10210 h 10254"/>
                    <a:gd name="connsiteX4" fmla="*/ 1665 w 13891"/>
                    <a:gd name="connsiteY4" fmla="*/ 210 h 10254"/>
                    <a:gd name="connsiteX0" fmla="*/ 1665 w 13891"/>
                    <a:gd name="connsiteY0" fmla="*/ 210 h 10254"/>
                    <a:gd name="connsiteX1" fmla="*/ 11901 w 13891"/>
                    <a:gd name="connsiteY1" fmla="*/ 0 h 10254"/>
                    <a:gd name="connsiteX2" fmla="*/ 13891 w 13891"/>
                    <a:gd name="connsiteY2" fmla="*/ 10254 h 10254"/>
                    <a:gd name="connsiteX3" fmla="*/ 0 w 13891"/>
                    <a:gd name="connsiteY3" fmla="*/ 10210 h 10254"/>
                    <a:gd name="connsiteX4" fmla="*/ 1665 w 13891"/>
                    <a:gd name="connsiteY4" fmla="*/ 210 h 10254"/>
                    <a:gd name="connsiteX0" fmla="*/ 1665 w 13891"/>
                    <a:gd name="connsiteY0" fmla="*/ 210 h 10210"/>
                    <a:gd name="connsiteX1" fmla="*/ 11901 w 13891"/>
                    <a:gd name="connsiteY1" fmla="*/ 0 h 10210"/>
                    <a:gd name="connsiteX2" fmla="*/ 13891 w 13891"/>
                    <a:gd name="connsiteY2" fmla="*/ 9984 h 10210"/>
                    <a:gd name="connsiteX3" fmla="*/ 0 w 13891"/>
                    <a:gd name="connsiteY3" fmla="*/ 10210 h 10210"/>
                    <a:gd name="connsiteX4" fmla="*/ 1665 w 13891"/>
                    <a:gd name="connsiteY4" fmla="*/ 210 h 10210"/>
                    <a:gd name="connsiteX0" fmla="*/ 1665 w 13909"/>
                    <a:gd name="connsiteY0" fmla="*/ 210 h 10254"/>
                    <a:gd name="connsiteX1" fmla="*/ 11901 w 13909"/>
                    <a:gd name="connsiteY1" fmla="*/ 0 h 10254"/>
                    <a:gd name="connsiteX2" fmla="*/ 13909 w 13909"/>
                    <a:gd name="connsiteY2" fmla="*/ 10254 h 10254"/>
                    <a:gd name="connsiteX3" fmla="*/ 0 w 13909"/>
                    <a:gd name="connsiteY3" fmla="*/ 10210 h 10254"/>
                    <a:gd name="connsiteX4" fmla="*/ 1665 w 13909"/>
                    <a:gd name="connsiteY4" fmla="*/ 210 h 10254"/>
                    <a:gd name="connsiteX0" fmla="*/ 1665 w 13964"/>
                    <a:gd name="connsiteY0" fmla="*/ 210 h 10591"/>
                    <a:gd name="connsiteX1" fmla="*/ 11901 w 13964"/>
                    <a:gd name="connsiteY1" fmla="*/ 0 h 10591"/>
                    <a:gd name="connsiteX2" fmla="*/ 13964 w 13964"/>
                    <a:gd name="connsiteY2" fmla="*/ 10591 h 10591"/>
                    <a:gd name="connsiteX3" fmla="*/ 0 w 13964"/>
                    <a:gd name="connsiteY3" fmla="*/ 10210 h 10591"/>
                    <a:gd name="connsiteX4" fmla="*/ 1665 w 13964"/>
                    <a:gd name="connsiteY4" fmla="*/ 210 h 10591"/>
                    <a:gd name="connsiteX0" fmla="*/ 1665 w 14000"/>
                    <a:gd name="connsiteY0" fmla="*/ 210 h 10389"/>
                    <a:gd name="connsiteX1" fmla="*/ 11901 w 14000"/>
                    <a:gd name="connsiteY1" fmla="*/ 0 h 10389"/>
                    <a:gd name="connsiteX2" fmla="*/ 14000 w 14000"/>
                    <a:gd name="connsiteY2" fmla="*/ 10389 h 10389"/>
                    <a:gd name="connsiteX3" fmla="*/ 0 w 14000"/>
                    <a:gd name="connsiteY3" fmla="*/ 10210 h 10389"/>
                    <a:gd name="connsiteX4" fmla="*/ 1665 w 14000"/>
                    <a:gd name="connsiteY4" fmla="*/ 210 h 10389"/>
                    <a:gd name="connsiteX0" fmla="*/ 1665 w 14000"/>
                    <a:gd name="connsiteY0" fmla="*/ 210 h 10210"/>
                    <a:gd name="connsiteX1" fmla="*/ 11901 w 14000"/>
                    <a:gd name="connsiteY1" fmla="*/ 0 h 10210"/>
                    <a:gd name="connsiteX2" fmla="*/ 14000 w 14000"/>
                    <a:gd name="connsiteY2" fmla="*/ 10187 h 10210"/>
                    <a:gd name="connsiteX3" fmla="*/ 0 w 14000"/>
                    <a:gd name="connsiteY3" fmla="*/ 10210 h 10210"/>
                    <a:gd name="connsiteX4" fmla="*/ 1665 w 14000"/>
                    <a:gd name="connsiteY4" fmla="*/ 210 h 10210"/>
                    <a:gd name="connsiteX0" fmla="*/ 1665 w 14000"/>
                    <a:gd name="connsiteY0" fmla="*/ 75 h 10075"/>
                    <a:gd name="connsiteX1" fmla="*/ 11919 w 14000"/>
                    <a:gd name="connsiteY1" fmla="*/ 0 h 10075"/>
                    <a:gd name="connsiteX2" fmla="*/ 14000 w 14000"/>
                    <a:gd name="connsiteY2" fmla="*/ 10052 h 10075"/>
                    <a:gd name="connsiteX3" fmla="*/ 0 w 14000"/>
                    <a:gd name="connsiteY3" fmla="*/ 10075 h 10075"/>
                    <a:gd name="connsiteX4" fmla="*/ 1665 w 14000"/>
                    <a:gd name="connsiteY4" fmla="*/ 75 h 10075"/>
                    <a:gd name="connsiteX0" fmla="*/ 1665 w 14000"/>
                    <a:gd name="connsiteY0" fmla="*/ 8 h 10075"/>
                    <a:gd name="connsiteX1" fmla="*/ 11919 w 14000"/>
                    <a:gd name="connsiteY1" fmla="*/ 0 h 10075"/>
                    <a:gd name="connsiteX2" fmla="*/ 14000 w 14000"/>
                    <a:gd name="connsiteY2" fmla="*/ 10052 h 10075"/>
                    <a:gd name="connsiteX3" fmla="*/ 0 w 14000"/>
                    <a:gd name="connsiteY3" fmla="*/ 10075 h 10075"/>
                    <a:gd name="connsiteX4" fmla="*/ 1665 w 14000"/>
                    <a:gd name="connsiteY4" fmla="*/ 8 h 10075"/>
                    <a:gd name="connsiteX0" fmla="*/ 1665 w 13557"/>
                    <a:gd name="connsiteY0" fmla="*/ 8 h 10075"/>
                    <a:gd name="connsiteX1" fmla="*/ 11919 w 13557"/>
                    <a:gd name="connsiteY1" fmla="*/ 0 h 10075"/>
                    <a:gd name="connsiteX2" fmla="*/ 13557 w 13557"/>
                    <a:gd name="connsiteY2" fmla="*/ 10052 h 10075"/>
                    <a:gd name="connsiteX3" fmla="*/ 0 w 13557"/>
                    <a:gd name="connsiteY3" fmla="*/ 10075 h 10075"/>
                    <a:gd name="connsiteX4" fmla="*/ 1665 w 13557"/>
                    <a:gd name="connsiteY4" fmla="*/ 8 h 10075"/>
                    <a:gd name="connsiteX0" fmla="*/ 1408 w 13557"/>
                    <a:gd name="connsiteY0" fmla="*/ 0 h 10423"/>
                    <a:gd name="connsiteX1" fmla="*/ 11919 w 13557"/>
                    <a:gd name="connsiteY1" fmla="*/ 348 h 10423"/>
                    <a:gd name="connsiteX2" fmla="*/ 13557 w 13557"/>
                    <a:gd name="connsiteY2" fmla="*/ 10400 h 10423"/>
                    <a:gd name="connsiteX3" fmla="*/ 0 w 13557"/>
                    <a:gd name="connsiteY3" fmla="*/ 10423 h 10423"/>
                    <a:gd name="connsiteX4" fmla="*/ 1408 w 13557"/>
                    <a:gd name="connsiteY4" fmla="*/ 0 h 10423"/>
                    <a:gd name="connsiteX0" fmla="*/ 1371 w 13557"/>
                    <a:gd name="connsiteY0" fmla="*/ 0 h 10423"/>
                    <a:gd name="connsiteX1" fmla="*/ 11919 w 13557"/>
                    <a:gd name="connsiteY1" fmla="*/ 348 h 10423"/>
                    <a:gd name="connsiteX2" fmla="*/ 13557 w 13557"/>
                    <a:gd name="connsiteY2" fmla="*/ 10400 h 10423"/>
                    <a:gd name="connsiteX3" fmla="*/ 0 w 13557"/>
                    <a:gd name="connsiteY3" fmla="*/ 10423 h 10423"/>
                    <a:gd name="connsiteX4" fmla="*/ 1371 w 13557"/>
                    <a:gd name="connsiteY4" fmla="*/ 0 h 10423"/>
                    <a:gd name="connsiteX0" fmla="*/ 1371 w 13232"/>
                    <a:gd name="connsiteY0" fmla="*/ 0 h 10513"/>
                    <a:gd name="connsiteX1" fmla="*/ 11919 w 13232"/>
                    <a:gd name="connsiteY1" fmla="*/ 348 h 10513"/>
                    <a:gd name="connsiteX2" fmla="*/ 13232 w 13232"/>
                    <a:gd name="connsiteY2" fmla="*/ 10513 h 10513"/>
                    <a:gd name="connsiteX3" fmla="*/ 0 w 13232"/>
                    <a:gd name="connsiteY3" fmla="*/ 10423 h 10513"/>
                    <a:gd name="connsiteX4" fmla="*/ 1371 w 13232"/>
                    <a:gd name="connsiteY4" fmla="*/ 0 h 10513"/>
                    <a:gd name="connsiteX0" fmla="*/ 1371 w 13232"/>
                    <a:gd name="connsiteY0" fmla="*/ 0 h 10513"/>
                    <a:gd name="connsiteX1" fmla="*/ 11919 w 13232"/>
                    <a:gd name="connsiteY1" fmla="*/ 253 h 10513"/>
                    <a:gd name="connsiteX2" fmla="*/ 13232 w 13232"/>
                    <a:gd name="connsiteY2" fmla="*/ 10513 h 10513"/>
                    <a:gd name="connsiteX3" fmla="*/ 0 w 13232"/>
                    <a:gd name="connsiteY3" fmla="*/ 10423 h 10513"/>
                    <a:gd name="connsiteX4" fmla="*/ 1371 w 13232"/>
                    <a:gd name="connsiteY4" fmla="*/ 0 h 10513"/>
                    <a:gd name="connsiteX0" fmla="*/ 1371 w 13232"/>
                    <a:gd name="connsiteY0" fmla="*/ 320 h 10833"/>
                    <a:gd name="connsiteX1" fmla="*/ 11880 w 13232"/>
                    <a:gd name="connsiteY1" fmla="*/ 0 h 10833"/>
                    <a:gd name="connsiteX2" fmla="*/ 13232 w 13232"/>
                    <a:gd name="connsiteY2" fmla="*/ 10833 h 10833"/>
                    <a:gd name="connsiteX3" fmla="*/ 0 w 13232"/>
                    <a:gd name="connsiteY3" fmla="*/ 10743 h 10833"/>
                    <a:gd name="connsiteX4" fmla="*/ 1371 w 13232"/>
                    <a:gd name="connsiteY4" fmla="*/ 320 h 10833"/>
                    <a:gd name="connsiteX0" fmla="*/ 1371 w 13232"/>
                    <a:gd name="connsiteY0" fmla="*/ 34 h 10547"/>
                    <a:gd name="connsiteX1" fmla="*/ 11919 w 13232"/>
                    <a:gd name="connsiteY1" fmla="*/ 0 h 10547"/>
                    <a:gd name="connsiteX2" fmla="*/ 13232 w 13232"/>
                    <a:gd name="connsiteY2" fmla="*/ 10547 h 10547"/>
                    <a:gd name="connsiteX3" fmla="*/ 0 w 13232"/>
                    <a:gd name="connsiteY3" fmla="*/ 10457 h 10547"/>
                    <a:gd name="connsiteX4" fmla="*/ 1371 w 13232"/>
                    <a:gd name="connsiteY4" fmla="*/ 34 h 10547"/>
                    <a:gd name="connsiteX0" fmla="*/ 1371 w 13232"/>
                    <a:gd name="connsiteY0" fmla="*/ 34 h 10547"/>
                    <a:gd name="connsiteX1" fmla="*/ 11907 w 13232"/>
                    <a:gd name="connsiteY1" fmla="*/ 0 h 10547"/>
                    <a:gd name="connsiteX2" fmla="*/ 13232 w 13232"/>
                    <a:gd name="connsiteY2" fmla="*/ 10547 h 10547"/>
                    <a:gd name="connsiteX3" fmla="*/ 0 w 13232"/>
                    <a:gd name="connsiteY3" fmla="*/ 10457 h 10547"/>
                    <a:gd name="connsiteX4" fmla="*/ 1371 w 13232"/>
                    <a:gd name="connsiteY4" fmla="*/ 34 h 10547"/>
                    <a:gd name="connsiteX0" fmla="*/ 1371 w 13232"/>
                    <a:gd name="connsiteY0" fmla="*/ 0 h 10513"/>
                    <a:gd name="connsiteX1" fmla="*/ 11884 w 13232"/>
                    <a:gd name="connsiteY1" fmla="*/ 23 h 10513"/>
                    <a:gd name="connsiteX2" fmla="*/ 13232 w 13232"/>
                    <a:gd name="connsiteY2" fmla="*/ 10513 h 10513"/>
                    <a:gd name="connsiteX3" fmla="*/ 0 w 13232"/>
                    <a:gd name="connsiteY3" fmla="*/ 10423 h 10513"/>
                    <a:gd name="connsiteX4" fmla="*/ 1371 w 13232"/>
                    <a:gd name="connsiteY4" fmla="*/ 0 h 10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232" h="10513">
                      <a:moveTo>
                        <a:pt x="1371" y="0"/>
                      </a:moveTo>
                      <a:lnTo>
                        <a:pt x="11884" y="23"/>
                      </a:lnTo>
                      <a:lnTo>
                        <a:pt x="13232" y="10513"/>
                      </a:lnTo>
                      <a:lnTo>
                        <a:pt x="0" y="10423"/>
                      </a:lnTo>
                      <a:lnTo>
                        <a:pt x="1371" y="0"/>
                      </a:lnTo>
                      <a:close/>
                    </a:path>
                  </a:pathLst>
                </a:custGeom>
                <a:solidFill>
                  <a:srgbClr val="40E0D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lIns="52994" tIns="26497" rIns="52994" bIns="26497"/>
                <a:lstStyle/>
                <a:p>
                  <a:pPr defTabSz="529922">
                    <a:defRPr/>
                  </a:pPr>
                  <a:endParaRPr lang="en-US" sz="1600" kern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48" name="Rectangle 4">
                  <a:extLst>
                    <a:ext uri="{FF2B5EF4-FFF2-40B4-BE49-F238E27FC236}">
                      <a16:creationId xmlns:a16="http://schemas.microsoft.com/office/drawing/2014/main" xmlns="" id="{306CE78A-B469-4E06-8097-9D3BB911724C}"/>
                    </a:ext>
                  </a:extLst>
                </p:cNvPr>
                <p:cNvSpPr/>
                <p:nvPr/>
              </p:nvSpPr>
              <p:spPr>
                <a:xfrm>
                  <a:off x="774241" y="4069669"/>
                  <a:ext cx="5090960" cy="733439"/>
                </a:xfrm>
                <a:custGeom>
                  <a:avLst/>
                  <a:gdLst>
                    <a:gd name="connsiteX0" fmla="*/ 0 w 3693814"/>
                    <a:gd name="connsiteY0" fmla="*/ 0 h 973247"/>
                    <a:gd name="connsiteX1" fmla="*/ 3693814 w 3693814"/>
                    <a:gd name="connsiteY1" fmla="*/ 0 h 973247"/>
                    <a:gd name="connsiteX2" fmla="*/ 3693814 w 3693814"/>
                    <a:gd name="connsiteY2" fmla="*/ 973247 h 973247"/>
                    <a:gd name="connsiteX3" fmla="*/ 0 w 3693814"/>
                    <a:gd name="connsiteY3" fmla="*/ 973247 h 973247"/>
                    <a:gd name="connsiteX4" fmla="*/ 0 w 3693814"/>
                    <a:gd name="connsiteY4" fmla="*/ 0 h 973247"/>
                    <a:gd name="connsiteX0" fmla="*/ 0 w 4186794"/>
                    <a:gd name="connsiteY0" fmla="*/ 0 h 973247"/>
                    <a:gd name="connsiteX1" fmla="*/ 4186794 w 4186794"/>
                    <a:gd name="connsiteY1" fmla="*/ 326003 h 973247"/>
                    <a:gd name="connsiteX2" fmla="*/ 3693814 w 4186794"/>
                    <a:gd name="connsiteY2" fmla="*/ 973247 h 973247"/>
                    <a:gd name="connsiteX3" fmla="*/ 0 w 4186794"/>
                    <a:gd name="connsiteY3" fmla="*/ 973247 h 973247"/>
                    <a:gd name="connsiteX4" fmla="*/ 0 w 4186794"/>
                    <a:gd name="connsiteY4" fmla="*/ 0 h 973247"/>
                    <a:gd name="connsiteX0" fmla="*/ 214685 w 4401479"/>
                    <a:gd name="connsiteY0" fmla="*/ 0 h 973247"/>
                    <a:gd name="connsiteX1" fmla="*/ 4401479 w 4401479"/>
                    <a:gd name="connsiteY1" fmla="*/ 326003 h 973247"/>
                    <a:gd name="connsiteX2" fmla="*/ 3908499 w 4401479"/>
                    <a:gd name="connsiteY2" fmla="*/ 973247 h 973247"/>
                    <a:gd name="connsiteX3" fmla="*/ 0 w 4401479"/>
                    <a:gd name="connsiteY3" fmla="*/ 949393 h 973247"/>
                    <a:gd name="connsiteX4" fmla="*/ 214685 w 4401479"/>
                    <a:gd name="connsiteY4" fmla="*/ 0 h 973247"/>
                    <a:gd name="connsiteX0" fmla="*/ 771277 w 4401479"/>
                    <a:gd name="connsiteY0" fmla="*/ 0 h 710854"/>
                    <a:gd name="connsiteX1" fmla="*/ 4401479 w 4401479"/>
                    <a:gd name="connsiteY1" fmla="*/ 63610 h 710854"/>
                    <a:gd name="connsiteX2" fmla="*/ 3908499 w 4401479"/>
                    <a:gd name="connsiteY2" fmla="*/ 710854 h 710854"/>
                    <a:gd name="connsiteX3" fmla="*/ 0 w 4401479"/>
                    <a:gd name="connsiteY3" fmla="*/ 687000 h 710854"/>
                    <a:gd name="connsiteX4" fmla="*/ 771277 w 4401479"/>
                    <a:gd name="connsiteY4" fmla="*/ 0 h 710854"/>
                    <a:gd name="connsiteX0" fmla="*/ 755374 w 4401479"/>
                    <a:gd name="connsiteY0" fmla="*/ 15903 h 647244"/>
                    <a:gd name="connsiteX1" fmla="*/ 4401479 w 4401479"/>
                    <a:gd name="connsiteY1" fmla="*/ 0 h 647244"/>
                    <a:gd name="connsiteX2" fmla="*/ 3908499 w 4401479"/>
                    <a:gd name="connsiteY2" fmla="*/ 647244 h 647244"/>
                    <a:gd name="connsiteX3" fmla="*/ 0 w 4401479"/>
                    <a:gd name="connsiteY3" fmla="*/ 623390 h 647244"/>
                    <a:gd name="connsiteX4" fmla="*/ 755374 w 4401479"/>
                    <a:gd name="connsiteY4" fmla="*/ 15903 h 647244"/>
                    <a:gd name="connsiteX0" fmla="*/ 598212 w 4244317"/>
                    <a:gd name="connsiteY0" fmla="*/ 15903 h 668633"/>
                    <a:gd name="connsiteX1" fmla="*/ 4244317 w 4244317"/>
                    <a:gd name="connsiteY1" fmla="*/ 0 h 668633"/>
                    <a:gd name="connsiteX2" fmla="*/ 3751337 w 4244317"/>
                    <a:gd name="connsiteY2" fmla="*/ 647244 h 668633"/>
                    <a:gd name="connsiteX3" fmla="*/ 0 w 4244317"/>
                    <a:gd name="connsiteY3" fmla="*/ 668633 h 668633"/>
                    <a:gd name="connsiteX4" fmla="*/ 598212 w 4244317"/>
                    <a:gd name="connsiteY4" fmla="*/ 15903 h 668633"/>
                    <a:gd name="connsiteX0" fmla="*/ 830776 w 4476881"/>
                    <a:gd name="connsiteY0" fmla="*/ 15903 h 673918"/>
                    <a:gd name="connsiteX1" fmla="*/ 4476881 w 4476881"/>
                    <a:gd name="connsiteY1" fmla="*/ 0 h 673918"/>
                    <a:gd name="connsiteX2" fmla="*/ 3983901 w 4476881"/>
                    <a:gd name="connsiteY2" fmla="*/ 647244 h 673918"/>
                    <a:gd name="connsiteX3" fmla="*/ 0 w 4476881"/>
                    <a:gd name="connsiteY3" fmla="*/ 673918 h 673918"/>
                    <a:gd name="connsiteX4" fmla="*/ 830776 w 4476881"/>
                    <a:gd name="connsiteY4" fmla="*/ 15903 h 673918"/>
                    <a:gd name="connsiteX0" fmla="*/ 830776 w 4476881"/>
                    <a:gd name="connsiteY0" fmla="*/ 15903 h 673918"/>
                    <a:gd name="connsiteX1" fmla="*/ 4476881 w 4476881"/>
                    <a:gd name="connsiteY1" fmla="*/ 0 h 673918"/>
                    <a:gd name="connsiteX2" fmla="*/ 3983901 w 4476881"/>
                    <a:gd name="connsiteY2" fmla="*/ 647244 h 673918"/>
                    <a:gd name="connsiteX3" fmla="*/ 0 w 4476881"/>
                    <a:gd name="connsiteY3" fmla="*/ 673918 h 673918"/>
                    <a:gd name="connsiteX4" fmla="*/ 830776 w 4476881"/>
                    <a:gd name="connsiteY4" fmla="*/ 15903 h 673918"/>
                    <a:gd name="connsiteX0" fmla="*/ 817128 w 4463233"/>
                    <a:gd name="connsiteY0" fmla="*/ 15903 h 667094"/>
                    <a:gd name="connsiteX1" fmla="*/ 4463233 w 4463233"/>
                    <a:gd name="connsiteY1" fmla="*/ 0 h 667094"/>
                    <a:gd name="connsiteX2" fmla="*/ 3970253 w 4463233"/>
                    <a:gd name="connsiteY2" fmla="*/ 647244 h 667094"/>
                    <a:gd name="connsiteX3" fmla="*/ 0 w 4463233"/>
                    <a:gd name="connsiteY3" fmla="*/ 667094 h 667094"/>
                    <a:gd name="connsiteX4" fmla="*/ 817128 w 4463233"/>
                    <a:gd name="connsiteY4" fmla="*/ 15903 h 667094"/>
                    <a:gd name="connsiteX0" fmla="*/ 823952 w 4470057"/>
                    <a:gd name="connsiteY0" fmla="*/ 15903 h 653446"/>
                    <a:gd name="connsiteX1" fmla="*/ 4470057 w 4470057"/>
                    <a:gd name="connsiteY1" fmla="*/ 0 h 653446"/>
                    <a:gd name="connsiteX2" fmla="*/ 3977077 w 4470057"/>
                    <a:gd name="connsiteY2" fmla="*/ 647244 h 653446"/>
                    <a:gd name="connsiteX3" fmla="*/ 0 w 4470057"/>
                    <a:gd name="connsiteY3" fmla="*/ 653446 h 653446"/>
                    <a:gd name="connsiteX4" fmla="*/ 823952 w 4470057"/>
                    <a:gd name="connsiteY4" fmla="*/ 15903 h 653446"/>
                    <a:gd name="connsiteX0" fmla="*/ 804902 w 4451007"/>
                    <a:gd name="connsiteY0" fmla="*/ 15903 h 648684"/>
                    <a:gd name="connsiteX1" fmla="*/ 4451007 w 4451007"/>
                    <a:gd name="connsiteY1" fmla="*/ 0 h 648684"/>
                    <a:gd name="connsiteX2" fmla="*/ 3958027 w 4451007"/>
                    <a:gd name="connsiteY2" fmla="*/ 647244 h 648684"/>
                    <a:gd name="connsiteX3" fmla="*/ 0 w 4451007"/>
                    <a:gd name="connsiteY3" fmla="*/ 648684 h 648684"/>
                    <a:gd name="connsiteX4" fmla="*/ 804902 w 4451007"/>
                    <a:gd name="connsiteY4" fmla="*/ 15903 h 648684"/>
                    <a:gd name="connsiteX0" fmla="*/ 775641 w 4451007"/>
                    <a:gd name="connsiteY0" fmla="*/ 15903 h 648684"/>
                    <a:gd name="connsiteX1" fmla="*/ 4451007 w 4451007"/>
                    <a:gd name="connsiteY1" fmla="*/ 0 h 648684"/>
                    <a:gd name="connsiteX2" fmla="*/ 3958027 w 4451007"/>
                    <a:gd name="connsiteY2" fmla="*/ 647244 h 648684"/>
                    <a:gd name="connsiteX3" fmla="*/ 0 w 4451007"/>
                    <a:gd name="connsiteY3" fmla="*/ 648684 h 648684"/>
                    <a:gd name="connsiteX4" fmla="*/ 775641 w 4451007"/>
                    <a:gd name="connsiteY4" fmla="*/ 15903 h 648684"/>
                    <a:gd name="connsiteX0" fmla="*/ 775641 w 4465638"/>
                    <a:gd name="connsiteY0" fmla="*/ 15903 h 648684"/>
                    <a:gd name="connsiteX1" fmla="*/ 4465638 w 4465638"/>
                    <a:gd name="connsiteY1" fmla="*/ 0 h 648684"/>
                    <a:gd name="connsiteX2" fmla="*/ 3958027 w 4465638"/>
                    <a:gd name="connsiteY2" fmla="*/ 647244 h 648684"/>
                    <a:gd name="connsiteX3" fmla="*/ 0 w 4465638"/>
                    <a:gd name="connsiteY3" fmla="*/ 648684 h 648684"/>
                    <a:gd name="connsiteX4" fmla="*/ 775641 w 4465638"/>
                    <a:gd name="connsiteY4" fmla="*/ 15903 h 648684"/>
                    <a:gd name="connsiteX0" fmla="*/ 782956 w 4465638"/>
                    <a:gd name="connsiteY0" fmla="*/ 1272 h 648684"/>
                    <a:gd name="connsiteX1" fmla="*/ 4465638 w 4465638"/>
                    <a:gd name="connsiteY1" fmla="*/ 0 h 648684"/>
                    <a:gd name="connsiteX2" fmla="*/ 3958027 w 4465638"/>
                    <a:gd name="connsiteY2" fmla="*/ 647244 h 648684"/>
                    <a:gd name="connsiteX3" fmla="*/ 0 w 4465638"/>
                    <a:gd name="connsiteY3" fmla="*/ 648684 h 648684"/>
                    <a:gd name="connsiteX4" fmla="*/ 782956 w 4465638"/>
                    <a:gd name="connsiteY4" fmla="*/ 1272 h 648684"/>
                    <a:gd name="connsiteX0" fmla="*/ 804902 w 4465638"/>
                    <a:gd name="connsiteY0" fmla="*/ 0 h 662042"/>
                    <a:gd name="connsiteX1" fmla="*/ 4465638 w 4465638"/>
                    <a:gd name="connsiteY1" fmla="*/ 13358 h 662042"/>
                    <a:gd name="connsiteX2" fmla="*/ 3958027 w 4465638"/>
                    <a:gd name="connsiteY2" fmla="*/ 660602 h 662042"/>
                    <a:gd name="connsiteX3" fmla="*/ 0 w 4465638"/>
                    <a:gd name="connsiteY3" fmla="*/ 662042 h 662042"/>
                    <a:gd name="connsiteX4" fmla="*/ 804902 w 4465638"/>
                    <a:gd name="connsiteY4" fmla="*/ 0 h 662042"/>
                    <a:gd name="connsiteX0" fmla="*/ 792490 w 4453226"/>
                    <a:gd name="connsiteY0" fmla="*/ 0 h 660602"/>
                    <a:gd name="connsiteX1" fmla="*/ 4453226 w 4453226"/>
                    <a:gd name="connsiteY1" fmla="*/ 13358 h 660602"/>
                    <a:gd name="connsiteX2" fmla="*/ 3945615 w 4453226"/>
                    <a:gd name="connsiteY2" fmla="*/ 660602 h 660602"/>
                    <a:gd name="connsiteX3" fmla="*/ 0 w 4453226"/>
                    <a:gd name="connsiteY3" fmla="*/ 637217 h 660602"/>
                    <a:gd name="connsiteX4" fmla="*/ 792490 w 4453226"/>
                    <a:gd name="connsiteY4" fmla="*/ 0 h 660602"/>
                    <a:gd name="connsiteX0" fmla="*/ 796627 w 4457363"/>
                    <a:gd name="connsiteY0" fmla="*/ 0 h 662042"/>
                    <a:gd name="connsiteX1" fmla="*/ 4457363 w 4457363"/>
                    <a:gd name="connsiteY1" fmla="*/ 13358 h 662042"/>
                    <a:gd name="connsiteX2" fmla="*/ 3949752 w 4457363"/>
                    <a:gd name="connsiteY2" fmla="*/ 660602 h 662042"/>
                    <a:gd name="connsiteX3" fmla="*/ 0 w 4457363"/>
                    <a:gd name="connsiteY3" fmla="*/ 662042 h 662042"/>
                    <a:gd name="connsiteX4" fmla="*/ 796627 w 4457363"/>
                    <a:gd name="connsiteY4" fmla="*/ 0 h 662042"/>
                    <a:gd name="connsiteX0" fmla="*/ 809040 w 4469776"/>
                    <a:gd name="connsiteY0" fmla="*/ 0 h 670317"/>
                    <a:gd name="connsiteX1" fmla="*/ 4469776 w 4469776"/>
                    <a:gd name="connsiteY1" fmla="*/ 13358 h 670317"/>
                    <a:gd name="connsiteX2" fmla="*/ 3962165 w 4469776"/>
                    <a:gd name="connsiteY2" fmla="*/ 660602 h 670317"/>
                    <a:gd name="connsiteX3" fmla="*/ 0 w 4469776"/>
                    <a:gd name="connsiteY3" fmla="*/ 670317 h 670317"/>
                    <a:gd name="connsiteX4" fmla="*/ 809040 w 4469776"/>
                    <a:gd name="connsiteY4" fmla="*/ 0 h 670317"/>
                    <a:gd name="connsiteX0" fmla="*/ 809040 w 4469776"/>
                    <a:gd name="connsiteY0" fmla="*/ 0 h 670317"/>
                    <a:gd name="connsiteX1" fmla="*/ 4469776 w 4469776"/>
                    <a:gd name="connsiteY1" fmla="*/ 13358 h 670317"/>
                    <a:gd name="connsiteX2" fmla="*/ 3958028 w 4469776"/>
                    <a:gd name="connsiteY2" fmla="*/ 664740 h 670317"/>
                    <a:gd name="connsiteX3" fmla="*/ 0 w 4469776"/>
                    <a:gd name="connsiteY3" fmla="*/ 670317 h 670317"/>
                    <a:gd name="connsiteX4" fmla="*/ 809040 w 4469776"/>
                    <a:gd name="connsiteY4" fmla="*/ 0 h 670317"/>
                    <a:gd name="connsiteX0" fmla="*/ 809040 w 4469776"/>
                    <a:gd name="connsiteY0" fmla="*/ 0 h 670317"/>
                    <a:gd name="connsiteX1" fmla="*/ 4469776 w 4469776"/>
                    <a:gd name="connsiteY1" fmla="*/ 13358 h 670317"/>
                    <a:gd name="connsiteX2" fmla="*/ 3941477 w 4469776"/>
                    <a:gd name="connsiteY2" fmla="*/ 668878 h 670317"/>
                    <a:gd name="connsiteX3" fmla="*/ 0 w 4469776"/>
                    <a:gd name="connsiteY3" fmla="*/ 670317 h 670317"/>
                    <a:gd name="connsiteX4" fmla="*/ 809040 w 4469776"/>
                    <a:gd name="connsiteY4" fmla="*/ 0 h 670317"/>
                    <a:gd name="connsiteX0" fmla="*/ 833866 w 4494602"/>
                    <a:gd name="connsiteY0" fmla="*/ 0 h 668878"/>
                    <a:gd name="connsiteX1" fmla="*/ 4494602 w 4494602"/>
                    <a:gd name="connsiteY1" fmla="*/ 13358 h 668878"/>
                    <a:gd name="connsiteX2" fmla="*/ 3966303 w 4494602"/>
                    <a:gd name="connsiteY2" fmla="*/ 668878 h 668878"/>
                    <a:gd name="connsiteX3" fmla="*/ 0 w 4494602"/>
                    <a:gd name="connsiteY3" fmla="*/ 653767 h 668878"/>
                    <a:gd name="connsiteX4" fmla="*/ 833866 w 4494602"/>
                    <a:gd name="connsiteY4" fmla="*/ 0 h 668878"/>
                    <a:gd name="connsiteX0" fmla="*/ 833866 w 4494602"/>
                    <a:gd name="connsiteY0" fmla="*/ 0 h 668878"/>
                    <a:gd name="connsiteX1" fmla="*/ 4494602 w 4494602"/>
                    <a:gd name="connsiteY1" fmla="*/ 13358 h 668878"/>
                    <a:gd name="connsiteX2" fmla="*/ 3966303 w 4494602"/>
                    <a:gd name="connsiteY2" fmla="*/ 668878 h 668878"/>
                    <a:gd name="connsiteX3" fmla="*/ 0 w 4494602"/>
                    <a:gd name="connsiteY3" fmla="*/ 662042 h 668878"/>
                    <a:gd name="connsiteX4" fmla="*/ 833866 w 4494602"/>
                    <a:gd name="connsiteY4" fmla="*/ 0 h 668878"/>
                    <a:gd name="connsiteX0" fmla="*/ 796628 w 4457364"/>
                    <a:gd name="connsiteY0" fmla="*/ 0 h 668878"/>
                    <a:gd name="connsiteX1" fmla="*/ 4457364 w 4457364"/>
                    <a:gd name="connsiteY1" fmla="*/ 13358 h 668878"/>
                    <a:gd name="connsiteX2" fmla="*/ 3929065 w 4457364"/>
                    <a:gd name="connsiteY2" fmla="*/ 668878 h 668878"/>
                    <a:gd name="connsiteX3" fmla="*/ 0 w 4457364"/>
                    <a:gd name="connsiteY3" fmla="*/ 641354 h 668878"/>
                    <a:gd name="connsiteX4" fmla="*/ 796628 w 4457364"/>
                    <a:gd name="connsiteY4" fmla="*/ 0 h 668878"/>
                    <a:gd name="connsiteX0" fmla="*/ 796628 w 4457364"/>
                    <a:gd name="connsiteY0" fmla="*/ 0 h 644052"/>
                    <a:gd name="connsiteX1" fmla="*/ 4457364 w 4457364"/>
                    <a:gd name="connsiteY1" fmla="*/ 13358 h 644052"/>
                    <a:gd name="connsiteX2" fmla="*/ 3941478 w 4457364"/>
                    <a:gd name="connsiteY2" fmla="*/ 644052 h 644052"/>
                    <a:gd name="connsiteX3" fmla="*/ 0 w 4457364"/>
                    <a:gd name="connsiteY3" fmla="*/ 641354 h 644052"/>
                    <a:gd name="connsiteX4" fmla="*/ 796628 w 4457364"/>
                    <a:gd name="connsiteY4" fmla="*/ 0 h 644052"/>
                    <a:gd name="connsiteX0" fmla="*/ 796628 w 4457364"/>
                    <a:gd name="connsiteY0" fmla="*/ 0 h 656465"/>
                    <a:gd name="connsiteX1" fmla="*/ 4457364 w 4457364"/>
                    <a:gd name="connsiteY1" fmla="*/ 13358 h 656465"/>
                    <a:gd name="connsiteX2" fmla="*/ 3945615 w 4457364"/>
                    <a:gd name="connsiteY2" fmla="*/ 656465 h 656465"/>
                    <a:gd name="connsiteX3" fmla="*/ 0 w 4457364"/>
                    <a:gd name="connsiteY3" fmla="*/ 641354 h 656465"/>
                    <a:gd name="connsiteX4" fmla="*/ 796628 w 4457364"/>
                    <a:gd name="connsiteY4" fmla="*/ 0 h 656465"/>
                    <a:gd name="connsiteX0" fmla="*/ 796628 w 4457364"/>
                    <a:gd name="connsiteY0" fmla="*/ 0 h 641354"/>
                    <a:gd name="connsiteX1" fmla="*/ 4457364 w 4457364"/>
                    <a:gd name="connsiteY1" fmla="*/ 13358 h 641354"/>
                    <a:gd name="connsiteX2" fmla="*/ 3945615 w 4457364"/>
                    <a:gd name="connsiteY2" fmla="*/ 639915 h 641354"/>
                    <a:gd name="connsiteX3" fmla="*/ 0 w 4457364"/>
                    <a:gd name="connsiteY3" fmla="*/ 641354 h 641354"/>
                    <a:gd name="connsiteX4" fmla="*/ 796628 w 4457364"/>
                    <a:gd name="connsiteY4" fmla="*/ 0 h 641354"/>
                    <a:gd name="connsiteX0" fmla="*/ 796628 w 4457364"/>
                    <a:gd name="connsiteY0" fmla="*/ 0 h 644053"/>
                    <a:gd name="connsiteX1" fmla="*/ 4457364 w 4457364"/>
                    <a:gd name="connsiteY1" fmla="*/ 13358 h 644053"/>
                    <a:gd name="connsiteX2" fmla="*/ 3945615 w 4457364"/>
                    <a:gd name="connsiteY2" fmla="*/ 644053 h 644053"/>
                    <a:gd name="connsiteX3" fmla="*/ 0 w 4457364"/>
                    <a:gd name="connsiteY3" fmla="*/ 641354 h 644053"/>
                    <a:gd name="connsiteX4" fmla="*/ 796628 w 4457364"/>
                    <a:gd name="connsiteY4" fmla="*/ 0 h 644053"/>
                    <a:gd name="connsiteX0" fmla="*/ 796628 w 4457364"/>
                    <a:gd name="connsiteY0" fmla="*/ 0 h 641967"/>
                    <a:gd name="connsiteX1" fmla="*/ 4457364 w 4457364"/>
                    <a:gd name="connsiteY1" fmla="*/ 13358 h 641967"/>
                    <a:gd name="connsiteX2" fmla="*/ 3949786 w 4457364"/>
                    <a:gd name="connsiteY2" fmla="*/ 641967 h 641967"/>
                    <a:gd name="connsiteX3" fmla="*/ 0 w 4457364"/>
                    <a:gd name="connsiteY3" fmla="*/ 641354 h 641967"/>
                    <a:gd name="connsiteX4" fmla="*/ 796628 w 4457364"/>
                    <a:gd name="connsiteY4" fmla="*/ 0 h 6419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4457364" h="641967">
                      <a:moveTo>
                        <a:pt x="796628" y="0"/>
                      </a:moveTo>
                      <a:lnTo>
                        <a:pt x="4457364" y="13358"/>
                      </a:lnTo>
                      <a:lnTo>
                        <a:pt x="3949786" y="641967"/>
                      </a:lnTo>
                      <a:lnTo>
                        <a:pt x="0" y="641354"/>
                      </a:lnTo>
                      <a:lnTo>
                        <a:pt x="796628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anchor="ctr"/>
                <a:lstStyle/>
                <a:p>
                  <a:pPr algn="ctr" defTabSz="529922">
                    <a:defRPr/>
                  </a:pPr>
                  <a:endParaRPr lang="en-US" sz="1600" kern="0">
                    <a:solidFill>
                      <a:prstClr val="white"/>
                    </a:solidFill>
                    <a:latin typeface="Calibri"/>
                  </a:endParaRPr>
                </a:p>
              </p:txBody>
            </p:sp>
          </p:grpSp>
          <p:grpSp>
            <p:nvGrpSpPr>
              <p:cNvPr id="31" name="Group 97">
                <a:extLst>
                  <a:ext uri="{FF2B5EF4-FFF2-40B4-BE49-F238E27FC236}">
                    <a16:creationId xmlns:a16="http://schemas.microsoft.com/office/drawing/2014/main" xmlns="" id="{E4CA4BBC-CED8-465D-83A3-D5FD89D01D98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818575" y="3291361"/>
                <a:ext cx="4973539" cy="1416816"/>
                <a:chOff x="818575" y="3291361"/>
                <a:chExt cx="4973539" cy="1416816"/>
              </a:xfrm>
            </p:grpSpPr>
            <p:sp>
              <p:nvSpPr>
                <p:cNvPr id="43" name="Freeform 7">
                  <a:extLst>
                    <a:ext uri="{FF2B5EF4-FFF2-40B4-BE49-F238E27FC236}">
                      <a16:creationId xmlns:a16="http://schemas.microsoft.com/office/drawing/2014/main" xmlns="" id="{0652005B-7697-448B-B96F-351B80D422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61345" y="3292766"/>
                  <a:ext cx="3789001" cy="529707"/>
                </a:xfrm>
                <a:custGeom>
                  <a:avLst/>
                  <a:gdLst>
                    <a:gd name="T0" fmla="*/ 335 w 2019"/>
                    <a:gd name="T1" fmla="*/ 0 h 287"/>
                    <a:gd name="T2" fmla="*/ 2019 w 2019"/>
                    <a:gd name="T3" fmla="*/ 0 h 287"/>
                    <a:gd name="T4" fmla="*/ 1779 w 2019"/>
                    <a:gd name="T5" fmla="*/ 287 h 287"/>
                    <a:gd name="T6" fmla="*/ 0 w 2019"/>
                    <a:gd name="T7" fmla="*/ 287 h 287"/>
                    <a:gd name="T8" fmla="*/ 335 w 2019"/>
                    <a:gd name="T9" fmla="*/ 0 h 287"/>
                    <a:gd name="connsiteX0" fmla="*/ 1659 w 10000"/>
                    <a:gd name="connsiteY0" fmla="*/ 0 h 10000"/>
                    <a:gd name="connsiteX1" fmla="*/ 10000 w 10000"/>
                    <a:gd name="connsiteY1" fmla="*/ 0 h 10000"/>
                    <a:gd name="connsiteX2" fmla="*/ 9290 w 10000"/>
                    <a:gd name="connsiteY2" fmla="*/ 10000 h 10000"/>
                    <a:gd name="connsiteX3" fmla="*/ 0 w 10000"/>
                    <a:gd name="connsiteY3" fmla="*/ 10000 h 10000"/>
                    <a:gd name="connsiteX4" fmla="*/ 1659 w 10000"/>
                    <a:gd name="connsiteY4" fmla="*/ 0 h 10000"/>
                    <a:gd name="connsiteX0" fmla="*/ 1659 w 10596"/>
                    <a:gd name="connsiteY0" fmla="*/ 5976 h 15976"/>
                    <a:gd name="connsiteX1" fmla="*/ 10596 w 10596"/>
                    <a:gd name="connsiteY1" fmla="*/ 0 h 15976"/>
                    <a:gd name="connsiteX2" fmla="*/ 9290 w 10596"/>
                    <a:gd name="connsiteY2" fmla="*/ 15976 h 15976"/>
                    <a:gd name="connsiteX3" fmla="*/ 0 w 10596"/>
                    <a:gd name="connsiteY3" fmla="*/ 15976 h 15976"/>
                    <a:gd name="connsiteX4" fmla="*/ 1659 w 10596"/>
                    <a:gd name="connsiteY4" fmla="*/ 5976 h 15976"/>
                    <a:gd name="connsiteX0" fmla="*/ 1659 w 10596"/>
                    <a:gd name="connsiteY0" fmla="*/ 5976 h 15976"/>
                    <a:gd name="connsiteX1" fmla="*/ 10596 w 10596"/>
                    <a:gd name="connsiteY1" fmla="*/ 0 h 15976"/>
                    <a:gd name="connsiteX2" fmla="*/ 9359 w 10596"/>
                    <a:gd name="connsiteY2" fmla="*/ 15976 h 15976"/>
                    <a:gd name="connsiteX3" fmla="*/ 0 w 10596"/>
                    <a:gd name="connsiteY3" fmla="*/ 15976 h 15976"/>
                    <a:gd name="connsiteX4" fmla="*/ 1659 w 10596"/>
                    <a:gd name="connsiteY4" fmla="*/ 5976 h 15976"/>
                    <a:gd name="connsiteX0" fmla="*/ 1659 w 10563"/>
                    <a:gd name="connsiteY0" fmla="*/ 6085 h 16085"/>
                    <a:gd name="connsiteX1" fmla="*/ 10563 w 10563"/>
                    <a:gd name="connsiteY1" fmla="*/ 0 h 16085"/>
                    <a:gd name="connsiteX2" fmla="*/ 9359 w 10563"/>
                    <a:gd name="connsiteY2" fmla="*/ 16085 h 16085"/>
                    <a:gd name="connsiteX3" fmla="*/ 0 w 10563"/>
                    <a:gd name="connsiteY3" fmla="*/ 16085 h 16085"/>
                    <a:gd name="connsiteX4" fmla="*/ 1659 w 10563"/>
                    <a:gd name="connsiteY4" fmla="*/ 6085 h 16085"/>
                    <a:gd name="connsiteX0" fmla="*/ 1659 w 10574"/>
                    <a:gd name="connsiteY0" fmla="*/ 5757 h 15757"/>
                    <a:gd name="connsiteX1" fmla="*/ 10574 w 10574"/>
                    <a:gd name="connsiteY1" fmla="*/ 0 h 15757"/>
                    <a:gd name="connsiteX2" fmla="*/ 9359 w 10574"/>
                    <a:gd name="connsiteY2" fmla="*/ 15757 h 15757"/>
                    <a:gd name="connsiteX3" fmla="*/ 0 w 10574"/>
                    <a:gd name="connsiteY3" fmla="*/ 15757 h 15757"/>
                    <a:gd name="connsiteX4" fmla="*/ 1659 w 10574"/>
                    <a:gd name="connsiteY4" fmla="*/ 5757 h 15757"/>
                    <a:gd name="connsiteX0" fmla="*/ 1659 w 10563"/>
                    <a:gd name="connsiteY0" fmla="*/ 5757 h 15757"/>
                    <a:gd name="connsiteX1" fmla="*/ 10563 w 10563"/>
                    <a:gd name="connsiteY1" fmla="*/ 0 h 15757"/>
                    <a:gd name="connsiteX2" fmla="*/ 9359 w 10563"/>
                    <a:gd name="connsiteY2" fmla="*/ 15757 h 15757"/>
                    <a:gd name="connsiteX3" fmla="*/ 0 w 10563"/>
                    <a:gd name="connsiteY3" fmla="*/ 15757 h 15757"/>
                    <a:gd name="connsiteX4" fmla="*/ 1659 w 10563"/>
                    <a:gd name="connsiteY4" fmla="*/ 5757 h 15757"/>
                    <a:gd name="connsiteX0" fmla="*/ 1659 w 10585"/>
                    <a:gd name="connsiteY0" fmla="*/ 5648 h 15648"/>
                    <a:gd name="connsiteX1" fmla="*/ 10585 w 10585"/>
                    <a:gd name="connsiteY1" fmla="*/ 0 h 15648"/>
                    <a:gd name="connsiteX2" fmla="*/ 9359 w 10585"/>
                    <a:gd name="connsiteY2" fmla="*/ 15648 h 15648"/>
                    <a:gd name="connsiteX3" fmla="*/ 0 w 10585"/>
                    <a:gd name="connsiteY3" fmla="*/ 15648 h 15648"/>
                    <a:gd name="connsiteX4" fmla="*/ 1659 w 10585"/>
                    <a:gd name="connsiteY4" fmla="*/ 5648 h 15648"/>
                    <a:gd name="connsiteX0" fmla="*/ 1659 w 10585"/>
                    <a:gd name="connsiteY0" fmla="*/ 5648 h 15648"/>
                    <a:gd name="connsiteX1" fmla="*/ 10585 w 10585"/>
                    <a:gd name="connsiteY1" fmla="*/ 0 h 15648"/>
                    <a:gd name="connsiteX2" fmla="*/ 9359 w 10585"/>
                    <a:gd name="connsiteY2" fmla="*/ 15648 h 15648"/>
                    <a:gd name="connsiteX3" fmla="*/ 0 w 10585"/>
                    <a:gd name="connsiteY3" fmla="*/ 15648 h 15648"/>
                    <a:gd name="connsiteX4" fmla="*/ 1659 w 10585"/>
                    <a:gd name="connsiteY4" fmla="*/ 5648 h 15648"/>
                    <a:gd name="connsiteX0" fmla="*/ 1659 w 10563"/>
                    <a:gd name="connsiteY0" fmla="*/ 5430 h 15430"/>
                    <a:gd name="connsiteX1" fmla="*/ 10563 w 10563"/>
                    <a:gd name="connsiteY1" fmla="*/ 0 h 15430"/>
                    <a:gd name="connsiteX2" fmla="*/ 9359 w 10563"/>
                    <a:gd name="connsiteY2" fmla="*/ 15430 h 15430"/>
                    <a:gd name="connsiteX3" fmla="*/ 0 w 10563"/>
                    <a:gd name="connsiteY3" fmla="*/ 15430 h 15430"/>
                    <a:gd name="connsiteX4" fmla="*/ 1659 w 10563"/>
                    <a:gd name="connsiteY4" fmla="*/ 5430 h 15430"/>
                    <a:gd name="connsiteX0" fmla="*/ 1659 w 10563"/>
                    <a:gd name="connsiteY0" fmla="*/ 5539 h 15539"/>
                    <a:gd name="connsiteX1" fmla="*/ 10563 w 10563"/>
                    <a:gd name="connsiteY1" fmla="*/ 0 h 15539"/>
                    <a:gd name="connsiteX2" fmla="*/ 9359 w 10563"/>
                    <a:gd name="connsiteY2" fmla="*/ 15539 h 15539"/>
                    <a:gd name="connsiteX3" fmla="*/ 0 w 10563"/>
                    <a:gd name="connsiteY3" fmla="*/ 15539 h 15539"/>
                    <a:gd name="connsiteX4" fmla="*/ 1659 w 10563"/>
                    <a:gd name="connsiteY4" fmla="*/ 5539 h 15539"/>
                    <a:gd name="connsiteX0" fmla="*/ 1659 w 10572"/>
                    <a:gd name="connsiteY0" fmla="*/ 5454 h 15454"/>
                    <a:gd name="connsiteX1" fmla="*/ 10572 w 10572"/>
                    <a:gd name="connsiteY1" fmla="*/ 0 h 15454"/>
                    <a:gd name="connsiteX2" fmla="*/ 9359 w 10572"/>
                    <a:gd name="connsiteY2" fmla="*/ 15454 h 15454"/>
                    <a:gd name="connsiteX3" fmla="*/ 0 w 10572"/>
                    <a:gd name="connsiteY3" fmla="*/ 15454 h 15454"/>
                    <a:gd name="connsiteX4" fmla="*/ 1659 w 10572"/>
                    <a:gd name="connsiteY4" fmla="*/ 5454 h 15454"/>
                    <a:gd name="connsiteX0" fmla="*/ 1659 w 10591"/>
                    <a:gd name="connsiteY0" fmla="*/ 5199 h 15199"/>
                    <a:gd name="connsiteX1" fmla="*/ 10591 w 10591"/>
                    <a:gd name="connsiteY1" fmla="*/ 0 h 15199"/>
                    <a:gd name="connsiteX2" fmla="*/ 9359 w 10591"/>
                    <a:gd name="connsiteY2" fmla="*/ 15199 h 15199"/>
                    <a:gd name="connsiteX3" fmla="*/ 0 w 10591"/>
                    <a:gd name="connsiteY3" fmla="*/ 15199 h 15199"/>
                    <a:gd name="connsiteX4" fmla="*/ 1659 w 10591"/>
                    <a:gd name="connsiteY4" fmla="*/ 5199 h 15199"/>
                    <a:gd name="connsiteX0" fmla="*/ 1659 w 10584"/>
                    <a:gd name="connsiteY0" fmla="*/ 5133 h 15133"/>
                    <a:gd name="connsiteX1" fmla="*/ 10584 w 10584"/>
                    <a:gd name="connsiteY1" fmla="*/ 0 h 15133"/>
                    <a:gd name="connsiteX2" fmla="*/ 9359 w 10584"/>
                    <a:gd name="connsiteY2" fmla="*/ 15133 h 15133"/>
                    <a:gd name="connsiteX3" fmla="*/ 0 w 10584"/>
                    <a:gd name="connsiteY3" fmla="*/ 15133 h 15133"/>
                    <a:gd name="connsiteX4" fmla="*/ 1659 w 10584"/>
                    <a:gd name="connsiteY4" fmla="*/ 5133 h 15133"/>
                    <a:gd name="connsiteX0" fmla="*/ 1659 w 10564"/>
                    <a:gd name="connsiteY0" fmla="*/ 5067 h 15067"/>
                    <a:gd name="connsiteX1" fmla="*/ 10564 w 10564"/>
                    <a:gd name="connsiteY1" fmla="*/ 0 h 15067"/>
                    <a:gd name="connsiteX2" fmla="*/ 9359 w 10564"/>
                    <a:gd name="connsiteY2" fmla="*/ 15067 h 15067"/>
                    <a:gd name="connsiteX3" fmla="*/ 0 w 10564"/>
                    <a:gd name="connsiteY3" fmla="*/ 15067 h 15067"/>
                    <a:gd name="connsiteX4" fmla="*/ 1659 w 10564"/>
                    <a:gd name="connsiteY4" fmla="*/ 5067 h 15067"/>
                    <a:gd name="connsiteX0" fmla="*/ 2057 w 10564"/>
                    <a:gd name="connsiteY0" fmla="*/ 0 h 16512"/>
                    <a:gd name="connsiteX1" fmla="*/ 10564 w 10564"/>
                    <a:gd name="connsiteY1" fmla="*/ 1445 h 16512"/>
                    <a:gd name="connsiteX2" fmla="*/ 9359 w 10564"/>
                    <a:gd name="connsiteY2" fmla="*/ 16512 h 16512"/>
                    <a:gd name="connsiteX3" fmla="*/ 0 w 10564"/>
                    <a:gd name="connsiteY3" fmla="*/ 16512 h 16512"/>
                    <a:gd name="connsiteX4" fmla="*/ 2057 w 10564"/>
                    <a:gd name="connsiteY4" fmla="*/ 0 h 16512"/>
                    <a:gd name="connsiteX0" fmla="*/ 2057 w 10564"/>
                    <a:gd name="connsiteY0" fmla="*/ 0 h 16844"/>
                    <a:gd name="connsiteX1" fmla="*/ 10564 w 10564"/>
                    <a:gd name="connsiteY1" fmla="*/ 1777 h 16844"/>
                    <a:gd name="connsiteX2" fmla="*/ 9359 w 10564"/>
                    <a:gd name="connsiteY2" fmla="*/ 16844 h 16844"/>
                    <a:gd name="connsiteX3" fmla="*/ 0 w 10564"/>
                    <a:gd name="connsiteY3" fmla="*/ 16844 h 16844"/>
                    <a:gd name="connsiteX4" fmla="*/ 2057 w 10564"/>
                    <a:gd name="connsiteY4" fmla="*/ 0 h 16844"/>
                    <a:gd name="connsiteX0" fmla="*/ 2050 w 10564"/>
                    <a:gd name="connsiteY0" fmla="*/ 0 h 16379"/>
                    <a:gd name="connsiteX1" fmla="*/ 10564 w 10564"/>
                    <a:gd name="connsiteY1" fmla="*/ 1312 h 16379"/>
                    <a:gd name="connsiteX2" fmla="*/ 9359 w 10564"/>
                    <a:gd name="connsiteY2" fmla="*/ 16379 h 16379"/>
                    <a:gd name="connsiteX3" fmla="*/ 0 w 10564"/>
                    <a:gd name="connsiteY3" fmla="*/ 16379 h 16379"/>
                    <a:gd name="connsiteX4" fmla="*/ 2050 w 10564"/>
                    <a:gd name="connsiteY4" fmla="*/ 0 h 16379"/>
                    <a:gd name="connsiteX0" fmla="*/ 2050 w 10564"/>
                    <a:gd name="connsiteY0" fmla="*/ 0 h 16246"/>
                    <a:gd name="connsiteX1" fmla="*/ 10564 w 10564"/>
                    <a:gd name="connsiteY1" fmla="*/ 1179 h 16246"/>
                    <a:gd name="connsiteX2" fmla="*/ 9359 w 10564"/>
                    <a:gd name="connsiteY2" fmla="*/ 16246 h 16246"/>
                    <a:gd name="connsiteX3" fmla="*/ 0 w 10564"/>
                    <a:gd name="connsiteY3" fmla="*/ 16246 h 16246"/>
                    <a:gd name="connsiteX4" fmla="*/ 2050 w 10564"/>
                    <a:gd name="connsiteY4" fmla="*/ 0 h 16246"/>
                    <a:gd name="connsiteX0" fmla="*/ 2103 w 10564"/>
                    <a:gd name="connsiteY0" fmla="*/ 0 h 17641"/>
                    <a:gd name="connsiteX1" fmla="*/ 10564 w 10564"/>
                    <a:gd name="connsiteY1" fmla="*/ 2574 h 17641"/>
                    <a:gd name="connsiteX2" fmla="*/ 9359 w 10564"/>
                    <a:gd name="connsiteY2" fmla="*/ 17641 h 17641"/>
                    <a:gd name="connsiteX3" fmla="*/ 0 w 10564"/>
                    <a:gd name="connsiteY3" fmla="*/ 17641 h 17641"/>
                    <a:gd name="connsiteX4" fmla="*/ 2103 w 10564"/>
                    <a:gd name="connsiteY4" fmla="*/ 0 h 17641"/>
                    <a:gd name="connsiteX0" fmla="*/ 2196 w 10564"/>
                    <a:gd name="connsiteY0" fmla="*/ 0 h 18571"/>
                    <a:gd name="connsiteX1" fmla="*/ 10564 w 10564"/>
                    <a:gd name="connsiteY1" fmla="*/ 3504 h 18571"/>
                    <a:gd name="connsiteX2" fmla="*/ 9359 w 10564"/>
                    <a:gd name="connsiteY2" fmla="*/ 18571 h 18571"/>
                    <a:gd name="connsiteX3" fmla="*/ 0 w 10564"/>
                    <a:gd name="connsiteY3" fmla="*/ 18571 h 18571"/>
                    <a:gd name="connsiteX4" fmla="*/ 2196 w 10564"/>
                    <a:gd name="connsiteY4" fmla="*/ 0 h 18571"/>
                    <a:gd name="connsiteX0" fmla="*/ 2116 w 10564"/>
                    <a:gd name="connsiteY0" fmla="*/ 0 h 16511"/>
                    <a:gd name="connsiteX1" fmla="*/ 10564 w 10564"/>
                    <a:gd name="connsiteY1" fmla="*/ 1444 h 16511"/>
                    <a:gd name="connsiteX2" fmla="*/ 9359 w 10564"/>
                    <a:gd name="connsiteY2" fmla="*/ 16511 h 16511"/>
                    <a:gd name="connsiteX3" fmla="*/ 0 w 10564"/>
                    <a:gd name="connsiteY3" fmla="*/ 16511 h 16511"/>
                    <a:gd name="connsiteX4" fmla="*/ 2116 w 10564"/>
                    <a:gd name="connsiteY4" fmla="*/ 0 h 16511"/>
                    <a:gd name="connsiteX0" fmla="*/ 2116 w 10564"/>
                    <a:gd name="connsiteY0" fmla="*/ 0 h 15116"/>
                    <a:gd name="connsiteX1" fmla="*/ 10564 w 10564"/>
                    <a:gd name="connsiteY1" fmla="*/ 49 h 15116"/>
                    <a:gd name="connsiteX2" fmla="*/ 9359 w 10564"/>
                    <a:gd name="connsiteY2" fmla="*/ 15116 h 15116"/>
                    <a:gd name="connsiteX3" fmla="*/ 0 w 10564"/>
                    <a:gd name="connsiteY3" fmla="*/ 15116 h 15116"/>
                    <a:gd name="connsiteX4" fmla="*/ 2116 w 10564"/>
                    <a:gd name="connsiteY4" fmla="*/ 0 h 151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564" h="15116">
                      <a:moveTo>
                        <a:pt x="2116" y="0"/>
                      </a:moveTo>
                      <a:lnTo>
                        <a:pt x="10564" y="49"/>
                      </a:lnTo>
                      <a:cubicBezTo>
                        <a:pt x="10327" y="3382"/>
                        <a:pt x="9596" y="11783"/>
                        <a:pt x="9359" y="15116"/>
                      </a:cubicBezTo>
                      <a:lnTo>
                        <a:pt x="0" y="15116"/>
                      </a:lnTo>
                      <a:lnTo>
                        <a:pt x="2116" y="0"/>
                      </a:lnTo>
                      <a:close/>
                    </a:path>
                  </a:pathLst>
                </a:custGeom>
                <a:solidFill>
                  <a:srgbClr val="000000">
                    <a:lumMod val="85000"/>
                    <a:lumOff val="15000"/>
                  </a:srgb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lIns="52994" tIns="26497" rIns="52994" bIns="26497"/>
                <a:lstStyle/>
                <a:p>
                  <a:pPr defTabSz="529922">
                    <a:defRPr/>
                  </a:pPr>
                  <a:endParaRPr lang="en-US" sz="1600" kern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44" name="Freeform 13">
                  <a:extLst>
                    <a:ext uri="{FF2B5EF4-FFF2-40B4-BE49-F238E27FC236}">
                      <a16:creationId xmlns:a16="http://schemas.microsoft.com/office/drawing/2014/main" xmlns="" id="{07621412-1C44-4A7F-9FEA-6E23FE8EB9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817729" y="3822473"/>
                  <a:ext cx="4427749" cy="882843"/>
                </a:xfrm>
                <a:custGeom>
                  <a:avLst/>
                  <a:gdLst>
                    <a:gd name="T0" fmla="*/ 433 w 2601"/>
                    <a:gd name="T1" fmla="*/ 0 h 701"/>
                    <a:gd name="T2" fmla="*/ 2212 w 2601"/>
                    <a:gd name="T3" fmla="*/ 0 h 701"/>
                    <a:gd name="T4" fmla="*/ 2601 w 2601"/>
                    <a:gd name="T5" fmla="*/ 701 h 701"/>
                    <a:gd name="T6" fmla="*/ 0 w 2601"/>
                    <a:gd name="T7" fmla="*/ 701 h 701"/>
                    <a:gd name="T8" fmla="*/ 433 w 2601"/>
                    <a:gd name="T9" fmla="*/ 0 h 701"/>
                    <a:gd name="connsiteX0" fmla="*/ 1665 w 11901"/>
                    <a:gd name="connsiteY0" fmla="*/ 210 h 10210"/>
                    <a:gd name="connsiteX1" fmla="*/ 11901 w 11901"/>
                    <a:gd name="connsiteY1" fmla="*/ 0 h 10210"/>
                    <a:gd name="connsiteX2" fmla="*/ 10000 w 11901"/>
                    <a:gd name="connsiteY2" fmla="*/ 10210 h 10210"/>
                    <a:gd name="connsiteX3" fmla="*/ 0 w 11901"/>
                    <a:gd name="connsiteY3" fmla="*/ 10210 h 10210"/>
                    <a:gd name="connsiteX4" fmla="*/ 1665 w 11901"/>
                    <a:gd name="connsiteY4" fmla="*/ 210 h 10210"/>
                    <a:gd name="connsiteX0" fmla="*/ 1665 w 12774"/>
                    <a:gd name="connsiteY0" fmla="*/ 210 h 10210"/>
                    <a:gd name="connsiteX1" fmla="*/ 11901 w 12774"/>
                    <a:gd name="connsiteY1" fmla="*/ 0 h 10210"/>
                    <a:gd name="connsiteX2" fmla="*/ 12774 w 12774"/>
                    <a:gd name="connsiteY2" fmla="*/ 10105 h 10210"/>
                    <a:gd name="connsiteX3" fmla="*/ 0 w 12774"/>
                    <a:gd name="connsiteY3" fmla="*/ 10210 h 10210"/>
                    <a:gd name="connsiteX4" fmla="*/ 1665 w 12774"/>
                    <a:gd name="connsiteY4" fmla="*/ 210 h 10210"/>
                    <a:gd name="connsiteX0" fmla="*/ 1665 w 13765"/>
                    <a:gd name="connsiteY0" fmla="*/ 210 h 10210"/>
                    <a:gd name="connsiteX1" fmla="*/ 11901 w 13765"/>
                    <a:gd name="connsiteY1" fmla="*/ 0 h 10210"/>
                    <a:gd name="connsiteX2" fmla="*/ 13765 w 13765"/>
                    <a:gd name="connsiteY2" fmla="*/ 9580 h 10210"/>
                    <a:gd name="connsiteX3" fmla="*/ 0 w 13765"/>
                    <a:gd name="connsiteY3" fmla="*/ 10210 h 10210"/>
                    <a:gd name="connsiteX4" fmla="*/ 1665 w 13765"/>
                    <a:gd name="connsiteY4" fmla="*/ 210 h 10210"/>
                    <a:gd name="connsiteX0" fmla="*/ 1665 w 13801"/>
                    <a:gd name="connsiteY0" fmla="*/ 210 h 10210"/>
                    <a:gd name="connsiteX1" fmla="*/ 11901 w 13801"/>
                    <a:gd name="connsiteY1" fmla="*/ 0 h 10210"/>
                    <a:gd name="connsiteX2" fmla="*/ 13801 w 13801"/>
                    <a:gd name="connsiteY2" fmla="*/ 9850 h 10210"/>
                    <a:gd name="connsiteX3" fmla="*/ 0 w 13801"/>
                    <a:gd name="connsiteY3" fmla="*/ 10210 h 10210"/>
                    <a:gd name="connsiteX4" fmla="*/ 1665 w 13801"/>
                    <a:gd name="connsiteY4" fmla="*/ 210 h 10210"/>
                    <a:gd name="connsiteX0" fmla="*/ 1665 w 13837"/>
                    <a:gd name="connsiteY0" fmla="*/ 210 h 10210"/>
                    <a:gd name="connsiteX1" fmla="*/ 11901 w 13837"/>
                    <a:gd name="connsiteY1" fmla="*/ 0 h 10210"/>
                    <a:gd name="connsiteX2" fmla="*/ 13837 w 13837"/>
                    <a:gd name="connsiteY2" fmla="*/ 10052 h 10210"/>
                    <a:gd name="connsiteX3" fmla="*/ 0 w 13837"/>
                    <a:gd name="connsiteY3" fmla="*/ 10210 h 10210"/>
                    <a:gd name="connsiteX4" fmla="*/ 1665 w 13837"/>
                    <a:gd name="connsiteY4" fmla="*/ 210 h 10210"/>
                    <a:gd name="connsiteX0" fmla="*/ 1665 w 13873"/>
                    <a:gd name="connsiteY0" fmla="*/ 210 h 10456"/>
                    <a:gd name="connsiteX1" fmla="*/ 11901 w 13873"/>
                    <a:gd name="connsiteY1" fmla="*/ 0 h 10456"/>
                    <a:gd name="connsiteX2" fmla="*/ 13873 w 13873"/>
                    <a:gd name="connsiteY2" fmla="*/ 10456 h 10456"/>
                    <a:gd name="connsiteX3" fmla="*/ 0 w 13873"/>
                    <a:gd name="connsiteY3" fmla="*/ 10210 h 10456"/>
                    <a:gd name="connsiteX4" fmla="*/ 1665 w 13873"/>
                    <a:gd name="connsiteY4" fmla="*/ 210 h 10456"/>
                    <a:gd name="connsiteX0" fmla="*/ 1665 w 13891"/>
                    <a:gd name="connsiteY0" fmla="*/ 210 h 10254"/>
                    <a:gd name="connsiteX1" fmla="*/ 11901 w 13891"/>
                    <a:gd name="connsiteY1" fmla="*/ 0 h 10254"/>
                    <a:gd name="connsiteX2" fmla="*/ 13891 w 13891"/>
                    <a:gd name="connsiteY2" fmla="*/ 10254 h 10254"/>
                    <a:gd name="connsiteX3" fmla="*/ 0 w 13891"/>
                    <a:gd name="connsiteY3" fmla="*/ 10210 h 10254"/>
                    <a:gd name="connsiteX4" fmla="*/ 1665 w 13891"/>
                    <a:gd name="connsiteY4" fmla="*/ 210 h 10254"/>
                    <a:gd name="connsiteX0" fmla="*/ 1665 w 13891"/>
                    <a:gd name="connsiteY0" fmla="*/ 210 h 10254"/>
                    <a:gd name="connsiteX1" fmla="*/ 11901 w 13891"/>
                    <a:gd name="connsiteY1" fmla="*/ 0 h 10254"/>
                    <a:gd name="connsiteX2" fmla="*/ 13891 w 13891"/>
                    <a:gd name="connsiteY2" fmla="*/ 10254 h 10254"/>
                    <a:gd name="connsiteX3" fmla="*/ 0 w 13891"/>
                    <a:gd name="connsiteY3" fmla="*/ 10210 h 10254"/>
                    <a:gd name="connsiteX4" fmla="*/ 1665 w 13891"/>
                    <a:gd name="connsiteY4" fmla="*/ 210 h 10254"/>
                    <a:gd name="connsiteX0" fmla="*/ 1665 w 13891"/>
                    <a:gd name="connsiteY0" fmla="*/ 210 h 10210"/>
                    <a:gd name="connsiteX1" fmla="*/ 11901 w 13891"/>
                    <a:gd name="connsiteY1" fmla="*/ 0 h 10210"/>
                    <a:gd name="connsiteX2" fmla="*/ 13891 w 13891"/>
                    <a:gd name="connsiteY2" fmla="*/ 9984 h 10210"/>
                    <a:gd name="connsiteX3" fmla="*/ 0 w 13891"/>
                    <a:gd name="connsiteY3" fmla="*/ 10210 h 10210"/>
                    <a:gd name="connsiteX4" fmla="*/ 1665 w 13891"/>
                    <a:gd name="connsiteY4" fmla="*/ 210 h 10210"/>
                    <a:gd name="connsiteX0" fmla="*/ 1665 w 13909"/>
                    <a:gd name="connsiteY0" fmla="*/ 210 h 10254"/>
                    <a:gd name="connsiteX1" fmla="*/ 11901 w 13909"/>
                    <a:gd name="connsiteY1" fmla="*/ 0 h 10254"/>
                    <a:gd name="connsiteX2" fmla="*/ 13909 w 13909"/>
                    <a:gd name="connsiteY2" fmla="*/ 10254 h 10254"/>
                    <a:gd name="connsiteX3" fmla="*/ 0 w 13909"/>
                    <a:gd name="connsiteY3" fmla="*/ 10210 h 10254"/>
                    <a:gd name="connsiteX4" fmla="*/ 1665 w 13909"/>
                    <a:gd name="connsiteY4" fmla="*/ 210 h 10254"/>
                    <a:gd name="connsiteX0" fmla="*/ 1665 w 13964"/>
                    <a:gd name="connsiteY0" fmla="*/ 210 h 10591"/>
                    <a:gd name="connsiteX1" fmla="*/ 11901 w 13964"/>
                    <a:gd name="connsiteY1" fmla="*/ 0 h 10591"/>
                    <a:gd name="connsiteX2" fmla="*/ 13964 w 13964"/>
                    <a:gd name="connsiteY2" fmla="*/ 10591 h 10591"/>
                    <a:gd name="connsiteX3" fmla="*/ 0 w 13964"/>
                    <a:gd name="connsiteY3" fmla="*/ 10210 h 10591"/>
                    <a:gd name="connsiteX4" fmla="*/ 1665 w 13964"/>
                    <a:gd name="connsiteY4" fmla="*/ 210 h 10591"/>
                    <a:gd name="connsiteX0" fmla="*/ 1665 w 14000"/>
                    <a:gd name="connsiteY0" fmla="*/ 210 h 10389"/>
                    <a:gd name="connsiteX1" fmla="*/ 11901 w 14000"/>
                    <a:gd name="connsiteY1" fmla="*/ 0 h 10389"/>
                    <a:gd name="connsiteX2" fmla="*/ 14000 w 14000"/>
                    <a:gd name="connsiteY2" fmla="*/ 10389 h 10389"/>
                    <a:gd name="connsiteX3" fmla="*/ 0 w 14000"/>
                    <a:gd name="connsiteY3" fmla="*/ 10210 h 10389"/>
                    <a:gd name="connsiteX4" fmla="*/ 1665 w 14000"/>
                    <a:gd name="connsiteY4" fmla="*/ 210 h 10389"/>
                    <a:gd name="connsiteX0" fmla="*/ 1665 w 14000"/>
                    <a:gd name="connsiteY0" fmla="*/ 210 h 10210"/>
                    <a:gd name="connsiteX1" fmla="*/ 11901 w 14000"/>
                    <a:gd name="connsiteY1" fmla="*/ 0 h 10210"/>
                    <a:gd name="connsiteX2" fmla="*/ 14000 w 14000"/>
                    <a:gd name="connsiteY2" fmla="*/ 10187 h 10210"/>
                    <a:gd name="connsiteX3" fmla="*/ 0 w 14000"/>
                    <a:gd name="connsiteY3" fmla="*/ 10210 h 10210"/>
                    <a:gd name="connsiteX4" fmla="*/ 1665 w 14000"/>
                    <a:gd name="connsiteY4" fmla="*/ 210 h 10210"/>
                    <a:gd name="connsiteX0" fmla="*/ 1665 w 14000"/>
                    <a:gd name="connsiteY0" fmla="*/ 75 h 10075"/>
                    <a:gd name="connsiteX1" fmla="*/ 11919 w 14000"/>
                    <a:gd name="connsiteY1" fmla="*/ 0 h 10075"/>
                    <a:gd name="connsiteX2" fmla="*/ 14000 w 14000"/>
                    <a:gd name="connsiteY2" fmla="*/ 10052 h 10075"/>
                    <a:gd name="connsiteX3" fmla="*/ 0 w 14000"/>
                    <a:gd name="connsiteY3" fmla="*/ 10075 h 10075"/>
                    <a:gd name="connsiteX4" fmla="*/ 1665 w 14000"/>
                    <a:gd name="connsiteY4" fmla="*/ 75 h 10075"/>
                    <a:gd name="connsiteX0" fmla="*/ 1665 w 14000"/>
                    <a:gd name="connsiteY0" fmla="*/ 8 h 10075"/>
                    <a:gd name="connsiteX1" fmla="*/ 11919 w 14000"/>
                    <a:gd name="connsiteY1" fmla="*/ 0 h 10075"/>
                    <a:gd name="connsiteX2" fmla="*/ 14000 w 14000"/>
                    <a:gd name="connsiteY2" fmla="*/ 10052 h 10075"/>
                    <a:gd name="connsiteX3" fmla="*/ 0 w 14000"/>
                    <a:gd name="connsiteY3" fmla="*/ 10075 h 10075"/>
                    <a:gd name="connsiteX4" fmla="*/ 1665 w 14000"/>
                    <a:gd name="connsiteY4" fmla="*/ 8 h 10075"/>
                    <a:gd name="connsiteX0" fmla="*/ 1665 w 13557"/>
                    <a:gd name="connsiteY0" fmla="*/ 8 h 10075"/>
                    <a:gd name="connsiteX1" fmla="*/ 11919 w 13557"/>
                    <a:gd name="connsiteY1" fmla="*/ 0 h 10075"/>
                    <a:gd name="connsiteX2" fmla="*/ 13557 w 13557"/>
                    <a:gd name="connsiteY2" fmla="*/ 10052 h 10075"/>
                    <a:gd name="connsiteX3" fmla="*/ 0 w 13557"/>
                    <a:gd name="connsiteY3" fmla="*/ 10075 h 10075"/>
                    <a:gd name="connsiteX4" fmla="*/ 1665 w 13557"/>
                    <a:gd name="connsiteY4" fmla="*/ 8 h 10075"/>
                    <a:gd name="connsiteX0" fmla="*/ 1665 w 13557"/>
                    <a:gd name="connsiteY0" fmla="*/ 8 h 10075"/>
                    <a:gd name="connsiteX1" fmla="*/ 11941 w 13557"/>
                    <a:gd name="connsiteY1" fmla="*/ 0 h 10075"/>
                    <a:gd name="connsiteX2" fmla="*/ 13557 w 13557"/>
                    <a:gd name="connsiteY2" fmla="*/ 10052 h 10075"/>
                    <a:gd name="connsiteX3" fmla="*/ 0 w 13557"/>
                    <a:gd name="connsiteY3" fmla="*/ 10075 h 10075"/>
                    <a:gd name="connsiteX4" fmla="*/ 1665 w 13557"/>
                    <a:gd name="connsiteY4" fmla="*/ 8 h 10075"/>
                    <a:gd name="connsiteX0" fmla="*/ 1665 w 13572"/>
                    <a:gd name="connsiteY0" fmla="*/ 8 h 10075"/>
                    <a:gd name="connsiteX1" fmla="*/ 11941 w 13572"/>
                    <a:gd name="connsiteY1" fmla="*/ 0 h 10075"/>
                    <a:gd name="connsiteX2" fmla="*/ 13572 w 13572"/>
                    <a:gd name="connsiteY2" fmla="*/ 10052 h 10075"/>
                    <a:gd name="connsiteX3" fmla="*/ 0 w 13572"/>
                    <a:gd name="connsiteY3" fmla="*/ 10075 h 10075"/>
                    <a:gd name="connsiteX4" fmla="*/ 1665 w 13572"/>
                    <a:gd name="connsiteY4" fmla="*/ 8 h 10075"/>
                    <a:gd name="connsiteX0" fmla="*/ 1665 w 13579"/>
                    <a:gd name="connsiteY0" fmla="*/ 8 h 10079"/>
                    <a:gd name="connsiteX1" fmla="*/ 11941 w 13579"/>
                    <a:gd name="connsiteY1" fmla="*/ 0 h 10079"/>
                    <a:gd name="connsiteX2" fmla="*/ 13579 w 13579"/>
                    <a:gd name="connsiteY2" fmla="*/ 10079 h 10079"/>
                    <a:gd name="connsiteX3" fmla="*/ 0 w 13579"/>
                    <a:gd name="connsiteY3" fmla="*/ 10075 h 10079"/>
                    <a:gd name="connsiteX4" fmla="*/ 1665 w 13579"/>
                    <a:gd name="connsiteY4" fmla="*/ 8 h 10079"/>
                    <a:gd name="connsiteX0" fmla="*/ 1665 w 13579"/>
                    <a:gd name="connsiteY0" fmla="*/ 8 h 10079"/>
                    <a:gd name="connsiteX1" fmla="*/ 11941 w 13579"/>
                    <a:gd name="connsiteY1" fmla="*/ 0 h 10079"/>
                    <a:gd name="connsiteX2" fmla="*/ 13579 w 13579"/>
                    <a:gd name="connsiteY2" fmla="*/ 10079 h 10079"/>
                    <a:gd name="connsiteX3" fmla="*/ 0 w 13579"/>
                    <a:gd name="connsiteY3" fmla="*/ 10075 h 10079"/>
                    <a:gd name="connsiteX4" fmla="*/ 1665 w 13579"/>
                    <a:gd name="connsiteY4" fmla="*/ 8 h 10079"/>
                    <a:gd name="connsiteX0" fmla="*/ 1665 w 13579"/>
                    <a:gd name="connsiteY0" fmla="*/ 8 h 10079"/>
                    <a:gd name="connsiteX1" fmla="*/ 11941 w 13579"/>
                    <a:gd name="connsiteY1" fmla="*/ 0 h 10079"/>
                    <a:gd name="connsiteX2" fmla="*/ 13579 w 13579"/>
                    <a:gd name="connsiteY2" fmla="*/ 10079 h 10079"/>
                    <a:gd name="connsiteX3" fmla="*/ 0 w 13579"/>
                    <a:gd name="connsiteY3" fmla="*/ 10075 h 10079"/>
                    <a:gd name="connsiteX4" fmla="*/ 1665 w 13579"/>
                    <a:gd name="connsiteY4" fmla="*/ 8 h 1007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3579" h="10079">
                      <a:moveTo>
                        <a:pt x="1665" y="8"/>
                      </a:moveTo>
                      <a:lnTo>
                        <a:pt x="11941" y="0"/>
                      </a:lnTo>
                      <a:cubicBezTo>
                        <a:pt x="12572" y="2990"/>
                        <a:pt x="13061" y="6508"/>
                        <a:pt x="13579" y="10079"/>
                      </a:cubicBezTo>
                      <a:lnTo>
                        <a:pt x="0" y="10075"/>
                      </a:lnTo>
                      <a:lnTo>
                        <a:pt x="1665" y="8"/>
                      </a:lnTo>
                      <a:close/>
                    </a:path>
                  </a:pathLst>
                </a:custGeom>
                <a:solidFill>
                  <a:srgbClr val="30AA9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lIns="52994" tIns="26497" rIns="52994" bIns="26497"/>
                <a:lstStyle/>
                <a:p>
                  <a:pPr defTabSz="529922">
                    <a:defRPr/>
                  </a:pPr>
                  <a:endParaRPr lang="en-US" sz="1600" kern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45" name="Freeform 16">
                  <a:extLst>
                    <a:ext uri="{FF2B5EF4-FFF2-40B4-BE49-F238E27FC236}">
                      <a16:creationId xmlns:a16="http://schemas.microsoft.com/office/drawing/2014/main" xmlns="" id="{B7F5DBA5-D63E-44BA-BE55-B19B63640F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707299" y="3290050"/>
                  <a:ext cx="1084514" cy="1417983"/>
                </a:xfrm>
                <a:custGeom>
                  <a:avLst/>
                  <a:gdLst>
                    <a:gd name="T0" fmla="*/ 240 w 741"/>
                    <a:gd name="T1" fmla="*/ 0 h 988"/>
                    <a:gd name="T2" fmla="*/ 741 w 741"/>
                    <a:gd name="T3" fmla="*/ 571 h 988"/>
                    <a:gd name="T4" fmla="*/ 389 w 741"/>
                    <a:gd name="T5" fmla="*/ 988 h 988"/>
                    <a:gd name="T6" fmla="*/ 0 w 741"/>
                    <a:gd name="T7" fmla="*/ 287 h 988"/>
                    <a:gd name="T8" fmla="*/ 240 w 741"/>
                    <a:gd name="T9" fmla="*/ 0 h 988"/>
                    <a:gd name="connsiteX0" fmla="*/ 3773 w 10534"/>
                    <a:gd name="connsiteY0" fmla="*/ 0 h 10000"/>
                    <a:gd name="connsiteX1" fmla="*/ 10534 w 10534"/>
                    <a:gd name="connsiteY1" fmla="*/ 5779 h 10000"/>
                    <a:gd name="connsiteX2" fmla="*/ 5784 w 10534"/>
                    <a:gd name="connsiteY2" fmla="*/ 10000 h 10000"/>
                    <a:gd name="connsiteX3" fmla="*/ 0 w 10534"/>
                    <a:gd name="connsiteY3" fmla="*/ 3172 h 10000"/>
                    <a:gd name="connsiteX4" fmla="*/ 3773 w 10534"/>
                    <a:gd name="connsiteY4" fmla="*/ 0 h 10000"/>
                    <a:gd name="connsiteX0" fmla="*/ 3773 w 10534"/>
                    <a:gd name="connsiteY0" fmla="*/ 0 h 10067"/>
                    <a:gd name="connsiteX1" fmla="*/ 10534 w 10534"/>
                    <a:gd name="connsiteY1" fmla="*/ 5779 h 10067"/>
                    <a:gd name="connsiteX2" fmla="*/ 5517 w 10534"/>
                    <a:gd name="connsiteY2" fmla="*/ 10067 h 10067"/>
                    <a:gd name="connsiteX3" fmla="*/ 0 w 10534"/>
                    <a:gd name="connsiteY3" fmla="*/ 3172 h 10067"/>
                    <a:gd name="connsiteX4" fmla="*/ 3773 w 10534"/>
                    <a:gd name="connsiteY4" fmla="*/ 0 h 10067"/>
                    <a:gd name="connsiteX0" fmla="*/ 3773 w 11958"/>
                    <a:gd name="connsiteY0" fmla="*/ 0 h 10067"/>
                    <a:gd name="connsiteX1" fmla="*/ 11958 w 11958"/>
                    <a:gd name="connsiteY1" fmla="*/ 4644 h 10067"/>
                    <a:gd name="connsiteX2" fmla="*/ 5517 w 11958"/>
                    <a:gd name="connsiteY2" fmla="*/ 10067 h 10067"/>
                    <a:gd name="connsiteX3" fmla="*/ 0 w 11958"/>
                    <a:gd name="connsiteY3" fmla="*/ 3172 h 10067"/>
                    <a:gd name="connsiteX4" fmla="*/ 3773 w 11958"/>
                    <a:gd name="connsiteY4" fmla="*/ 0 h 10067"/>
                    <a:gd name="connsiteX0" fmla="*/ 4841 w 11958"/>
                    <a:gd name="connsiteY0" fmla="*/ 0 h 11335"/>
                    <a:gd name="connsiteX1" fmla="*/ 11958 w 11958"/>
                    <a:gd name="connsiteY1" fmla="*/ 5912 h 11335"/>
                    <a:gd name="connsiteX2" fmla="*/ 5517 w 11958"/>
                    <a:gd name="connsiteY2" fmla="*/ 11335 h 11335"/>
                    <a:gd name="connsiteX3" fmla="*/ 0 w 11958"/>
                    <a:gd name="connsiteY3" fmla="*/ 4440 h 11335"/>
                    <a:gd name="connsiteX4" fmla="*/ 4841 w 11958"/>
                    <a:gd name="connsiteY4" fmla="*/ 0 h 11335"/>
                    <a:gd name="connsiteX0" fmla="*/ 4841 w 11958"/>
                    <a:gd name="connsiteY0" fmla="*/ 0 h 11469"/>
                    <a:gd name="connsiteX1" fmla="*/ 11958 w 11958"/>
                    <a:gd name="connsiteY1" fmla="*/ 5912 h 11469"/>
                    <a:gd name="connsiteX2" fmla="*/ 5517 w 11958"/>
                    <a:gd name="connsiteY2" fmla="*/ 11469 h 11469"/>
                    <a:gd name="connsiteX3" fmla="*/ 0 w 11958"/>
                    <a:gd name="connsiteY3" fmla="*/ 4440 h 11469"/>
                    <a:gd name="connsiteX4" fmla="*/ 4841 w 11958"/>
                    <a:gd name="connsiteY4" fmla="*/ 0 h 11469"/>
                    <a:gd name="connsiteX0" fmla="*/ 4756 w 11873"/>
                    <a:gd name="connsiteY0" fmla="*/ 0 h 11469"/>
                    <a:gd name="connsiteX1" fmla="*/ 11873 w 11873"/>
                    <a:gd name="connsiteY1" fmla="*/ 5912 h 11469"/>
                    <a:gd name="connsiteX2" fmla="*/ 5432 w 11873"/>
                    <a:gd name="connsiteY2" fmla="*/ 11469 h 11469"/>
                    <a:gd name="connsiteX3" fmla="*/ 0 w 11873"/>
                    <a:gd name="connsiteY3" fmla="*/ 4440 h 11469"/>
                    <a:gd name="connsiteX4" fmla="*/ 4756 w 11873"/>
                    <a:gd name="connsiteY4" fmla="*/ 0 h 11469"/>
                    <a:gd name="connsiteX0" fmla="*/ 4756 w 11873"/>
                    <a:gd name="connsiteY0" fmla="*/ 0 h 11469"/>
                    <a:gd name="connsiteX1" fmla="*/ 11873 w 11873"/>
                    <a:gd name="connsiteY1" fmla="*/ 5912 h 11469"/>
                    <a:gd name="connsiteX2" fmla="*/ 5432 w 11873"/>
                    <a:gd name="connsiteY2" fmla="*/ 11469 h 11469"/>
                    <a:gd name="connsiteX3" fmla="*/ 0 w 11873"/>
                    <a:gd name="connsiteY3" fmla="*/ 4503 h 11469"/>
                    <a:gd name="connsiteX4" fmla="*/ 4756 w 11873"/>
                    <a:gd name="connsiteY4" fmla="*/ 0 h 11469"/>
                    <a:gd name="connsiteX0" fmla="*/ 4756 w 11873"/>
                    <a:gd name="connsiteY0" fmla="*/ 0 h 11420"/>
                    <a:gd name="connsiteX1" fmla="*/ 11873 w 11873"/>
                    <a:gd name="connsiteY1" fmla="*/ 5863 h 11420"/>
                    <a:gd name="connsiteX2" fmla="*/ 5432 w 11873"/>
                    <a:gd name="connsiteY2" fmla="*/ 11420 h 11420"/>
                    <a:gd name="connsiteX3" fmla="*/ 0 w 11873"/>
                    <a:gd name="connsiteY3" fmla="*/ 4454 h 11420"/>
                    <a:gd name="connsiteX4" fmla="*/ 4756 w 11873"/>
                    <a:gd name="connsiteY4" fmla="*/ 0 h 11420"/>
                    <a:gd name="connsiteX0" fmla="*/ 4756 w 11873"/>
                    <a:gd name="connsiteY0" fmla="*/ 0 h 11469"/>
                    <a:gd name="connsiteX1" fmla="*/ 11873 w 11873"/>
                    <a:gd name="connsiteY1" fmla="*/ 5912 h 11469"/>
                    <a:gd name="connsiteX2" fmla="*/ 5432 w 11873"/>
                    <a:gd name="connsiteY2" fmla="*/ 11469 h 11469"/>
                    <a:gd name="connsiteX3" fmla="*/ 0 w 11873"/>
                    <a:gd name="connsiteY3" fmla="*/ 4503 h 11469"/>
                    <a:gd name="connsiteX4" fmla="*/ 4756 w 11873"/>
                    <a:gd name="connsiteY4" fmla="*/ 0 h 11469"/>
                    <a:gd name="connsiteX0" fmla="*/ 4756 w 11873"/>
                    <a:gd name="connsiteY0" fmla="*/ 0 h 11420"/>
                    <a:gd name="connsiteX1" fmla="*/ 11873 w 11873"/>
                    <a:gd name="connsiteY1" fmla="*/ 5863 h 11420"/>
                    <a:gd name="connsiteX2" fmla="*/ 5432 w 11873"/>
                    <a:gd name="connsiteY2" fmla="*/ 11420 h 11420"/>
                    <a:gd name="connsiteX3" fmla="*/ 0 w 11873"/>
                    <a:gd name="connsiteY3" fmla="*/ 4454 h 11420"/>
                    <a:gd name="connsiteX4" fmla="*/ 4756 w 11873"/>
                    <a:gd name="connsiteY4" fmla="*/ 0 h 11420"/>
                    <a:gd name="connsiteX0" fmla="*/ 4756 w 11873"/>
                    <a:gd name="connsiteY0" fmla="*/ 0 h 11469"/>
                    <a:gd name="connsiteX1" fmla="*/ 11873 w 11873"/>
                    <a:gd name="connsiteY1" fmla="*/ 5912 h 11469"/>
                    <a:gd name="connsiteX2" fmla="*/ 5432 w 11873"/>
                    <a:gd name="connsiteY2" fmla="*/ 11469 h 11469"/>
                    <a:gd name="connsiteX3" fmla="*/ 0 w 11873"/>
                    <a:gd name="connsiteY3" fmla="*/ 4503 h 11469"/>
                    <a:gd name="connsiteX4" fmla="*/ 4756 w 11873"/>
                    <a:gd name="connsiteY4" fmla="*/ 0 h 11469"/>
                    <a:gd name="connsiteX0" fmla="*/ 4756 w 11873"/>
                    <a:gd name="connsiteY0" fmla="*/ 0 h 11444"/>
                    <a:gd name="connsiteX1" fmla="*/ 11873 w 11873"/>
                    <a:gd name="connsiteY1" fmla="*/ 5887 h 11444"/>
                    <a:gd name="connsiteX2" fmla="*/ 5432 w 11873"/>
                    <a:gd name="connsiteY2" fmla="*/ 11444 h 11444"/>
                    <a:gd name="connsiteX3" fmla="*/ 0 w 11873"/>
                    <a:gd name="connsiteY3" fmla="*/ 4478 h 11444"/>
                    <a:gd name="connsiteX4" fmla="*/ 4756 w 11873"/>
                    <a:gd name="connsiteY4" fmla="*/ 0 h 11444"/>
                    <a:gd name="connsiteX0" fmla="*/ 4714 w 11873"/>
                    <a:gd name="connsiteY0" fmla="*/ 0 h 11444"/>
                    <a:gd name="connsiteX1" fmla="*/ 11873 w 11873"/>
                    <a:gd name="connsiteY1" fmla="*/ 5887 h 11444"/>
                    <a:gd name="connsiteX2" fmla="*/ 5432 w 11873"/>
                    <a:gd name="connsiteY2" fmla="*/ 11444 h 11444"/>
                    <a:gd name="connsiteX3" fmla="*/ 0 w 11873"/>
                    <a:gd name="connsiteY3" fmla="*/ 4478 h 11444"/>
                    <a:gd name="connsiteX4" fmla="*/ 4714 w 11873"/>
                    <a:gd name="connsiteY4" fmla="*/ 0 h 11444"/>
                    <a:gd name="connsiteX0" fmla="*/ 4756 w 11873"/>
                    <a:gd name="connsiteY0" fmla="*/ 0 h 11507"/>
                    <a:gd name="connsiteX1" fmla="*/ 11873 w 11873"/>
                    <a:gd name="connsiteY1" fmla="*/ 5950 h 11507"/>
                    <a:gd name="connsiteX2" fmla="*/ 5432 w 11873"/>
                    <a:gd name="connsiteY2" fmla="*/ 11507 h 11507"/>
                    <a:gd name="connsiteX3" fmla="*/ 0 w 11873"/>
                    <a:gd name="connsiteY3" fmla="*/ 4541 h 11507"/>
                    <a:gd name="connsiteX4" fmla="*/ 4756 w 11873"/>
                    <a:gd name="connsiteY4" fmla="*/ 0 h 11507"/>
                    <a:gd name="connsiteX0" fmla="*/ 4714 w 11873"/>
                    <a:gd name="connsiteY0" fmla="*/ 0 h 11444"/>
                    <a:gd name="connsiteX1" fmla="*/ 11873 w 11873"/>
                    <a:gd name="connsiteY1" fmla="*/ 5887 h 11444"/>
                    <a:gd name="connsiteX2" fmla="*/ 5432 w 11873"/>
                    <a:gd name="connsiteY2" fmla="*/ 11444 h 11444"/>
                    <a:gd name="connsiteX3" fmla="*/ 0 w 11873"/>
                    <a:gd name="connsiteY3" fmla="*/ 4478 h 11444"/>
                    <a:gd name="connsiteX4" fmla="*/ 4714 w 11873"/>
                    <a:gd name="connsiteY4" fmla="*/ 0 h 11444"/>
                    <a:gd name="connsiteX0" fmla="*/ 4714 w 11873"/>
                    <a:gd name="connsiteY0" fmla="*/ 0 h 11476"/>
                    <a:gd name="connsiteX1" fmla="*/ 11873 w 11873"/>
                    <a:gd name="connsiteY1" fmla="*/ 5919 h 11476"/>
                    <a:gd name="connsiteX2" fmla="*/ 5432 w 11873"/>
                    <a:gd name="connsiteY2" fmla="*/ 11476 h 11476"/>
                    <a:gd name="connsiteX3" fmla="*/ 0 w 11873"/>
                    <a:gd name="connsiteY3" fmla="*/ 4510 h 11476"/>
                    <a:gd name="connsiteX4" fmla="*/ 4714 w 11873"/>
                    <a:gd name="connsiteY4" fmla="*/ 0 h 11476"/>
                    <a:gd name="connsiteX0" fmla="*/ 4714 w 11873"/>
                    <a:gd name="connsiteY0" fmla="*/ 0 h 11444"/>
                    <a:gd name="connsiteX1" fmla="*/ 11873 w 11873"/>
                    <a:gd name="connsiteY1" fmla="*/ 5887 h 11444"/>
                    <a:gd name="connsiteX2" fmla="*/ 5432 w 11873"/>
                    <a:gd name="connsiteY2" fmla="*/ 11444 h 11444"/>
                    <a:gd name="connsiteX3" fmla="*/ 0 w 11873"/>
                    <a:gd name="connsiteY3" fmla="*/ 4478 h 11444"/>
                    <a:gd name="connsiteX4" fmla="*/ 4714 w 11873"/>
                    <a:gd name="connsiteY4" fmla="*/ 0 h 11444"/>
                    <a:gd name="connsiteX0" fmla="*/ 4714 w 11873"/>
                    <a:gd name="connsiteY0" fmla="*/ 0 h 11461"/>
                    <a:gd name="connsiteX1" fmla="*/ 11873 w 11873"/>
                    <a:gd name="connsiteY1" fmla="*/ 5904 h 11461"/>
                    <a:gd name="connsiteX2" fmla="*/ 5432 w 11873"/>
                    <a:gd name="connsiteY2" fmla="*/ 11461 h 11461"/>
                    <a:gd name="connsiteX3" fmla="*/ 0 w 11873"/>
                    <a:gd name="connsiteY3" fmla="*/ 4495 h 11461"/>
                    <a:gd name="connsiteX4" fmla="*/ 4714 w 11873"/>
                    <a:gd name="connsiteY4" fmla="*/ 0 h 11461"/>
                    <a:gd name="connsiteX0" fmla="*/ 4736 w 11873"/>
                    <a:gd name="connsiteY0" fmla="*/ 0 h 11444"/>
                    <a:gd name="connsiteX1" fmla="*/ 11873 w 11873"/>
                    <a:gd name="connsiteY1" fmla="*/ 5887 h 11444"/>
                    <a:gd name="connsiteX2" fmla="*/ 5432 w 11873"/>
                    <a:gd name="connsiteY2" fmla="*/ 11444 h 11444"/>
                    <a:gd name="connsiteX3" fmla="*/ 0 w 11873"/>
                    <a:gd name="connsiteY3" fmla="*/ 4478 h 11444"/>
                    <a:gd name="connsiteX4" fmla="*/ 4736 w 11873"/>
                    <a:gd name="connsiteY4" fmla="*/ 0 h 11444"/>
                    <a:gd name="connsiteX0" fmla="*/ 4758 w 11873"/>
                    <a:gd name="connsiteY0" fmla="*/ 0 h 11461"/>
                    <a:gd name="connsiteX1" fmla="*/ 11873 w 11873"/>
                    <a:gd name="connsiteY1" fmla="*/ 5904 h 11461"/>
                    <a:gd name="connsiteX2" fmla="*/ 5432 w 11873"/>
                    <a:gd name="connsiteY2" fmla="*/ 11461 h 11461"/>
                    <a:gd name="connsiteX3" fmla="*/ 0 w 11873"/>
                    <a:gd name="connsiteY3" fmla="*/ 4495 h 11461"/>
                    <a:gd name="connsiteX4" fmla="*/ 4758 w 11873"/>
                    <a:gd name="connsiteY4" fmla="*/ 0 h 11461"/>
                    <a:gd name="connsiteX0" fmla="*/ 4832 w 11873"/>
                    <a:gd name="connsiteY0" fmla="*/ 0 h 11405"/>
                    <a:gd name="connsiteX1" fmla="*/ 11873 w 11873"/>
                    <a:gd name="connsiteY1" fmla="*/ 5848 h 11405"/>
                    <a:gd name="connsiteX2" fmla="*/ 5432 w 11873"/>
                    <a:gd name="connsiteY2" fmla="*/ 11405 h 11405"/>
                    <a:gd name="connsiteX3" fmla="*/ 0 w 11873"/>
                    <a:gd name="connsiteY3" fmla="*/ 4439 h 11405"/>
                    <a:gd name="connsiteX4" fmla="*/ 4832 w 11873"/>
                    <a:gd name="connsiteY4" fmla="*/ 0 h 11405"/>
                    <a:gd name="connsiteX0" fmla="*/ 4881 w 11873"/>
                    <a:gd name="connsiteY0" fmla="*/ 0 h 11386"/>
                    <a:gd name="connsiteX1" fmla="*/ 11873 w 11873"/>
                    <a:gd name="connsiteY1" fmla="*/ 5829 h 11386"/>
                    <a:gd name="connsiteX2" fmla="*/ 5432 w 11873"/>
                    <a:gd name="connsiteY2" fmla="*/ 11386 h 11386"/>
                    <a:gd name="connsiteX3" fmla="*/ 0 w 11873"/>
                    <a:gd name="connsiteY3" fmla="*/ 4420 h 11386"/>
                    <a:gd name="connsiteX4" fmla="*/ 4881 w 11873"/>
                    <a:gd name="connsiteY4" fmla="*/ 0 h 11386"/>
                    <a:gd name="connsiteX0" fmla="*/ 4881 w 11873"/>
                    <a:gd name="connsiteY0" fmla="*/ 0 h 11434"/>
                    <a:gd name="connsiteX1" fmla="*/ 11873 w 11873"/>
                    <a:gd name="connsiteY1" fmla="*/ 5829 h 11434"/>
                    <a:gd name="connsiteX2" fmla="*/ 5527 w 11873"/>
                    <a:gd name="connsiteY2" fmla="*/ 11434 h 11434"/>
                    <a:gd name="connsiteX3" fmla="*/ 0 w 11873"/>
                    <a:gd name="connsiteY3" fmla="*/ 4420 h 11434"/>
                    <a:gd name="connsiteX4" fmla="*/ 4881 w 11873"/>
                    <a:gd name="connsiteY4" fmla="*/ 0 h 11434"/>
                    <a:gd name="connsiteX0" fmla="*/ 4881 w 11873"/>
                    <a:gd name="connsiteY0" fmla="*/ 0 h 11410"/>
                    <a:gd name="connsiteX1" fmla="*/ 11873 w 11873"/>
                    <a:gd name="connsiteY1" fmla="*/ 5829 h 11410"/>
                    <a:gd name="connsiteX2" fmla="*/ 5591 w 11873"/>
                    <a:gd name="connsiteY2" fmla="*/ 11410 h 11410"/>
                    <a:gd name="connsiteX3" fmla="*/ 0 w 11873"/>
                    <a:gd name="connsiteY3" fmla="*/ 4420 h 11410"/>
                    <a:gd name="connsiteX4" fmla="*/ 4881 w 11873"/>
                    <a:gd name="connsiteY4" fmla="*/ 0 h 11410"/>
                    <a:gd name="connsiteX0" fmla="*/ 4881 w 11873"/>
                    <a:gd name="connsiteY0" fmla="*/ 0 h 11434"/>
                    <a:gd name="connsiteX1" fmla="*/ 11873 w 11873"/>
                    <a:gd name="connsiteY1" fmla="*/ 5829 h 11434"/>
                    <a:gd name="connsiteX2" fmla="*/ 5655 w 11873"/>
                    <a:gd name="connsiteY2" fmla="*/ 11434 h 11434"/>
                    <a:gd name="connsiteX3" fmla="*/ 0 w 11873"/>
                    <a:gd name="connsiteY3" fmla="*/ 4420 h 11434"/>
                    <a:gd name="connsiteX4" fmla="*/ 4881 w 11873"/>
                    <a:gd name="connsiteY4" fmla="*/ 0 h 11434"/>
                    <a:gd name="connsiteX0" fmla="*/ 4881 w 11873"/>
                    <a:gd name="connsiteY0" fmla="*/ 0 h 11434"/>
                    <a:gd name="connsiteX1" fmla="*/ 11873 w 11873"/>
                    <a:gd name="connsiteY1" fmla="*/ 5829 h 11434"/>
                    <a:gd name="connsiteX2" fmla="*/ 5655 w 11873"/>
                    <a:gd name="connsiteY2" fmla="*/ 11434 h 11434"/>
                    <a:gd name="connsiteX3" fmla="*/ 0 w 11873"/>
                    <a:gd name="connsiteY3" fmla="*/ 4420 h 11434"/>
                    <a:gd name="connsiteX4" fmla="*/ 4881 w 11873"/>
                    <a:gd name="connsiteY4" fmla="*/ 0 h 11434"/>
                    <a:gd name="connsiteX0" fmla="*/ 4881 w 11873"/>
                    <a:gd name="connsiteY0" fmla="*/ 0 h 11434"/>
                    <a:gd name="connsiteX1" fmla="*/ 11873 w 11873"/>
                    <a:gd name="connsiteY1" fmla="*/ 5829 h 11434"/>
                    <a:gd name="connsiteX2" fmla="*/ 5750 w 11873"/>
                    <a:gd name="connsiteY2" fmla="*/ 11434 h 11434"/>
                    <a:gd name="connsiteX3" fmla="*/ 0 w 11873"/>
                    <a:gd name="connsiteY3" fmla="*/ 4420 h 11434"/>
                    <a:gd name="connsiteX4" fmla="*/ 4881 w 11873"/>
                    <a:gd name="connsiteY4" fmla="*/ 0 h 11434"/>
                    <a:gd name="connsiteX0" fmla="*/ 4881 w 11873"/>
                    <a:gd name="connsiteY0" fmla="*/ 0 h 11458"/>
                    <a:gd name="connsiteX1" fmla="*/ 11873 w 11873"/>
                    <a:gd name="connsiteY1" fmla="*/ 5829 h 11458"/>
                    <a:gd name="connsiteX2" fmla="*/ 5686 w 11873"/>
                    <a:gd name="connsiteY2" fmla="*/ 11458 h 11458"/>
                    <a:gd name="connsiteX3" fmla="*/ 0 w 11873"/>
                    <a:gd name="connsiteY3" fmla="*/ 4420 h 11458"/>
                    <a:gd name="connsiteX4" fmla="*/ 4881 w 11873"/>
                    <a:gd name="connsiteY4" fmla="*/ 0 h 11458"/>
                    <a:gd name="connsiteX0" fmla="*/ 4881 w 11873"/>
                    <a:gd name="connsiteY0" fmla="*/ 0 h 11418"/>
                    <a:gd name="connsiteX1" fmla="*/ 11873 w 11873"/>
                    <a:gd name="connsiteY1" fmla="*/ 5789 h 11418"/>
                    <a:gd name="connsiteX2" fmla="*/ 5686 w 11873"/>
                    <a:gd name="connsiteY2" fmla="*/ 11418 h 11418"/>
                    <a:gd name="connsiteX3" fmla="*/ 0 w 11873"/>
                    <a:gd name="connsiteY3" fmla="*/ 4380 h 11418"/>
                    <a:gd name="connsiteX4" fmla="*/ 4881 w 11873"/>
                    <a:gd name="connsiteY4" fmla="*/ 0 h 11418"/>
                    <a:gd name="connsiteX0" fmla="*/ 4881 w 11873"/>
                    <a:gd name="connsiteY0" fmla="*/ 0 h 11418"/>
                    <a:gd name="connsiteX1" fmla="*/ 11873 w 11873"/>
                    <a:gd name="connsiteY1" fmla="*/ 5789 h 11418"/>
                    <a:gd name="connsiteX2" fmla="*/ 5909 w 11873"/>
                    <a:gd name="connsiteY2" fmla="*/ 11418 h 11418"/>
                    <a:gd name="connsiteX3" fmla="*/ 0 w 11873"/>
                    <a:gd name="connsiteY3" fmla="*/ 4380 h 11418"/>
                    <a:gd name="connsiteX4" fmla="*/ 4881 w 11873"/>
                    <a:gd name="connsiteY4" fmla="*/ 0 h 11418"/>
                    <a:gd name="connsiteX0" fmla="*/ 4881 w 11873"/>
                    <a:gd name="connsiteY0" fmla="*/ 0 h 11370"/>
                    <a:gd name="connsiteX1" fmla="*/ 11873 w 11873"/>
                    <a:gd name="connsiteY1" fmla="*/ 5789 h 11370"/>
                    <a:gd name="connsiteX2" fmla="*/ 5814 w 11873"/>
                    <a:gd name="connsiteY2" fmla="*/ 11370 h 11370"/>
                    <a:gd name="connsiteX3" fmla="*/ 0 w 11873"/>
                    <a:gd name="connsiteY3" fmla="*/ 4380 h 11370"/>
                    <a:gd name="connsiteX4" fmla="*/ 4881 w 11873"/>
                    <a:gd name="connsiteY4" fmla="*/ 0 h 11370"/>
                    <a:gd name="connsiteX0" fmla="*/ 4881 w 11873"/>
                    <a:gd name="connsiteY0" fmla="*/ 0 h 11394"/>
                    <a:gd name="connsiteX1" fmla="*/ 11873 w 11873"/>
                    <a:gd name="connsiteY1" fmla="*/ 5789 h 11394"/>
                    <a:gd name="connsiteX2" fmla="*/ 5782 w 11873"/>
                    <a:gd name="connsiteY2" fmla="*/ 11394 h 11394"/>
                    <a:gd name="connsiteX3" fmla="*/ 0 w 11873"/>
                    <a:gd name="connsiteY3" fmla="*/ 4380 h 11394"/>
                    <a:gd name="connsiteX4" fmla="*/ 4881 w 11873"/>
                    <a:gd name="connsiteY4" fmla="*/ 0 h 11394"/>
                    <a:gd name="connsiteX0" fmla="*/ 4881 w 11873"/>
                    <a:gd name="connsiteY0" fmla="*/ 0 h 11418"/>
                    <a:gd name="connsiteX1" fmla="*/ 11873 w 11873"/>
                    <a:gd name="connsiteY1" fmla="*/ 5789 h 11418"/>
                    <a:gd name="connsiteX2" fmla="*/ 5814 w 11873"/>
                    <a:gd name="connsiteY2" fmla="*/ 11418 h 11418"/>
                    <a:gd name="connsiteX3" fmla="*/ 0 w 11873"/>
                    <a:gd name="connsiteY3" fmla="*/ 4380 h 11418"/>
                    <a:gd name="connsiteX4" fmla="*/ 4881 w 11873"/>
                    <a:gd name="connsiteY4" fmla="*/ 0 h 11418"/>
                    <a:gd name="connsiteX0" fmla="*/ 4907 w 11899"/>
                    <a:gd name="connsiteY0" fmla="*/ 0 h 11418"/>
                    <a:gd name="connsiteX1" fmla="*/ 11899 w 11899"/>
                    <a:gd name="connsiteY1" fmla="*/ 5789 h 11418"/>
                    <a:gd name="connsiteX2" fmla="*/ 5840 w 11899"/>
                    <a:gd name="connsiteY2" fmla="*/ 11418 h 11418"/>
                    <a:gd name="connsiteX3" fmla="*/ 0 w 11899"/>
                    <a:gd name="connsiteY3" fmla="*/ 4303 h 11418"/>
                    <a:gd name="connsiteX4" fmla="*/ 4907 w 11899"/>
                    <a:gd name="connsiteY4" fmla="*/ 0 h 11418"/>
                    <a:gd name="connsiteX0" fmla="*/ 4907 w 11899"/>
                    <a:gd name="connsiteY0" fmla="*/ 0 h 11418"/>
                    <a:gd name="connsiteX1" fmla="*/ 11899 w 11899"/>
                    <a:gd name="connsiteY1" fmla="*/ 5789 h 11418"/>
                    <a:gd name="connsiteX2" fmla="*/ 5866 w 11899"/>
                    <a:gd name="connsiteY2" fmla="*/ 11418 h 11418"/>
                    <a:gd name="connsiteX3" fmla="*/ 0 w 11899"/>
                    <a:gd name="connsiteY3" fmla="*/ 4303 h 11418"/>
                    <a:gd name="connsiteX4" fmla="*/ 4907 w 11899"/>
                    <a:gd name="connsiteY4" fmla="*/ 0 h 11418"/>
                    <a:gd name="connsiteX0" fmla="*/ 4907 w 11899"/>
                    <a:gd name="connsiteY0" fmla="*/ 0 h 11457"/>
                    <a:gd name="connsiteX1" fmla="*/ 11899 w 11899"/>
                    <a:gd name="connsiteY1" fmla="*/ 5789 h 11457"/>
                    <a:gd name="connsiteX2" fmla="*/ 5892 w 11899"/>
                    <a:gd name="connsiteY2" fmla="*/ 11457 h 11457"/>
                    <a:gd name="connsiteX3" fmla="*/ 0 w 11899"/>
                    <a:gd name="connsiteY3" fmla="*/ 4303 h 11457"/>
                    <a:gd name="connsiteX4" fmla="*/ 4907 w 11899"/>
                    <a:gd name="connsiteY4" fmla="*/ 0 h 11457"/>
                    <a:gd name="connsiteX0" fmla="*/ 4907 w 11899"/>
                    <a:gd name="connsiteY0" fmla="*/ 0 h 11485"/>
                    <a:gd name="connsiteX1" fmla="*/ 11899 w 11899"/>
                    <a:gd name="connsiteY1" fmla="*/ 5789 h 11485"/>
                    <a:gd name="connsiteX2" fmla="*/ 5854 w 11899"/>
                    <a:gd name="connsiteY2" fmla="*/ 11485 h 11485"/>
                    <a:gd name="connsiteX3" fmla="*/ 0 w 11899"/>
                    <a:gd name="connsiteY3" fmla="*/ 4303 h 11485"/>
                    <a:gd name="connsiteX4" fmla="*/ 4907 w 11899"/>
                    <a:gd name="connsiteY4" fmla="*/ 0 h 1148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1899" h="11485">
                      <a:moveTo>
                        <a:pt x="4907" y="0"/>
                      </a:moveTo>
                      <a:lnTo>
                        <a:pt x="11899" y="5789"/>
                      </a:lnTo>
                      <a:lnTo>
                        <a:pt x="5854" y="11485"/>
                      </a:lnTo>
                      <a:lnTo>
                        <a:pt x="0" y="4303"/>
                      </a:lnTo>
                      <a:lnTo>
                        <a:pt x="4907" y="0"/>
                      </a:lnTo>
                      <a:close/>
                    </a:path>
                  </a:pathLst>
                </a:custGeom>
                <a:solidFill>
                  <a:srgbClr val="2B998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lIns="52994" tIns="26497" rIns="52994" bIns="26497"/>
                <a:lstStyle/>
                <a:p>
                  <a:pPr defTabSz="529922">
                    <a:defRPr/>
                  </a:pPr>
                  <a:endParaRPr lang="en-US" sz="1600" kern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</p:grpSp>
          <p:grpSp>
            <p:nvGrpSpPr>
              <p:cNvPr id="32" name="Group 98">
                <a:extLst>
                  <a:ext uri="{FF2B5EF4-FFF2-40B4-BE49-F238E27FC236}">
                    <a16:creationId xmlns:a16="http://schemas.microsoft.com/office/drawing/2014/main" xmlns="" id="{461FFF71-3AE2-4C98-A01A-E71D7917E940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413091" y="2521410"/>
                <a:ext cx="3679554" cy="1237081"/>
                <a:chOff x="1413091" y="2521410"/>
                <a:chExt cx="3679554" cy="1237081"/>
              </a:xfrm>
            </p:grpSpPr>
            <p:sp>
              <p:nvSpPr>
                <p:cNvPr id="40" name="Freeform 7">
                  <a:extLst>
                    <a:ext uri="{FF2B5EF4-FFF2-40B4-BE49-F238E27FC236}">
                      <a16:creationId xmlns:a16="http://schemas.microsoft.com/office/drawing/2014/main" xmlns="" id="{A803D3F6-BA47-4B4B-BF9E-8CEB7502219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3887" y="2521297"/>
                  <a:ext cx="2514222" cy="358570"/>
                </a:xfrm>
                <a:custGeom>
                  <a:avLst/>
                  <a:gdLst>
                    <a:gd name="T0" fmla="*/ 335 w 2019"/>
                    <a:gd name="T1" fmla="*/ 0 h 287"/>
                    <a:gd name="T2" fmla="*/ 2019 w 2019"/>
                    <a:gd name="T3" fmla="*/ 0 h 287"/>
                    <a:gd name="T4" fmla="*/ 1779 w 2019"/>
                    <a:gd name="T5" fmla="*/ 287 h 287"/>
                    <a:gd name="T6" fmla="*/ 0 w 2019"/>
                    <a:gd name="T7" fmla="*/ 287 h 287"/>
                    <a:gd name="T8" fmla="*/ 335 w 2019"/>
                    <a:gd name="T9" fmla="*/ 0 h 287"/>
                    <a:gd name="connsiteX0" fmla="*/ 1659 w 9932"/>
                    <a:gd name="connsiteY0" fmla="*/ 0 h 10000"/>
                    <a:gd name="connsiteX1" fmla="*/ 9932 w 9932"/>
                    <a:gd name="connsiteY1" fmla="*/ 97 h 10000"/>
                    <a:gd name="connsiteX2" fmla="*/ 8811 w 9932"/>
                    <a:gd name="connsiteY2" fmla="*/ 10000 h 10000"/>
                    <a:gd name="connsiteX3" fmla="*/ 0 w 9932"/>
                    <a:gd name="connsiteY3" fmla="*/ 10000 h 10000"/>
                    <a:gd name="connsiteX4" fmla="*/ 1659 w 9932"/>
                    <a:gd name="connsiteY4" fmla="*/ 0 h 10000"/>
                    <a:gd name="connsiteX0" fmla="*/ 1670 w 10028"/>
                    <a:gd name="connsiteY0" fmla="*/ 0 h 10000"/>
                    <a:gd name="connsiteX1" fmla="*/ 10028 w 10028"/>
                    <a:gd name="connsiteY1" fmla="*/ 97 h 10000"/>
                    <a:gd name="connsiteX2" fmla="*/ 8871 w 10028"/>
                    <a:gd name="connsiteY2" fmla="*/ 10000 h 10000"/>
                    <a:gd name="connsiteX3" fmla="*/ 0 w 10028"/>
                    <a:gd name="connsiteY3" fmla="*/ 10000 h 10000"/>
                    <a:gd name="connsiteX4" fmla="*/ 1670 w 10028"/>
                    <a:gd name="connsiteY4" fmla="*/ 0 h 10000"/>
                    <a:gd name="connsiteX0" fmla="*/ 1670 w 10000"/>
                    <a:gd name="connsiteY0" fmla="*/ 0 h 10000"/>
                    <a:gd name="connsiteX1" fmla="*/ 10000 w 10000"/>
                    <a:gd name="connsiteY1" fmla="*/ 97 h 10000"/>
                    <a:gd name="connsiteX2" fmla="*/ 8871 w 10000"/>
                    <a:gd name="connsiteY2" fmla="*/ 10000 h 10000"/>
                    <a:gd name="connsiteX3" fmla="*/ 0 w 10000"/>
                    <a:gd name="connsiteY3" fmla="*/ 10000 h 10000"/>
                    <a:gd name="connsiteX4" fmla="*/ 1670 w 10000"/>
                    <a:gd name="connsiteY4" fmla="*/ 0 h 10000"/>
                    <a:gd name="connsiteX0" fmla="*/ 1670 w 10014"/>
                    <a:gd name="connsiteY0" fmla="*/ 0 h 10000"/>
                    <a:gd name="connsiteX1" fmla="*/ 10014 w 10014"/>
                    <a:gd name="connsiteY1" fmla="*/ 97 h 10000"/>
                    <a:gd name="connsiteX2" fmla="*/ 8871 w 10014"/>
                    <a:gd name="connsiteY2" fmla="*/ 10000 h 10000"/>
                    <a:gd name="connsiteX3" fmla="*/ 0 w 10014"/>
                    <a:gd name="connsiteY3" fmla="*/ 10000 h 10000"/>
                    <a:gd name="connsiteX4" fmla="*/ 1670 w 10014"/>
                    <a:gd name="connsiteY4" fmla="*/ 0 h 10000"/>
                    <a:gd name="connsiteX0" fmla="*/ 1670 w 9986"/>
                    <a:gd name="connsiteY0" fmla="*/ 0 h 10000"/>
                    <a:gd name="connsiteX1" fmla="*/ 9986 w 9986"/>
                    <a:gd name="connsiteY1" fmla="*/ 194 h 10000"/>
                    <a:gd name="connsiteX2" fmla="*/ 8871 w 9986"/>
                    <a:gd name="connsiteY2" fmla="*/ 10000 h 10000"/>
                    <a:gd name="connsiteX3" fmla="*/ 0 w 9986"/>
                    <a:gd name="connsiteY3" fmla="*/ 10000 h 10000"/>
                    <a:gd name="connsiteX4" fmla="*/ 1670 w 9986"/>
                    <a:gd name="connsiteY4" fmla="*/ 0 h 10000"/>
                    <a:gd name="connsiteX0" fmla="*/ 1672 w 9986"/>
                    <a:gd name="connsiteY0" fmla="*/ 0 h 10000"/>
                    <a:gd name="connsiteX1" fmla="*/ 9986 w 9986"/>
                    <a:gd name="connsiteY1" fmla="*/ 97 h 10000"/>
                    <a:gd name="connsiteX2" fmla="*/ 8883 w 9986"/>
                    <a:gd name="connsiteY2" fmla="*/ 10000 h 10000"/>
                    <a:gd name="connsiteX3" fmla="*/ 0 w 9986"/>
                    <a:gd name="connsiteY3" fmla="*/ 10000 h 10000"/>
                    <a:gd name="connsiteX4" fmla="*/ 1672 w 9986"/>
                    <a:gd name="connsiteY4" fmla="*/ 0 h 10000"/>
                    <a:gd name="connsiteX0" fmla="*/ 1674 w 10014"/>
                    <a:gd name="connsiteY0" fmla="*/ 0 h 10000"/>
                    <a:gd name="connsiteX1" fmla="*/ 10014 w 10014"/>
                    <a:gd name="connsiteY1" fmla="*/ 97 h 10000"/>
                    <a:gd name="connsiteX2" fmla="*/ 8895 w 10014"/>
                    <a:gd name="connsiteY2" fmla="*/ 10000 h 10000"/>
                    <a:gd name="connsiteX3" fmla="*/ 0 w 10014"/>
                    <a:gd name="connsiteY3" fmla="*/ 10000 h 10000"/>
                    <a:gd name="connsiteX4" fmla="*/ 1674 w 10014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14" h="10000">
                      <a:moveTo>
                        <a:pt x="1674" y="0"/>
                      </a:moveTo>
                      <a:lnTo>
                        <a:pt x="10014" y="97"/>
                      </a:lnTo>
                      <a:lnTo>
                        <a:pt x="8895" y="10000"/>
                      </a:lnTo>
                      <a:lnTo>
                        <a:pt x="0" y="10000"/>
                      </a:lnTo>
                      <a:lnTo>
                        <a:pt x="1674" y="0"/>
                      </a:lnTo>
                      <a:close/>
                    </a:path>
                  </a:pathLst>
                </a:custGeom>
                <a:solidFill>
                  <a:srgbClr val="000000">
                    <a:lumMod val="85000"/>
                    <a:lumOff val="15000"/>
                  </a:srgb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lIns="52994" tIns="26497" rIns="52994" bIns="26497"/>
                <a:lstStyle/>
                <a:p>
                  <a:pPr defTabSz="529922">
                    <a:defRPr/>
                  </a:pPr>
                  <a:endParaRPr lang="en-US" sz="1600" kern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41" name="Freeform 13">
                  <a:extLst>
                    <a:ext uri="{FF2B5EF4-FFF2-40B4-BE49-F238E27FC236}">
                      <a16:creationId xmlns:a16="http://schemas.microsoft.com/office/drawing/2014/main" xmlns="" id="{5DFE9720-AF4F-48FE-A065-602C4CD4EBC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2988" y="2879868"/>
                  <a:ext cx="3242668" cy="874695"/>
                </a:xfrm>
                <a:custGeom>
                  <a:avLst/>
                  <a:gdLst>
                    <a:gd name="T0" fmla="*/ 433 w 2601"/>
                    <a:gd name="T1" fmla="*/ 0 h 701"/>
                    <a:gd name="T2" fmla="*/ 2212 w 2601"/>
                    <a:gd name="T3" fmla="*/ 0 h 701"/>
                    <a:gd name="T4" fmla="*/ 2601 w 2601"/>
                    <a:gd name="T5" fmla="*/ 701 h 701"/>
                    <a:gd name="T6" fmla="*/ 0 w 2601"/>
                    <a:gd name="T7" fmla="*/ 701 h 701"/>
                    <a:gd name="T8" fmla="*/ 433 w 2601"/>
                    <a:gd name="T9" fmla="*/ 0 h 701"/>
                    <a:gd name="connsiteX0" fmla="*/ 1665 w 9993"/>
                    <a:gd name="connsiteY0" fmla="*/ 0 h 10027"/>
                    <a:gd name="connsiteX1" fmla="*/ 8504 w 9993"/>
                    <a:gd name="connsiteY1" fmla="*/ 0 h 10027"/>
                    <a:gd name="connsiteX2" fmla="*/ 9993 w 9993"/>
                    <a:gd name="connsiteY2" fmla="*/ 10027 h 10027"/>
                    <a:gd name="connsiteX3" fmla="*/ 0 w 9993"/>
                    <a:gd name="connsiteY3" fmla="*/ 10000 h 10027"/>
                    <a:gd name="connsiteX4" fmla="*/ 1665 w 9993"/>
                    <a:gd name="connsiteY4" fmla="*/ 0 h 10027"/>
                    <a:gd name="connsiteX0" fmla="*/ 1666 w 9994"/>
                    <a:gd name="connsiteY0" fmla="*/ 0 h 9976"/>
                    <a:gd name="connsiteX1" fmla="*/ 8510 w 9994"/>
                    <a:gd name="connsiteY1" fmla="*/ 0 h 9976"/>
                    <a:gd name="connsiteX2" fmla="*/ 9994 w 9994"/>
                    <a:gd name="connsiteY2" fmla="*/ 9976 h 9976"/>
                    <a:gd name="connsiteX3" fmla="*/ 0 w 9994"/>
                    <a:gd name="connsiteY3" fmla="*/ 9973 h 9976"/>
                    <a:gd name="connsiteX4" fmla="*/ 1666 w 9994"/>
                    <a:gd name="connsiteY4" fmla="*/ 0 h 997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9994" h="9976">
                      <a:moveTo>
                        <a:pt x="1666" y="0"/>
                      </a:moveTo>
                      <a:lnTo>
                        <a:pt x="8510" y="0"/>
                      </a:lnTo>
                      <a:lnTo>
                        <a:pt x="9994" y="9976"/>
                      </a:lnTo>
                      <a:lnTo>
                        <a:pt x="0" y="9973"/>
                      </a:lnTo>
                      <a:lnTo>
                        <a:pt x="1666" y="0"/>
                      </a:lnTo>
                      <a:close/>
                    </a:path>
                  </a:pathLst>
                </a:custGeom>
                <a:solidFill>
                  <a:srgbClr val="27898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lIns="52994" tIns="26497" rIns="52994" bIns="26497"/>
                <a:lstStyle/>
                <a:p>
                  <a:pPr defTabSz="529922">
                    <a:defRPr/>
                  </a:pPr>
                  <a:endParaRPr lang="en-US" sz="1600" kern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42" name="Freeform 16">
                  <a:extLst>
                    <a:ext uri="{FF2B5EF4-FFF2-40B4-BE49-F238E27FC236}">
                      <a16:creationId xmlns:a16="http://schemas.microsoft.com/office/drawing/2014/main" xmlns="" id="{181147A4-6E02-4C13-9B9C-CF103419CF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169120" y="2524014"/>
                  <a:ext cx="924147" cy="1233265"/>
                </a:xfrm>
                <a:custGeom>
                  <a:avLst/>
                  <a:gdLst>
                    <a:gd name="T0" fmla="*/ 240 w 741"/>
                    <a:gd name="T1" fmla="*/ 0 h 988"/>
                    <a:gd name="T2" fmla="*/ 741 w 741"/>
                    <a:gd name="T3" fmla="*/ 571 h 988"/>
                    <a:gd name="T4" fmla="*/ 389 w 741"/>
                    <a:gd name="T5" fmla="*/ 988 h 988"/>
                    <a:gd name="T6" fmla="*/ 0 w 741"/>
                    <a:gd name="T7" fmla="*/ 287 h 988"/>
                    <a:gd name="T8" fmla="*/ 240 w 741"/>
                    <a:gd name="T9" fmla="*/ 0 h 988"/>
                    <a:gd name="connsiteX0" fmla="*/ 3239 w 10000"/>
                    <a:gd name="connsiteY0" fmla="*/ 0 h 10000"/>
                    <a:gd name="connsiteX1" fmla="*/ 10000 w 10000"/>
                    <a:gd name="connsiteY1" fmla="*/ 5779 h 10000"/>
                    <a:gd name="connsiteX2" fmla="*/ 5276 w 10000"/>
                    <a:gd name="connsiteY2" fmla="*/ 10000 h 10000"/>
                    <a:gd name="connsiteX3" fmla="*/ 0 w 10000"/>
                    <a:gd name="connsiteY3" fmla="*/ 2905 h 10000"/>
                    <a:gd name="connsiteX4" fmla="*/ 3239 w 10000"/>
                    <a:gd name="connsiteY4" fmla="*/ 0 h 10000"/>
                    <a:gd name="connsiteX0" fmla="*/ 3239 w 10000"/>
                    <a:gd name="connsiteY0" fmla="*/ 0 h 10028"/>
                    <a:gd name="connsiteX1" fmla="*/ 10000 w 10000"/>
                    <a:gd name="connsiteY1" fmla="*/ 5779 h 10028"/>
                    <a:gd name="connsiteX2" fmla="*/ 5239 w 10000"/>
                    <a:gd name="connsiteY2" fmla="*/ 10028 h 10028"/>
                    <a:gd name="connsiteX3" fmla="*/ 0 w 10000"/>
                    <a:gd name="connsiteY3" fmla="*/ 2905 h 10028"/>
                    <a:gd name="connsiteX4" fmla="*/ 3239 w 10000"/>
                    <a:gd name="connsiteY4" fmla="*/ 0 h 10028"/>
                    <a:gd name="connsiteX0" fmla="*/ 3239 w 10000"/>
                    <a:gd name="connsiteY0" fmla="*/ 0 h 10028"/>
                    <a:gd name="connsiteX1" fmla="*/ 10000 w 10000"/>
                    <a:gd name="connsiteY1" fmla="*/ 5779 h 10028"/>
                    <a:gd name="connsiteX2" fmla="*/ 5239 w 10000"/>
                    <a:gd name="connsiteY2" fmla="*/ 10028 h 10028"/>
                    <a:gd name="connsiteX3" fmla="*/ 0 w 10000"/>
                    <a:gd name="connsiteY3" fmla="*/ 2905 h 10028"/>
                    <a:gd name="connsiteX4" fmla="*/ 3239 w 10000"/>
                    <a:gd name="connsiteY4" fmla="*/ 0 h 10028"/>
                    <a:gd name="connsiteX0" fmla="*/ 3239 w 10000"/>
                    <a:gd name="connsiteY0" fmla="*/ 0 h 10000"/>
                    <a:gd name="connsiteX1" fmla="*/ 10000 w 10000"/>
                    <a:gd name="connsiteY1" fmla="*/ 5751 h 10000"/>
                    <a:gd name="connsiteX2" fmla="*/ 5239 w 10000"/>
                    <a:gd name="connsiteY2" fmla="*/ 10000 h 10000"/>
                    <a:gd name="connsiteX3" fmla="*/ 0 w 10000"/>
                    <a:gd name="connsiteY3" fmla="*/ 2877 h 10000"/>
                    <a:gd name="connsiteX4" fmla="*/ 3239 w 10000"/>
                    <a:gd name="connsiteY4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00">
                      <a:moveTo>
                        <a:pt x="3239" y="0"/>
                      </a:moveTo>
                      <a:lnTo>
                        <a:pt x="10000" y="5751"/>
                      </a:lnTo>
                      <a:lnTo>
                        <a:pt x="5239" y="10000"/>
                      </a:lnTo>
                      <a:lnTo>
                        <a:pt x="0" y="2877"/>
                      </a:lnTo>
                      <a:lnTo>
                        <a:pt x="3239" y="0"/>
                      </a:lnTo>
                      <a:close/>
                    </a:path>
                  </a:pathLst>
                </a:custGeom>
                <a:solidFill>
                  <a:srgbClr val="22787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lIns="52994" tIns="26497" rIns="52994" bIns="26497"/>
                <a:lstStyle/>
                <a:p>
                  <a:pPr defTabSz="529922">
                    <a:defRPr/>
                  </a:pPr>
                  <a:endParaRPr lang="en-US" sz="1600" kern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</p:grpSp>
          <p:grpSp>
            <p:nvGrpSpPr>
              <p:cNvPr id="33" name="Group 99">
                <a:extLst>
                  <a:ext uri="{FF2B5EF4-FFF2-40B4-BE49-F238E27FC236}">
                    <a16:creationId xmlns:a16="http://schemas.microsoft.com/office/drawing/2014/main" xmlns="" id="{8AAC31D3-F7CD-4388-BD2A-9641FDF8B4AB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1998688" y="1749955"/>
                <a:ext cx="2415962" cy="1058636"/>
                <a:chOff x="1998688" y="1749955"/>
                <a:chExt cx="2415962" cy="1058636"/>
              </a:xfrm>
            </p:grpSpPr>
            <p:sp>
              <p:nvSpPr>
                <p:cNvPr id="37" name="Freeform 6">
                  <a:extLst>
                    <a:ext uri="{FF2B5EF4-FFF2-40B4-BE49-F238E27FC236}">
                      <a16:creationId xmlns:a16="http://schemas.microsoft.com/office/drawing/2014/main" xmlns="" id="{C11EF187-A932-4A02-BFBC-0D5C3459AA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35556" y="1749827"/>
                  <a:ext cx="1261189" cy="182003"/>
                </a:xfrm>
                <a:custGeom>
                  <a:avLst/>
                  <a:gdLst>
                    <a:gd name="T0" fmla="*/ 160 w 1010"/>
                    <a:gd name="T1" fmla="*/ 0 h 143"/>
                    <a:gd name="T2" fmla="*/ 1010 w 1010"/>
                    <a:gd name="T3" fmla="*/ 0 h 143"/>
                    <a:gd name="T4" fmla="*/ 890 w 1010"/>
                    <a:gd name="T5" fmla="*/ 143 h 143"/>
                    <a:gd name="T6" fmla="*/ 0 w 1010"/>
                    <a:gd name="T7" fmla="*/ 143 h 143"/>
                    <a:gd name="T8" fmla="*/ 160 w 1010"/>
                    <a:gd name="T9" fmla="*/ 0 h 1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10" h="143">
                      <a:moveTo>
                        <a:pt x="160" y="0"/>
                      </a:moveTo>
                      <a:lnTo>
                        <a:pt x="1010" y="0"/>
                      </a:lnTo>
                      <a:lnTo>
                        <a:pt x="890" y="143"/>
                      </a:lnTo>
                      <a:lnTo>
                        <a:pt x="0" y="143"/>
                      </a:lnTo>
                      <a:lnTo>
                        <a:pt x="160" y="0"/>
                      </a:lnTo>
                      <a:close/>
                    </a:path>
                  </a:pathLst>
                </a:custGeom>
                <a:solidFill>
                  <a:srgbClr val="000000">
                    <a:lumMod val="85000"/>
                    <a:lumOff val="15000"/>
                  </a:srgb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lIns="52994" tIns="26497" rIns="52994" bIns="26497"/>
                <a:lstStyle/>
                <a:p>
                  <a:pPr defTabSz="529922">
                    <a:defRPr/>
                  </a:pPr>
                  <a:endParaRPr lang="en-US" sz="1600" kern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38" name="Freeform 11">
                  <a:extLst>
                    <a:ext uri="{FF2B5EF4-FFF2-40B4-BE49-F238E27FC236}">
                      <a16:creationId xmlns:a16="http://schemas.microsoft.com/office/drawing/2014/main" xmlns="" id="{310ADC4E-9F70-4CC5-B07C-D8798EA349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7376" y="1931829"/>
                  <a:ext cx="2136410" cy="877410"/>
                </a:xfrm>
                <a:custGeom>
                  <a:avLst/>
                  <a:gdLst>
                    <a:gd name="T0" fmla="*/ 432 w 1711"/>
                    <a:gd name="T1" fmla="*/ 0 h 703"/>
                    <a:gd name="T2" fmla="*/ 1322 w 1711"/>
                    <a:gd name="T3" fmla="*/ 0 h 703"/>
                    <a:gd name="T4" fmla="*/ 1711 w 1711"/>
                    <a:gd name="T5" fmla="*/ 703 h 703"/>
                    <a:gd name="T6" fmla="*/ 0 w 1711"/>
                    <a:gd name="T7" fmla="*/ 703 h 703"/>
                    <a:gd name="T8" fmla="*/ 432 w 1711"/>
                    <a:gd name="T9" fmla="*/ 0 h 70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711" h="703">
                      <a:moveTo>
                        <a:pt x="432" y="0"/>
                      </a:moveTo>
                      <a:lnTo>
                        <a:pt x="1322" y="0"/>
                      </a:lnTo>
                      <a:lnTo>
                        <a:pt x="1711" y="703"/>
                      </a:lnTo>
                      <a:lnTo>
                        <a:pt x="0" y="703"/>
                      </a:lnTo>
                      <a:lnTo>
                        <a:pt x="432" y="0"/>
                      </a:lnTo>
                      <a:close/>
                    </a:path>
                  </a:pathLst>
                </a:custGeom>
                <a:solidFill>
                  <a:srgbClr val="30AA9E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lIns="52994" tIns="26497" rIns="52994" bIns="26497"/>
                <a:lstStyle/>
                <a:p>
                  <a:pPr defTabSz="529922">
                    <a:defRPr/>
                  </a:pPr>
                  <a:endParaRPr lang="en-US" sz="1600" kern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39" name="Freeform 14">
                  <a:extLst>
                    <a:ext uri="{FF2B5EF4-FFF2-40B4-BE49-F238E27FC236}">
                      <a16:creationId xmlns:a16="http://schemas.microsoft.com/office/drawing/2014/main" xmlns="" id="{4163810C-8CE2-4D55-B4F5-38EF9D2899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41813" y="1749827"/>
                  <a:ext cx="771934" cy="1059413"/>
                </a:xfrm>
                <a:custGeom>
                  <a:avLst/>
                  <a:gdLst>
                    <a:gd name="T0" fmla="*/ 120 w 619"/>
                    <a:gd name="T1" fmla="*/ 0 h 846"/>
                    <a:gd name="T2" fmla="*/ 619 w 619"/>
                    <a:gd name="T3" fmla="*/ 570 h 846"/>
                    <a:gd name="T4" fmla="*/ 389 w 619"/>
                    <a:gd name="T5" fmla="*/ 846 h 846"/>
                    <a:gd name="T6" fmla="*/ 0 w 619"/>
                    <a:gd name="T7" fmla="*/ 143 h 846"/>
                    <a:gd name="T8" fmla="*/ 120 w 619"/>
                    <a:gd name="T9" fmla="*/ 0 h 846"/>
                    <a:gd name="connsiteX0" fmla="*/ 1939 w 10000"/>
                    <a:gd name="connsiteY0" fmla="*/ 0 h 10000"/>
                    <a:gd name="connsiteX1" fmla="*/ 10000 w 10000"/>
                    <a:gd name="connsiteY1" fmla="*/ 6738 h 10000"/>
                    <a:gd name="connsiteX2" fmla="*/ 6346 w 10000"/>
                    <a:gd name="connsiteY2" fmla="*/ 10000 h 10000"/>
                    <a:gd name="connsiteX3" fmla="*/ 0 w 10000"/>
                    <a:gd name="connsiteY3" fmla="*/ 1690 h 10000"/>
                    <a:gd name="connsiteX4" fmla="*/ 1939 w 10000"/>
                    <a:gd name="connsiteY4" fmla="*/ 0 h 10000"/>
                    <a:gd name="connsiteX0" fmla="*/ 1939 w 10000"/>
                    <a:gd name="connsiteY0" fmla="*/ 0 h 10000"/>
                    <a:gd name="connsiteX1" fmla="*/ 10000 w 10000"/>
                    <a:gd name="connsiteY1" fmla="*/ 6738 h 10000"/>
                    <a:gd name="connsiteX2" fmla="*/ 6377 w 10000"/>
                    <a:gd name="connsiteY2" fmla="*/ 10000 h 10000"/>
                    <a:gd name="connsiteX3" fmla="*/ 0 w 10000"/>
                    <a:gd name="connsiteY3" fmla="*/ 1690 h 10000"/>
                    <a:gd name="connsiteX4" fmla="*/ 1939 w 10000"/>
                    <a:gd name="connsiteY4" fmla="*/ 0 h 10000"/>
                    <a:gd name="connsiteX0" fmla="*/ 1908 w 10000"/>
                    <a:gd name="connsiteY0" fmla="*/ 0 h 10000"/>
                    <a:gd name="connsiteX1" fmla="*/ 10000 w 10000"/>
                    <a:gd name="connsiteY1" fmla="*/ 6738 h 10000"/>
                    <a:gd name="connsiteX2" fmla="*/ 6377 w 10000"/>
                    <a:gd name="connsiteY2" fmla="*/ 10000 h 10000"/>
                    <a:gd name="connsiteX3" fmla="*/ 0 w 10000"/>
                    <a:gd name="connsiteY3" fmla="*/ 1690 h 10000"/>
                    <a:gd name="connsiteX4" fmla="*/ 1908 w 10000"/>
                    <a:gd name="connsiteY4" fmla="*/ 0 h 10000"/>
                    <a:gd name="connsiteX0" fmla="*/ 1970 w 10000"/>
                    <a:gd name="connsiteY0" fmla="*/ 0 h 10045"/>
                    <a:gd name="connsiteX1" fmla="*/ 10000 w 10000"/>
                    <a:gd name="connsiteY1" fmla="*/ 6783 h 10045"/>
                    <a:gd name="connsiteX2" fmla="*/ 6377 w 10000"/>
                    <a:gd name="connsiteY2" fmla="*/ 10045 h 10045"/>
                    <a:gd name="connsiteX3" fmla="*/ 0 w 10000"/>
                    <a:gd name="connsiteY3" fmla="*/ 1735 h 10045"/>
                    <a:gd name="connsiteX4" fmla="*/ 1970 w 10000"/>
                    <a:gd name="connsiteY4" fmla="*/ 0 h 10045"/>
                    <a:gd name="connsiteX0" fmla="*/ 2001 w 10000"/>
                    <a:gd name="connsiteY0" fmla="*/ 0 h 10068"/>
                    <a:gd name="connsiteX1" fmla="*/ 10000 w 10000"/>
                    <a:gd name="connsiteY1" fmla="*/ 6806 h 10068"/>
                    <a:gd name="connsiteX2" fmla="*/ 6377 w 10000"/>
                    <a:gd name="connsiteY2" fmla="*/ 10068 h 10068"/>
                    <a:gd name="connsiteX3" fmla="*/ 0 w 10000"/>
                    <a:gd name="connsiteY3" fmla="*/ 1758 h 10068"/>
                    <a:gd name="connsiteX4" fmla="*/ 2001 w 10000"/>
                    <a:gd name="connsiteY4" fmla="*/ 0 h 10068"/>
                    <a:gd name="connsiteX0" fmla="*/ 2001 w 10000"/>
                    <a:gd name="connsiteY0" fmla="*/ 0 h 10045"/>
                    <a:gd name="connsiteX1" fmla="*/ 10000 w 10000"/>
                    <a:gd name="connsiteY1" fmla="*/ 6783 h 10045"/>
                    <a:gd name="connsiteX2" fmla="*/ 6377 w 10000"/>
                    <a:gd name="connsiteY2" fmla="*/ 10045 h 10045"/>
                    <a:gd name="connsiteX3" fmla="*/ 0 w 10000"/>
                    <a:gd name="connsiteY3" fmla="*/ 1735 h 10045"/>
                    <a:gd name="connsiteX4" fmla="*/ 2001 w 10000"/>
                    <a:gd name="connsiteY4" fmla="*/ 0 h 10045"/>
                    <a:gd name="connsiteX0" fmla="*/ 2032 w 10000"/>
                    <a:gd name="connsiteY0" fmla="*/ 0 h 10022"/>
                    <a:gd name="connsiteX1" fmla="*/ 10000 w 10000"/>
                    <a:gd name="connsiteY1" fmla="*/ 6760 h 10022"/>
                    <a:gd name="connsiteX2" fmla="*/ 6377 w 10000"/>
                    <a:gd name="connsiteY2" fmla="*/ 10022 h 10022"/>
                    <a:gd name="connsiteX3" fmla="*/ 0 w 10000"/>
                    <a:gd name="connsiteY3" fmla="*/ 1712 h 10022"/>
                    <a:gd name="connsiteX4" fmla="*/ 2032 w 10000"/>
                    <a:gd name="connsiteY4" fmla="*/ 0 h 10022"/>
                    <a:gd name="connsiteX0" fmla="*/ 2001 w 10000"/>
                    <a:gd name="connsiteY0" fmla="*/ 0 h 10045"/>
                    <a:gd name="connsiteX1" fmla="*/ 10000 w 10000"/>
                    <a:gd name="connsiteY1" fmla="*/ 6783 h 10045"/>
                    <a:gd name="connsiteX2" fmla="*/ 6377 w 10000"/>
                    <a:gd name="connsiteY2" fmla="*/ 10045 h 10045"/>
                    <a:gd name="connsiteX3" fmla="*/ 0 w 10000"/>
                    <a:gd name="connsiteY3" fmla="*/ 1735 h 10045"/>
                    <a:gd name="connsiteX4" fmla="*/ 2001 w 10000"/>
                    <a:gd name="connsiteY4" fmla="*/ 0 h 10045"/>
                    <a:gd name="connsiteX0" fmla="*/ 2032 w 10000"/>
                    <a:gd name="connsiteY0" fmla="*/ 0 h 10045"/>
                    <a:gd name="connsiteX1" fmla="*/ 10000 w 10000"/>
                    <a:gd name="connsiteY1" fmla="*/ 6783 h 10045"/>
                    <a:gd name="connsiteX2" fmla="*/ 6377 w 10000"/>
                    <a:gd name="connsiteY2" fmla="*/ 10045 h 10045"/>
                    <a:gd name="connsiteX3" fmla="*/ 0 w 10000"/>
                    <a:gd name="connsiteY3" fmla="*/ 1735 h 10045"/>
                    <a:gd name="connsiteX4" fmla="*/ 2032 w 10000"/>
                    <a:gd name="connsiteY4" fmla="*/ 0 h 10045"/>
                    <a:gd name="connsiteX0" fmla="*/ 2032 w 10000"/>
                    <a:gd name="connsiteY0" fmla="*/ 0 h 10045"/>
                    <a:gd name="connsiteX1" fmla="*/ 10000 w 10000"/>
                    <a:gd name="connsiteY1" fmla="*/ 6783 h 10045"/>
                    <a:gd name="connsiteX2" fmla="*/ 6377 w 10000"/>
                    <a:gd name="connsiteY2" fmla="*/ 10045 h 10045"/>
                    <a:gd name="connsiteX3" fmla="*/ 0 w 10000"/>
                    <a:gd name="connsiteY3" fmla="*/ 1735 h 10045"/>
                    <a:gd name="connsiteX4" fmla="*/ 2032 w 10000"/>
                    <a:gd name="connsiteY4" fmla="*/ 0 h 10045"/>
                    <a:gd name="connsiteX0" fmla="*/ 2155 w 10000"/>
                    <a:gd name="connsiteY0" fmla="*/ 0 h 10000"/>
                    <a:gd name="connsiteX1" fmla="*/ 10000 w 10000"/>
                    <a:gd name="connsiteY1" fmla="*/ 6738 h 10000"/>
                    <a:gd name="connsiteX2" fmla="*/ 6377 w 10000"/>
                    <a:gd name="connsiteY2" fmla="*/ 10000 h 10000"/>
                    <a:gd name="connsiteX3" fmla="*/ 0 w 10000"/>
                    <a:gd name="connsiteY3" fmla="*/ 1690 h 10000"/>
                    <a:gd name="connsiteX4" fmla="*/ 2155 w 10000"/>
                    <a:gd name="connsiteY4" fmla="*/ 0 h 10000"/>
                    <a:gd name="connsiteX0" fmla="*/ 2124 w 10000"/>
                    <a:gd name="connsiteY0" fmla="*/ 0 h 10045"/>
                    <a:gd name="connsiteX1" fmla="*/ 10000 w 10000"/>
                    <a:gd name="connsiteY1" fmla="*/ 6783 h 10045"/>
                    <a:gd name="connsiteX2" fmla="*/ 6377 w 10000"/>
                    <a:gd name="connsiteY2" fmla="*/ 10045 h 10045"/>
                    <a:gd name="connsiteX3" fmla="*/ 0 w 10000"/>
                    <a:gd name="connsiteY3" fmla="*/ 1735 h 10045"/>
                    <a:gd name="connsiteX4" fmla="*/ 2124 w 10000"/>
                    <a:gd name="connsiteY4" fmla="*/ 0 h 10045"/>
                    <a:gd name="connsiteX0" fmla="*/ 2062 w 10000"/>
                    <a:gd name="connsiteY0" fmla="*/ 0 h 10045"/>
                    <a:gd name="connsiteX1" fmla="*/ 10000 w 10000"/>
                    <a:gd name="connsiteY1" fmla="*/ 6783 h 10045"/>
                    <a:gd name="connsiteX2" fmla="*/ 6377 w 10000"/>
                    <a:gd name="connsiteY2" fmla="*/ 10045 h 10045"/>
                    <a:gd name="connsiteX3" fmla="*/ 0 w 10000"/>
                    <a:gd name="connsiteY3" fmla="*/ 1735 h 10045"/>
                    <a:gd name="connsiteX4" fmla="*/ 2062 w 10000"/>
                    <a:gd name="connsiteY4" fmla="*/ 0 h 10045"/>
                    <a:gd name="connsiteX0" fmla="*/ 2093 w 10000"/>
                    <a:gd name="connsiteY0" fmla="*/ 0 h 9977"/>
                    <a:gd name="connsiteX1" fmla="*/ 10000 w 10000"/>
                    <a:gd name="connsiteY1" fmla="*/ 6715 h 9977"/>
                    <a:gd name="connsiteX2" fmla="*/ 6377 w 10000"/>
                    <a:gd name="connsiteY2" fmla="*/ 9977 h 9977"/>
                    <a:gd name="connsiteX3" fmla="*/ 0 w 10000"/>
                    <a:gd name="connsiteY3" fmla="*/ 1667 h 9977"/>
                    <a:gd name="connsiteX4" fmla="*/ 2093 w 10000"/>
                    <a:gd name="connsiteY4" fmla="*/ 0 h 9977"/>
                    <a:gd name="connsiteX0" fmla="*/ 2031 w 10000"/>
                    <a:gd name="connsiteY0" fmla="*/ 0 h 10045"/>
                    <a:gd name="connsiteX1" fmla="*/ 10000 w 10000"/>
                    <a:gd name="connsiteY1" fmla="*/ 6775 h 10045"/>
                    <a:gd name="connsiteX2" fmla="*/ 6377 w 10000"/>
                    <a:gd name="connsiteY2" fmla="*/ 10045 h 10045"/>
                    <a:gd name="connsiteX3" fmla="*/ 0 w 10000"/>
                    <a:gd name="connsiteY3" fmla="*/ 1716 h 10045"/>
                    <a:gd name="connsiteX4" fmla="*/ 2031 w 10000"/>
                    <a:gd name="connsiteY4" fmla="*/ 0 h 100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0000" h="10045">
                      <a:moveTo>
                        <a:pt x="2031" y="0"/>
                      </a:moveTo>
                      <a:lnTo>
                        <a:pt x="10000" y="6775"/>
                      </a:lnTo>
                      <a:lnTo>
                        <a:pt x="6377" y="10045"/>
                      </a:lnTo>
                      <a:lnTo>
                        <a:pt x="0" y="1716"/>
                      </a:lnTo>
                      <a:lnTo>
                        <a:pt x="2031" y="0"/>
                      </a:lnTo>
                      <a:close/>
                    </a:path>
                  </a:pathLst>
                </a:custGeom>
                <a:solidFill>
                  <a:srgbClr val="2B998F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lIns="52994" tIns="26497" rIns="52994" bIns="26497"/>
                <a:lstStyle/>
                <a:p>
                  <a:pPr defTabSz="529922">
                    <a:defRPr/>
                  </a:pPr>
                  <a:endParaRPr lang="en-US" sz="1600" kern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</p:grpSp>
          <p:grpSp>
            <p:nvGrpSpPr>
              <p:cNvPr id="34" name="Group 100">
                <a:extLst>
                  <a:ext uri="{FF2B5EF4-FFF2-40B4-BE49-F238E27FC236}">
                    <a16:creationId xmlns:a16="http://schemas.microsoft.com/office/drawing/2014/main" xmlns="" id="{2564342B-B40F-43B4-82CC-F1DFA92669AC}"/>
                  </a:ext>
                </a:extLst>
              </p:cNvPr>
              <p:cNvGrpSpPr>
                <a:grpSpLocks/>
              </p:cNvGrpSpPr>
              <p:nvPr/>
            </p:nvGrpSpPr>
            <p:grpSpPr bwMode="auto">
              <a:xfrm>
                <a:off x="2583814" y="981075"/>
                <a:ext cx="1155455" cy="878574"/>
                <a:chOff x="2583814" y="981075"/>
                <a:chExt cx="1155455" cy="878574"/>
              </a:xfrm>
            </p:grpSpPr>
            <p:sp>
              <p:nvSpPr>
                <p:cNvPr id="35" name="Freeform 12">
                  <a:extLst>
                    <a:ext uri="{FF2B5EF4-FFF2-40B4-BE49-F238E27FC236}">
                      <a16:creationId xmlns:a16="http://schemas.microsoft.com/office/drawing/2014/main" xmlns="" id="{4FB66E24-4859-42B6-9D9F-6384BF950F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84482" y="983791"/>
                  <a:ext cx="1027434" cy="874695"/>
                </a:xfrm>
                <a:custGeom>
                  <a:avLst/>
                  <a:gdLst>
                    <a:gd name="T0" fmla="*/ 433 w 823"/>
                    <a:gd name="T1" fmla="*/ 0 h 702"/>
                    <a:gd name="T2" fmla="*/ 823 w 823"/>
                    <a:gd name="T3" fmla="*/ 702 h 702"/>
                    <a:gd name="T4" fmla="*/ 0 w 823"/>
                    <a:gd name="T5" fmla="*/ 702 h 702"/>
                    <a:gd name="T6" fmla="*/ 433 w 823"/>
                    <a:gd name="T7" fmla="*/ 0 h 702"/>
                    <a:gd name="connsiteX0" fmla="*/ 5261 w 10000"/>
                    <a:gd name="connsiteY0" fmla="*/ 0 h 10000"/>
                    <a:gd name="connsiteX1" fmla="*/ 10000 w 10000"/>
                    <a:gd name="connsiteY1" fmla="*/ 10000 h 10000"/>
                    <a:gd name="connsiteX2" fmla="*/ 0 w 10000"/>
                    <a:gd name="connsiteY2" fmla="*/ 10000 h 10000"/>
                    <a:gd name="connsiteX3" fmla="*/ 5261 w 10000"/>
                    <a:gd name="connsiteY3" fmla="*/ 0 h 10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000" h="10000">
                      <a:moveTo>
                        <a:pt x="5261" y="0"/>
                      </a:moveTo>
                      <a:cubicBezTo>
                        <a:pt x="6841" y="3333"/>
                        <a:pt x="9532" y="8705"/>
                        <a:pt x="10000" y="10000"/>
                      </a:cubicBezTo>
                      <a:lnTo>
                        <a:pt x="0" y="10000"/>
                      </a:lnTo>
                      <a:lnTo>
                        <a:pt x="5261" y="0"/>
                      </a:lnTo>
                      <a:close/>
                    </a:path>
                  </a:pathLst>
                </a:custGeom>
                <a:solidFill>
                  <a:srgbClr val="40E0D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lIns="52994" tIns="26497" rIns="52994" bIns="26497"/>
                <a:lstStyle/>
                <a:p>
                  <a:pPr defTabSz="529922">
                    <a:defRPr/>
                  </a:pPr>
                  <a:endParaRPr lang="en-US" sz="1600" kern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  <p:sp>
              <p:nvSpPr>
                <p:cNvPr id="36" name="Freeform 15">
                  <a:extLst>
                    <a:ext uri="{FF2B5EF4-FFF2-40B4-BE49-F238E27FC236}">
                      <a16:creationId xmlns:a16="http://schemas.microsoft.com/office/drawing/2014/main" xmlns="" id="{A6C932AE-C264-49ED-A892-772BFE149C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22661" y="981075"/>
                  <a:ext cx="617003" cy="877410"/>
                </a:xfrm>
                <a:custGeom>
                  <a:avLst/>
                  <a:gdLst>
                    <a:gd name="T0" fmla="*/ 0 w 501"/>
                    <a:gd name="T1" fmla="*/ 0 h 702"/>
                    <a:gd name="T2" fmla="*/ 501 w 501"/>
                    <a:gd name="T3" fmla="*/ 570 h 702"/>
                    <a:gd name="T4" fmla="*/ 390 w 501"/>
                    <a:gd name="T5" fmla="*/ 702 h 702"/>
                    <a:gd name="T6" fmla="*/ 0 w 501"/>
                    <a:gd name="T7" fmla="*/ 0 h 702"/>
                    <a:gd name="connsiteX0" fmla="*/ 0 w 10000"/>
                    <a:gd name="connsiteY0" fmla="*/ 0 h 9973"/>
                    <a:gd name="connsiteX1" fmla="*/ 10000 w 10000"/>
                    <a:gd name="connsiteY1" fmla="*/ 8120 h 9973"/>
                    <a:gd name="connsiteX2" fmla="*/ 7860 w 10000"/>
                    <a:gd name="connsiteY2" fmla="*/ 9973 h 9973"/>
                    <a:gd name="connsiteX3" fmla="*/ 0 w 10000"/>
                    <a:gd name="connsiteY3" fmla="*/ 0 h 9973"/>
                    <a:gd name="connsiteX0" fmla="*/ 0 w 10000"/>
                    <a:gd name="connsiteY0" fmla="*/ 0 h 10054"/>
                    <a:gd name="connsiteX1" fmla="*/ 10000 w 10000"/>
                    <a:gd name="connsiteY1" fmla="*/ 8142 h 10054"/>
                    <a:gd name="connsiteX2" fmla="*/ 7898 w 10000"/>
                    <a:gd name="connsiteY2" fmla="*/ 10054 h 10054"/>
                    <a:gd name="connsiteX3" fmla="*/ 0 w 10000"/>
                    <a:gd name="connsiteY3" fmla="*/ 0 h 10054"/>
                    <a:gd name="connsiteX0" fmla="*/ 0 w 9962"/>
                    <a:gd name="connsiteY0" fmla="*/ 0 h 10108"/>
                    <a:gd name="connsiteX1" fmla="*/ 9962 w 9962"/>
                    <a:gd name="connsiteY1" fmla="*/ 8196 h 10108"/>
                    <a:gd name="connsiteX2" fmla="*/ 7860 w 9962"/>
                    <a:gd name="connsiteY2" fmla="*/ 10108 h 10108"/>
                    <a:gd name="connsiteX3" fmla="*/ 0 w 9962"/>
                    <a:gd name="connsiteY3" fmla="*/ 0 h 10108"/>
                    <a:gd name="connsiteX0" fmla="*/ 0 w 9924"/>
                    <a:gd name="connsiteY0" fmla="*/ 0 h 10000"/>
                    <a:gd name="connsiteX1" fmla="*/ 9924 w 9924"/>
                    <a:gd name="connsiteY1" fmla="*/ 8108 h 10000"/>
                    <a:gd name="connsiteX2" fmla="*/ 7814 w 9924"/>
                    <a:gd name="connsiteY2" fmla="*/ 10000 h 10000"/>
                    <a:gd name="connsiteX3" fmla="*/ 0 w 9924"/>
                    <a:gd name="connsiteY3" fmla="*/ 0 h 10000"/>
                    <a:gd name="connsiteX0" fmla="*/ 0 w 10000"/>
                    <a:gd name="connsiteY0" fmla="*/ 0 h 10027"/>
                    <a:gd name="connsiteX1" fmla="*/ 10000 w 10000"/>
                    <a:gd name="connsiteY1" fmla="*/ 8108 h 10027"/>
                    <a:gd name="connsiteX2" fmla="*/ 7913 w 10000"/>
                    <a:gd name="connsiteY2" fmla="*/ 10027 h 10027"/>
                    <a:gd name="connsiteX3" fmla="*/ 0 w 10000"/>
                    <a:gd name="connsiteY3" fmla="*/ 0 h 10027"/>
                    <a:gd name="connsiteX0" fmla="*/ 0 w 9769"/>
                    <a:gd name="connsiteY0" fmla="*/ 0 h 9838"/>
                    <a:gd name="connsiteX1" fmla="*/ 9769 w 9769"/>
                    <a:gd name="connsiteY1" fmla="*/ 7919 h 9838"/>
                    <a:gd name="connsiteX2" fmla="*/ 7682 w 9769"/>
                    <a:gd name="connsiteY2" fmla="*/ 9838 h 9838"/>
                    <a:gd name="connsiteX3" fmla="*/ 0 w 9769"/>
                    <a:gd name="connsiteY3" fmla="*/ 0 h 9838"/>
                    <a:gd name="connsiteX0" fmla="*/ 0 w 10079"/>
                    <a:gd name="connsiteY0" fmla="*/ 0 h 10137"/>
                    <a:gd name="connsiteX1" fmla="*/ 10079 w 10079"/>
                    <a:gd name="connsiteY1" fmla="*/ 8186 h 10137"/>
                    <a:gd name="connsiteX2" fmla="*/ 7943 w 10079"/>
                    <a:gd name="connsiteY2" fmla="*/ 10137 h 10137"/>
                    <a:gd name="connsiteX3" fmla="*/ 0 w 10079"/>
                    <a:gd name="connsiteY3" fmla="*/ 0 h 10137"/>
                    <a:gd name="connsiteX0" fmla="*/ 0 w 10197"/>
                    <a:gd name="connsiteY0" fmla="*/ 0 h 10164"/>
                    <a:gd name="connsiteX1" fmla="*/ 10197 w 10197"/>
                    <a:gd name="connsiteY1" fmla="*/ 8213 h 10164"/>
                    <a:gd name="connsiteX2" fmla="*/ 8061 w 10197"/>
                    <a:gd name="connsiteY2" fmla="*/ 10164 h 10164"/>
                    <a:gd name="connsiteX3" fmla="*/ 0 w 10197"/>
                    <a:gd name="connsiteY3" fmla="*/ 0 h 10164"/>
                    <a:gd name="connsiteX0" fmla="*/ 0 w 10236"/>
                    <a:gd name="connsiteY0" fmla="*/ 0 h 10164"/>
                    <a:gd name="connsiteX1" fmla="*/ 10236 w 10236"/>
                    <a:gd name="connsiteY1" fmla="*/ 8213 h 10164"/>
                    <a:gd name="connsiteX2" fmla="*/ 8100 w 10236"/>
                    <a:gd name="connsiteY2" fmla="*/ 10164 h 10164"/>
                    <a:gd name="connsiteX3" fmla="*/ 0 w 10236"/>
                    <a:gd name="connsiteY3" fmla="*/ 0 h 101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236" h="10164">
                      <a:moveTo>
                        <a:pt x="0" y="0"/>
                      </a:moveTo>
                      <a:lnTo>
                        <a:pt x="10236" y="8213"/>
                      </a:lnTo>
                      <a:lnTo>
                        <a:pt x="8100" y="1016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21D1C0"/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lIns="52994" tIns="26497" rIns="52994" bIns="26497"/>
                <a:lstStyle/>
                <a:p>
                  <a:pPr defTabSz="529922">
                    <a:defRPr/>
                  </a:pPr>
                  <a:endParaRPr lang="en-US" sz="1600" kern="0">
                    <a:solidFill>
                      <a:prstClr val="black"/>
                    </a:solidFill>
                    <a:latin typeface="Calibri"/>
                  </a:endParaRPr>
                </a:p>
              </p:txBody>
            </p:sp>
          </p:grpSp>
        </p:grp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xmlns="" id="{B89B6519-3EBF-4007-94C6-8E81B894BFD2}"/>
                </a:ext>
              </a:extLst>
            </p:cNvPr>
            <p:cNvSpPr txBox="1"/>
            <p:nvPr/>
          </p:nvSpPr>
          <p:spPr>
            <a:xfrm>
              <a:off x="3187977" y="3079107"/>
              <a:ext cx="609770" cy="261610"/>
            </a:xfrm>
            <a:prstGeom prst="rect">
              <a:avLst/>
            </a:prstGeom>
            <a:noFill/>
          </p:spPr>
          <p:txBody>
            <a:bodyPr anchor="ctr">
              <a:spAutoFit/>
            </a:bodyPr>
            <a:lstStyle>
              <a:defPPr>
                <a:defRPr lang="en-US"/>
              </a:defPPr>
              <a:lvl1pPr algn="ctr">
                <a:defRPr sz="105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pPr>
                <a:defRPr/>
              </a:pPr>
              <a:r>
                <a:rPr lang="en-US" dirty="0">
                  <a:solidFill>
                    <a:schemeClr val="tx1"/>
                  </a:solidFill>
                  <a:effectLst/>
                </a:rPr>
                <a:t>Close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xmlns="" id="{3F70D8F9-CE6F-43F0-9B34-2B4DFE2C1F34}"/>
                </a:ext>
              </a:extLst>
            </p:cNvPr>
            <p:cNvSpPr txBox="1"/>
            <p:nvPr/>
          </p:nvSpPr>
          <p:spPr>
            <a:xfrm>
              <a:off x="2319540" y="3384414"/>
              <a:ext cx="2346644" cy="715581"/>
            </a:xfrm>
            <a:prstGeom prst="rect">
              <a:avLst/>
            </a:prstGeom>
            <a:noFill/>
          </p:spPr>
          <p:txBody>
            <a:bodyPr anchor="ctr">
              <a:spAutoFit/>
            </a:bodyPr>
            <a:lstStyle>
              <a:defPPr>
                <a:defRPr lang="en-US"/>
              </a:defPPr>
              <a:lvl1pPr algn="ctr">
                <a:defRPr sz="12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pPr>
                <a:defRPr/>
              </a:pPr>
              <a:r>
                <a:rPr lang="en-US" sz="1050" dirty="0"/>
                <a:t>Negotiation</a:t>
              </a:r>
            </a:p>
            <a:p>
              <a:pPr>
                <a:defRPr/>
              </a:pPr>
              <a:r>
                <a:rPr lang="en-US" sz="1000" b="0" dirty="0"/>
                <a:t>All give &amp; take, </a:t>
              </a:r>
            </a:p>
            <a:p>
              <a:pPr>
                <a:defRPr/>
              </a:pPr>
              <a:r>
                <a:rPr lang="en-US" sz="1000" b="0" dirty="0"/>
                <a:t>distributive &amp; ‘or </a:t>
              </a:r>
            </a:p>
            <a:p>
              <a:pPr>
                <a:defRPr/>
              </a:pPr>
              <a:r>
                <a:rPr lang="en-US" sz="1000" b="0" dirty="0"/>
                <a:t>integrative 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xmlns="" id="{3F829C74-E005-4568-9285-3E1E32EF6F30}"/>
                </a:ext>
              </a:extLst>
            </p:cNvPr>
            <p:cNvSpPr txBox="1"/>
            <p:nvPr/>
          </p:nvSpPr>
          <p:spPr>
            <a:xfrm>
              <a:off x="2583961" y="4126519"/>
              <a:ext cx="1817802" cy="584775"/>
            </a:xfrm>
            <a:prstGeom prst="rect">
              <a:avLst/>
            </a:prstGeom>
            <a:noFill/>
          </p:spPr>
          <p:txBody>
            <a:bodyPr anchor="ctr">
              <a:spAutoFit/>
            </a:bodyPr>
            <a:lstStyle>
              <a:defPPr>
                <a:defRPr lang="en-US"/>
              </a:defPPr>
              <a:lvl1pPr algn="ctr">
                <a:defRPr sz="1200" b="1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defRPr>
              </a:lvl1pPr>
            </a:lstStyle>
            <a:p>
              <a:pPr>
                <a:defRPr/>
              </a:pPr>
              <a:r>
                <a:rPr lang="en-US" sz="1100" dirty="0"/>
                <a:t>Communication</a:t>
              </a:r>
            </a:p>
            <a:p>
              <a:pPr>
                <a:defRPr/>
              </a:pPr>
              <a:r>
                <a:rPr lang="en-US" sz="1050" b="0" dirty="0"/>
                <a:t>All discuss about facts, case &amp; emotions</a:t>
              </a: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xmlns="" id="{33921C8C-E5CD-40C2-BDCC-5A7A5B69F7A8}"/>
                </a:ext>
              </a:extLst>
            </p:cNvPr>
            <p:cNvSpPr txBox="1"/>
            <p:nvPr/>
          </p:nvSpPr>
          <p:spPr>
            <a:xfrm>
              <a:off x="2267571" y="4889943"/>
              <a:ext cx="2450583" cy="423192"/>
            </a:xfrm>
            <a:prstGeom prst="rect">
              <a:avLst/>
            </a:prstGeom>
            <a:noFill/>
          </p:spPr>
          <p:txBody>
            <a:bodyPr anchor="ctr">
              <a:spAutoFit/>
            </a:bodyPr>
            <a:lstStyle>
              <a:defPPr>
                <a:defRPr lang="en-US"/>
              </a:defPPr>
              <a:lvl1pPr algn="ctr">
                <a:defRPr sz="1200" b="1"/>
              </a:lvl1pPr>
            </a:lstStyle>
            <a:p>
              <a:pPr>
                <a:defRPr/>
              </a:pPr>
              <a:r>
                <a:rPr lang="en-US" sz="11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Introduction</a:t>
              </a:r>
            </a:p>
            <a:p>
              <a:pPr>
                <a:defRPr/>
              </a:pPr>
              <a:r>
                <a:rPr lang="en-US" sz="1050" b="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How the process begins</a:t>
              </a: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xmlns="" id="{55593ACF-7801-462E-8A96-B897C93F9D66}"/>
                </a:ext>
              </a:extLst>
            </p:cNvPr>
            <p:cNvSpPr txBox="1"/>
            <p:nvPr/>
          </p:nvSpPr>
          <p:spPr>
            <a:xfrm>
              <a:off x="1862976" y="5518633"/>
              <a:ext cx="3259773" cy="584775"/>
            </a:xfrm>
            <a:prstGeom prst="rect">
              <a:avLst/>
            </a:prstGeom>
            <a:noFill/>
          </p:spPr>
          <p:txBody>
            <a:bodyPr anchor="ctr">
              <a:spAutoFit/>
            </a:bodyPr>
            <a:lstStyle/>
            <a:p>
              <a:pPr algn="ctr">
                <a:defRPr/>
              </a:pPr>
              <a:r>
                <a:rPr lang="en-US" sz="1100" b="1" dirty="0"/>
                <a:t>Convening</a:t>
              </a:r>
            </a:p>
            <a:p>
              <a:pPr algn="ctr">
                <a:defRPr/>
              </a:pPr>
              <a:r>
                <a:rPr lang="en-US" sz="1050" dirty="0"/>
                <a:t>Everything that happens before the meditation begi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9075043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VISOR RE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20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790574" y="1447801"/>
            <a:ext cx="10791825" cy="406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Recital to reflect situation of party when agreement is executed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90574" y="1927538"/>
            <a:ext cx="10791825" cy="406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Address income streams and foreseeable asset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90574" y="2407276"/>
            <a:ext cx="10791825" cy="406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All elements of a valid and enforceable contract are met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90574" y="2887013"/>
            <a:ext cx="10791825" cy="406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Transfers to take place after marriage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90574" y="3366750"/>
            <a:ext cx="10791825" cy="406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Recognize that some states are regulated by common law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790574" y="3846488"/>
            <a:ext cx="10791825" cy="406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Indemnity clause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790574" y="4326225"/>
            <a:ext cx="10791825" cy="406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Losing litigant pays fees.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90574" y="4805962"/>
            <a:ext cx="10791825" cy="406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Spouse must consent/acknowledge election’s effect.</a:t>
            </a:r>
          </a:p>
        </p:txBody>
      </p:sp>
      <p:sp>
        <p:nvSpPr>
          <p:cNvPr id="13" name="Rectangle 12"/>
          <p:cNvSpPr/>
          <p:nvPr/>
        </p:nvSpPr>
        <p:spPr>
          <a:xfrm>
            <a:off x="790574" y="5285700"/>
            <a:ext cx="10791825" cy="406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Timing of execution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790574" y="5765435"/>
            <a:ext cx="10791825" cy="40676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>
                <a:solidFill>
                  <a:schemeClr val="tx1"/>
                </a:solidFill>
              </a:rPr>
              <a:t>Additional Terms</a:t>
            </a:r>
            <a:endParaRPr lang="en-US" dirty="0">
              <a:solidFill>
                <a:schemeClr val="tx1"/>
              </a:solidFill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609600" y="1447801"/>
            <a:ext cx="91440" cy="4724400"/>
            <a:chOff x="762000" y="1600201"/>
            <a:chExt cx="10972800" cy="4724400"/>
          </a:xfrm>
          <a:solidFill>
            <a:srgbClr val="00569B"/>
          </a:solidFill>
        </p:grpSpPr>
        <p:sp>
          <p:nvSpPr>
            <p:cNvPr id="17" name="Rectangle 16"/>
            <p:cNvSpPr/>
            <p:nvPr/>
          </p:nvSpPr>
          <p:spPr>
            <a:xfrm>
              <a:off x="762000" y="1600201"/>
              <a:ext cx="10972800" cy="4067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762000" y="2079938"/>
              <a:ext cx="10972800" cy="4067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762000" y="2559676"/>
              <a:ext cx="10972800" cy="4067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762000" y="3039413"/>
              <a:ext cx="10972800" cy="4067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>
            <a:xfrm>
              <a:off x="762000" y="3519150"/>
              <a:ext cx="10972800" cy="4067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762000" y="3998888"/>
              <a:ext cx="10972800" cy="4067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>
            <a:xfrm>
              <a:off x="762000" y="4478625"/>
              <a:ext cx="10972800" cy="4067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>
            <a:xfrm>
              <a:off x="762000" y="4958362"/>
              <a:ext cx="10972800" cy="4067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762000" y="5438100"/>
              <a:ext cx="10972800" cy="4067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>
            <a:xfrm>
              <a:off x="762000" y="5917835"/>
              <a:ext cx="10972800" cy="406766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47828165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SIDERATIONS REGARDING RETIREMENT BENEFI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21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9600" y="1447800"/>
            <a:ext cx="10972800" cy="4724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82880" rtlCol="0" anchor="t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Section 417 (a)(2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Waiver must be in writing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Election must designate a beneficiary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May not be changed without spouse’s consen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(If so, consent must be expressly permit designations)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Spouse must consent/acknowledge election’s effec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Spouse’s signature must be witnessed by plan representative or notary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After age 35, must sign a new waiver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Invalid if premarital agreement is executed before marriage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ERISA applies to survivor benefits and not a marital interest.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718560" y="6108345"/>
            <a:ext cx="786384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609600" y="1447800"/>
            <a:ext cx="3383280" cy="63855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10001250" y="4534544"/>
            <a:ext cx="1333500" cy="1333500"/>
          </a:xfrm>
          <a:prstGeom prst="ellipse">
            <a:avLst/>
          </a:prstGeom>
          <a:noFill/>
          <a:ln w="50800"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4"/>
          <p:cNvGrpSpPr>
            <a:grpSpLocks noChangeAspect="1"/>
          </p:cNvGrpSpPr>
          <p:nvPr/>
        </p:nvGrpSpPr>
        <p:grpSpPr bwMode="auto">
          <a:xfrm>
            <a:off x="10374313" y="4804419"/>
            <a:ext cx="587375" cy="793750"/>
            <a:chOff x="6535" y="3026"/>
            <a:chExt cx="370" cy="500"/>
          </a:xfrm>
          <a:solidFill>
            <a:srgbClr val="26867C"/>
          </a:solidFill>
        </p:grpSpPr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6620" y="3151"/>
              <a:ext cx="61" cy="61"/>
            </a:xfrm>
            <a:custGeom>
              <a:avLst/>
              <a:gdLst>
                <a:gd name="T0" fmla="*/ 384 w 429"/>
                <a:gd name="T1" fmla="*/ 0 h 431"/>
                <a:gd name="T2" fmla="*/ 372 w 429"/>
                <a:gd name="T3" fmla="*/ 3 h 431"/>
                <a:gd name="T4" fmla="*/ 360 w 429"/>
                <a:gd name="T5" fmla="*/ 7 h 431"/>
                <a:gd name="T6" fmla="*/ 351 w 429"/>
                <a:gd name="T7" fmla="*/ 15 h 431"/>
                <a:gd name="T8" fmla="*/ 351 w 429"/>
                <a:gd name="T9" fmla="*/ 15 h 431"/>
                <a:gd name="T10" fmla="*/ 105 w 429"/>
                <a:gd name="T11" fmla="*/ 295 h 431"/>
                <a:gd name="T12" fmla="*/ 88 w 429"/>
                <a:gd name="T13" fmla="*/ 243 h 431"/>
                <a:gd name="T14" fmla="*/ 88 w 429"/>
                <a:gd name="T15" fmla="*/ 242 h 431"/>
                <a:gd name="T16" fmla="*/ 82 w 429"/>
                <a:gd name="T17" fmla="*/ 229 h 431"/>
                <a:gd name="T18" fmla="*/ 71 w 429"/>
                <a:gd name="T19" fmla="*/ 218 h 431"/>
                <a:gd name="T20" fmla="*/ 58 w 429"/>
                <a:gd name="T21" fmla="*/ 212 h 431"/>
                <a:gd name="T22" fmla="*/ 43 w 429"/>
                <a:gd name="T23" fmla="*/ 211 h 431"/>
                <a:gd name="T24" fmla="*/ 32 w 429"/>
                <a:gd name="T25" fmla="*/ 213 h 431"/>
                <a:gd name="T26" fmla="*/ 21 w 429"/>
                <a:gd name="T27" fmla="*/ 217 h 431"/>
                <a:gd name="T28" fmla="*/ 12 w 429"/>
                <a:gd name="T29" fmla="*/ 226 h 431"/>
                <a:gd name="T30" fmla="*/ 5 w 429"/>
                <a:gd name="T31" fmla="*/ 235 h 431"/>
                <a:gd name="T32" fmla="*/ 1 w 429"/>
                <a:gd name="T33" fmla="*/ 246 h 431"/>
                <a:gd name="T34" fmla="*/ 0 w 429"/>
                <a:gd name="T35" fmla="*/ 258 h 431"/>
                <a:gd name="T36" fmla="*/ 1 w 429"/>
                <a:gd name="T37" fmla="*/ 263 h 431"/>
                <a:gd name="T38" fmla="*/ 2 w 429"/>
                <a:gd name="T39" fmla="*/ 268 h 431"/>
                <a:gd name="T40" fmla="*/ 2 w 429"/>
                <a:gd name="T41" fmla="*/ 269 h 431"/>
                <a:gd name="T42" fmla="*/ 42 w 429"/>
                <a:gd name="T43" fmla="*/ 399 h 431"/>
                <a:gd name="T44" fmla="*/ 49 w 429"/>
                <a:gd name="T45" fmla="*/ 412 h 431"/>
                <a:gd name="T46" fmla="*/ 58 w 429"/>
                <a:gd name="T47" fmla="*/ 422 h 431"/>
                <a:gd name="T48" fmla="*/ 71 w 429"/>
                <a:gd name="T49" fmla="*/ 429 h 431"/>
                <a:gd name="T50" fmla="*/ 86 w 429"/>
                <a:gd name="T51" fmla="*/ 431 h 431"/>
                <a:gd name="T52" fmla="*/ 98 w 429"/>
                <a:gd name="T53" fmla="*/ 429 h 431"/>
                <a:gd name="T54" fmla="*/ 109 w 429"/>
                <a:gd name="T55" fmla="*/ 425 h 431"/>
                <a:gd name="T56" fmla="*/ 119 w 429"/>
                <a:gd name="T57" fmla="*/ 416 h 431"/>
                <a:gd name="T58" fmla="*/ 119 w 429"/>
                <a:gd name="T59" fmla="*/ 415 h 431"/>
                <a:gd name="T60" fmla="*/ 418 w 429"/>
                <a:gd name="T61" fmla="*/ 76 h 431"/>
                <a:gd name="T62" fmla="*/ 419 w 429"/>
                <a:gd name="T63" fmla="*/ 75 h 431"/>
                <a:gd name="T64" fmla="*/ 426 w 429"/>
                <a:gd name="T65" fmla="*/ 61 h 431"/>
                <a:gd name="T66" fmla="*/ 429 w 429"/>
                <a:gd name="T67" fmla="*/ 46 h 431"/>
                <a:gd name="T68" fmla="*/ 427 w 429"/>
                <a:gd name="T69" fmla="*/ 31 h 431"/>
                <a:gd name="T70" fmla="*/ 421 w 429"/>
                <a:gd name="T71" fmla="*/ 20 h 431"/>
                <a:gd name="T72" fmla="*/ 411 w 429"/>
                <a:gd name="T73" fmla="*/ 9 h 431"/>
                <a:gd name="T74" fmla="*/ 399 w 429"/>
                <a:gd name="T75" fmla="*/ 3 h 431"/>
                <a:gd name="T76" fmla="*/ 384 w 429"/>
                <a:gd name="T77" fmla="*/ 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1">
                  <a:moveTo>
                    <a:pt x="384" y="0"/>
                  </a:moveTo>
                  <a:lnTo>
                    <a:pt x="372" y="3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5"/>
                  </a:lnTo>
                  <a:lnTo>
                    <a:pt x="88" y="243"/>
                  </a:lnTo>
                  <a:lnTo>
                    <a:pt x="88" y="242"/>
                  </a:lnTo>
                  <a:lnTo>
                    <a:pt x="82" y="229"/>
                  </a:lnTo>
                  <a:lnTo>
                    <a:pt x="71" y="218"/>
                  </a:lnTo>
                  <a:lnTo>
                    <a:pt x="58" y="212"/>
                  </a:lnTo>
                  <a:lnTo>
                    <a:pt x="43" y="211"/>
                  </a:lnTo>
                  <a:lnTo>
                    <a:pt x="32" y="213"/>
                  </a:lnTo>
                  <a:lnTo>
                    <a:pt x="21" y="217"/>
                  </a:lnTo>
                  <a:lnTo>
                    <a:pt x="12" y="226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9"/>
                  </a:lnTo>
                  <a:lnTo>
                    <a:pt x="49" y="412"/>
                  </a:lnTo>
                  <a:lnTo>
                    <a:pt x="58" y="422"/>
                  </a:lnTo>
                  <a:lnTo>
                    <a:pt x="71" y="429"/>
                  </a:lnTo>
                  <a:lnTo>
                    <a:pt x="86" y="431"/>
                  </a:lnTo>
                  <a:lnTo>
                    <a:pt x="98" y="429"/>
                  </a:lnTo>
                  <a:lnTo>
                    <a:pt x="109" y="425"/>
                  </a:lnTo>
                  <a:lnTo>
                    <a:pt x="119" y="416"/>
                  </a:lnTo>
                  <a:lnTo>
                    <a:pt x="119" y="415"/>
                  </a:lnTo>
                  <a:lnTo>
                    <a:pt x="418" y="76"/>
                  </a:lnTo>
                  <a:lnTo>
                    <a:pt x="419" y="75"/>
                  </a:lnTo>
                  <a:lnTo>
                    <a:pt x="426" y="61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20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6602" y="3162"/>
              <a:ext cx="68" cy="69"/>
            </a:xfrm>
            <a:custGeom>
              <a:avLst/>
              <a:gdLst>
                <a:gd name="T0" fmla="*/ 29 w 478"/>
                <a:gd name="T1" fmla="*/ 480 h 480"/>
                <a:gd name="T2" fmla="*/ 448 w 478"/>
                <a:gd name="T3" fmla="*/ 480 h 480"/>
                <a:gd name="T4" fmla="*/ 460 w 478"/>
                <a:gd name="T5" fmla="*/ 477 h 480"/>
                <a:gd name="T6" fmla="*/ 469 w 478"/>
                <a:gd name="T7" fmla="*/ 471 h 480"/>
                <a:gd name="T8" fmla="*/ 476 w 478"/>
                <a:gd name="T9" fmla="*/ 461 h 480"/>
                <a:gd name="T10" fmla="*/ 478 w 478"/>
                <a:gd name="T11" fmla="*/ 450 h 480"/>
                <a:gd name="T12" fmla="*/ 478 w 478"/>
                <a:gd name="T13" fmla="*/ 164 h 480"/>
                <a:gd name="T14" fmla="*/ 478 w 478"/>
                <a:gd name="T15" fmla="*/ 162 h 480"/>
                <a:gd name="T16" fmla="*/ 477 w 478"/>
                <a:gd name="T17" fmla="*/ 160 h 480"/>
                <a:gd name="T18" fmla="*/ 475 w 478"/>
                <a:gd name="T19" fmla="*/ 159 h 480"/>
                <a:gd name="T20" fmla="*/ 472 w 478"/>
                <a:gd name="T21" fmla="*/ 159 h 480"/>
                <a:gd name="T22" fmla="*/ 471 w 478"/>
                <a:gd name="T23" fmla="*/ 159 h 480"/>
                <a:gd name="T24" fmla="*/ 469 w 478"/>
                <a:gd name="T25" fmla="*/ 160 h 480"/>
                <a:gd name="T26" fmla="*/ 419 w 478"/>
                <a:gd name="T27" fmla="*/ 217 h 480"/>
                <a:gd name="T28" fmla="*/ 418 w 478"/>
                <a:gd name="T29" fmla="*/ 218 h 480"/>
                <a:gd name="T30" fmla="*/ 418 w 478"/>
                <a:gd name="T31" fmla="*/ 220 h 480"/>
                <a:gd name="T32" fmla="*/ 418 w 478"/>
                <a:gd name="T33" fmla="*/ 420 h 480"/>
                <a:gd name="T34" fmla="*/ 60 w 478"/>
                <a:gd name="T35" fmla="*/ 420 h 480"/>
                <a:gd name="T36" fmla="*/ 60 w 478"/>
                <a:gd name="T37" fmla="*/ 60 h 480"/>
                <a:gd name="T38" fmla="*/ 300 w 478"/>
                <a:gd name="T39" fmla="*/ 60 h 480"/>
                <a:gd name="T40" fmla="*/ 302 w 478"/>
                <a:gd name="T41" fmla="*/ 60 h 480"/>
                <a:gd name="T42" fmla="*/ 303 w 478"/>
                <a:gd name="T43" fmla="*/ 59 h 480"/>
                <a:gd name="T44" fmla="*/ 347 w 478"/>
                <a:gd name="T45" fmla="*/ 9 h 480"/>
                <a:gd name="T46" fmla="*/ 348 w 478"/>
                <a:gd name="T47" fmla="*/ 7 h 480"/>
                <a:gd name="T48" fmla="*/ 348 w 478"/>
                <a:gd name="T49" fmla="*/ 5 h 480"/>
                <a:gd name="T50" fmla="*/ 347 w 478"/>
                <a:gd name="T51" fmla="*/ 3 h 480"/>
                <a:gd name="T52" fmla="*/ 346 w 478"/>
                <a:gd name="T53" fmla="*/ 1 h 480"/>
                <a:gd name="T54" fmla="*/ 345 w 478"/>
                <a:gd name="T55" fmla="*/ 0 h 480"/>
                <a:gd name="T56" fmla="*/ 343 w 478"/>
                <a:gd name="T57" fmla="*/ 0 h 480"/>
                <a:gd name="T58" fmla="*/ 29 w 478"/>
                <a:gd name="T59" fmla="*/ 0 h 480"/>
                <a:gd name="T60" fmla="*/ 18 w 478"/>
                <a:gd name="T61" fmla="*/ 2 h 480"/>
                <a:gd name="T62" fmla="*/ 8 w 478"/>
                <a:gd name="T63" fmla="*/ 9 h 480"/>
                <a:gd name="T64" fmla="*/ 2 w 478"/>
                <a:gd name="T65" fmla="*/ 18 h 480"/>
                <a:gd name="T66" fmla="*/ 0 w 478"/>
                <a:gd name="T67" fmla="*/ 30 h 480"/>
                <a:gd name="T68" fmla="*/ 0 w 478"/>
                <a:gd name="T69" fmla="*/ 450 h 480"/>
                <a:gd name="T70" fmla="*/ 2 w 478"/>
                <a:gd name="T71" fmla="*/ 461 h 480"/>
                <a:gd name="T72" fmla="*/ 8 w 478"/>
                <a:gd name="T73" fmla="*/ 471 h 480"/>
                <a:gd name="T74" fmla="*/ 18 w 478"/>
                <a:gd name="T75" fmla="*/ 477 h 480"/>
                <a:gd name="T76" fmla="*/ 29 w 478"/>
                <a:gd name="T77" fmla="*/ 480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0">
                  <a:moveTo>
                    <a:pt x="29" y="480"/>
                  </a:moveTo>
                  <a:lnTo>
                    <a:pt x="448" y="480"/>
                  </a:lnTo>
                  <a:lnTo>
                    <a:pt x="460" y="477"/>
                  </a:lnTo>
                  <a:lnTo>
                    <a:pt x="469" y="471"/>
                  </a:lnTo>
                  <a:lnTo>
                    <a:pt x="476" y="461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0"/>
                  </a:lnTo>
                  <a:lnTo>
                    <a:pt x="475" y="159"/>
                  </a:lnTo>
                  <a:lnTo>
                    <a:pt x="472" y="159"/>
                  </a:lnTo>
                  <a:lnTo>
                    <a:pt x="471" y="159"/>
                  </a:lnTo>
                  <a:lnTo>
                    <a:pt x="469" y="160"/>
                  </a:lnTo>
                  <a:lnTo>
                    <a:pt x="419" y="217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0"/>
                  </a:lnTo>
                  <a:lnTo>
                    <a:pt x="300" y="60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7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9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0"/>
                  </a:lnTo>
                  <a:lnTo>
                    <a:pt x="2" y="461"/>
                  </a:lnTo>
                  <a:lnTo>
                    <a:pt x="8" y="471"/>
                  </a:lnTo>
                  <a:lnTo>
                    <a:pt x="18" y="477"/>
                  </a:lnTo>
                  <a:lnTo>
                    <a:pt x="29" y="48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6719" y="3168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3 h 120"/>
                <a:gd name="T16" fmla="*/ 2 w 817"/>
                <a:gd name="T17" fmla="*/ 116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6 h 120"/>
                <a:gd name="T28" fmla="*/ 816 w 817"/>
                <a:gd name="T29" fmla="*/ 113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6"/>
                  </a:lnTo>
                  <a:lnTo>
                    <a:pt x="816" y="113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9"/>
            <p:cNvSpPr>
              <a:spLocks/>
            </p:cNvSpPr>
            <p:nvPr/>
          </p:nvSpPr>
          <p:spPr bwMode="auto">
            <a:xfrm>
              <a:off x="6719" y="3211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7 h 120"/>
                <a:gd name="T8" fmla="*/ 517 w 518"/>
                <a:gd name="T9" fmla="*/ 114 h 120"/>
                <a:gd name="T10" fmla="*/ 518 w 518"/>
                <a:gd name="T11" fmla="*/ 111 h 120"/>
                <a:gd name="T12" fmla="*/ 518 w 518"/>
                <a:gd name="T13" fmla="*/ 11 h 120"/>
                <a:gd name="T14" fmla="*/ 517 w 518"/>
                <a:gd name="T15" fmla="*/ 7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7 h 120"/>
                <a:gd name="T30" fmla="*/ 0 w 518"/>
                <a:gd name="T31" fmla="*/ 11 h 120"/>
                <a:gd name="T32" fmla="*/ 0 w 518"/>
                <a:gd name="T33" fmla="*/ 111 h 120"/>
                <a:gd name="T34" fmla="*/ 0 w 518"/>
                <a:gd name="T35" fmla="*/ 114 h 120"/>
                <a:gd name="T36" fmla="*/ 2 w 518"/>
                <a:gd name="T37" fmla="*/ 117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4"/>
                  </a:lnTo>
                  <a:lnTo>
                    <a:pt x="518" y="111"/>
                  </a:lnTo>
                  <a:lnTo>
                    <a:pt x="518" y="11"/>
                  </a:lnTo>
                  <a:lnTo>
                    <a:pt x="517" y="7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0"/>
            <p:cNvSpPr>
              <a:spLocks/>
            </p:cNvSpPr>
            <p:nvPr/>
          </p:nvSpPr>
          <p:spPr bwMode="auto">
            <a:xfrm>
              <a:off x="6620" y="3265"/>
              <a:ext cx="61" cy="61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1 h 430"/>
                <a:gd name="T4" fmla="*/ 360 w 429"/>
                <a:gd name="T5" fmla="*/ 6 h 430"/>
                <a:gd name="T6" fmla="*/ 351 w 429"/>
                <a:gd name="T7" fmla="*/ 15 h 430"/>
                <a:gd name="T8" fmla="*/ 351 w 429"/>
                <a:gd name="T9" fmla="*/ 15 h 430"/>
                <a:gd name="T10" fmla="*/ 105 w 429"/>
                <a:gd name="T11" fmla="*/ 294 h 430"/>
                <a:gd name="T12" fmla="*/ 88 w 429"/>
                <a:gd name="T13" fmla="*/ 241 h 430"/>
                <a:gd name="T14" fmla="*/ 88 w 429"/>
                <a:gd name="T15" fmla="*/ 241 h 430"/>
                <a:gd name="T16" fmla="*/ 82 w 429"/>
                <a:gd name="T17" fmla="*/ 227 h 430"/>
                <a:gd name="T18" fmla="*/ 71 w 429"/>
                <a:gd name="T19" fmla="*/ 218 h 430"/>
                <a:gd name="T20" fmla="*/ 58 w 429"/>
                <a:gd name="T21" fmla="*/ 211 h 430"/>
                <a:gd name="T22" fmla="*/ 43 w 429"/>
                <a:gd name="T23" fmla="*/ 209 h 430"/>
                <a:gd name="T24" fmla="*/ 32 w 429"/>
                <a:gd name="T25" fmla="*/ 211 h 430"/>
                <a:gd name="T26" fmla="*/ 21 w 429"/>
                <a:gd name="T27" fmla="*/ 217 h 430"/>
                <a:gd name="T28" fmla="*/ 12 w 429"/>
                <a:gd name="T29" fmla="*/ 224 h 430"/>
                <a:gd name="T30" fmla="*/ 5 w 429"/>
                <a:gd name="T31" fmla="*/ 235 h 430"/>
                <a:gd name="T32" fmla="*/ 1 w 429"/>
                <a:gd name="T33" fmla="*/ 245 h 430"/>
                <a:gd name="T34" fmla="*/ 0 w 429"/>
                <a:gd name="T35" fmla="*/ 257 h 430"/>
                <a:gd name="T36" fmla="*/ 1 w 429"/>
                <a:gd name="T37" fmla="*/ 262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1 h 430"/>
                <a:gd name="T48" fmla="*/ 71 w 429"/>
                <a:gd name="T49" fmla="*/ 427 h 430"/>
                <a:gd name="T50" fmla="*/ 86 w 429"/>
                <a:gd name="T51" fmla="*/ 430 h 430"/>
                <a:gd name="T52" fmla="*/ 98 w 429"/>
                <a:gd name="T53" fmla="*/ 428 h 430"/>
                <a:gd name="T54" fmla="*/ 109 w 429"/>
                <a:gd name="T55" fmla="*/ 423 h 430"/>
                <a:gd name="T56" fmla="*/ 119 w 429"/>
                <a:gd name="T57" fmla="*/ 415 h 430"/>
                <a:gd name="T58" fmla="*/ 119 w 429"/>
                <a:gd name="T59" fmla="*/ 414 h 430"/>
                <a:gd name="T60" fmla="*/ 418 w 429"/>
                <a:gd name="T61" fmla="*/ 74 h 430"/>
                <a:gd name="T62" fmla="*/ 419 w 429"/>
                <a:gd name="T63" fmla="*/ 74 h 430"/>
                <a:gd name="T64" fmla="*/ 426 w 429"/>
                <a:gd name="T65" fmla="*/ 60 h 430"/>
                <a:gd name="T66" fmla="*/ 429 w 429"/>
                <a:gd name="T67" fmla="*/ 44 h 430"/>
                <a:gd name="T68" fmla="*/ 427 w 429"/>
                <a:gd name="T69" fmla="*/ 31 h 430"/>
                <a:gd name="T70" fmla="*/ 421 w 429"/>
                <a:gd name="T71" fmla="*/ 18 h 430"/>
                <a:gd name="T72" fmla="*/ 411 w 429"/>
                <a:gd name="T73" fmla="*/ 8 h 430"/>
                <a:gd name="T74" fmla="*/ 399 w 429"/>
                <a:gd name="T75" fmla="*/ 2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1"/>
                  </a:lnTo>
                  <a:lnTo>
                    <a:pt x="360" y="6"/>
                  </a:lnTo>
                  <a:lnTo>
                    <a:pt x="351" y="15"/>
                  </a:lnTo>
                  <a:lnTo>
                    <a:pt x="351" y="15"/>
                  </a:lnTo>
                  <a:lnTo>
                    <a:pt x="105" y="294"/>
                  </a:lnTo>
                  <a:lnTo>
                    <a:pt x="88" y="241"/>
                  </a:lnTo>
                  <a:lnTo>
                    <a:pt x="88" y="241"/>
                  </a:lnTo>
                  <a:lnTo>
                    <a:pt x="82" y="227"/>
                  </a:lnTo>
                  <a:lnTo>
                    <a:pt x="71" y="218"/>
                  </a:lnTo>
                  <a:lnTo>
                    <a:pt x="58" y="211"/>
                  </a:lnTo>
                  <a:lnTo>
                    <a:pt x="43" y="209"/>
                  </a:lnTo>
                  <a:lnTo>
                    <a:pt x="32" y="211"/>
                  </a:lnTo>
                  <a:lnTo>
                    <a:pt x="21" y="217"/>
                  </a:lnTo>
                  <a:lnTo>
                    <a:pt x="12" y="224"/>
                  </a:lnTo>
                  <a:lnTo>
                    <a:pt x="5" y="235"/>
                  </a:lnTo>
                  <a:lnTo>
                    <a:pt x="1" y="245"/>
                  </a:lnTo>
                  <a:lnTo>
                    <a:pt x="0" y="257"/>
                  </a:lnTo>
                  <a:lnTo>
                    <a:pt x="1" y="262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1"/>
                  </a:lnTo>
                  <a:lnTo>
                    <a:pt x="71" y="427"/>
                  </a:lnTo>
                  <a:lnTo>
                    <a:pt x="86" y="430"/>
                  </a:lnTo>
                  <a:lnTo>
                    <a:pt x="98" y="428"/>
                  </a:lnTo>
                  <a:lnTo>
                    <a:pt x="109" y="423"/>
                  </a:lnTo>
                  <a:lnTo>
                    <a:pt x="119" y="415"/>
                  </a:lnTo>
                  <a:lnTo>
                    <a:pt x="119" y="414"/>
                  </a:lnTo>
                  <a:lnTo>
                    <a:pt x="418" y="74"/>
                  </a:lnTo>
                  <a:lnTo>
                    <a:pt x="419" y="74"/>
                  </a:lnTo>
                  <a:lnTo>
                    <a:pt x="426" y="60"/>
                  </a:lnTo>
                  <a:lnTo>
                    <a:pt x="429" y="44"/>
                  </a:lnTo>
                  <a:lnTo>
                    <a:pt x="427" y="31"/>
                  </a:lnTo>
                  <a:lnTo>
                    <a:pt x="421" y="18"/>
                  </a:lnTo>
                  <a:lnTo>
                    <a:pt x="411" y="8"/>
                  </a:lnTo>
                  <a:lnTo>
                    <a:pt x="399" y="2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6602" y="3276"/>
              <a:ext cx="68" cy="69"/>
            </a:xfrm>
            <a:custGeom>
              <a:avLst/>
              <a:gdLst>
                <a:gd name="T0" fmla="*/ 29 w 478"/>
                <a:gd name="T1" fmla="*/ 481 h 481"/>
                <a:gd name="T2" fmla="*/ 448 w 478"/>
                <a:gd name="T3" fmla="*/ 481 h 481"/>
                <a:gd name="T4" fmla="*/ 460 w 478"/>
                <a:gd name="T5" fmla="*/ 478 h 481"/>
                <a:gd name="T6" fmla="*/ 469 w 478"/>
                <a:gd name="T7" fmla="*/ 471 h 481"/>
                <a:gd name="T8" fmla="*/ 476 w 478"/>
                <a:gd name="T9" fmla="*/ 462 h 481"/>
                <a:gd name="T10" fmla="*/ 478 w 478"/>
                <a:gd name="T11" fmla="*/ 450 h 481"/>
                <a:gd name="T12" fmla="*/ 478 w 478"/>
                <a:gd name="T13" fmla="*/ 164 h 481"/>
                <a:gd name="T14" fmla="*/ 478 w 478"/>
                <a:gd name="T15" fmla="*/ 162 h 481"/>
                <a:gd name="T16" fmla="*/ 477 w 478"/>
                <a:gd name="T17" fmla="*/ 161 h 481"/>
                <a:gd name="T18" fmla="*/ 475 w 478"/>
                <a:gd name="T19" fmla="*/ 160 h 481"/>
                <a:gd name="T20" fmla="*/ 472 w 478"/>
                <a:gd name="T21" fmla="*/ 159 h 481"/>
                <a:gd name="T22" fmla="*/ 471 w 478"/>
                <a:gd name="T23" fmla="*/ 160 h 481"/>
                <a:gd name="T24" fmla="*/ 469 w 478"/>
                <a:gd name="T25" fmla="*/ 161 h 481"/>
                <a:gd name="T26" fmla="*/ 419 w 478"/>
                <a:gd name="T27" fmla="*/ 217 h 481"/>
                <a:gd name="T28" fmla="*/ 418 w 478"/>
                <a:gd name="T29" fmla="*/ 219 h 481"/>
                <a:gd name="T30" fmla="*/ 418 w 478"/>
                <a:gd name="T31" fmla="*/ 220 h 481"/>
                <a:gd name="T32" fmla="*/ 418 w 478"/>
                <a:gd name="T33" fmla="*/ 420 h 481"/>
                <a:gd name="T34" fmla="*/ 60 w 478"/>
                <a:gd name="T35" fmla="*/ 420 h 481"/>
                <a:gd name="T36" fmla="*/ 60 w 478"/>
                <a:gd name="T37" fmla="*/ 61 h 481"/>
                <a:gd name="T38" fmla="*/ 300 w 478"/>
                <a:gd name="T39" fmla="*/ 61 h 481"/>
                <a:gd name="T40" fmla="*/ 302 w 478"/>
                <a:gd name="T41" fmla="*/ 60 h 481"/>
                <a:gd name="T42" fmla="*/ 303 w 478"/>
                <a:gd name="T43" fmla="*/ 59 h 481"/>
                <a:gd name="T44" fmla="*/ 347 w 478"/>
                <a:gd name="T45" fmla="*/ 9 h 481"/>
                <a:gd name="T46" fmla="*/ 348 w 478"/>
                <a:gd name="T47" fmla="*/ 8 h 481"/>
                <a:gd name="T48" fmla="*/ 348 w 478"/>
                <a:gd name="T49" fmla="*/ 6 h 481"/>
                <a:gd name="T50" fmla="*/ 347 w 478"/>
                <a:gd name="T51" fmla="*/ 4 h 481"/>
                <a:gd name="T52" fmla="*/ 346 w 478"/>
                <a:gd name="T53" fmla="*/ 3 h 481"/>
                <a:gd name="T54" fmla="*/ 345 w 478"/>
                <a:gd name="T55" fmla="*/ 2 h 481"/>
                <a:gd name="T56" fmla="*/ 343 w 478"/>
                <a:gd name="T57" fmla="*/ 0 h 481"/>
                <a:gd name="T58" fmla="*/ 29 w 478"/>
                <a:gd name="T59" fmla="*/ 0 h 481"/>
                <a:gd name="T60" fmla="*/ 18 w 478"/>
                <a:gd name="T61" fmla="*/ 4 h 481"/>
                <a:gd name="T62" fmla="*/ 8 w 478"/>
                <a:gd name="T63" fmla="*/ 10 h 481"/>
                <a:gd name="T64" fmla="*/ 2 w 478"/>
                <a:gd name="T65" fmla="*/ 20 h 481"/>
                <a:gd name="T66" fmla="*/ 0 w 478"/>
                <a:gd name="T67" fmla="*/ 31 h 481"/>
                <a:gd name="T68" fmla="*/ 0 w 478"/>
                <a:gd name="T69" fmla="*/ 450 h 481"/>
                <a:gd name="T70" fmla="*/ 2 w 478"/>
                <a:gd name="T71" fmla="*/ 462 h 481"/>
                <a:gd name="T72" fmla="*/ 8 w 478"/>
                <a:gd name="T73" fmla="*/ 471 h 481"/>
                <a:gd name="T74" fmla="*/ 18 w 478"/>
                <a:gd name="T75" fmla="*/ 478 h 481"/>
                <a:gd name="T76" fmla="*/ 29 w 478"/>
                <a:gd name="T77" fmla="*/ 481 h 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81">
                  <a:moveTo>
                    <a:pt x="29" y="481"/>
                  </a:moveTo>
                  <a:lnTo>
                    <a:pt x="448" y="481"/>
                  </a:lnTo>
                  <a:lnTo>
                    <a:pt x="460" y="478"/>
                  </a:lnTo>
                  <a:lnTo>
                    <a:pt x="469" y="471"/>
                  </a:lnTo>
                  <a:lnTo>
                    <a:pt x="476" y="462"/>
                  </a:lnTo>
                  <a:lnTo>
                    <a:pt x="478" y="450"/>
                  </a:lnTo>
                  <a:lnTo>
                    <a:pt x="478" y="164"/>
                  </a:lnTo>
                  <a:lnTo>
                    <a:pt x="478" y="162"/>
                  </a:lnTo>
                  <a:lnTo>
                    <a:pt x="477" y="161"/>
                  </a:lnTo>
                  <a:lnTo>
                    <a:pt x="475" y="160"/>
                  </a:lnTo>
                  <a:lnTo>
                    <a:pt x="472" y="159"/>
                  </a:lnTo>
                  <a:lnTo>
                    <a:pt x="471" y="160"/>
                  </a:lnTo>
                  <a:lnTo>
                    <a:pt x="469" y="161"/>
                  </a:lnTo>
                  <a:lnTo>
                    <a:pt x="419" y="217"/>
                  </a:lnTo>
                  <a:lnTo>
                    <a:pt x="418" y="219"/>
                  </a:lnTo>
                  <a:lnTo>
                    <a:pt x="418" y="220"/>
                  </a:lnTo>
                  <a:lnTo>
                    <a:pt x="418" y="420"/>
                  </a:lnTo>
                  <a:lnTo>
                    <a:pt x="60" y="420"/>
                  </a:lnTo>
                  <a:lnTo>
                    <a:pt x="60" y="61"/>
                  </a:lnTo>
                  <a:lnTo>
                    <a:pt x="300" y="61"/>
                  </a:lnTo>
                  <a:lnTo>
                    <a:pt x="302" y="60"/>
                  </a:lnTo>
                  <a:lnTo>
                    <a:pt x="303" y="59"/>
                  </a:lnTo>
                  <a:lnTo>
                    <a:pt x="347" y="9"/>
                  </a:lnTo>
                  <a:lnTo>
                    <a:pt x="348" y="8"/>
                  </a:lnTo>
                  <a:lnTo>
                    <a:pt x="348" y="6"/>
                  </a:lnTo>
                  <a:lnTo>
                    <a:pt x="347" y="4"/>
                  </a:lnTo>
                  <a:lnTo>
                    <a:pt x="346" y="3"/>
                  </a:lnTo>
                  <a:lnTo>
                    <a:pt x="345" y="2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1"/>
                  </a:lnTo>
                  <a:lnTo>
                    <a:pt x="0" y="450"/>
                  </a:lnTo>
                  <a:lnTo>
                    <a:pt x="2" y="462"/>
                  </a:lnTo>
                  <a:lnTo>
                    <a:pt x="8" y="471"/>
                  </a:lnTo>
                  <a:lnTo>
                    <a:pt x="18" y="478"/>
                  </a:lnTo>
                  <a:lnTo>
                    <a:pt x="29" y="4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6719" y="3282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0 h 120"/>
                <a:gd name="T6" fmla="*/ 2 w 817"/>
                <a:gd name="T7" fmla="*/ 2 h 120"/>
                <a:gd name="T8" fmla="*/ 0 w 817"/>
                <a:gd name="T9" fmla="*/ 5 h 120"/>
                <a:gd name="T10" fmla="*/ 0 w 817"/>
                <a:gd name="T11" fmla="*/ 9 h 120"/>
                <a:gd name="T12" fmla="*/ 0 w 817"/>
                <a:gd name="T13" fmla="*/ 109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09 h 120"/>
                <a:gd name="T32" fmla="*/ 817 w 817"/>
                <a:gd name="T33" fmla="*/ 9 h 120"/>
                <a:gd name="T34" fmla="*/ 816 w 817"/>
                <a:gd name="T35" fmla="*/ 5 h 120"/>
                <a:gd name="T36" fmla="*/ 814 w 817"/>
                <a:gd name="T37" fmla="*/ 2 h 120"/>
                <a:gd name="T38" fmla="*/ 811 w 817"/>
                <a:gd name="T39" fmla="*/ 0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09"/>
                  </a:lnTo>
                  <a:lnTo>
                    <a:pt x="817" y="9"/>
                  </a:lnTo>
                  <a:lnTo>
                    <a:pt x="816" y="5"/>
                  </a:lnTo>
                  <a:lnTo>
                    <a:pt x="814" y="2"/>
                  </a:lnTo>
                  <a:lnTo>
                    <a:pt x="811" y="0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3"/>
            <p:cNvSpPr>
              <a:spLocks/>
            </p:cNvSpPr>
            <p:nvPr/>
          </p:nvSpPr>
          <p:spPr bwMode="auto">
            <a:xfrm>
              <a:off x="6719" y="3325"/>
              <a:ext cx="74" cy="17"/>
            </a:xfrm>
            <a:custGeom>
              <a:avLst/>
              <a:gdLst>
                <a:gd name="T0" fmla="*/ 9 w 518"/>
                <a:gd name="T1" fmla="*/ 120 h 120"/>
                <a:gd name="T2" fmla="*/ 508 w 518"/>
                <a:gd name="T3" fmla="*/ 120 h 120"/>
                <a:gd name="T4" fmla="*/ 512 w 518"/>
                <a:gd name="T5" fmla="*/ 119 h 120"/>
                <a:gd name="T6" fmla="*/ 515 w 518"/>
                <a:gd name="T7" fmla="*/ 116 h 120"/>
                <a:gd name="T8" fmla="*/ 517 w 518"/>
                <a:gd name="T9" fmla="*/ 113 h 120"/>
                <a:gd name="T10" fmla="*/ 518 w 518"/>
                <a:gd name="T11" fmla="*/ 109 h 120"/>
                <a:gd name="T12" fmla="*/ 518 w 518"/>
                <a:gd name="T13" fmla="*/ 9 h 120"/>
                <a:gd name="T14" fmla="*/ 517 w 518"/>
                <a:gd name="T15" fmla="*/ 6 h 120"/>
                <a:gd name="T16" fmla="*/ 515 w 518"/>
                <a:gd name="T17" fmla="*/ 3 h 120"/>
                <a:gd name="T18" fmla="*/ 512 w 518"/>
                <a:gd name="T19" fmla="*/ 1 h 120"/>
                <a:gd name="T20" fmla="*/ 508 w 518"/>
                <a:gd name="T21" fmla="*/ 0 h 120"/>
                <a:gd name="T22" fmla="*/ 9 w 518"/>
                <a:gd name="T23" fmla="*/ 0 h 120"/>
                <a:gd name="T24" fmla="*/ 5 w 518"/>
                <a:gd name="T25" fmla="*/ 1 h 120"/>
                <a:gd name="T26" fmla="*/ 2 w 518"/>
                <a:gd name="T27" fmla="*/ 3 h 120"/>
                <a:gd name="T28" fmla="*/ 0 w 518"/>
                <a:gd name="T29" fmla="*/ 6 h 120"/>
                <a:gd name="T30" fmla="*/ 0 w 518"/>
                <a:gd name="T31" fmla="*/ 9 h 120"/>
                <a:gd name="T32" fmla="*/ 0 w 518"/>
                <a:gd name="T33" fmla="*/ 109 h 120"/>
                <a:gd name="T34" fmla="*/ 0 w 518"/>
                <a:gd name="T35" fmla="*/ 113 h 120"/>
                <a:gd name="T36" fmla="*/ 2 w 518"/>
                <a:gd name="T37" fmla="*/ 116 h 120"/>
                <a:gd name="T38" fmla="*/ 5 w 518"/>
                <a:gd name="T39" fmla="*/ 119 h 120"/>
                <a:gd name="T40" fmla="*/ 9 w 518"/>
                <a:gd name="T41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20">
                  <a:moveTo>
                    <a:pt x="9" y="120"/>
                  </a:moveTo>
                  <a:lnTo>
                    <a:pt x="508" y="120"/>
                  </a:lnTo>
                  <a:lnTo>
                    <a:pt x="512" y="119"/>
                  </a:lnTo>
                  <a:lnTo>
                    <a:pt x="515" y="116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6"/>
                  </a:lnTo>
                  <a:lnTo>
                    <a:pt x="515" y="3"/>
                  </a:lnTo>
                  <a:lnTo>
                    <a:pt x="512" y="1"/>
                  </a:lnTo>
                  <a:lnTo>
                    <a:pt x="508" y="0"/>
                  </a:ln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6"/>
                  </a:lnTo>
                  <a:lnTo>
                    <a:pt x="5" y="119"/>
                  </a:lnTo>
                  <a:lnTo>
                    <a:pt x="9" y="12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4"/>
            <p:cNvSpPr>
              <a:spLocks/>
            </p:cNvSpPr>
            <p:nvPr/>
          </p:nvSpPr>
          <p:spPr bwMode="auto">
            <a:xfrm>
              <a:off x="6620" y="3379"/>
              <a:ext cx="61" cy="62"/>
            </a:xfrm>
            <a:custGeom>
              <a:avLst/>
              <a:gdLst>
                <a:gd name="T0" fmla="*/ 384 w 429"/>
                <a:gd name="T1" fmla="*/ 0 h 430"/>
                <a:gd name="T2" fmla="*/ 372 w 429"/>
                <a:gd name="T3" fmla="*/ 2 h 430"/>
                <a:gd name="T4" fmla="*/ 360 w 429"/>
                <a:gd name="T5" fmla="*/ 7 h 430"/>
                <a:gd name="T6" fmla="*/ 351 w 429"/>
                <a:gd name="T7" fmla="*/ 15 h 430"/>
                <a:gd name="T8" fmla="*/ 351 w 429"/>
                <a:gd name="T9" fmla="*/ 16 h 430"/>
                <a:gd name="T10" fmla="*/ 105 w 429"/>
                <a:gd name="T11" fmla="*/ 295 h 430"/>
                <a:gd name="T12" fmla="*/ 88 w 429"/>
                <a:gd name="T13" fmla="*/ 242 h 430"/>
                <a:gd name="T14" fmla="*/ 88 w 429"/>
                <a:gd name="T15" fmla="*/ 241 h 430"/>
                <a:gd name="T16" fmla="*/ 82 w 429"/>
                <a:gd name="T17" fmla="*/ 228 h 430"/>
                <a:gd name="T18" fmla="*/ 71 w 429"/>
                <a:gd name="T19" fmla="*/ 219 h 430"/>
                <a:gd name="T20" fmla="*/ 58 w 429"/>
                <a:gd name="T21" fmla="*/ 212 h 430"/>
                <a:gd name="T22" fmla="*/ 43 w 429"/>
                <a:gd name="T23" fmla="*/ 210 h 430"/>
                <a:gd name="T24" fmla="*/ 32 w 429"/>
                <a:gd name="T25" fmla="*/ 212 h 430"/>
                <a:gd name="T26" fmla="*/ 21 w 429"/>
                <a:gd name="T27" fmla="*/ 218 h 430"/>
                <a:gd name="T28" fmla="*/ 12 w 429"/>
                <a:gd name="T29" fmla="*/ 225 h 430"/>
                <a:gd name="T30" fmla="*/ 5 w 429"/>
                <a:gd name="T31" fmla="*/ 235 h 430"/>
                <a:gd name="T32" fmla="*/ 1 w 429"/>
                <a:gd name="T33" fmla="*/ 246 h 430"/>
                <a:gd name="T34" fmla="*/ 0 w 429"/>
                <a:gd name="T35" fmla="*/ 258 h 430"/>
                <a:gd name="T36" fmla="*/ 1 w 429"/>
                <a:gd name="T37" fmla="*/ 263 h 430"/>
                <a:gd name="T38" fmla="*/ 2 w 429"/>
                <a:gd name="T39" fmla="*/ 268 h 430"/>
                <a:gd name="T40" fmla="*/ 2 w 429"/>
                <a:gd name="T41" fmla="*/ 269 h 430"/>
                <a:gd name="T42" fmla="*/ 42 w 429"/>
                <a:gd name="T43" fmla="*/ 398 h 430"/>
                <a:gd name="T44" fmla="*/ 49 w 429"/>
                <a:gd name="T45" fmla="*/ 411 h 430"/>
                <a:gd name="T46" fmla="*/ 58 w 429"/>
                <a:gd name="T47" fmla="*/ 422 h 430"/>
                <a:gd name="T48" fmla="*/ 71 w 429"/>
                <a:gd name="T49" fmla="*/ 428 h 430"/>
                <a:gd name="T50" fmla="*/ 86 w 429"/>
                <a:gd name="T51" fmla="*/ 430 h 430"/>
                <a:gd name="T52" fmla="*/ 98 w 429"/>
                <a:gd name="T53" fmla="*/ 429 h 430"/>
                <a:gd name="T54" fmla="*/ 109 w 429"/>
                <a:gd name="T55" fmla="*/ 424 h 430"/>
                <a:gd name="T56" fmla="*/ 119 w 429"/>
                <a:gd name="T57" fmla="*/ 415 h 430"/>
                <a:gd name="T58" fmla="*/ 119 w 429"/>
                <a:gd name="T59" fmla="*/ 415 h 430"/>
                <a:gd name="T60" fmla="*/ 418 w 429"/>
                <a:gd name="T61" fmla="*/ 75 h 430"/>
                <a:gd name="T62" fmla="*/ 419 w 429"/>
                <a:gd name="T63" fmla="*/ 75 h 430"/>
                <a:gd name="T64" fmla="*/ 426 w 429"/>
                <a:gd name="T65" fmla="*/ 62 h 430"/>
                <a:gd name="T66" fmla="*/ 429 w 429"/>
                <a:gd name="T67" fmla="*/ 46 h 430"/>
                <a:gd name="T68" fmla="*/ 427 w 429"/>
                <a:gd name="T69" fmla="*/ 31 h 430"/>
                <a:gd name="T70" fmla="*/ 421 w 429"/>
                <a:gd name="T71" fmla="*/ 19 h 430"/>
                <a:gd name="T72" fmla="*/ 411 w 429"/>
                <a:gd name="T73" fmla="*/ 9 h 430"/>
                <a:gd name="T74" fmla="*/ 399 w 429"/>
                <a:gd name="T75" fmla="*/ 3 h 430"/>
                <a:gd name="T76" fmla="*/ 384 w 429"/>
                <a:gd name="T77" fmla="*/ 0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29" h="430">
                  <a:moveTo>
                    <a:pt x="384" y="0"/>
                  </a:moveTo>
                  <a:lnTo>
                    <a:pt x="372" y="2"/>
                  </a:lnTo>
                  <a:lnTo>
                    <a:pt x="360" y="7"/>
                  </a:lnTo>
                  <a:lnTo>
                    <a:pt x="351" y="15"/>
                  </a:lnTo>
                  <a:lnTo>
                    <a:pt x="351" y="16"/>
                  </a:lnTo>
                  <a:lnTo>
                    <a:pt x="105" y="295"/>
                  </a:lnTo>
                  <a:lnTo>
                    <a:pt x="88" y="242"/>
                  </a:lnTo>
                  <a:lnTo>
                    <a:pt x="88" y="241"/>
                  </a:lnTo>
                  <a:lnTo>
                    <a:pt x="82" y="228"/>
                  </a:lnTo>
                  <a:lnTo>
                    <a:pt x="71" y="219"/>
                  </a:lnTo>
                  <a:lnTo>
                    <a:pt x="58" y="212"/>
                  </a:lnTo>
                  <a:lnTo>
                    <a:pt x="43" y="210"/>
                  </a:lnTo>
                  <a:lnTo>
                    <a:pt x="32" y="212"/>
                  </a:lnTo>
                  <a:lnTo>
                    <a:pt x="21" y="218"/>
                  </a:lnTo>
                  <a:lnTo>
                    <a:pt x="12" y="225"/>
                  </a:lnTo>
                  <a:lnTo>
                    <a:pt x="5" y="235"/>
                  </a:lnTo>
                  <a:lnTo>
                    <a:pt x="1" y="246"/>
                  </a:lnTo>
                  <a:lnTo>
                    <a:pt x="0" y="258"/>
                  </a:lnTo>
                  <a:lnTo>
                    <a:pt x="1" y="263"/>
                  </a:lnTo>
                  <a:lnTo>
                    <a:pt x="2" y="268"/>
                  </a:lnTo>
                  <a:lnTo>
                    <a:pt x="2" y="269"/>
                  </a:lnTo>
                  <a:lnTo>
                    <a:pt x="42" y="398"/>
                  </a:lnTo>
                  <a:lnTo>
                    <a:pt x="49" y="411"/>
                  </a:lnTo>
                  <a:lnTo>
                    <a:pt x="58" y="422"/>
                  </a:lnTo>
                  <a:lnTo>
                    <a:pt x="71" y="428"/>
                  </a:lnTo>
                  <a:lnTo>
                    <a:pt x="86" y="430"/>
                  </a:lnTo>
                  <a:lnTo>
                    <a:pt x="98" y="429"/>
                  </a:lnTo>
                  <a:lnTo>
                    <a:pt x="109" y="424"/>
                  </a:lnTo>
                  <a:lnTo>
                    <a:pt x="119" y="415"/>
                  </a:lnTo>
                  <a:lnTo>
                    <a:pt x="119" y="415"/>
                  </a:lnTo>
                  <a:lnTo>
                    <a:pt x="418" y="75"/>
                  </a:lnTo>
                  <a:lnTo>
                    <a:pt x="419" y="75"/>
                  </a:lnTo>
                  <a:lnTo>
                    <a:pt x="426" y="62"/>
                  </a:lnTo>
                  <a:lnTo>
                    <a:pt x="429" y="46"/>
                  </a:lnTo>
                  <a:lnTo>
                    <a:pt x="427" y="31"/>
                  </a:lnTo>
                  <a:lnTo>
                    <a:pt x="421" y="19"/>
                  </a:lnTo>
                  <a:lnTo>
                    <a:pt x="411" y="9"/>
                  </a:lnTo>
                  <a:lnTo>
                    <a:pt x="399" y="3"/>
                  </a:lnTo>
                  <a:lnTo>
                    <a:pt x="38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5"/>
            <p:cNvSpPr>
              <a:spLocks/>
            </p:cNvSpPr>
            <p:nvPr/>
          </p:nvSpPr>
          <p:spPr bwMode="auto">
            <a:xfrm>
              <a:off x="6602" y="3391"/>
              <a:ext cx="68" cy="68"/>
            </a:xfrm>
            <a:custGeom>
              <a:avLst/>
              <a:gdLst>
                <a:gd name="T0" fmla="*/ 469 w 478"/>
                <a:gd name="T1" fmla="*/ 160 h 479"/>
                <a:gd name="T2" fmla="*/ 419 w 478"/>
                <a:gd name="T3" fmla="*/ 216 h 479"/>
                <a:gd name="T4" fmla="*/ 418 w 478"/>
                <a:gd name="T5" fmla="*/ 218 h 479"/>
                <a:gd name="T6" fmla="*/ 418 w 478"/>
                <a:gd name="T7" fmla="*/ 220 h 479"/>
                <a:gd name="T8" fmla="*/ 418 w 478"/>
                <a:gd name="T9" fmla="*/ 419 h 479"/>
                <a:gd name="T10" fmla="*/ 60 w 478"/>
                <a:gd name="T11" fmla="*/ 419 h 479"/>
                <a:gd name="T12" fmla="*/ 60 w 478"/>
                <a:gd name="T13" fmla="*/ 59 h 479"/>
                <a:gd name="T14" fmla="*/ 300 w 478"/>
                <a:gd name="T15" fmla="*/ 59 h 479"/>
                <a:gd name="T16" fmla="*/ 302 w 478"/>
                <a:gd name="T17" fmla="*/ 59 h 479"/>
                <a:gd name="T18" fmla="*/ 303 w 478"/>
                <a:gd name="T19" fmla="*/ 58 h 479"/>
                <a:gd name="T20" fmla="*/ 347 w 478"/>
                <a:gd name="T21" fmla="*/ 8 h 479"/>
                <a:gd name="T22" fmla="*/ 348 w 478"/>
                <a:gd name="T23" fmla="*/ 6 h 479"/>
                <a:gd name="T24" fmla="*/ 348 w 478"/>
                <a:gd name="T25" fmla="*/ 5 h 479"/>
                <a:gd name="T26" fmla="*/ 347 w 478"/>
                <a:gd name="T27" fmla="*/ 3 h 479"/>
                <a:gd name="T28" fmla="*/ 346 w 478"/>
                <a:gd name="T29" fmla="*/ 1 h 479"/>
                <a:gd name="T30" fmla="*/ 345 w 478"/>
                <a:gd name="T31" fmla="*/ 0 h 479"/>
                <a:gd name="T32" fmla="*/ 343 w 478"/>
                <a:gd name="T33" fmla="*/ 0 h 479"/>
                <a:gd name="T34" fmla="*/ 29 w 478"/>
                <a:gd name="T35" fmla="*/ 0 h 479"/>
                <a:gd name="T36" fmla="*/ 18 w 478"/>
                <a:gd name="T37" fmla="*/ 2 h 479"/>
                <a:gd name="T38" fmla="*/ 8 w 478"/>
                <a:gd name="T39" fmla="*/ 8 h 479"/>
                <a:gd name="T40" fmla="*/ 2 w 478"/>
                <a:gd name="T41" fmla="*/ 18 h 479"/>
                <a:gd name="T42" fmla="*/ 0 w 478"/>
                <a:gd name="T43" fmla="*/ 29 h 479"/>
                <a:gd name="T44" fmla="*/ 0 w 478"/>
                <a:gd name="T45" fmla="*/ 449 h 479"/>
                <a:gd name="T46" fmla="*/ 2 w 478"/>
                <a:gd name="T47" fmla="*/ 461 h 479"/>
                <a:gd name="T48" fmla="*/ 8 w 478"/>
                <a:gd name="T49" fmla="*/ 470 h 479"/>
                <a:gd name="T50" fmla="*/ 18 w 478"/>
                <a:gd name="T51" fmla="*/ 477 h 479"/>
                <a:gd name="T52" fmla="*/ 29 w 478"/>
                <a:gd name="T53" fmla="*/ 479 h 479"/>
                <a:gd name="T54" fmla="*/ 448 w 478"/>
                <a:gd name="T55" fmla="*/ 479 h 479"/>
                <a:gd name="T56" fmla="*/ 460 w 478"/>
                <a:gd name="T57" fmla="*/ 477 h 479"/>
                <a:gd name="T58" fmla="*/ 469 w 478"/>
                <a:gd name="T59" fmla="*/ 470 h 479"/>
                <a:gd name="T60" fmla="*/ 476 w 478"/>
                <a:gd name="T61" fmla="*/ 461 h 479"/>
                <a:gd name="T62" fmla="*/ 478 w 478"/>
                <a:gd name="T63" fmla="*/ 449 h 479"/>
                <a:gd name="T64" fmla="*/ 478 w 478"/>
                <a:gd name="T65" fmla="*/ 163 h 479"/>
                <a:gd name="T66" fmla="*/ 478 w 478"/>
                <a:gd name="T67" fmla="*/ 161 h 479"/>
                <a:gd name="T68" fmla="*/ 477 w 478"/>
                <a:gd name="T69" fmla="*/ 159 h 479"/>
                <a:gd name="T70" fmla="*/ 475 w 478"/>
                <a:gd name="T71" fmla="*/ 158 h 479"/>
                <a:gd name="T72" fmla="*/ 472 w 478"/>
                <a:gd name="T73" fmla="*/ 158 h 479"/>
                <a:gd name="T74" fmla="*/ 471 w 478"/>
                <a:gd name="T75" fmla="*/ 159 h 479"/>
                <a:gd name="T76" fmla="*/ 469 w 478"/>
                <a:gd name="T77" fmla="*/ 160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78" h="479">
                  <a:moveTo>
                    <a:pt x="469" y="160"/>
                  </a:moveTo>
                  <a:lnTo>
                    <a:pt x="419" y="216"/>
                  </a:lnTo>
                  <a:lnTo>
                    <a:pt x="418" y="218"/>
                  </a:lnTo>
                  <a:lnTo>
                    <a:pt x="418" y="220"/>
                  </a:lnTo>
                  <a:lnTo>
                    <a:pt x="418" y="419"/>
                  </a:lnTo>
                  <a:lnTo>
                    <a:pt x="60" y="419"/>
                  </a:lnTo>
                  <a:lnTo>
                    <a:pt x="60" y="59"/>
                  </a:lnTo>
                  <a:lnTo>
                    <a:pt x="300" y="59"/>
                  </a:lnTo>
                  <a:lnTo>
                    <a:pt x="302" y="59"/>
                  </a:lnTo>
                  <a:lnTo>
                    <a:pt x="303" y="58"/>
                  </a:lnTo>
                  <a:lnTo>
                    <a:pt x="347" y="8"/>
                  </a:lnTo>
                  <a:lnTo>
                    <a:pt x="348" y="6"/>
                  </a:lnTo>
                  <a:lnTo>
                    <a:pt x="348" y="5"/>
                  </a:lnTo>
                  <a:lnTo>
                    <a:pt x="347" y="3"/>
                  </a:lnTo>
                  <a:lnTo>
                    <a:pt x="346" y="1"/>
                  </a:lnTo>
                  <a:lnTo>
                    <a:pt x="345" y="0"/>
                  </a:lnTo>
                  <a:lnTo>
                    <a:pt x="343" y="0"/>
                  </a:lnTo>
                  <a:lnTo>
                    <a:pt x="29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29"/>
                  </a:lnTo>
                  <a:lnTo>
                    <a:pt x="0" y="449"/>
                  </a:lnTo>
                  <a:lnTo>
                    <a:pt x="2" y="461"/>
                  </a:lnTo>
                  <a:lnTo>
                    <a:pt x="8" y="470"/>
                  </a:lnTo>
                  <a:lnTo>
                    <a:pt x="18" y="477"/>
                  </a:lnTo>
                  <a:lnTo>
                    <a:pt x="29" y="479"/>
                  </a:lnTo>
                  <a:lnTo>
                    <a:pt x="448" y="479"/>
                  </a:lnTo>
                  <a:lnTo>
                    <a:pt x="460" y="477"/>
                  </a:lnTo>
                  <a:lnTo>
                    <a:pt x="469" y="470"/>
                  </a:lnTo>
                  <a:lnTo>
                    <a:pt x="476" y="461"/>
                  </a:lnTo>
                  <a:lnTo>
                    <a:pt x="478" y="449"/>
                  </a:lnTo>
                  <a:lnTo>
                    <a:pt x="478" y="163"/>
                  </a:lnTo>
                  <a:lnTo>
                    <a:pt x="478" y="161"/>
                  </a:lnTo>
                  <a:lnTo>
                    <a:pt x="477" y="159"/>
                  </a:lnTo>
                  <a:lnTo>
                    <a:pt x="475" y="158"/>
                  </a:lnTo>
                  <a:lnTo>
                    <a:pt x="472" y="158"/>
                  </a:lnTo>
                  <a:lnTo>
                    <a:pt x="471" y="159"/>
                  </a:lnTo>
                  <a:lnTo>
                    <a:pt x="469" y="16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6"/>
            <p:cNvSpPr>
              <a:spLocks/>
            </p:cNvSpPr>
            <p:nvPr/>
          </p:nvSpPr>
          <p:spPr bwMode="auto">
            <a:xfrm>
              <a:off x="6719" y="3396"/>
              <a:ext cx="116" cy="17"/>
            </a:xfrm>
            <a:custGeom>
              <a:avLst/>
              <a:gdLst>
                <a:gd name="T0" fmla="*/ 808 w 817"/>
                <a:gd name="T1" fmla="*/ 0 h 120"/>
                <a:gd name="T2" fmla="*/ 9 w 817"/>
                <a:gd name="T3" fmla="*/ 0 h 120"/>
                <a:gd name="T4" fmla="*/ 5 w 817"/>
                <a:gd name="T5" fmla="*/ 1 h 120"/>
                <a:gd name="T6" fmla="*/ 2 w 817"/>
                <a:gd name="T7" fmla="*/ 3 h 120"/>
                <a:gd name="T8" fmla="*/ 0 w 817"/>
                <a:gd name="T9" fmla="*/ 6 h 120"/>
                <a:gd name="T10" fmla="*/ 0 w 817"/>
                <a:gd name="T11" fmla="*/ 11 h 120"/>
                <a:gd name="T12" fmla="*/ 0 w 817"/>
                <a:gd name="T13" fmla="*/ 111 h 120"/>
                <a:gd name="T14" fmla="*/ 0 w 817"/>
                <a:gd name="T15" fmla="*/ 114 h 120"/>
                <a:gd name="T16" fmla="*/ 2 w 817"/>
                <a:gd name="T17" fmla="*/ 117 h 120"/>
                <a:gd name="T18" fmla="*/ 5 w 817"/>
                <a:gd name="T19" fmla="*/ 119 h 120"/>
                <a:gd name="T20" fmla="*/ 9 w 817"/>
                <a:gd name="T21" fmla="*/ 120 h 120"/>
                <a:gd name="T22" fmla="*/ 808 w 817"/>
                <a:gd name="T23" fmla="*/ 120 h 120"/>
                <a:gd name="T24" fmla="*/ 811 w 817"/>
                <a:gd name="T25" fmla="*/ 119 h 120"/>
                <a:gd name="T26" fmla="*/ 814 w 817"/>
                <a:gd name="T27" fmla="*/ 117 h 120"/>
                <a:gd name="T28" fmla="*/ 816 w 817"/>
                <a:gd name="T29" fmla="*/ 114 h 120"/>
                <a:gd name="T30" fmla="*/ 817 w 817"/>
                <a:gd name="T31" fmla="*/ 111 h 120"/>
                <a:gd name="T32" fmla="*/ 817 w 817"/>
                <a:gd name="T33" fmla="*/ 11 h 120"/>
                <a:gd name="T34" fmla="*/ 816 w 817"/>
                <a:gd name="T35" fmla="*/ 6 h 120"/>
                <a:gd name="T36" fmla="*/ 814 w 817"/>
                <a:gd name="T37" fmla="*/ 3 h 120"/>
                <a:gd name="T38" fmla="*/ 811 w 817"/>
                <a:gd name="T39" fmla="*/ 1 h 120"/>
                <a:gd name="T40" fmla="*/ 808 w 817"/>
                <a:gd name="T41" fmla="*/ 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7" h="120">
                  <a:moveTo>
                    <a:pt x="808" y="0"/>
                  </a:moveTo>
                  <a:lnTo>
                    <a:pt x="9" y="0"/>
                  </a:lnTo>
                  <a:lnTo>
                    <a:pt x="5" y="1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1"/>
                  </a:lnTo>
                  <a:lnTo>
                    <a:pt x="0" y="111"/>
                  </a:lnTo>
                  <a:lnTo>
                    <a:pt x="0" y="114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20"/>
                  </a:lnTo>
                  <a:lnTo>
                    <a:pt x="808" y="120"/>
                  </a:lnTo>
                  <a:lnTo>
                    <a:pt x="811" y="119"/>
                  </a:lnTo>
                  <a:lnTo>
                    <a:pt x="814" y="117"/>
                  </a:lnTo>
                  <a:lnTo>
                    <a:pt x="816" y="114"/>
                  </a:lnTo>
                  <a:lnTo>
                    <a:pt x="817" y="111"/>
                  </a:lnTo>
                  <a:lnTo>
                    <a:pt x="817" y="11"/>
                  </a:lnTo>
                  <a:lnTo>
                    <a:pt x="816" y="6"/>
                  </a:lnTo>
                  <a:lnTo>
                    <a:pt x="814" y="3"/>
                  </a:lnTo>
                  <a:lnTo>
                    <a:pt x="811" y="1"/>
                  </a:lnTo>
                  <a:lnTo>
                    <a:pt x="8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7"/>
            <p:cNvSpPr>
              <a:spLocks/>
            </p:cNvSpPr>
            <p:nvPr/>
          </p:nvSpPr>
          <p:spPr bwMode="auto">
            <a:xfrm>
              <a:off x="6719" y="3439"/>
              <a:ext cx="74" cy="17"/>
            </a:xfrm>
            <a:custGeom>
              <a:avLst/>
              <a:gdLst>
                <a:gd name="T0" fmla="*/ 508 w 518"/>
                <a:gd name="T1" fmla="*/ 0 h 119"/>
                <a:gd name="T2" fmla="*/ 9 w 518"/>
                <a:gd name="T3" fmla="*/ 0 h 119"/>
                <a:gd name="T4" fmla="*/ 5 w 518"/>
                <a:gd name="T5" fmla="*/ 0 h 119"/>
                <a:gd name="T6" fmla="*/ 2 w 518"/>
                <a:gd name="T7" fmla="*/ 2 h 119"/>
                <a:gd name="T8" fmla="*/ 0 w 518"/>
                <a:gd name="T9" fmla="*/ 5 h 119"/>
                <a:gd name="T10" fmla="*/ 0 w 518"/>
                <a:gd name="T11" fmla="*/ 9 h 119"/>
                <a:gd name="T12" fmla="*/ 0 w 518"/>
                <a:gd name="T13" fmla="*/ 109 h 119"/>
                <a:gd name="T14" fmla="*/ 0 w 518"/>
                <a:gd name="T15" fmla="*/ 113 h 119"/>
                <a:gd name="T16" fmla="*/ 2 w 518"/>
                <a:gd name="T17" fmla="*/ 117 h 119"/>
                <a:gd name="T18" fmla="*/ 5 w 518"/>
                <a:gd name="T19" fmla="*/ 119 h 119"/>
                <a:gd name="T20" fmla="*/ 9 w 518"/>
                <a:gd name="T21" fmla="*/ 119 h 119"/>
                <a:gd name="T22" fmla="*/ 508 w 518"/>
                <a:gd name="T23" fmla="*/ 119 h 119"/>
                <a:gd name="T24" fmla="*/ 512 w 518"/>
                <a:gd name="T25" fmla="*/ 119 h 119"/>
                <a:gd name="T26" fmla="*/ 515 w 518"/>
                <a:gd name="T27" fmla="*/ 117 h 119"/>
                <a:gd name="T28" fmla="*/ 517 w 518"/>
                <a:gd name="T29" fmla="*/ 113 h 119"/>
                <a:gd name="T30" fmla="*/ 518 w 518"/>
                <a:gd name="T31" fmla="*/ 109 h 119"/>
                <a:gd name="T32" fmla="*/ 518 w 518"/>
                <a:gd name="T33" fmla="*/ 9 h 119"/>
                <a:gd name="T34" fmla="*/ 517 w 518"/>
                <a:gd name="T35" fmla="*/ 5 h 119"/>
                <a:gd name="T36" fmla="*/ 515 w 518"/>
                <a:gd name="T37" fmla="*/ 2 h 119"/>
                <a:gd name="T38" fmla="*/ 512 w 518"/>
                <a:gd name="T39" fmla="*/ 0 h 119"/>
                <a:gd name="T40" fmla="*/ 508 w 518"/>
                <a:gd name="T41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18" h="119">
                  <a:moveTo>
                    <a:pt x="508" y="0"/>
                  </a:moveTo>
                  <a:lnTo>
                    <a:pt x="9" y="0"/>
                  </a:lnTo>
                  <a:lnTo>
                    <a:pt x="5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0" y="109"/>
                  </a:lnTo>
                  <a:lnTo>
                    <a:pt x="0" y="113"/>
                  </a:lnTo>
                  <a:lnTo>
                    <a:pt x="2" y="117"/>
                  </a:lnTo>
                  <a:lnTo>
                    <a:pt x="5" y="119"/>
                  </a:lnTo>
                  <a:lnTo>
                    <a:pt x="9" y="119"/>
                  </a:lnTo>
                  <a:lnTo>
                    <a:pt x="508" y="119"/>
                  </a:lnTo>
                  <a:lnTo>
                    <a:pt x="512" y="119"/>
                  </a:lnTo>
                  <a:lnTo>
                    <a:pt x="515" y="117"/>
                  </a:lnTo>
                  <a:lnTo>
                    <a:pt x="517" y="113"/>
                  </a:lnTo>
                  <a:lnTo>
                    <a:pt x="518" y="109"/>
                  </a:lnTo>
                  <a:lnTo>
                    <a:pt x="518" y="9"/>
                  </a:lnTo>
                  <a:lnTo>
                    <a:pt x="517" y="5"/>
                  </a:lnTo>
                  <a:lnTo>
                    <a:pt x="515" y="2"/>
                  </a:lnTo>
                  <a:lnTo>
                    <a:pt x="512" y="0"/>
                  </a:lnTo>
                  <a:lnTo>
                    <a:pt x="5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8"/>
            <p:cNvSpPr>
              <a:spLocks noEditPoints="1"/>
            </p:cNvSpPr>
            <p:nvPr/>
          </p:nvSpPr>
          <p:spPr bwMode="auto">
            <a:xfrm>
              <a:off x="6535" y="3026"/>
              <a:ext cx="370" cy="500"/>
            </a:xfrm>
            <a:custGeom>
              <a:avLst/>
              <a:gdLst>
                <a:gd name="T0" fmla="*/ 2493 w 2593"/>
                <a:gd name="T1" fmla="*/ 3499 h 3499"/>
                <a:gd name="T2" fmla="*/ 2536 w 2593"/>
                <a:gd name="T3" fmla="*/ 3489 h 3499"/>
                <a:gd name="T4" fmla="*/ 2570 w 2593"/>
                <a:gd name="T5" fmla="*/ 3461 h 3499"/>
                <a:gd name="T6" fmla="*/ 2591 w 2593"/>
                <a:gd name="T7" fmla="*/ 3422 h 3499"/>
                <a:gd name="T8" fmla="*/ 2593 w 2593"/>
                <a:gd name="T9" fmla="*/ 400 h 3499"/>
                <a:gd name="T10" fmla="*/ 2583 w 2593"/>
                <a:gd name="T11" fmla="*/ 356 h 3499"/>
                <a:gd name="T12" fmla="*/ 2556 w 2593"/>
                <a:gd name="T13" fmla="*/ 322 h 3499"/>
                <a:gd name="T14" fmla="*/ 2516 w 2593"/>
                <a:gd name="T15" fmla="*/ 302 h 3499"/>
                <a:gd name="T16" fmla="*/ 1642 w 2593"/>
                <a:gd name="T17" fmla="*/ 300 h 3499"/>
                <a:gd name="T18" fmla="*/ 1618 w 2593"/>
                <a:gd name="T19" fmla="*/ 212 h 3499"/>
                <a:gd name="T20" fmla="*/ 1572 w 2593"/>
                <a:gd name="T21" fmla="*/ 135 h 3499"/>
                <a:gd name="T22" fmla="*/ 1508 w 2593"/>
                <a:gd name="T23" fmla="*/ 72 h 3499"/>
                <a:gd name="T24" fmla="*/ 1431 w 2593"/>
                <a:gd name="T25" fmla="*/ 27 h 3499"/>
                <a:gd name="T26" fmla="*/ 1343 w 2593"/>
                <a:gd name="T27" fmla="*/ 3 h 3499"/>
                <a:gd name="T28" fmla="*/ 1250 w 2593"/>
                <a:gd name="T29" fmla="*/ 3 h 3499"/>
                <a:gd name="T30" fmla="*/ 1162 w 2593"/>
                <a:gd name="T31" fmla="*/ 27 h 3499"/>
                <a:gd name="T32" fmla="*/ 1085 w 2593"/>
                <a:gd name="T33" fmla="*/ 72 h 3499"/>
                <a:gd name="T34" fmla="*/ 1021 w 2593"/>
                <a:gd name="T35" fmla="*/ 135 h 3499"/>
                <a:gd name="T36" fmla="*/ 975 w 2593"/>
                <a:gd name="T37" fmla="*/ 212 h 3499"/>
                <a:gd name="T38" fmla="*/ 951 w 2593"/>
                <a:gd name="T39" fmla="*/ 300 h 3499"/>
                <a:gd name="T40" fmla="*/ 77 w 2593"/>
                <a:gd name="T41" fmla="*/ 302 h 3499"/>
                <a:gd name="T42" fmla="*/ 37 w 2593"/>
                <a:gd name="T43" fmla="*/ 321 h 3499"/>
                <a:gd name="T44" fmla="*/ 11 w 2593"/>
                <a:gd name="T45" fmla="*/ 356 h 3499"/>
                <a:gd name="T46" fmla="*/ 0 w 2593"/>
                <a:gd name="T47" fmla="*/ 400 h 3499"/>
                <a:gd name="T48" fmla="*/ 2 w 2593"/>
                <a:gd name="T49" fmla="*/ 3422 h 3499"/>
                <a:gd name="T50" fmla="*/ 23 w 2593"/>
                <a:gd name="T51" fmla="*/ 3461 h 3499"/>
                <a:gd name="T52" fmla="*/ 56 w 2593"/>
                <a:gd name="T53" fmla="*/ 3489 h 3499"/>
                <a:gd name="T54" fmla="*/ 100 w 2593"/>
                <a:gd name="T55" fmla="*/ 3499 h 3499"/>
                <a:gd name="T56" fmla="*/ 1326 w 2593"/>
                <a:gd name="T57" fmla="*/ 203 h 3499"/>
                <a:gd name="T58" fmla="*/ 1380 w 2593"/>
                <a:gd name="T59" fmla="*/ 225 h 3499"/>
                <a:gd name="T60" fmla="*/ 1420 w 2593"/>
                <a:gd name="T61" fmla="*/ 266 h 3499"/>
                <a:gd name="T62" fmla="*/ 1443 w 2593"/>
                <a:gd name="T63" fmla="*/ 319 h 3499"/>
                <a:gd name="T64" fmla="*/ 1443 w 2593"/>
                <a:gd name="T65" fmla="*/ 380 h 3499"/>
                <a:gd name="T66" fmla="*/ 1420 w 2593"/>
                <a:gd name="T67" fmla="*/ 434 h 3499"/>
                <a:gd name="T68" fmla="*/ 1380 w 2593"/>
                <a:gd name="T69" fmla="*/ 474 h 3499"/>
                <a:gd name="T70" fmla="*/ 1326 w 2593"/>
                <a:gd name="T71" fmla="*/ 496 h 3499"/>
                <a:gd name="T72" fmla="*/ 1267 w 2593"/>
                <a:gd name="T73" fmla="*/ 496 h 3499"/>
                <a:gd name="T74" fmla="*/ 1213 w 2593"/>
                <a:gd name="T75" fmla="*/ 474 h 3499"/>
                <a:gd name="T76" fmla="*/ 1172 w 2593"/>
                <a:gd name="T77" fmla="*/ 434 h 3499"/>
                <a:gd name="T78" fmla="*/ 1150 w 2593"/>
                <a:gd name="T79" fmla="*/ 380 h 3499"/>
                <a:gd name="T80" fmla="*/ 1150 w 2593"/>
                <a:gd name="T81" fmla="*/ 319 h 3499"/>
                <a:gd name="T82" fmla="*/ 1172 w 2593"/>
                <a:gd name="T83" fmla="*/ 266 h 3499"/>
                <a:gd name="T84" fmla="*/ 1213 w 2593"/>
                <a:gd name="T85" fmla="*/ 225 h 3499"/>
                <a:gd name="T86" fmla="*/ 1267 w 2593"/>
                <a:gd name="T87" fmla="*/ 203 h 3499"/>
                <a:gd name="T88" fmla="*/ 200 w 2593"/>
                <a:gd name="T89" fmla="*/ 699 h 3499"/>
                <a:gd name="T90" fmla="*/ 2393 w 2593"/>
                <a:gd name="T91" fmla="*/ 3299 h 3499"/>
                <a:gd name="T92" fmla="*/ 200 w 2593"/>
                <a:gd name="T93" fmla="*/ 699 h 3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593" h="3499">
                  <a:moveTo>
                    <a:pt x="100" y="3499"/>
                  </a:moveTo>
                  <a:lnTo>
                    <a:pt x="2493" y="3499"/>
                  </a:lnTo>
                  <a:lnTo>
                    <a:pt x="2516" y="3497"/>
                  </a:lnTo>
                  <a:lnTo>
                    <a:pt x="2536" y="3489"/>
                  </a:lnTo>
                  <a:lnTo>
                    <a:pt x="2556" y="3477"/>
                  </a:lnTo>
                  <a:lnTo>
                    <a:pt x="2570" y="3461"/>
                  </a:lnTo>
                  <a:lnTo>
                    <a:pt x="2582" y="3443"/>
                  </a:lnTo>
                  <a:lnTo>
                    <a:pt x="2591" y="3422"/>
                  </a:lnTo>
                  <a:lnTo>
                    <a:pt x="2593" y="3399"/>
                  </a:lnTo>
                  <a:lnTo>
                    <a:pt x="2593" y="400"/>
                  </a:lnTo>
                  <a:lnTo>
                    <a:pt x="2591" y="376"/>
                  </a:lnTo>
                  <a:lnTo>
                    <a:pt x="2583" y="356"/>
                  </a:lnTo>
                  <a:lnTo>
                    <a:pt x="2570" y="337"/>
                  </a:lnTo>
                  <a:lnTo>
                    <a:pt x="2556" y="322"/>
                  </a:lnTo>
                  <a:lnTo>
                    <a:pt x="2536" y="309"/>
                  </a:lnTo>
                  <a:lnTo>
                    <a:pt x="2516" y="302"/>
                  </a:lnTo>
                  <a:lnTo>
                    <a:pt x="2493" y="300"/>
                  </a:lnTo>
                  <a:lnTo>
                    <a:pt x="1642" y="300"/>
                  </a:lnTo>
                  <a:lnTo>
                    <a:pt x="1632" y="254"/>
                  </a:lnTo>
                  <a:lnTo>
                    <a:pt x="1618" y="212"/>
                  </a:lnTo>
                  <a:lnTo>
                    <a:pt x="1596" y="171"/>
                  </a:lnTo>
                  <a:lnTo>
                    <a:pt x="1572" y="135"/>
                  </a:lnTo>
                  <a:lnTo>
                    <a:pt x="1542" y="101"/>
                  </a:lnTo>
                  <a:lnTo>
                    <a:pt x="1508" y="72"/>
                  </a:lnTo>
                  <a:lnTo>
                    <a:pt x="1471" y="47"/>
                  </a:lnTo>
                  <a:lnTo>
                    <a:pt x="1431" y="27"/>
                  </a:lnTo>
                  <a:lnTo>
                    <a:pt x="1389" y="12"/>
                  </a:lnTo>
                  <a:lnTo>
                    <a:pt x="1343" y="3"/>
                  </a:lnTo>
                  <a:lnTo>
                    <a:pt x="1296" y="0"/>
                  </a:lnTo>
                  <a:lnTo>
                    <a:pt x="1250" y="3"/>
                  </a:lnTo>
                  <a:lnTo>
                    <a:pt x="1204" y="12"/>
                  </a:lnTo>
                  <a:lnTo>
                    <a:pt x="1162" y="27"/>
                  </a:lnTo>
                  <a:lnTo>
                    <a:pt x="1122" y="47"/>
                  </a:lnTo>
                  <a:lnTo>
                    <a:pt x="1085" y="72"/>
                  </a:lnTo>
                  <a:lnTo>
                    <a:pt x="1051" y="101"/>
                  </a:lnTo>
                  <a:lnTo>
                    <a:pt x="1021" y="135"/>
                  </a:lnTo>
                  <a:lnTo>
                    <a:pt x="997" y="171"/>
                  </a:lnTo>
                  <a:lnTo>
                    <a:pt x="975" y="212"/>
                  </a:lnTo>
                  <a:lnTo>
                    <a:pt x="961" y="254"/>
                  </a:lnTo>
                  <a:lnTo>
                    <a:pt x="951" y="300"/>
                  </a:lnTo>
                  <a:lnTo>
                    <a:pt x="100" y="300"/>
                  </a:lnTo>
                  <a:lnTo>
                    <a:pt x="77" y="302"/>
                  </a:lnTo>
                  <a:lnTo>
                    <a:pt x="56" y="309"/>
                  </a:lnTo>
                  <a:lnTo>
                    <a:pt x="37" y="321"/>
                  </a:lnTo>
                  <a:lnTo>
                    <a:pt x="23" y="337"/>
                  </a:lnTo>
                  <a:lnTo>
                    <a:pt x="11" y="356"/>
                  </a:lnTo>
                  <a:lnTo>
                    <a:pt x="2" y="376"/>
                  </a:lnTo>
                  <a:lnTo>
                    <a:pt x="0" y="400"/>
                  </a:lnTo>
                  <a:lnTo>
                    <a:pt x="0" y="3399"/>
                  </a:lnTo>
                  <a:lnTo>
                    <a:pt x="2" y="3422"/>
                  </a:lnTo>
                  <a:lnTo>
                    <a:pt x="11" y="3443"/>
                  </a:lnTo>
                  <a:lnTo>
                    <a:pt x="23" y="3461"/>
                  </a:lnTo>
                  <a:lnTo>
                    <a:pt x="37" y="3477"/>
                  </a:lnTo>
                  <a:lnTo>
                    <a:pt x="56" y="3489"/>
                  </a:lnTo>
                  <a:lnTo>
                    <a:pt x="77" y="3497"/>
                  </a:lnTo>
                  <a:lnTo>
                    <a:pt x="100" y="3499"/>
                  </a:lnTo>
                  <a:close/>
                  <a:moveTo>
                    <a:pt x="1296" y="200"/>
                  </a:moveTo>
                  <a:lnTo>
                    <a:pt x="1326" y="203"/>
                  </a:lnTo>
                  <a:lnTo>
                    <a:pt x="1355" y="212"/>
                  </a:lnTo>
                  <a:lnTo>
                    <a:pt x="1380" y="225"/>
                  </a:lnTo>
                  <a:lnTo>
                    <a:pt x="1402" y="244"/>
                  </a:lnTo>
                  <a:lnTo>
                    <a:pt x="1420" y="266"/>
                  </a:lnTo>
                  <a:lnTo>
                    <a:pt x="1434" y="291"/>
                  </a:lnTo>
                  <a:lnTo>
                    <a:pt x="1443" y="319"/>
                  </a:lnTo>
                  <a:lnTo>
                    <a:pt x="1446" y="350"/>
                  </a:lnTo>
                  <a:lnTo>
                    <a:pt x="1443" y="380"/>
                  </a:lnTo>
                  <a:lnTo>
                    <a:pt x="1434" y="408"/>
                  </a:lnTo>
                  <a:lnTo>
                    <a:pt x="1420" y="434"/>
                  </a:lnTo>
                  <a:lnTo>
                    <a:pt x="1402" y="456"/>
                  </a:lnTo>
                  <a:lnTo>
                    <a:pt x="1380" y="474"/>
                  </a:lnTo>
                  <a:lnTo>
                    <a:pt x="1355" y="488"/>
                  </a:lnTo>
                  <a:lnTo>
                    <a:pt x="1326" y="496"/>
                  </a:lnTo>
                  <a:lnTo>
                    <a:pt x="1296" y="500"/>
                  </a:lnTo>
                  <a:lnTo>
                    <a:pt x="1267" y="496"/>
                  </a:lnTo>
                  <a:lnTo>
                    <a:pt x="1238" y="488"/>
                  </a:lnTo>
                  <a:lnTo>
                    <a:pt x="1213" y="474"/>
                  </a:lnTo>
                  <a:lnTo>
                    <a:pt x="1190" y="456"/>
                  </a:lnTo>
                  <a:lnTo>
                    <a:pt x="1172" y="434"/>
                  </a:lnTo>
                  <a:lnTo>
                    <a:pt x="1159" y="408"/>
                  </a:lnTo>
                  <a:lnTo>
                    <a:pt x="1150" y="380"/>
                  </a:lnTo>
                  <a:lnTo>
                    <a:pt x="1147" y="350"/>
                  </a:lnTo>
                  <a:lnTo>
                    <a:pt x="1150" y="319"/>
                  </a:lnTo>
                  <a:lnTo>
                    <a:pt x="1159" y="291"/>
                  </a:lnTo>
                  <a:lnTo>
                    <a:pt x="1172" y="266"/>
                  </a:lnTo>
                  <a:lnTo>
                    <a:pt x="1190" y="244"/>
                  </a:lnTo>
                  <a:lnTo>
                    <a:pt x="1213" y="225"/>
                  </a:lnTo>
                  <a:lnTo>
                    <a:pt x="1238" y="212"/>
                  </a:lnTo>
                  <a:lnTo>
                    <a:pt x="1267" y="203"/>
                  </a:lnTo>
                  <a:lnTo>
                    <a:pt x="1296" y="200"/>
                  </a:lnTo>
                  <a:close/>
                  <a:moveTo>
                    <a:pt x="200" y="699"/>
                  </a:moveTo>
                  <a:lnTo>
                    <a:pt x="2393" y="699"/>
                  </a:lnTo>
                  <a:lnTo>
                    <a:pt x="2393" y="3299"/>
                  </a:lnTo>
                  <a:lnTo>
                    <a:pt x="200" y="3299"/>
                  </a:lnTo>
                  <a:lnTo>
                    <a:pt x="200" y="69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71186365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DDITIONAL CONSIDERA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22</a:t>
            </a:fld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631768" y="5309190"/>
            <a:ext cx="748145" cy="748145"/>
          </a:xfrm>
          <a:prstGeom prst="ellipse">
            <a:avLst/>
          </a:prstGeom>
          <a:noFill/>
          <a:ln w="22225">
            <a:solidFill>
              <a:srgbClr val="00569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1494257" y="5329319"/>
            <a:ext cx="8830843" cy="70788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2000" dirty="0"/>
              <a:t>Will execute a sufficient waiver and consent within a given time period. (Attach a form of consent of specific performance to be sought).</a:t>
            </a:r>
          </a:p>
        </p:txBody>
      </p:sp>
      <p:sp>
        <p:nvSpPr>
          <p:cNvPr id="9" name="Oval 8"/>
          <p:cNvSpPr/>
          <p:nvPr/>
        </p:nvSpPr>
        <p:spPr>
          <a:xfrm>
            <a:off x="631768" y="4316679"/>
            <a:ext cx="748145" cy="748145"/>
          </a:xfrm>
          <a:prstGeom prst="ellipse">
            <a:avLst/>
          </a:prstGeom>
          <a:noFill/>
          <a:ln w="22225">
            <a:solidFill>
              <a:srgbClr val="00569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1494256" y="4490698"/>
            <a:ext cx="5461944" cy="400110"/>
          </a:xfrm>
          <a:prstGeom prst="rect">
            <a:avLst/>
          </a:prstGeom>
        </p:spPr>
        <p:txBody>
          <a:bodyPr wrap="none" anchor="ctr">
            <a:spAutoFit/>
          </a:bodyPr>
          <a:lstStyle/>
          <a:p>
            <a:r>
              <a:rPr lang="en-US" sz="2000" dirty="0"/>
              <a:t>Waives any right in the other’s retirement plan.</a:t>
            </a:r>
          </a:p>
        </p:txBody>
      </p:sp>
      <p:sp>
        <p:nvSpPr>
          <p:cNvPr id="7" name="Oval 6"/>
          <p:cNvSpPr/>
          <p:nvPr/>
        </p:nvSpPr>
        <p:spPr>
          <a:xfrm>
            <a:off x="631768" y="3324168"/>
            <a:ext cx="748145" cy="748145"/>
          </a:xfrm>
          <a:prstGeom prst="ellipse">
            <a:avLst/>
          </a:prstGeom>
          <a:noFill/>
          <a:ln w="22225">
            <a:solidFill>
              <a:srgbClr val="00569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1494256" y="3498186"/>
            <a:ext cx="8015504" cy="40011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2000" dirty="0"/>
              <a:t>They must understand what each is giving up.</a:t>
            </a:r>
          </a:p>
        </p:txBody>
      </p:sp>
      <p:sp>
        <p:nvSpPr>
          <p:cNvPr id="6" name="Oval 5"/>
          <p:cNvSpPr/>
          <p:nvPr/>
        </p:nvSpPr>
        <p:spPr>
          <a:xfrm>
            <a:off x="631768" y="2331657"/>
            <a:ext cx="748145" cy="748145"/>
          </a:xfrm>
          <a:prstGeom prst="ellipse">
            <a:avLst/>
          </a:prstGeom>
          <a:noFill/>
          <a:ln w="22225">
            <a:solidFill>
              <a:srgbClr val="00569B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1494256" y="2351787"/>
            <a:ext cx="10088144" cy="70788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r>
              <a:rPr lang="en-US" sz="2000" dirty="0"/>
              <a:t>They would have federally protected rights in the other’s retirement plan absent the premarital agreement.</a:t>
            </a:r>
          </a:p>
        </p:txBody>
      </p:sp>
      <p:cxnSp>
        <p:nvCxnSpPr>
          <p:cNvPr id="16" name="Straight Connector 15"/>
          <p:cNvCxnSpPr/>
          <p:nvPr/>
        </p:nvCxnSpPr>
        <p:spPr>
          <a:xfrm>
            <a:off x="1570456" y="3201985"/>
            <a:ext cx="9982200" cy="0"/>
          </a:xfrm>
          <a:prstGeom prst="line">
            <a:avLst/>
          </a:prstGeom>
          <a:ln>
            <a:gradFill>
              <a:gsLst>
                <a:gs pos="0">
                  <a:srgbClr val="00569B"/>
                </a:gs>
                <a:gs pos="100000">
                  <a:srgbClr val="00569B">
                    <a:alpha val="0"/>
                  </a:srgb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1570456" y="4194496"/>
            <a:ext cx="9982200" cy="0"/>
          </a:xfrm>
          <a:prstGeom prst="line">
            <a:avLst/>
          </a:prstGeom>
          <a:ln>
            <a:gradFill>
              <a:gsLst>
                <a:gs pos="0">
                  <a:srgbClr val="00569B"/>
                </a:gs>
                <a:gs pos="100000">
                  <a:srgbClr val="00569B">
                    <a:alpha val="0"/>
                  </a:srgb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1570456" y="5187007"/>
            <a:ext cx="9982200" cy="0"/>
          </a:xfrm>
          <a:prstGeom prst="line">
            <a:avLst/>
          </a:prstGeom>
          <a:ln>
            <a:gradFill>
              <a:gsLst>
                <a:gs pos="0">
                  <a:srgbClr val="00569B"/>
                </a:gs>
                <a:gs pos="100000">
                  <a:srgbClr val="00569B">
                    <a:alpha val="0"/>
                  </a:srgbClr>
                </a:gs>
              </a:gsLst>
              <a:lin ang="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18"/>
          <p:cNvSpPr/>
          <p:nvPr/>
        </p:nvSpPr>
        <p:spPr>
          <a:xfrm>
            <a:off x="631768" y="1447800"/>
            <a:ext cx="10950632" cy="609600"/>
          </a:xfrm>
          <a:prstGeom prst="rect">
            <a:avLst/>
          </a:prstGeom>
          <a:solidFill>
            <a:srgbClr val="00569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/>
              <a:t>Each party </a:t>
            </a:r>
            <a:r>
              <a:rPr lang="en-US" sz="2000" b="1" dirty="0"/>
              <a:t>must acknowledge that:</a:t>
            </a:r>
          </a:p>
        </p:txBody>
      </p:sp>
      <p:grpSp>
        <p:nvGrpSpPr>
          <p:cNvPr id="20" name="Group 19"/>
          <p:cNvGrpSpPr>
            <a:grpSpLocks noChangeAspect="1"/>
          </p:cNvGrpSpPr>
          <p:nvPr/>
        </p:nvGrpSpPr>
        <p:grpSpPr bwMode="auto">
          <a:xfrm>
            <a:off x="814175" y="4488217"/>
            <a:ext cx="375467" cy="413104"/>
            <a:chOff x="-576" y="3243"/>
            <a:chExt cx="419" cy="461"/>
          </a:xfrm>
          <a:solidFill>
            <a:srgbClr val="00569B"/>
          </a:solidFill>
        </p:grpSpPr>
        <p:sp>
          <p:nvSpPr>
            <p:cNvPr id="21" name="Freeform 6"/>
            <p:cNvSpPr>
              <a:spLocks noEditPoints="1"/>
            </p:cNvSpPr>
            <p:nvPr/>
          </p:nvSpPr>
          <p:spPr bwMode="auto">
            <a:xfrm>
              <a:off x="-365" y="3496"/>
              <a:ext cx="208" cy="208"/>
            </a:xfrm>
            <a:custGeom>
              <a:avLst/>
              <a:gdLst>
                <a:gd name="T0" fmla="*/ 732 w 1672"/>
                <a:gd name="T1" fmla="*/ 934 h 1666"/>
                <a:gd name="T2" fmla="*/ 238 w 1672"/>
                <a:gd name="T3" fmla="*/ 797 h 1666"/>
                <a:gd name="T4" fmla="*/ 1380 w 1672"/>
                <a:gd name="T5" fmla="*/ 642 h 1666"/>
                <a:gd name="T6" fmla="*/ 836 w 1672"/>
                <a:gd name="T7" fmla="*/ 0 h 1666"/>
                <a:gd name="T8" fmla="*/ 986 w 1672"/>
                <a:gd name="T9" fmla="*/ 13 h 1666"/>
                <a:gd name="T10" fmla="*/ 1127 w 1672"/>
                <a:gd name="T11" fmla="*/ 51 h 1666"/>
                <a:gd name="T12" fmla="*/ 1257 w 1672"/>
                <a:gd name="T13" fmla="*/ 114 h 1666"/>
                <a:gd name="T14" fmla="*/ 1374 w 1672"/>
                <a:gd name="T15" fmla="*/ 195 h 1666"/>
                <a:gd name="T16" fmla="*/ 1474 w 1672"/>
                <a:gd name="T17" fmla="*/ 296 h 1666"/>
                <a:gd name="T18" fmla="*/ 1557 w 1672"/>
                <a:gd name="T19" fmla="*/ 412 h 1666"/>
                <a:gd name="T20" fmla="*/ 1619 w 1672"/>
                <a:gd name="T21" fmla="*/ 542 h 1666"/>
                <a:gd name="T22" fmla="*/ 1658 w 1672"/>
                <a:gd name="T23" fmla="*/ 683 h 1666"/>
                <a:gd name="T24" fmla="*/ 1672 w 1672"/>
                <a:gd name="T25" fmla="*/ 832 h 1666"/>
                <a:gd name="T26" fmla="*/ 1658 w 1672"/>
                <a:gd name="T27" fmla="*/ 982 h 1666"/>
                <a:gd name="T28" fmla="*/ 1619 w 1672"/>
                <a:gd name="T29" fmla="*/ 1123 h 1666"/>
                <a:gd name="T30" fmla="*/ 1557 w 1672"/>
                <a:gd name="T31" fmla="*/ 1252 h 1666"/>
                <a:gd name="T32" fmla="*/ 1474 w 1672"/>
                <a:gd name="T33" fmla="*/ 1369 h 1666"/>
                <a:gd name="T34" fmla="*/ 1374 w 1672"/>
                <a:gd name="T35" fmla="*/ 1469 h 1666"/>
                <a:gd name="T36" fmla="*/ 1257 w 1672"/>
                <a:gd name="T37" fmla="*/ 1552 h 1666"/>
                <a:gd name="T38" fmla="*/ 1127 w 1672"/>
                <a:gd name="T39" fmla="*/ 1613 h 1666"/>
                <a:gd name="T40" fmla="*/ 986 w 1672"/>
                <a:gd name="T41" fmla="*/ 1653 h 1666"/>
                <a:gd name="T42" fmla="*/ 836 w 1672"/>
                <a:gd name="T43" fmla="*/ 1666 h 1666"/>
                <a:gd name="T44" fmla="*/ 686 w 1672"/>
                <a:gd name="T45" fmla="*/ 1653 h 1666"/>
                <a:gd name="T46" fmla="*/ 545 w 1672"/>
                <a:gd name="T47" fmla="*/ 1613 h 1666"/>
                <a:gd name="T48" fmla="*/ 415 w 1672"/>
                <a:gd name="T49" fmla="*/ 1552 h 1666"/>
                <a:gd name="T50" fmla="*/ 298 w 1672"/>
                <a:gd name="T51" fmla="*/ 1469 h 1666"/>
                <a:gd name="T52" fmla="*/ 198 w 1672"/>
                <a:gd name="T53" fmla="*/ 1369 h 1666"/>
                <a:gd name="T54" fmla="*/ 115 w 1672"/>
                <a:gd name="T55" fmla="*/ 1252 h 1666"/>
                <a:gd name="T56" fmla="*/ 53 w 1672"/>
                <a:gd name="T57" fmla="*/ 1123 h 1666"/>
                <a:gd name="T58" fmla="*/ 14 w 1672"/>
                <a:gd name="T59" fmla="*/ 982 h 1666"/>
                <a:gd name="T60" fmla="*/ 0 w 1672"/>
                <a:gd name="T61" fmla="*/ 832 h 1666"/>
                <a:gd name="T62" fmla="*/ 14 w 1672"/>
                <a:gd name="T63" fmla="*/ 683 h 1666"/>
                <a:gd name="T64" fmla="*/ 53 w 1672"/>
                <a:gd name="T65" fmla="*/ 542 h 1666"/>
                <a:gd name="T66" fmla="*/ 115 w 1672"/>
                <a:gd name="T67" fmla="*/ 412 h 1666"/>
                <a:gd name="T68" fmla="*/ 198 w 1672"/>
                <a:gd name="T69" fmla="*/ 296 h 1666"/>
                <a:gd name="T70" fmla="*/ 298 w 1672"/>
                <a:gd name="T71" fmla="*/ 195 h 1666"/>
                <a:gd name="T72" fmla="*/ 415 w 1672"/>
                <a:gd name="T73" fmla="*/ 114 h 1666"/>
                <a:gd name="T74" fmla="*/ 545 w 1672"/>
                <a:gd name="T75" fmla="*/ 51 h 1666"/>
                <a:gd name="T76" fmla="*/ 686 w 1672"/>
                <a:gd name="T77" fmla="*/ 13 h 1666"/>
                <a:gd name="T78" fmla="*/ 836 w 1672"/>
                <a:gd name="T79" fmla="*/ 0 h 1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72" h="1666">
                  <a:moveTo>
                    <a:pt x="1202" y="465"/>
                  </a:moveTo>
                  <a:lnTo>
                    <a:pt x="732" y="934"/>
                  </a:lnTo>
                  <a:lnTo>
                    <a:pt x="416" y="619"/>
                  </a:lnTo>
                  <a:lnTo>
                    <a:pt x="238" y="797"/>
                  </a:lnTo>
                  <a:lnTo>
                    <a:pt x="732" y="1289"/>
                  </a:lnTo>
                  <a:lnTo>
                    <a:pt x="1380" y="642"/>
                  </a:lnTo>
                  <a:lnTo>
                    <a:pt x="1202" y="465"/>
                  </a:lnTo>
                  <a:close/>
                  <a:moveTo>
                    <a:pt x="836" y="0"/>
                  </a:moveTo>
                  <a:lnTo>
                    <a:pt x="912" y="3"/>
                  </a:lnTo>
                  <a:lnTo>
                    <a:pt x="986" y="13"/>
                  </a:lnTo>
                  <a:lnTo>
                    <a:pt x="1058" y="29"/>
                  </a:lnTo>
                  <a:lnTo>
                    <a:pt x="1127" y="51"/>
                  </a:lnTo>
                  <a:lnTo>
                    <a:pt x="1193" y="79"/>
                  </a:lnTo>
                  <a:lnTo>
                    <a:pt x="1257" y="114"/>
                  </a:lnTo>
                  <a:lnTo>
                    <a:pt x="1318" y="152"/>
                  </a:lnTo>
                  <a:lnTo>
                    <a:pt x="1374" y="195"/>
                  </a:lnTo>
                  <a:lnTo>
                    <a:pt x="1426" y="243"/>
                  </a:lnTo>
                  <a:lnTo>
                    <a:pt x="1474" y="296"/>
                  </a:lnTo>
                  <a:lnTo>
                    <a:pt x="1518" y="353"/>
                  </a:lnTo>
                  <a:lnTo>
                    <a:pt x="1557" y="412"/>
                  </a:lnTo>
                  <a:lnTo>
                    <a:pt x="1591" y="476"/>
                  </a:lnTo>
                  <a:lnTo>
                    <a:pt x="1619" y="542"/>
                  </a:lnTo>
                  <a:lnTo>
                    <a:pt x="1641" y="611"/>
                  </a:lnTo>
                  <a:lnTo>
                    <a:pt x="1658" y="683"/>
                  </a:lnTo>
                  <a:lnTo>
                    <a:pt x="1668" y="757"/>
                  </a:lnTo>
                  <a:lnTo>
                    <a:pt x="1672" y="832"/>
                  </a:lnTo>
                  <a:lnTo>
                    <a:pt x="1668" y="908"/>
                  </a:lnTo>
                  <a:lnTo>
                    <a:pt x="1658" y="982"/>
                  </a:lnTo>
                  <a:lnTo>
                    <a:pt x="1641" y="1054"/>
                  </a:lnTo>
                  <a:lnTo>
                    <a:pt x="1619" y="1123"/>
                  </a:lnTo>
                  <a:lnTo>
                    <a:pt x="1591" y="1190"/>
                  </a:lnTo>
                  <a:lnTo>
                    <a:pt x="1557" y="1252"/>
                  </a:lnTo>
                  <a:lnTo>
                    <a:pt x="1518" y="1313"/>
                  </a:lnTo>
                  <a:lnTo>
                    <a:pt x="1474" y="1369"/>
                  </a:lnTo>
                  <a:lnTo>
                    <a:pt x="1426" y="1421"/>
                  </a:lnTo>
                  <a:lnTo>
                    <a:pt x="1374" y="1469"/>
                  </a:lnTo>
                  <a:lnTo>
                    <a:pt x="1318" y="1513"/>
                  </a:lnTo>
                  <a:lnTo>
                    <a:pt x="1257" y="1552"/>
                  </a:lnTo>
                  <a:lnTo>
                    <a:pt x="1193" y="1586"/>
                  </a:lnTo>
                  <a:lnTo>
                    <a:pt x="1127" y="1613"/>
                  </a:lnTo>
                  <a:lnTo>
                    <a:pt x="1058" y="1636"/>
                  </a:lnTo>
                  <a:lnTo>
                    <a:pt x="986" y="1653"/>
                  </a:lnTo>
                  <a:lnTo>
                    <a:pt x="912" y="1663"/>
                  </a:lnTo>
                  <a:lnTo>
                    <a:pt x="836" y="1666"/>
                  </a:lnTo>
                  <a:lnTo>
                    <a:pt x="760" y="1663"/>
                  </a:lnTo>
                  <a:lnTo>
                    <a:pt x="686" y="1653"/>
                  </a:lnTo>
                  <a:lnTo>
                    <a:pt x="614" y="1636"/>
                  </a:lnTo>
                  <a:lnTo>
                    <a:pt x="545" y="1613"/>
                  </a:lnTo>
                  <a:lnTo>
                    <a:pt x="479" y="1586"/>
                  </a:lnTo>
                  <a:lnTo>
                    <a:pt x="415" y="1552"/>
                  </a:lnTo>
                  <a:lnTo>
                    <a:pt x="354" y="1513"/>
                  </a:lnTo>
                  <a:lnTo>
                    <a:pt x="298" y="1469"/>
                  </a:lnTo>
                  <a:lnTo>
                    <a:pt x="246" y="1421"/>
                  </a:lnTo>
                  <a:lnTo>
                    <a:pt x="198" y="1369"/>
                  </a:lnTo>
                  <a:lnTo>
                    <a:pt x="154" y="1313"/>
                  </a:lnTo>
                  <a:lnTo>
                    <a:pt x="115" y="1252"/>
                  </a:lnTo>
                  <a:lnTo>
                    <a:pt x="81" y="1190"/>
                  </a:lnTo>
                  <a:lnTo>
                    <a:pt x="53" y="1123"/>
                  </a:lnTo>
                  <a:lnTo>
                    <a:pt x="31" y="1054"/>
                  </a:lnTo>
                  <a:lnTo>
                    <a:pt x="14" y="982"/>
                  </a:lnTo>
                  <a:lnTo>
                    <a:pt x="4" y="908"/>
                  </a:lnTo>
                  <a:lnTo>
                    <a:pt x="0" y="832"/>
                  </a:lnTo>
                  <a:lnTo>
                    <a:pt x="4" y="757"/>
                  </a:lnTo>
                  <a:lnTo>
                    <a:pt x="14" y="683"/>
                  </a:lnTo>
                  <a:lnTo>
                    <a:pt x="31" y="611"/>
                  </a:lnTo>
                  <a:lnTo>
                    <a:pt x="53" y="542"/>
                  </a:lnTo>
                  <a:lnTo>
                    <a:pt x="81" y="476"/>
                  </a:lnTo>
                  <a:lnTo>
                    <a:pt x="115" y="412"/>
                  </a:lnTo>
                  <a:lnTo>
                    <a:pt x="154" y="353"/>
                  </a:lnTo>
                  <a:lnTo>
                    <a:pt x="198" y="296"/>
                  </a:lnTo>
                  <a:lnTo>
                    <a:pt x="246" y="243"/>
                  </a:lnTo>
                  <a:lnTo>
                    <a:pt x="298" y="195"/>
                  </a:lnTo>
                  <a:lnTo>
                    <a:pt x="354" y="152"/>
                  </a:lnTo>
                  <a:lnTo>
                    <a:pt x="415" y="114"/>
                  </a:lnTo>
                  <a:lnTo>
                    <a:pt x="479" y="79"/>
                  </a:lnTo>
                  <a:lnTo>
                    <a:pt x="545" y="51"/>
                  </a:lnTo>
                  <a:lnTo>
                    <a:pt x="614" y="29"/>
                  </a:lnTo>
                  <a:lnTo>
                    <a:pt x="686" y="13"/>
                  </a:lnTo>
                  <a:lnTo>
                    <a:pt x="760" y="3"/>
                  </a:lnTo>
                  <a:lnTo>
                    <a:pt x="83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-350" y="3259"/>
              <a:ext cx="73" cy="73"/>
            </a:xfrm>
            <a:custGeom>
              <a:avLst/>
              <a:gdLst>
                <a:gd name="T0" fmla="*/ 0 w 590"/>
                <a:gd name="T1" fmla="*/ 0 h 588"/>
                <a:gd name="T2" fmla="*/ 590 w 590"/>
                <a:gd name="T3" fmla="*/ 588 h 588"/>
                <a:gd name="T4" fmla="*/ 0 w 590"/>
                <a:gd name="T5" fmla="*/ 588 h 588"/>
                <a:gd name="T6" fmla="*/ 0 w 590"/>
                <a:gd name="T7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0" h="588">
                  <a:moveTo>
                    <a:pt x="0" y="0"/>
                  </a:moveTo>
                  <a:lnTo>
                    <a:pt x="590" y="588"/>
                  </a:lnTo>
                  <a:lnTo>
                    <a:pt x="0" y="5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-576" y="3243"/>
              <a:ext cx="315" cy="435"/>
            </a:xfrm>
            <a:custGeom>
              <a:avLst/>
              <a:gdLst>
                <a:gd name="T0" fmla="*/ 420 w 2520"/>
                <a:gd name="T1" fmla="*/ 1487 h 3479"/>
                <a:gd name="T2" fmla="*/ 420 w 2520"/>
                <a:gd name="T3" fmla="*/ 1739 h 3479"/>
                <a:gd name="T4" fmla="*/ 2100 w 2520"/>
                <a:gd name="T5" fmla="*/ 1739 h 3479"/>
                <a:gd name="T6" fmla="*/ 2100 w 2520"/>
                <a:gd name="T7" fmla="*/ 1487 h 3479"/>
                <a:gd name="T8" fmla="*/ 420 w 2520"/>
                <a:gd name="T9" fmla="*/ 1487 h 3479"/>
                <a:gd name="T10" fmla="*/ 0 w 2520"/>
                <a:gd name="T11" fmla="*/ 0 h 3479"/>
                <a:gd name="T12" fmla="*/ 1555 w 2520"/>
                <a:gd name="T13" fmla="*/ 0 h 3479"/>
                <a:gd name="T14" fmla="*/ 1555 w 2520"/>
                <a:gd name="T15" fmla="*/ 964 h 3479"/>
                <a:gd name="T16" fmla="*/ 2520 w 2520"/>
                <a:gd name="T17" fmla="*/ 964 h 3479"/>
                <a:gd name="T18" fmla="*/ 2520 w 2520"/>
                <a:gd name="T19" fmla="*/ 1770 h 3479"/>
                <a:gd name="T20" fmla="*/ 2433 w 2520"/>
                <a:gd name="T21" fmla="*/ 1774 h 3479"/>
                <a:gd name="T22" fmla="*/ 2348 w 2520"/>
                <a:gd name="T23" fmla="*/ 1784 h 3479"/>
                <a:gd name="T24" fmla="*/ 2265 w 2520"/>
                <a:gd name="T25" fmla="*/ 1800 h 3479"/>
                <a:gd name="T26" fmla="*/ 2184 w 2520"/>
                <a:gd name="T27" fmla="*/ 1823 h 3479"/>
                <a:gd name="T28" fmla="*/ 2107 w 2520"/>
                <a:gd name="T29" fmla="*/ 1852 h 3479"/>
                <a:gd name="T30" fmla="*/ 2031 w 2520"/>
                <a:gd name="T31" fmla="*/ 1885 h 3479"/>
                <a:gd name="T32" fmla="*/ 1959 w 2520"/>
                <a:gd name="T33" fmla="*/ 1926 h 3479"/>
                <a:gd name="T34" fmla="*/ 1891 w 2520"/>
                <a:gd name="T35" fmla="*/ 1970 h 3479"/>
                <a:gd name="T36" fmla="*/ 1826 w 2520"/>
                <a:gd name="T37" fmla="*/ 2021 h 3479"/>
                <a:gd name="T38" fmla="*/ 1765 w 2520"/>
                <a:gd name="T39" fmla="*/ 2074 h 3479"/>
                <a:gd name="T40" fmla="*/ 420 w 2520"/>
                <a:gd name="T41" fmla="*/ 2074 h 3479"/>
                <a:gd name="T42" fmla="*/ 420 w 2520"/>
                <a:gd name="T43" fmla="*/ 2326 h 3479"/>
                <a:gd name="T44" fmla="*/ 1571 w 2520"/>
                <a:gd name="T45" fmla="*/ 2326 h 3479"/>
                <a:gd name="T46" fmla="*/ 1538 w 2520"/>
                <a:gd name="T47" fmla="*/ 2388 h 3479"/>
                <a:gd name="T48" fmla="*/ 1510 w 2520"/>
                <a:gd name="T49" fmla="*/ 2454 h 3479"/>
                <a:gd name="T50" fmla="*/ 1485 w 2520"/>
                <a:gd name="T51" fmla="*/ 2521 h 3479"/>
                <a:gd name="T52" fmla="*/ 1465 w 2520"/>
                <a:gd name="T53" fmla="*/ 2591 h 3479"/>
                <a:gd name="T54" fmla="*/ 1450 w 2520"/>
                <a:gd name="T55" fmla="*/ 2661 h 3479"/>
                <a:gd name="T56" fmla="*/ 420 w 2520"/>
                <a:gd name="T57" fmla="*/ 2661 h 3479"/>
                <a:gd name="T58" fmla="*/ 420 w 2520"/>
                <a:gd name="T59" fmla="*/ 2912 h 3479"/>
                <a:gd name="T60" fmla="*/ 1435 w 2520"/>
                <a:gd name="T61" fmla="*/ 2912 h 3479"/>
                <a:gd name="T62" fmla="*/ 1441 w 2520"/>
                <a:gd name="T63" fmla="*/ 2991 h 3479"/>
                <a:gd name="T64" fmla="*/ 1454 w 2520"/>
                <a:gd name="T65" fmla="*/ 3067 h 3479"/>
                <a:gd name="T66" fmla="*/ 1472 w 2520"/>
                <a:gd name="T67" fmla="*/ 3142 h 3479"/>
                <a:gd name="T68" fmla="*/ 1494 w 2520"/>
                <a:gd name="T69" fmla="*/ 3214 h 3479"/>
                <a:gd name="T70" fmla="*/ 1522 w 2520"/>
                <a:gd name="T71" fmla="*/ 3283 h 3479"/>
                <a:gd name="T72" fmla="*/ 1553 w 2520"/>
                <a:gd name="T73" fmla="*/ 3352 h 3479"/>
                <a:gd name="T74" fmla="*/ 1590 w 2520"/>
                <a:gd name="T75" fmla="*/ 3416 h 3479"/>
                <a:gd name="T76" fmla="*/ 1631 w 2520"/>
                <a:gd name="T77" fmla="*/ 3479 h 3479"/>
                <a:gd name="T78" fmla="*/ 0 w 2520"/>
                <a:gd name="T79" fmla="*/ 3479 h 3479"/>
                <a:gd name="T80" fmla="*/ 0 w 2520"/>
                <a:gd name="T81" fmla="*/ 0 h 3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520" h="3479">
                  <a:moveTo>
                    <a:pt x="420" y="1487"/>
                  </a:moveTo>
                  <a:lnTo>
                    <a:pt x="420" y="1739"/>
                  </a:lnTo>
                  <a:lnTo>
                    <a:pt x="2100" y="1739"/>
                  </a:lnTo>
                  <a:lnTo>
                    <a:pt x="2100" y="1487"/>
                  </a:lnTo>
                  <a:lnTo>
                    <a:pt x="420" y="1487"/>
                  </a:lnTo>
                  <a:close/>
                  <a:moveTo>
                    <a:pt x="0" y="0"/>
                  </a:moveTo>
                  <a:lnTo>
                    <a:pt x="1555" y="0"/>
                  </a:lnTo>
                  <a:lnTo>
                    <a:pt x="1555" y="964"/>
                  </a:lnTo>
                  <a:lnTo>
                    <a:pt x="2520" y="964"/>
                  </a:lnTo>
                  <a:lnTo>
                    <a:pt x="2520" y="1770"/>
                  </a:lnTo>
                  <a:lnTo>
                    <a:pt x="2433" y="1774"/>
                  </a:lnTo>
                  <a:lnTo>
                    <a:pt x="2348" y="1784"/>
                  </a:lnTo>
                  <a:lnTo>
                    <a:pt x="2265" y="1800"/>
                  </a:lnTo>
                  <a:lnTo>
                    <a:pt x="2184" y="1823"/>
                  </a:lnTo>
                  <a:lnTo>
                    <a:pt x="2107" y="1852"/>
                  </a:lnTo>
                  <a:lnTo>
                    <a:pt x="2031" y="1885"/>
                  </a:lnTo>
                  <a:lnTo>
                    <a:pt x="1959" y="1926"/>
                  </a:lnTo>
                  <a:lnTo>
                    <a:pt x="1891" y="1970"/>
                  </a:lnTo>
                  <a:lnTo>
                    <a:pt x="1826" y="2021"/>
                  </a:lnTo>
                  <a:lnTo>
                    <a:pt x="1765" y="2074"/>
                  </a:lnTo>
                  <a:lnTo>
                    <a:pt x="420" y="2074"/>
                  </a:lnTo>
                  <a:lnTo>
                    <a:pt x="420" y="2326"/>
                  </a:lnTo>
                  <a:lnTo>
                    <a:pt x="1571" y="2326"/>
                  </a:lnTo>
                  <a:lnTo>
                    <a:pt x="1538" y="2388"/>
                  </a:lnTo>
                  <a:lnTo>
                    <a:pt x="1510" y="2454"/>
                  </a:lnTo>
                  <a:lnTo>
                    <a:pt x="1485" y="2521"/>
                  </a:lnTo>
                  <a:lnTo>
                    <a:pt x="1465" y="2591"/>
                  </a:lnTo>
                  <a:lnTo>
                    <a:pt x="1450" y="2661"/>
                  </a:lnTo>
                  <a:lnTo>
                    <a:pt x="420" y="2661"/>
                  </a:lnTo>
                  <a:lnTo>
                    <a:pt x="420" y="2912"/>
                  </a:lnTo>
                  <a:lnTo>
                    <a:pt x="1435" y="2912"/>
                  </a:lnTo>
                  <a:lnTo>
                    <a:pt x="1441" y="2991"/>
                  </a:lnTo>
                  <a:lnTo>
                    <a:pt x="1454" y="3067"/>
                  </a:lnTo>
                  <a:lnTo>
                    <a:pt x="1472" y="3142"/>
                  </a:lnTo>
                  <a:lnTo>
                    <a:pt x="1494" y="3214"/>
                  </a:lnTo>
                  <a:lnTo>
                    <a:pt x="1522" y="3283"/>
                  </a:lnTo>
                  <a:lnTo>
                    <a:pt x="1553" y="3352"/>
                  </a:lnTo>
                  <a:lnTo>
                    <a:pt x="1590" y="3416"/>
                  </a:lnTo>
                  <a:lnTo>
                    <a:pt x="1631" y="3479"/>
                  </a:lnTo>
                  <a:lnTo>
                    <a:pt x="0" y="347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4" name="Group 4"/>
          <p:cNvGrpSpPr>
            <a:grpSpLocks noChangeAspect="1"/>
          </p:cNvGrpSpPr>
          <p:nvPr/>
        </p:nvGrpSpPr>
        <p:grpSpPr bwMode="auto">
          <a:xfrm>
            <a:off x="828977" y="2532819"/>
            <a:ext cx="375435" cy="345821"/>
            <a:chOff x="-413" y="1979"/>
            <a:chExt cx="393" cy="362"/>
          </a:xfrm>
          <a:solidFill>
            <a:srgbClr val="00569B"/>
          </a:solidFill>
        </p:grpSpPr>
        <p:sp>
          <p:nvSpPr>
            <p:cNvPr id="25" name="Rectangle 6"/>
            <p:cNvSpPr>
              <a:spLocks noChangeArrowheads="1"/>
            </p:cNvSpPr>
            <p:nvPr/>
          </p:nvSpPr>
          <p:spPr bwMode="auto">
            <a:xfrm>
              <a:off x="-389" y="2104"/>
              <a:ext cx="17" cy="4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7"/>
            <p:cNvSpPr>
              <a:spLocks noChangeArrowheads="1"/>
            </p:cNvSpPr>
            <p:nvPr/>
          </p:nvSpPr>
          <p:spPr bwMode="auto">
            <a:xfrm>
              <a:off x="-389" y="2176"/>
              <a:ext cx="17" cy="4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8"/>
            <p:cNvSpPr>
              <a:spLocks/>
            </p:cNvSpPr>
            <p:nvPr/>
          </p:nvSpPr>
          <p:spPr bwMode="auto">
            <a:xfrm>
              <a:off x="-389" y="1979"/>
              <a:ext cx="305" cy="153"/>
            </a:xfrm>
            <a:custGeom>
              <a:avLst/>
              <a:gdLst>
                <a:gd name="T0" fmla="*/ 2746 w 2746"/>
                <a:gd name="T1" fmla="*/ 942 h 1381"/>
                <a:gd name="T2" fmla="*/ 2746 w 2746"/>
                <a:gd name="T3" fmla="*/ 1225 h 1381"/>
                <a:gd name="T4" fmla="*/ 2589 w 2746"/>
                <a:gd name="T5" fmla="*/ 1381 h 1381"/>
                <a:gd name="T6" fmla="*/ 2589 w 2746"/>
                <a:gd name="T7" fmla="*/ 287 h 1381"/>
                <a:gd name="T8" fmla="*/ 2586 w 2746"/>
                <a:gd name="T9" fmla="*/ 260 h 1381"/>
                <a:gd name="T10" fmla="*/ 2579 w 2746"/>
                <a:gd name="T11" fmla="*/ 236 h 1381"/>
                <a:gd name="T12" fmla="*/ 2567 w 2746"/>
                <a:gd name="T13" fmla="*/ 214 h 1381"/>
                <a:gd name="T14" fmla="*/ 2551 w 2746"/>
                <a:gd name="T15" fmla="*/ 195 h 1381"/>
                <a:gd name="T16" fmla="*/ 2531 w 2746"/>
                <a:gd name="T17" fmla="*/ 179 h 1381"/>
                <a:gd name="T18" fmla="*/ 2509 w 2746"/>
                <a:gd name="T19" fmla="*/ 166 h 1381"/>
                <a:gd name="T20" fmla="*/ 2484 w 2746"/>
                <a:gd name="T21" fmla="*/ 159 h 1381"/>
                <a:gd name="T22" fmla="*/ 2458 w 2746"/>
                <a:gd name="T23" fmla="*/ 156 h 1381"/>
                <a:gd name="T24" fmla="*/ 287 w 2746"/>
                <a:gd name="T25" fmla="*/ 156 h 1381"/>
                <a:gd name="T26" fmla="*/ 261 w 2746"/>
                <a:gd name="T27" fmla="*/ 159 h 1381"/>
                <a:gd name="T28" fmla="*/ 236 w 2746"/>
                <a:gd name="T29" fmla="*/ 166 h 1381"/>
                <a:gd name="T30" fmla="*/ 214 w 2746"/>
                <a:gd name="T31" fmla="*/ 179 h 1381"/>
                <a:gd name="T32" fmla="*/ 194 w 2746"/>
                <a:gd name="T33" fmla="*/ 195 h 1381"/>
                <a:gd name="T34" fmla="*/ 178 w 2746"/>
                <a:gd name="T35" fmla="*/ 214 h 1381"/>
                <a:gd name="T36" fmla="*/ 166 w 2746"/>
                <a:gd name="T37" fmla="*/ 236 h 1381"/>
                <a:gd name="T38" fmla="*/ 159 w 2746"/>
                <a:gd name="T39" fmla="*/ 260 h 1381"/>
                <a:gd name="T40" fmla="*/ 156 w 2746"/>
                <a:gd name="T41" fmla="*/ 287 h 1381"/>
                <a:gd name="T42" fmla="*/ 156 w 2746"/>
                <a:gd name="T43" fmla="*/ 832 h 1381"/>
                <a:gd name="T44" fmla="*/ 0 w 2746"/>
                <a:gd name="T45" fmla="*/ 832 h 1381"/>
                <a:gd name="T46" fmla="*/ 0 w 2746"/>
                <a:gd name="T47" fmla="*/ 287 h 1381"/>
                <a:gd name="T48" fmla="*/ 3 w 2746"/>
                <a:gd name="T49" fmla="*/ 244 h 1381"/>
                <a:gd name="T50" fmla="*/ 12 w 2746"/>
                <a:gd name="T51" fmla="*/ 205 h 1381"/>
                <a:gd name="T52" fmla="*/ 27 w 2746"/>
                <a:gd name="T53" fmla="*/ 166 h 1381"/>
                <a:gd name="T54" fmla="*/ 46 w 2746"/>
                <a:gd name="T55" fmla="*/ 131 h 1381"/>
                <a:gd name="T56" fmla="*/ 70 w 2746"/>
                <a:gd name="T57" fmla="*/ 99 h 1381"/>
                <a:gd name="T58" fmla="*/ 99 w 2746"/>
                <a:gd name="T59" fmla="*/ 71 h 1381"/>
                <a:gd name="T60" fmla="*/ 131 w 2746"/>
                <a:gd name="T61" fmla="*/ 46 h 1381"/>
                <a:gd name="T62" fmla="*/ 165 w 2746"/>
                <a:gd name="T63" fmla="*/ 27 h 1381"/>
                <a:gd name="T64" fmla="*/ 204 w 2746"/>
                <a:gd name="T65" fmla="*/ 13 h 1381"/>
                <a:gd name="T66" fmla="*/ 245 w 2746"/>
                <a:gd name="T67" fmla="*/ 3 h 1381"/>
                <a:gd name="T68" fmla="*/ 287 w 2746"/>
                <a:gd name="T69" fmla="*/ 0 h 1381"/>
                <a:gd name="T70" fmla="*/ 2458 w 2746"/>
                <a:gd name="T71" fmla="*/ 0 h 1381"/>
                <a:gd name="T72" fmla="*/ 2500 w 2746"/>
                <a:gd name="T73" fmla="*/ 3 h 1381"/>
                <a:gd name="T74" fmla="*/ 2541 w 2746"/>
                <a:gd name="T75" fmla="*/ 13 h 1381"/>
                <a:gd name="T76" fmla="*/ 2579 w 2746"/>
                <a:gd name="T77" fmla="*/ 27 h 1381"/>
                <a:gd name="T78" fmla="*/ 2614 w 2746"/>
                <a:gd name="T79" fmla="*/ 46 h 1381"/>
                <a:gd name="T80" fmla="*/ 2646 w 2746"/>
                <a:gd name="T81" fmla="*/ 71 h 1381"/>
                <a:gd name="T82" fmla="*/ 2674 w 2746"/>
                <a:gd name="T83" fmla="*/ 99 h 1381"/>
                <a:gd name="T84" fmla="*/ 2699 w 2746"/>
                <a:gd name="T85" fmla="*/ 131 h 1381"/>
                <a:gd name="T86" fmla="*/ 2718 w 2746"/>
                <a:gd name="T87" fmla="*/ 166 h 1381"/>
                <a:gd name="T88" fmla="*/ 2733 w 2746"/>
                <a:gd name="T89" fmla="*/ 205 h 1381"/>
                <a:gd name="T90" fmla="*/ 2742 w 2746"/>
                <a:gd name="T91" fmla="*/ 244 h 1381"/>
                <a:gd name="T92" fmla="*/ 2745 w 2746"/>
                <a:gd name="T93" fmla="*/ 287 h 1381"/>
                <a:gd name="T94" fmla="*/ 2745 w 2746"/>
                <a:gd name="T95" fmla="*/ 942 h 1381"/>
                <a:gd name="T96" fmla="*/ 2746 w 2746"/>
                <a:gd name="T97" fmla="*/ 942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46" h="1381">
                  <a:moveTo>
                    <a:pt x="2746" y="942"/>
                  </a:moveTo>
                  <a:lnTo>
                    <a:pt x="2746" y="1225"/>
                  </a:lnTo>
                  <a:lnTo>
                    <a:pt x="2589" y="1381"/>
                  </a:lnTo>
                  <a:lnTo>
                    <a:pt x="2589" y="287"/>
                  </a:lnTo>
                  <a:lnTo>
                    <a:pt x="2586" y="260"/>
                  </a:lnTo>
                  <a:lnTo>
                    <a:pt x="2579" y="236"/>
                  </a:lnTo>
                  <a:lnTo>
                    <a:pt x="2567" y="214"/>
                  </a:lnTo>
                  <a:lnTo>
                    <a:pt x="2551" y="195"/>
                  </a:lnTo>
                  <a:lnTo>
                    <a:pt x="2531" y="179"/>
                  </a:lnTo>
                  <a:lnTo>
                    <a:pt x="2509" y="166"/>
                  </a:lnTo>
                  <a:lnTo>
                    <a:pt x="2484" y="159"/>
                  </a:lnTo>
                  <a:lnTo>
                    <a:pt x="2458" y="156"/>
                  </a:lnTo>
                  <a:lnTo>
                    <a:pt x="287" y="156"/>
                  </a:lnTo>
                  <a:lnTo>
                    <a:pt x="261" y="159"/>
                  </a:lnTo>
                  <a:lnTo>
                    <a:pt x="236" y="166"/>
                  </a:lnTo>
                  <a:lnTo>
                    <a:pt x="214" y="179"/>
                  </a:lnTo>
                  <a:lnTo>
                    <a:pt x="194" y="195"/>
                  </a:lnTo>
                  <a:lnTo>
                    <a:pt x="178" y="214"/>
                  </a:lnTo>
                  <a:lnTo>
                    <a:pt x="166" y="236"/>
                  </a:lnTo>
                  <a:lnTo>
                    <a:pt x="159" y="260"/>
                  </a:lnTo>
                  <a:lnTo>
                    <a:pt x="156" y="287"/>
                  </a:lnTo>
                  <a:lnTo>
                    <a:pt x="156" y="832"/>
                  </a:lnTo>
                  <a:lnTo>
                    <a:pt x="0" y="832"/>
                  </a:lnTo>
                  <a:lnTo>
                    <a:pt x="0" y="287"/>
                  </a:lnTo>
                  <a:lnTo>
                    <a:pt x="3" y="244"/>
                  </a:lnTo>
                  <a:lnTo>
                    <a:pt x="12" y="205"/>
                  </a:lnTo>
                  <a:lnTo>
                    <a:pt x="27" y="166"/>
                  </a:lnTo>
                  <a:lnTo>
                    <a:pt x="46" y="131"/>
                  </a:lnTo>
                  <a:lnTo>
                    <a:pt x="70" y="99"/>
                  </a:lnTo>
                  <a:lnTo>
                    <a:pt x="99" y="71"/>
                  </a:lnTo>
                  <a:lnTo>
                    <a:pt x="131" y="46"/>
                  </a:lnTo>
                  <a:lnTo>
                    <a:pt x="165" y="27"/>
                  </a:lnTo>
                  <a:lnTo>
                    <a:pt x="204" y="13"/>
                  </a:lnTo>
                  <a:lnTo>
                    <a:pt x="245" y="3"/>
                  </a:lnTo>
                  <a:lnTo>
                    <a:pt x="287" y="0"/>
                  </a:lnTo>
                  <a:lnTo>
                    <a:pt x="2458" y="0"/>
                  </a:lnTo>
                  <a:lnTo>
                    <a:pt x="2500" y="3"/>
                  </a:lnTo>
                  <a:lnTo>
                    <a:pt x="2541" y="13"/>
                  </a:lnTo>
                  <a:lnTo>
                    <a:pt x="2579" y="27"/>
                  </a:lnTo>
                  <a:lnTo>
                    <a:pt x="2614" y="46"/>
                  </a:lnTo>
                  <a:lnTo>
                    <a:pt x="2646" y="71"/>
                  </a:lnTo>
                  <a:lnTo>
                    <a:pt x="2674" y="99"/>
                  </a:lnTo>
                  <a:lnTo>
                    <a:pt x="2699" y="131"/>
                  </a:lnTo>
                  <a:lnTo>
                    <a:pt x="2718" y="166"/>
                  </a:lnTo>
                  <a:lnTo>
                    <a:pt x="2733" y="205"/>
                  </a:lnTo>
                  <a:lnTo>
                    <a:pt x="2742" y="244"/>
                  </a:lnTo>
                  <a:lnTo>
                    <a:pt x="2745" y="287"/>
                  </a:lnTo>
                  <a:lnTo>
                    <a:pt x="2745" y="942"/>
                  </a:lnTo>
                  <a:lnTo>
                    <a:pt x="2746" y="9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9"/>
            <p:cNvSpPr>
              <a:spLocks/>
            </p:cNvSpPr>
            <p:nvPr/>
          </p:nvSpPr>
          <p:spPr bwMode="auto">
            <a:xfrm>
              <a:off x="-389" y="2235"/>
              <a:ext cx="305" cy="106"/>
            </a:xfrm>
            <a:custGeom>
              <a:avLst/>
              <a:gdLst>
                <a:gd name="T0" fmla="*/ 2662 w 2746"/>
                <a:gd name="T1" fmla="*/ 53 h 954"/>
                <a:gd name="T2" fmla="*/ 2689 w 2746"/>
                <a:gd name="T3" fmla="*/ 66 h 954"/>
                <a:gd name="T4" fmla="*/ 2717 w 2746"/>
                <a:gd name="T5" fmla="*/ 74 h 954"/>
                <a:gd name="T6" fmla="*/ 2746 w 2746"/>
                <a:gd name="T7" fmla="*/ 78 h 954"/>
                <a:gd name="T8" fmla="*/ 2746 w 2746"/>
                <a:gd name="T9" fmla="*/ 667 h 954"/>
                <a:gd name="T10" fmla="*/ 2743 w 2746"/>
                <a:gd name="T11" fmla="*/ 710 h 954"/>
                <a:gd name="T12" fmla="*/ 2733 w 2746"/>
                <a:gd name="T13" fmla="*/ 749 h 954"/>
                <a:gd name="T14" fmla="*/ 2719 w 2746"/>
                <a:gd name="T15" fmla="*/ 788 h 954"/>
                <a:gd name="T16" fmla="*/ 2699 w 2746"/>
                <a:gd name="T17" fmla="*/ 823 h 954"/>
                <a:gd name="T18" fmla="*/ 2675 w 2746"/>
                <a:gd name="T19" fmla="*/ 854 h 954"/>
                <a:gd name="T20" fmla="*/ 2646 w 2746"/>
                <a:gd name="T21" fmla="*/ 883 h 954"/>
                <a:gd name="T22" fmla="*/ 2614 w 2746"/>
                <a:gd name="T23" fmla="*/ 907 h 954"/>
                <a:gd name="T24" fmla="*/ 2579 w 2746"/>
                <a:gd name="T25" fmla="*/ 927 h 954"/>
                <a:gd name="T26" fmla="*/ 2541 w 2746"/>
                <a:gd name="T27" fmla="*/ 941 h 954"/>
                <a:gd name="T28" fmla="*/ 2500 w 2746"/>
                <a:gd name="T29" fmla="*/ 951 h 954"/>
                <a:gd name="T30" fmla="*/ 2458 w 2746"/>
                <a:gd name="T31" fmla="*/ 954 h 954"/>
                <a:gd name="T32" fmla="*/ 287 w 2746"/>
                <a:gd name="T33" fmla="*/ 954 h 954"/>
                <a:gd name="T34" fmla="*/ 245 w 2746"/>
                <a:gd name="T35" fmla="*/ 951 h 954"/>
                <a:gd name="T36" fmla="*/ 204 w 2746"/>
                <a:gd name="T37" fmla="*/ 941 h 954"/>
                <a:gd name="T38" fmla="*/ 165 w 2746"/>
                <a:gd name="T39" fmla="*/ 927 h 954"/>
                <a:gd name="T40" fmla="*/ 131 w 2746"/>
                <a:gd name="T41" fmla="*/ 907 h 954"/>
                <a:gd name="T42" fmla="*/ 99 w 2746"/>
                <a:gd name="T43" fmla="*/ 883 h 954"/>
                <a:gd name="T44" fmla="*/ 70 w 2746"/>
                <a:gd name="T45" fmla="*/ 854 h 954"/>
                <a:gd name="T46" fmla="*/ 46 w 2746"/>
                <a:gd name="T47" fmla="*/ 823 h 954"/>
                <a:gd name="T48" fmla="*/ 27 w 2746"/>
                <a:gd name="T49" fmla="*/ 788 h 954"/>
                <a:gd name="T50" fmla="*/ 12 w 2746"/>
                <a:gd name="T51" fmla="*/ 749 h 954"/>
                <a:gd name="T52" fmla="*/ 3 w 2746"/>
                <a:gd name="T53" fmla="*/ 710 h 954"/>
                <a:gd name="T54" fmla="*/ 0 w 2746"/>
                <a:gd name="T55" fmla="*/ 667 h 954"/>
                <a:gd name="T56" fmla="*/ 0 w 2746"/>
                <a:gd name="T57" fmla="*/ 123 h 954"/>
                <a:gd name="T58" fmla="*/ 156 w 2746"/>
                <a:gd name="T59" fmla="*/ 123 h 954"/>
                <a:gd name="T60" fmla="*/ 156 w 2746"/>
                <a:gd name="T61" fmla="*/ 667 h 954"/>
                <a:gd name="T62" fmla="*/ 159 w 2746"/>
                <a:gd name="T63" fmla="*/ 694 h 954"/>
                <a:gd name="T64" fmla="*/ 166 w 2746"/>
                <a:gd name="T65" fmla="*/ 718 h 954"/>
                <a:gd name="T66" fmla="*/ 178 w 2746"/>
                <a:gd name="T67" fmla="*/ 740 h 954"/>
                <a:gd name="T68" fmla="*/ 194 w 2746"/>
                <a:gd name="T69" fmla="*/ 759 h 954"/>
                <a:gd name="T70" fmla="*/ 214 w 2746"/>
                <a:gd name="T71" fmla="*/ 775 h 954"/>
                <a:gd name="T72" fmla="*/ 236 w 2746"/>
                <a:gd name="T73" fmla="*/ 788 h 954"/>
                <a:gd name="T74" fmla="*/ 261 w 2746"/>
                <a:gd name="T75" fmla="*/ 795 h 954"/>
                <a:gd name="T76" fmla="*/ 287 w 2746"/>
                <a:gd name="T77" fmla="*/ 798 h 954"/>
                <a:gd name="T78" fmla="*/ 2458 w 2746"/>
                <a:gd name="T79" fmla="*/ 798 h 954"/>
                <a:gd name="T80" fmla="*/ 2484 w 2746"/>
                <a:gd name="T81" fmla="*/ 795 h 954"/>
                <a:gd name="T82" fmla="*/ 2509 w 2746"/>
                <a:gd name="T83" fmla="*/ 788 h 954"/>
                <a:gd name="T84" fmla="*/ 2531 w 2746"/>
                <a:gd name="T85" fmla="*/ 775 h 954"/>
                <a:gd name="T86" fmla="*/ 2551 w 2746"/>
                <a:gd name="T87" fmla="*/ 759 h 954"/>
                <a:gd name="T88" fmla="*/ 2567 w 2746"/>
                <a:gd name="T89" fmla="*/ 740 h 954"/>
                <a:gd name="T90" fmla="*/ 2579 w 2746"/>
                <a:gd name="T91" fmla="*/ 718 h 954"/>
                <a:gd name="T92" fmla="*/ 2587 w 2746"/>
                <a:gd name="T93" fmla="*/ 694 h 954"/>
                <a:gd name="T94" fmla="*/ 2589 w 2746"/>
                <a:gd name="T95" fmla="*/ 667 h 954"/>
                <a:gd name="T96" fmla="*/ 2589 w 2746"/>
                <a:gd name="T97" fmla="*/ 181 h 954"/>
                <a:gd name="T98" fmla="*/ 2589 w 2746"/>
                <a:gd name="T99" fmla="*/ 181 h 954"/>
                <a:gd name="T100" fmla="*/ 2589 w 2746"/>
                <a:gd name="T101" fmla="*/ 9 h 954"/>
                <a:gd name="T102" fmla="*/ 2599 w 2746"/>
                <a:gd name="T103" fmla="*/ 0 h 954"/>
                <a:gd name="T104" fmla="*/ 2617 w 2746"/>
                <a:gd name="T105" fmla="*/ 20 h 954"/>
                <a:gd name="T106" fmla="*/ 2639 w 2746"/>
                <a:gd name="T107" fmla="*/ 38 h 954"/>
                <a:gd name="T108" fmla="*/ 2662 w 2746"/>
                <a:gd name="T109" fmla="*/ 53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46" h="954">
                  <a:moveTo>
                    <a:pt x="2662" y="53"/>
                  </a:moveTo>
                  <a:lnTo>
                    <a:pt x="2689" y="66"/>
                  </a:lnTo>
                  <a:lnTo>
                    <a:pt x="2717" y="74"/>
                  </a:lnTo>
                  <a:lnTo>
                    <a:pt x="2746" y="78"/>
                  </a:lnTo>
                  <a:lnTo>
                    <a:pt x="2746" y="667"/>
                  </a:lnTo>
                  <a:lnTo>
                    <a:pt x="2743" y="710"/>
                  </a:lnTo>
                  <a:lnTo>
                    <a:pt x="2733" y="749"/>
                  </a:lnTo>
                  <a:lnTo>
                    <a:pt x="2719" y="788"/>
                  </a:lnTo>
                  <a:lnTo>
                    <a:pt x="2699" y="823"/>
                  </a:lnTo>
                  <a:lnTo>
                    <a:pt x="2675" y="854"/>
                  </a:lnTo>
                  <a:lnTo>
                    <a:pt x="2646" y="883"/>
                  </a:lnTo>
                  <a:lnTo>
                    <a:pt x="2614" y="907"/>
                  </a:lnTo>
                  <a:lnTo>
                    <a:pt x="2579" y="927"/>
                  </a:lnTo>
                  <a:lnTo>
                    <a:pt x="2541" y="941"/>
                  </a:lnTo>
                  <a:lnTo>
                    <a:pt x="2500" y="951"/>
                  </a:lnTo>
                  <a:lnTo>
                    <a:pt x="2458" y="954"/>
                  </a:lnTo>
                  <a:lnTo>
                    <a:pt x="287" y="954"/>
                  </a:lnTo>
                  <a:lnTo>
                    <a:pt x="245" y="951"/>
                  </a:lnTo>
                  <a:lnTo>
                    <a:pt x="204" y="941"/>
                  </a:lnTo>
                  <a:lnTo>
                    <a:pt x="165" y="927"/>
                  </a:lnTo>
                  <a:lnTo>
                    <a:pt x="131" y="907"/>
                  </a:lnTo>
                  <a:lnTo>
                    <a:pt x="99" y="883"/>
                  </a:lnTo>
                  <a:lnTo>
                    <a:pt x="70" y="854"/>
                  </a:lnTo>
                  <a:lnTo>
                    <a:pt x="46" y="823"/>
                  </a:lnTo>
                  <a:lnTo>
                    <a:pt x="27" y="788"/>
                  </a:lnTo>
                  <a:lnTo>
                    <a:pt x="12" y="749"/>
                  </a:lnTo>
                  <a:lnTo>
                    <a:pt x="3" y="710"/>
                  </a:lnTo>
                  <a:lnTo>
                    <a:pt x="0" y="667"/>
                  </a:lnTo>
                  <a:lnTo>
                    <a:pt x="0" y="123"/>
                  </a:lnTo>
                  <a:lnTo>
                    <a:pt x="156" y="123"/>
                  </a:lnTo>
                  <a:lnTo>
                    <a:pt x="156" y="667"/>
                  </a:lnTo>
                  <a:lnTo>
                    <a:pt x="159" y="694"/>
                  </a:lnTo>
                  <a:lnTo>
                    <a:pt x="166" y="718"/>
                  </a:lnTo>
                  <a:lnTo>
                    <a:pt x="178" y="740"/>
                  </a:lnTo>
                  <a:lnTo>
                    <a:pt x="194" y="759"/>
                  </a:lnTo>
                  <a:lnTo>
                    <a:pt x="214" y="775"/>
                  </a:lnTo>
                  <a:lnTo>
                    <a:pt x="236" y="788"/>
                  </a:lnTo>
                  <a:lnTo>
                    <a:pt x="261" y="795"/>
                  </a:lnTo>
                  <a:lnTo>
                    <a:pt x="287" y="798"/>
                  </a:lnTo>
                  <a:lnTo>
                    <a:pt x="2458" y="798"/>
                  </a:lnTo>
                  <a:lnTo>
                    <a:pt x="2484" y="795"/>
                  </a:lnTo>
                  <a:lnTo>
                    <a:pt x="2509" y="788"/>
                  </a:lnTo>
                  <a:lnTo>
                    <a:pt x="2531" y="775"/>
                  </a:lnTo>
                  <a:lnTo>
                    <a:pt x="2551" y="759"/>
                  </a:lnTo>
                  <a:lnTo>
                    <a:pt x="2567" y="740"/>
                  </a:lnTo>
                  <a:lnTo>
                    <a:pt x="2579" y="718"/>
                  </a:lnTo>
                  <a:lnTo>
                    <a:pt x="2587" y="694"/>
                  </a:lnTo>
                  <a:lnTo>
                    <a:pt x="2589" y="667"/>
                  </a:lnTo>
                  <a:lnTo>
                    <a:pt x="2589" y="181"/>
                  </a:lnTo>
                  <a:lnTo>
                    <a:pt x="2589" y="181"/>
                  </a:lnTo>
                  <a:lnTo>
                    <a:pt x="2589" y="9"/>
                  </a:lnTo>
                  <a:lnTo>
                    <a:pt x="2599" y="0"/>
                  </a:lnTo>
                  <a:lnTo>
                    <a:pt x="2617" y="20"/>
                  </a:lnTo>
                  <a:lnTo>
                    <a:pt x="2639" y="38"/>
                  </a:lnTo>
                  <a:lnTo>
                    <a:pt x="2662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413" y="2218"/>
              <a:ext cx="72" cy="29"/>
            </a:xfrm>
            <a:custGeom>
              <a:avLst/>
              <a:gdLst>
                <a:gd name="T0" fmla="*/ 400 w 647"/>
                <a:gd name="T1" fmla="*/ 64 h 264"/>
                <a:gd name="T2" fmla="*/ 68 w 647"/>
                <a:gd name="T3" fmla="*/ 64 h 264"/>
                <a:gd name="T4" fmla="*/ 51 w 647"/>
                <a:gd name="T5" fmla="*/ 67 h 264"/>
                <a:gd name="T6" fmla="*/ 35 w 647"/>
                <a:gd name="T7" fmla="*/ 73 h 264"/>
                <a:gd name="T8" fmla="*/ 21 w 647"/>
                <a:gd name="T9" fmla="*/ 84 h 264"/>
                <a:gd name="T10" fmla="*/ 10 w 647"/>
                <a:gd name="T11" fmla="*/ 97 h 264"/>
                <a:gd name="T12" fmla="*/ 4 w 647"/>
                <a:gd name="T13" fmla="*/ 114 h 264"/>
                <a:gd name="T14" fmla="*/ 0 w 647"/>
                <a:gd name="T15" fmla="*/ 131 h 264"/>
                <a:gd name="T16" fmla="*/ 4 w 647"/>
                <a:gd name="T17" fmla="*/ 149 h 264"/>
                <a:gd name="T18" fmla="*/ 10 w 647"/>
                <a:gd name="T19" fmla="*/ 166 h 264"/>
                <a:gd name="T20" fmla="*/ 21 w 647"/>
                <a:gd name="T21" fmla="*/ 179 h 264"/>
                <a:gd name="T22" fmla="*/ 35 w 647"/>
                <a:gd name="T23" fmla="*/ 190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0 h 264"/>
                <a:gd name="T32" fmla="*/ 437 w 647"/>
                <a:gd name="T33" fmla="*/ 238 h 264"/>
                <a:gd name="T34" fmla="*/ 459 w 647"/>
                <a:gd name="T35" fmla="*/ 252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1 h 264"/>
                <a:gd name="T42" fmla="*/ 566 w 647"/>
                <a:gd name="T43" fmla="*/ 253 h 264"/>
                <a:gd name="T44" fmla="*/ 588 w 647"/>
                <a:gd name="T45" fmla="*/ 242 h 264"/>
                <a:gd name="T46" fmla="*/ 607 w 647"/>
                <a:gd name="T47" fmla="*/ 224 h 264"/>
                <a:gd name="T48" fmla="*/ 624 w 647"/>
                <a:gd name="T49" fmla="*/ 205 h 264"/>
                <a:gd name="T50" fmla="*/ 636 w 647"/>
                <a:gd name="T51" fmla="*/ 183 h 264"/>
                <a:gd name="T52" fmla="*/ 644 w 647"/>
                <a:gd name="T53" fmla="*/ 158 h 264"/>
                <a:gd name="T54" fmla="*/ 647 w 647"/>
                <a:gd name="T55" fmla="*/ 131 h 264"/>
                <a:gd name="T56" fmla="*/ 644 w 647"/>
                <a:gd name="T57" fmla="*/ 104 h 264"/>
                <a:gd name="T58" fmla="*/ 636 w 647"/>
                <a:gd name="T59" fmla="*/ 80 h 264"/>
                <a:gd name="T60" fmla="*/ 624 w 647"/>
                <a:gd name="T61" fmla="*/ 57 h 264"/>
                <a:gd name="T62" fmla="*/ 607 w 647"/>
                <a:gd name="T63" fmla="*/ 38 h 264"/>
                <a:gd name="T64" fmla="*/ 588 w 647"/>
                <a:gd name="T65" fmla="*/ 22 h 264"/>
                <a:gd name="T66" fmla="*/ 566 w 647"/>
                <a:gd name="T67" fmla="*/ 9 h 264"/>
                <a:gd name="T68" fmla="*/ 541 w 647"/>
                <a:gd name="T69" fmla="*/ 2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1 h 264"/>
                <a:gd name="T76" fmla="*/ 437 w 647"/>
                <a:gd name="T77" fmla="*/ 24 h 264"/>
                <a:gd name="T78" fmla="*/ 416 w 647"/>
                <a:gd name="T79" fmla="*/ 42 h 264"/>
                <a:gd name="T80" fmla="*/ 400 w 647"/>
                <a:gd name="T81" fmla="*/ 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4"/>
                  </a:moveTo>
                  <a:lnTo>
                    <a:pt x="68" y="64"/>
                  </a:lnTo>
                  <a:lnTo>
                    <a:pt x="51" y="67"/>
                  </a:lnTo>
                  <a:lnTo>
                    <a:pt x="35" y="73"/>
                  </a:lnTo>
                  <a:lnTo>
                    <a:pt x="21" y="84"/>
                  </a:lnTo>
                  <a:lnTo>
                    <a:pt x="10" y="97"/>
                  </a:lnTo>
                  <a:lnTo>
                    <a:pt x="4" y="114"/>
                  </a:lnTo>
                  <a:lnTo>
                    <a:pt x="0" y="131"/>
                  </a:lnTo>
                  <a:lnTo>
                    <a:pt x="4" y="149"/>
                  </a:lnTo>
                  <a:lnTo>
                    <a:pt x="10" y="166"/>
                  </a:lnTo>
                  <a:lnTo>
                    <a:pt x="21" y="179"/>
                  </a:lnTo>
                  <a:lnTo>
                    <a:pt x="35" y="190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0"/>
                  </a:lnTo>
                  <a:lnTo>
                    <a:pt x="437" y="238"/>
                  </a:lnTo>
                  <a:lnTo>
                    <a:pt x="459" y="252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1"/>
                  </a:lnTo>
                  <a:lnTo>
                    <a:pt x="566" y="253"/>
                  </a:lnTo>
                  <a:lnTo>
                    <a:pt x="588" y="242"/>
                  </a:lnTo>
                  <a:lnTo>
                    <a:pt x="607" y="224"/>
                  </a:lnTo>
                  <a:lnTo>
                    <a:pt x="624" y="205"/>
                  </a:lnTo>
                  <a:lnTo>
                    <a:pt x="636" y="183"/>
                  </a:lnTo>
                  <a:lnTo>
                    <a:pt x="644" y="158"/>
                  </a:lnTo>
                  <a:lnTo>
                    <a:pt x="647" y="131"/>
                  </a:lnTo>
                  <a:lnTo>
                    <a:pt x="644" y="104"/>
                  </a:lnTo>
                  <a:lnTo>
                    <a:pt x="636" y="80"/>
                  </a:lnTo>
                  <a:lnTo>
                    <a:pt x="624" y="57"/>
                  </a:lnTo>
                  <a:lnTo>
                    <a:pt x="607" y="38"/>
                  </a:lnTo>
                  <a:lnTo>
                    <a:pt x="588" y="22"/>
                  </a:lnTo>
                  <a:lnTo>
                    <a:pt x="566" y="9"/>
                  </a:lnTo>
                  <a:lnTo>
                    <a:pt x="541" y="2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1"/>
                  </a:lnTo>
                  <a:lnTo>
                    <a:pt x="437" y="24"/>
                  </a:lnTo>
                  <a:lnTo>
                    <a:pt x="416" y="42"/>
                  </a:lnTo>
                  <a:lnTo>
                    <a:pt x="400" y="6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1"/>
            <p:cNvSpPr>
              <a:spLocks/>
            </p:cNvSpPr>
            <p:nvPr/>
          </p:nvSpPr>
          <p:spPr bwMode="auto">
            <a:xfrm>
              <a:off x="-413" y="2145"/>
              <a:ext cx="72" cy="30"/>
            </a:xfrm>
            <a:custGeom>
              <a:avLst/>
              <a:gdLst>
                <a:gd name="T0" fmla="*/ 400 w 647"/>
                <a:gd name="T1" fmla="*/ 66 h 265"/>
                <a:gd name="T2" fmla="*/ 68 w 647"/>
                <a:gd name="T3" fmla="*/ 66 h 265"/>
                <a:gd name="T4" fmla="*/ 51 w 647"/>
                <a:gd name="T5" fmla="*/ 68 h 265"/>
                <a:gd name="T6" fmla="*/ 35 w 647"/>
                <a:gd name="T7" fmla="*/ 74 h 265"/>
                <a:gd name="T8" fmla="*/ 21 w 647"/>
                <a:gd name="T9" fmla="*/ 85 h 265"/>
                <a:gd name="T10" fmla="*/ 10 w 647"/>
                <a:gd name="T11" fmla="*/ 99 h 265"/>
                <a:gd name="T12" fmla="*/ 4 w 647"/>
                <a:gd name="T13" fmla="*/ 115 h 265"/>
                <a:gd name="T14" fmla="*/ 0 w 647"/>
                <a:gd name="T15" fmla="*/ 132 h 265"/>
                <a:gd name="T16" fmla="*/ 4 w 647"/>
                <a:gd name="T17" fmla="*/ 151 h 265"/>
                <a:gd name="T18" fmla="*/ 10 w 647"/>
                <a:gd name="T19" fmla="*/ 167 h 265"/>
                <a:gd name="T20" fmla="*/ 21 w 647"/>
                <a:gd name="T21" fmla="*/ 181 h 265"/>
                <a:gd name="T22" fmla="*/ 35 w 647"/>
                <a:gd name="T23" fmla="*/ 191 h 265"/>
                <a:gd name="T24" fmla="*/ 51 w 647"/>
                <a:gd name="T25" fmla="*/ 198 h 265"/>
                <a:gd name="T26" fmla="*/ 68 w 647"/>
                <a:gd name="T27" fmla="*/ 200 h 265"/>
                <a:gd name="T28" fmla="*/ 400 w 647"/>
                <a:gd name="T29" fmla="*/ 200 h 265"/>
                <a:gd name="T30" fmla="*/ 416 w 647"/>
                <a:gd name="T31" fmla="*/ 222 h 265"/>
                <a:gd name="T32" fmla="*/ 437 w 647"/>
                <a:gd name="T33" fmla="*/ 240 h 265"/>
                <a:gd name="T34" fmla="*/ 460 w 647"/>
                <a:gd name="T35" fmla="*/ 253 h 265"/>
                <a:gd name="T36" fmla="*/ 486 w 647"/>
                <a:gd name="T37" fmla="*/ 262 h 265"/>
                <a:gd name="T38" fmla="*/ 514 w 647"/>
                <a:gd name="T39" fmla="*/ 265 h 265"/>
                <a:gd name="T40" fmla="*/ 541 w 647"/>
                <a:gd name="T41" fmla="*/ 263 h 265"/>
                <a:gd name="T42" fmla="*/ 566 w 647"/>
                <a:gd name="T43" fmla="*/ 255 h 265"/>
                <a:gd name="T44" fmla="*/ 588 w 647"/>
                <a:gd name="T45" fmla="*/ 242 h 265"/>
                <a:gd name="T46" fmla="*/ 607 w 647"/>
                <a:gd name="T47" fmla="*/ 226 h 265"/>
                <a:gd name="T48" fmla="*/ 624 w 647"/>
                <a:gd name="T49" fmla="*/ 207 h 265"/>
                <a:gd name="T50" fmla="*/ 636 w 647"/>
                <a:gd name="T51" fmla="*/ 184 h 265"/>
                <a:gd name="T52" fmla="*/ 644 w 647"/>
                <a:gd name="T53" fmla="*/ 160 h 265"/>
                <a:gd name="T54" fmla="*/ 647 w 647"/>
                <a:gd name="T55" fmla="*/ 132 h 265"/>
                <a:gd name="T56" fmla="*/ 644 w 647"/>
                <a:gd name="T57" fmla="*/ 106 h 265"/>
                <a:gd name="T58" fmla="*/ 636 w 647"/>
                <a:gd name="T59" fmla="*/ 82 h 265"/>
                <a:gd name="T60" fmla="*/ 624 w 647"/>
                <a:gd name="T61" fmla="*/ 59 h 265"/>
                <a:gd name="T62" fmla="*/ 607 w 647"/>
                <a:gd name="T63" fmla="*/ 40 h 265"/>
                <a:gd name="T64" fmla="*/ 588 w 647"/>
                <a:gd name="T65" fmla="*/ 24 h 265"/>
                <a:gd name="T66" fmla="*/ 566 w 647"/>
                <a:gd name="T67" fmla="*/ 11 h 265"/>
                <a:gd name="T68" fmla="*/ 541 w 647"/>
                <a:gd name="T69" fmla="*/ 3 h 265"/>
                <a:gd name="T70" fmla="*/ 514 w 647"/>
                <a:gd name="T71" fmla="*/ 0 h 265"/>
                <a:gd name="T72" fmla="*/ 486 w 647"/>
                <a:gd name="T73" fmla="*/ 3 h 265"/>
                <a:gd name="T74" fmla="*/ 460 w 647"/>
                <a:gd name="T75" fmla="*/ 12 h 265"/>
                <a:gd name="T76" fmla="*/ 437 w 647"/>
                <a:gd name="T77" fmla="*/ 26 h 265"/>
                <a:gd name="T78" fmla="*/ 416 w 647"/>
                <a:gd name="T79" fmla="*/ 44 h 265"/>
                <a:gd name="T80" fmla="*/ 400 w 647"/>
                <a:gd name="T81" fmla="*/ 66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5">
                  <a:moveTo>
                    <a:pt x="400" y="66"/>
                  </a:moveTo>
                  <a:lnTo>
                    <a:pt x="68" y="66"/>
                  </a:lnTo>
                  <a:lnTo>
                    <a:pt x="51" y="68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9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1"/>
                  </a:lnTo>
                  <a:lnTo>
                    <a:pt x="10" y="167"/>
                  </a:lnTo>
                  <a:lnTo>
                    <a:pt x="21" y="181"/>
                  </a:lnTo>
                  <a:lnTo>
                    <a:pt x="35" y="191"/>
                  </a:lnTo>
                  <a:lnTo>
                    <a:pt x="51" y="198"/>
                  </a:lnTo>
                  <a:lnTo>
                    <a:pt x="68" y="200"/>
                  </a:lnTo>
                  <a:lnTo>
                    <a:pt x="400" y="200"/>
                  </a:lnTo>
                  <a:lnTo>
                    <a:pt x="416" y="222"/>
                  </a:lnTo>
                  <a:lnTo>
                    <a:pt x="437" y="240"/>
                  </a:lnTo>
                  <a:lnTo>
                    <a:pt x="460" y="253"/>
                  </a:lnTo>
                  <a:lnTo>
                    <a:pt x="486" y="262"/>
                  </a:lnTo>
                  <a:lnTo>
                    <a:pt x="514" y="265"/>
                  </a:lnTo>
                  <a:lnTo>
                    <a:pt x="541" y="263"/>
                  </a:lnTo>
                  <a:lnTo>
                    <a:pt x="566" y="255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2"/>
                  </a:lnTo>
                  <a:lnTo>
                    <a:pt x="644" y="106"/>
                  </a:lnTo>
                  <a:lnTo>
                    <a:pt x="636" y="82"/>
                  </a:lnTo>
                  <a:lnTo>
                    <a:pt x="624" y="59"/>
                  </a:lnTo>
                  <a:lnTo>
                    <a:pt x="607" y="40"/>
                  </a:lnTo>
                  <a:lnTo>
                    <a:pt x="588" y="24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60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2"/>
            <p:cNvSpPr>
              <a:spLocks/>
            </p:cNvSpPr>
            <p:nvPr/>
          </p:nvSpPr>
          <p:spPr bwMode="auto">
            <a:xfrm>
              <a:off x="-413" y="2073"/>
              <a:ext cx="72" cy="29"/>
            </a:xfrm>
            <a:custGeom>
              <a:avLst/>
              <a:gdLst>
                <a:gd name="T0" fmla="*/ 400 w 647"/>
                <a:gd name="T1" fmla="*/ 65 h 264"/>
                <a:gd name="T2" fmla="*/ 68 w 647"/>
                <a:gd name="T3" fmla="*/ 65 h 264"/>
                <a:gd name="T4" fmla="*/ 51 w 647"/>
                <a:gd name="T5" fmla="*/ 67 h 264"/>
                <a:gd name="T6" fmla="*/ 35 w 647"/>
                <a:gd name="T7" fmla="*/ 74 h 264"/>
                <a:gd name="T8" fmla="*/ 21 w 647"/>
                <a:gd name="T9" fmla="*/ 85 h 264"/>
                <a:gd name="T10" fmla="*/ 10 w 647"/>
                <a:gd name="T11" fmla="*/ 98 h 264"/>
                <a:gd name="T12" fmla="*/ 4 w 647"/>
                <a:gd name="T13" fmla="*/ 115 h 264"/>
                <a:gd name="T14" fmla="*/ 0 w 647"/>
                <a:gd name="T15" fmla="*/ 132 h 264"/>
                <a:gd name="T16" fmla="*/ 4 w 647"/>
                <a:gd name="T17" fmla="*/ 150 h 264"/>
                <a:gd name="T18" fmla="*/ 10 w 647"/>
                <a:gd name="T19" fmla="*/ 166 h 264"/>
                <a:gd name="T20" fmla="*/ 21 w 647"/>
                <a:gd name="T21" fmla="*/ 180 h 264"/>
                <a:gd name="T22" fmla="*/ 35 w 647"/>
                <a:gd name="T23" fmla="*/ 191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2 h 264"/>
                <a:gd name="T32" fmla="*/ 437 w 647"/>
                <a:gd name="T33" fmla="*/ 239 h 264"/>
                <a:gd name="T34" fmla="*/ 459 w 647"/>
                <a:gd name="T35" fmla="*/ 253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2 h 264"/>
                <a:gd name="T42" fmla="*/ 566 w 647"/>
                <a:gd name="T43" fmla="*/ 254 h 264"/>
                <a:gd name="T44" fmla="*/ 588 w 647"/>
                <a:gd name="T45" fmla="*/ 242 h 264"/>
                <a:gd name="T46" fmla="*/ 607 w 647"/>
                <a:gd name="T47" fmla="*/ 226 h 264"/>
                <a:gd name="T48" fmla="*/ 624 w 647"/>
                <a:gd name="T49" fmla="*/ 207 h 264"/>
                <a:gd name="T50" fmla="*/ 636 w 647"/>
                <a:gd name="T51" fmla="*/ 184 h 264"/>
                <a:gd name="T52" fmla="*/ 644 w 647"/>
                <a:gd name="T53" fmla="*/ 160 h 264"/>
                <a:gd name="T54" fmla="*/ 647 w 647"/>
                <a:gd name="T55" fmla="*/ 133 h 264"/>
                <a:gd name="T56" fmla="*/ 644 w 647"/>
                <a:gd name="T57" fmla="*/ 106 h 264"/>
                <a:gd name="T58" fmla="*/ 636 w 647"/>
                <a:gd name="T59" fmla="*/ 81 h 264"/>
                <a:gd name="T60" fmla="*/ 624 w 647"/>
                <a:gd name="T61" fmla="*/ 59 h 264"/>
                <a:gd name="T62" fmla="*/ 607 w 647"/>
                <a:gd name="T63" fmla="*/ 39 h 264"/>
                <a:gd name="T64" fmla="*/ 588 w 647"/>
                <a:gd name="T65" fmla="*/ 22 h 264"/>
                <a:gd name="T66" fmla="*/ 566 w 647"/>
                <a:gd name="T67" fmla="*/ 11 h 264"/>
                <a:gd name="T68" fmla="*/ 541 w 647"/>
                <a:gd name="T69" fmla="*/ 3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2 h 264"/>
                <a:gd name="T76" fmla="*/ 437 w 647"/>
                <a:gd name="T77" fmla="*/ 26 h 264"/>
                <a:gd name="T78" fmla="*/ 416 w 647"/>
                <a:gd name="T79" fmla="*/ 44 h 264"/>
                <a:gd name="T80" fmla="*/ 400 w 647"/>
                <a:gd name="T81" fmla="*/ 65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5"/>
                  </a:moveTo>
                  <a:lnTo>
                    <a:pt x="68" y="65"/>
                  </a:lnTo>
                  <a:lnTo>
                    <a:pt x="51" y="67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8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0"/>
                  </a:lnTo>
                  <a:lnTo>
                    <a:pt x="10" y="166"/>
                  </a:lnTo>
                  <a:lnTo>
                    <a:pt x="21" y="180"/>
                  </a:lnTo>
                  <a:lnTo>
                    <a:pt x="35" y="191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2"/>
                  </a:lnTo>
                  <a:lnTo>
                    <a:pt x="437" y="239"/>
                  </a:lnTo>
                  <a:lnTo>
                    <a:pt x="459" y="253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2"/>
                  </a:lnTo>
                  <a:lnTo>
                    <a:pt x="566" y="254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3"/>
                  </a:lnTo>
                  <a:lnTo>
                    <a:pt x="644" y="106"/>
                  </a:lnTo>
                  <a:lnTo>
                    <a:pt x="636" y="81"/>
                  </a:lnTo>
                  <a:lnTo>
                    <a:pt x="624" y="59"/>
                  </a:lnTo>
                  <a:lnTo>
                    <a:pt x="607" y="39"/>
                  </a:lnTo>
                  <a:lnTo>
                    <a:pt x="588" y="22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3"/>
            <p:cNvSpPr>
              <a:spLocks/>
            </p:cNvSpPr>
            <p:nvPr/>
          </p:nvSpPr>
          <p:spPr bwMode="auto">
            <a:xfrm>
              <a:off x="-118" y="2110"/>
              <a:ext cx="91" cy="90"/>
            </a:xfrm>
            <a:custGeom>
              <a:avLst/>
              <a:gdLst>
                <a:gd name="T0" fmla="*/ 537 w 816"/>
                <a:gd name="T1" fmla="*/ 547 h 805"/>
                <a:gd name="T2" fmla="*/ 497 w 816"/>
                <a:gd name="T3" fmla="*/ 587 h 805"/>
                <a:gd name="T4" fmla="*/ 468 w 816"/>
                <a:gd name="T5" fmla="*/ 616 h 805"/>
                <a:gd name="T6" fmla="*/ 447 w 816"/>
                <a:gd name="T7" fmla="*/ 636 h 805"/>
                <a:gd name="T8" fmla="*/ 433 w 816"/>
                <a:gd name="T9" fmla="*/ 650 h 805"/>
                <a:gd name="T10" fmla="*/ 421 w 816"/>
                <a:gd name="T11" fmla="*/ 662 h 805"/>
                <a:gd name="T12" fmla="*/ 410 w 816"/>
                <a:gd name="T13" fmla="*/ 673 h 805"/>
                <a:gd name="T14" fmla="*/ 395 w 816"/>
                <a:gd name="T15" fmla="*/ 688 h 805"/>
                <a:gd name="T16" fmla="*/ 374 w 816"/>
                <a:gd name="T17" fmla="*/ 708 h 805"/>
                <a:gd name="T18" fmla="*/ 345 w 816"/>
                <a:gd name="T19" fmla="*/ 737 h 805"/>
                <a:gd name="T20" fmla="*/ 303 w 816"/>
                <a:gd name="T21" fmla="*/ 779 h 805"/>
                <a:gd name="T22" fmla="*/ 208 w 816"/>
                <a:gd name="T23" fmla="*/ 736 h 805"/>
                <a:gd name="T24" fmla="*/ 68 w 816"/>
                <a:gd name="T25" fmla="*/ 607 h 805"/>
                <a:gd name="T26" fmla="*/ 0 w 816"/>
                <a:gd name="T27" fmla="*/ 538 h 805"/>
                <a:gd name="T28" fmla="*/ 2 w 816"/>
                <a:gd name="T29" fmla="*/ 535 h 805"/>
                <a:gd name="T30" fmla="*/ 37 w 816"/>
                <a:gd name="T31" fmla="*/ 499 h 805"/>
                <a:gd name="T32" fmla="*/ 92 w 816"/>
                <a:gd name="T33" fmla="*/ 446 h 805"/>
                <a:gd name="T34" fmla="*/ 135 w 816"/>
                <a:gd name="T35" fmla="*/ 403 h 805"/>
                <a:gd name="T36" fmla="*/ 169 w 816"/>
                <a:gd name="T37" fmla="*/ 369 h 805"/>
                <a:gd name="T38" fmla="*/ 197 w 816"/>
                <a:gd name="T39" fmla="*/ 341 h 805"/>
                <a:gd name="T40" fmla="*/ 223 w 816"/>
                <a:gd name="T41" fmla="*/ 315 h 805"/>
                <a:gd name="T42" fmla="*/ 248 w 816"/>
                <a:gd name="T43" fmla="*/ 291 h 805"/>
                <a:gd name="T44" fmla="*/ 277 w 816"/>
                <a:gd name="T45" fmla="*/ 263 h 805"/>
                <a:gd name="T46" fmla="*/ 312 w 816"/>
                <a:gd name="T47" fmla="*/ 228 h 805"/>
                <a:gd name="T48" fmla="*/ 356 w 816"/>
                <a:gd name="T49" fmla="*/ 187 h 805"/>
                <a:gd name="T50" fmla="*/ 411 w 816"/>
                <a:gd name="T51" fmla="*/ 133 h 805"/>
                <a:gd name="T52" fmla="*/ 473 w 816"/>
                <a:gd name="T53" fmla="*/ 75 h 805"/>
                <a:gd name="T54" fmla="*/ 540 w 816"/>
                <a:gd name="T55" fmla="*/ 31 h 805"/>
                <a:gd name="T56" fmla="*/ 602 w 816"/>
                <a:gd name="T57" fmla="*/ 4 h 805"/>
                <a:gd name="T58" fmla="*/ 657 w 816"/>
                <a:gd name="T59" fmla="*/ 1 h 805"/>
                <a:gd name="T60" fmla="*/ 709 w 816"/>
                <a:gd name="T61" fmla="*/ 22 h 805"/>
                <a:gd name="T62" fmla="*/ 759 w 816"/>
                <a:gd name="T63" fmla="*/ 60 h 805"/>
                <a:gd name="T64" fmla="*/ 796 w 816"/>
                <a:gd name="T65" fmla="*/ 108 h 805"/>
                <a:gd name="T66" fmla="*/ 815 w 816"/>
                <a:gd name="T67" fmla="*/ 161 h 805"/>
                <a:gd name="T68" fmla="*/ 810 w 816"/>
                <a:gd name="T69" fmla="*/ 217 h 805"/>
                <a:gd name="T70" fmla="*/ 773 w 816"/>
                <a:gd name="T71" fmla="*/ 283 h 805"/>
                <a:gd name="T72" fmla="*/ 717 w 816"/>
                <a:gd name="T73" fmla="*/ 354 h 805"/>
                <a:gd name="T74" fmla="*/ 681 w 816"/>
                <a:gd name="T75" fmla="*/ 398 h 805"/>
                <a:gd name="T76" fmla="*/ 656 w 816"/>
                <a:gd name="T77" fmla="*/ 424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6" h="805">
                  <a:moveTo>
                    <a:pt x="563" y="521"/>
                  </a:moveTo>
                  <a:lnTo>
                    <a:pt x="537" y="547"/>
                  </a:lnTo>
                  <a:lnTo>
                    <a:pt x="516" y="569"/>
                  </a:lnTo>
                  <a:lnTo>
                    <a:pt x="497" y="587"/>
                  </a:lnTo>
                  <a:lnTo>
                    <a:pt x="482" y="603"/>
                  </a:lnTo>
                  <a:lnTo>
                    <a:pt x="468" y="616"/>
                  </a:lnTo>
                  <a:lnTo>
                    <a:pt x="457" y="627"/>
                  </a:lnTo>
                  <a:lnTo>
                    <a:pt x="447" y="636"/>
                  </a:lnTo>
                  <a:lnTo>
                    <a:pt x="440" y="644"/>
                  </a:lnTo>
                  <a:lnTo>
                    <a:pt x="433" y="650"/>
                  </a:lnTo>
                  <a:lnTo>
                    <a:pt x="427" y="657"/>
                  </a:lnTo>
                  <a:lnTo>
                    <a:pt x="421" y="662"/>
                  </a:lnTo>
                  <a:lnTo>
                    <a:pt x="416" y="668"/>
                  </a:lnTo>
                  <a:lnTo>
                    <a:pt x="410" y="673"/>
                  </a:lnTo>
                  <a:lnTo>
                    <a:pt x="403" y="679"/>
                  </a:lnTo>
                  <a:lnTo>
                    <a:pt x="395" y="688"/>
                  </a:lnTo>
                  <a:lnTo>
                    <a:pt x="386" y="696"/>
                  </a:lnTo>
                  <a:lnTo>
                    <a:pt x="374" y="708"/>
                  </a:lnTo>
                  <a:lnTo>
                    <a:pt x="361" y="721"/>
                  </a:lnTo>
                  <a:lnTo>
                    <a:pt x="345" y="737"/>
                  </a:lnTo>
                  <a:lnTo>
                    <a:pt x="326" y="756"/>
                  </a:lnTo>
                  <a:lnTo>
                    <a:pt x="303" y="779"/>
                  </a:lnTo>
                  <a:lnTo>
                    <a:pt x="277" y="805"/>
                  </a:lnTo>
                  <a:lnTo>
                    <a:pt x="208" y="736"/>
                  </a:lnTo>
                  <a:lnTo>
                    <a:pt x="138" y="671"/>
                  </a:lnTo>
                  <a:lnTo>
                    <a:pt x="68" y="607"/>
                  </a:lnTo>
                  <a:lnTo>
                    <a:pt x="0" y="539"/>
                  </a:lnTo>
                  <a:lnTo>
                    <a:pt x="0" y="538"/>
                  </a:lnTo>
                  <a:lnTo>
                    <a:pt x="1" y="537"/>
                  </a:lnTo>
                  <a:lnTo>
                    <a:pt x="2" y="535"/>
                  </a:lnTo>
                  <a:lnTo>
                    <a:pt x="3" y="533"/>
                  </a:lnTo>
                  <a:lnTo>
                    <a:pt x="37" y="499"/>
                  </a:lnTo>
                  <a:lnTo>
                    <a:pt x="66" y="472"/>
                  </a:lnTo>
                  <a:lnTo>
                    <a:pt x="92" y="446"/>
                  </a:lnTo>
                  <a:lnTo>
                    <a:pt x="114" y="423"/>
                  </a:lnTo>
                  <a:lnTo>
                    <a:pt x="135" y="403"/>
                  </a:lnTo>
                  <a:lnTo>
                    <a:pt x="152" y="385"/>
                  </a:lnTo>
                  <a:lnTo>
                    <a:pt x="169" y="369"/>
                  </a:lnTo>
                  <a:lnTo>
                    <a:pt x="183" y="355"/>
                  </a:lnTo>
                  <a:lnTo>
                    <a:pt x="197" y="341"/>
                  </a:lnTo>
                  <a:lnTo>
                    <a:pt x="210" y="328"/>
                  </a:lnTo>
                  <a:lnTo>
                    <a:pt x="223" y="315"/>
                  </a:lnTo>
                  <a:lnTo>
                    <a:pt x="236" y="303"/>
                  </a:lnTo>
                  <a:lnTo>
                    <a:pt x="248" y="291"/>
                  </a:lnTo>
                  <a:lnTo>
                    <a:pt x="262" y="277"/>
                  </a:lnTo>
                  <a:lnTo>
                    <a:pt x="277" y="263"/>
                  </a:lnTo>
                  <a:lnTo>
                    <a:pt x="294" y="247"/>
                  </a:lnTo>
                  <a:lnTo>
                    <a:pt x="312" y="228"/>
                  </a:lnTo>
                  <a:lnTo>
                    <a:pt x="332" y="209"/>
                  </a:lnTo>
                  <a:lnTo>
                    <a:pt x="356" y="187"/>
                  </a:lnTo>
                  <a:lnTo>
                    <a:pt x="382" y="161"/>
                  </a:lnTo>
                  <a:lnTo>
                    <a:pt x="411" y="133"/>
                  </a:lnTo>
                  <a:lnTo>
                    <a:pt x="443" y="101"/>
                  </a:lnTo>
                  <a:lnTo>
                    <a:pt x="473" y="75"/>
                  </a:lnTo>
                  <a:lnTo>
                    <a:pt x="505" y="52"/>
                  </a:lnTo>
                  <a:lnTo>
                    <a:pt x="540" y="31"/>
                  </a:lnTo>
                  <a:lnTo>
                    <a:pt x="574" y="14"/>
                  </a:lnTo>
                  <a:lnTo>
                    <a:pt x="602" y="4"/>
                  </a:lnTo>
                  <a:lnTo>
                    <a:pt x="630" y="0"/>
                  </a:lnTo>
                  <a:lnTo>
                    <a:pt x="657" y="1"/>
                  </a:lnTo>
                  <a:lnTo>
                    <a:pt x="684" y="9"/>
                  </a:lnTo>
                  <a:lnTo>
                    <a:pt x="709" y="22"/>
                  </a:lnTo>
                  <a:lnTo>
                    <a:pt x="734" y="39"/>
                  </a:lnTo>
                  <a:lnTo>
                    <a:pt x="759" y="60"/>
                  </a:lnTo>
                  <a:lnTo>
                    <a:pt x="780" y="84"/>
                  </a:lnTo>
                  <a:lnTo>
                    <a:pt x="796" y="108"/>
                  </a:lnTo>
                  <a:lnTo>
                    <a:pt x="808" y="134"/>
                  </a:lnTo>
                  <a:lnTo>
                    <a:pt x="815" y="161"/>
                  </a:lnTo>
                  <a:lnTo>
                    <a:pt x="816" y="188"/>
                  </a:lnTo>
                  <a:lnTo>
                    <a:pt x="810" y="217"/>
                  </a:lnTo>
                  <a:lnTo>
                    <a:pt x="798" y="246"/>
                  </a:lnTo>
                  <a:lnTo>
                    <a:pt x="773" y="283"/>
                  </a:lnTo>
                  <a:lnTo>
                    <a:pt x="746" y="319"/>
                  </a:lnTo>
                  <a:lnTo>
                    <a:pt x="717" y="354"/>
                  </a:lnTo>
                  <a:lnTo>
                    <a:pt x="689" y="389"/>
                  </a:lnTo>
                  <a:lnTo>
                    <a:pt x="681" y="398"/>
                  </a:lnTo>
                  <a:lnTo>
                    <a:pt x="674" y="407"/>
                  </a:lnTo>
                  <a:lnTo>
                    <a:pt x="656" y="424"/>
                  </a:lnTo>
                  <a:lnTo>
                    <a:pt x="563" y="5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4"/>
            <p:cNvSpPr>
              <a:spLocks/>
            </p:cNvSpPr>
            <p:nvPr/>
          </p:nvSpPr>
          <p:spPr bwMode="auto">
            <a:xfrm>
              <a:off x="-89" y="2158"/>
              <a:ext cx="69" cy="70"/>
            </a:xfrm>
            <a:custGeom>
              <a:avLst/>
              <a:gdLst>
                <a:gd name="T0" fmla="*/ 606 w 629"/>
                <a:gd name="T1" fmla="*/ 105 h 630"/>
                <a:gd name="T2" fmla="*/ 517 w 629"/>
                <a:gd name="T3" fmla="*/ 196 h 630"/>
                <a:gd name="T4" fmla="*/ 427 w 629"/>
                <a:gd name="T5" fmla="*/ 286 h 630"/>
                <a:gd name="T6" fmla="*/ 106 w 629"/>
                <a:gd name="T7" fmla="*/ 605 h 630"/>
                <a:gd name="T8" fmla="*/ 94 w 629"/>
                <a:gd name="T9" fmla="*/ 618 h 630"/>
                <a:gd name="T10" fmla="*/ 78 w 629"/>
                <a:gd name="T11" fmla="*/ 625 h 630"/>
                <a:gd name="T12" fmla="*/ 63 w 629"/>
                <a:gd name="T13" fmla="*/ 630 h 630"/>
                <a:gd name="T14" fmla="*/ 47 w 629"/>
                <a:gd name="T15" fmla="*/ 630 h 630"/>
                <a:gd name="T16" fmla="*/ 30 w 629"/>
                <a:gd name="T17" fmla="*/ 622 h 630"/>
                <a:gd name="T18" fmla="*/ 16 w 629"/>
                <a:gd name="T19" fmla="*/ 613 h 630"/>
                <a:gd name="T20" fmla="*/ 6 w 629"/>
                <a:gd name="T21" fmla="*/ 601 h 630"/>
                <a:gd name="T22" fmla="*/ 1 w 629"/>
                <a:gd name="T23" fmla="*/ 588 h 630"/>
                <a:gd name="T24" fmla="*/ 0 w 629"/>
                <a:gd name="T25" fmla="*/ 573 h 630"/>
                <a:gd name="T26" fmla="*/ 3 w 629"/>
                <a:gd name="T27" fmla="*/ 557 h 630"/>
                <a:gd name="T28" fmla="*/ 10 w 629"/>
                <a:gd name="T29" fmla="*/ 543 h 630"/>
                <a:gd name="T30" fmla="*/ 20 w 629"/>
                <a:gd name="T31" fmla="*/ 530 h 630"/>
                <a:gd name="T32" fmla="*/ 32 w 629"/>
                <a:gd name="T33" fmla="*/ 517 h 630"/>
                <a:gd name="T34" fmla="*/ 48 w 629"/>
                <a:gd name="T35" fmla="*/ 501 h 630"/>
                <a:gd name="T36" fmla="*/ 68 w 629"/>
                <a:gd name="T37" fmla="*/ 482 h 630"/>
                <a:gd name="T38" fmla="*/ 88 w 629"/>
                <a:gd name="T39" fmla="*/ 461 h 630"/>
                <a:gd name="T40" fmla="*/ 112 w 629"/>
                <a:gd name="T41" fmla="*/ 438 h 630"/>
                <a:gd name="T42" fmla="*/ 136 w 629"/>
                <a:gd name="T43" fmla="*/ 413 h 630"/>
                <a:gd name="T44" fmla="*/ 162 w 629"/>
                <a:gd name="T45" fmla="*/ 387 h 630"/>
                <a:gd name="T46" fmla="*/ 189 w 629"/>
                <a:gd name="T47" fmla="*/ 360 h 630"/>
                <a:gd name="T48" fmla="*/ 217 w 629"/>
                <a:gd name="T49" fmla="*/ 332 h 630"/>
                <a:gd name="T50" fmla="*/ 246 w 629"/>
                <a:gd name="T51" fmla="*/ 303 h 630"/>
                <a:gd name="T52" fmla="*/ 275 w 629"/>
                <a:gd name="T53" fmla="*/ 274 h 630"/>
                <a:gd name="T54" fmla="*/ 303 w 629"/>
                <a:gd name="T55" fmla="*/ 246 h 630"/>
                <a:gd name="T56" fmla="*/ 331 w 629"/>
                <a:gd name="T57" fmla="*/ 217 h 630"/>
                <a:gd name="T58" fmla="*/ 359 w 629"/>
                <a:gd name="T59" fmla="*/ 191 h 630"/>
                <a:gd name="T60" fmla="*/ 385 w 629"/>
                <a:gd name="T61" fmla="*/ 164 h 630"/>
                <a:gd name="T62" fmla="*/ 409 w 629"/>
                <a:gd name="T63" fmla="*/ 139 h 630"/>
                <a:gd name="T64" fmla="*/ 433 w 629"/>
                <a:gd name="T65" fmla="*/ 116 h 630"/>
                <a:gd name="T66" fmla="*/ 455 w 629"/>
                <a:gd name="T67" fmla="*/ 94 h 630"/>
                <a:gd name="T68" fmla="*/ 474 w 629"/>
                <a:gd name="T69" fmla="*/ 75 h 630"/>
                <a:gd name="T70" fmla="*/ 491 w 629"/>
                <a:gd name="T71" fmla="*/ 59 h 630"/>
                <a:gd name="T72" fmla="*/ 505 w 629"/>
                <a:gd name="T73" fmla="*/ 45 h 630"/>
                <a:gd name="T74" fmla="*/ 516 w 629"/>
                <a:gd name="T75" fmla="*/ 34 h 630"/>
                <a:gd name="T76" fmla="*/ 523 w 629"/>
                <a:gd name="T77" fmla="*/ 27 h 630"/>
                <a:gd name="T78" fmla="*/ 527 w 629"/>
                <a:gd name="T79" fmla="*/ 22 h 630"/>
                <a:gd name="T80" fmla="*/ 546 w 629"/>
                <a:gd name="T81" fmla="*/ 9 h 630"/>
                <a:gd name="T82" fmla="*/ 564 w 629"/>
                <a:gd name="T83" fmla="*/ 1 h 630"/>
                <a:gd name="T84" fmla="*/ 581 w 629"/>
                <a:gd name="T85" fmla="*/ 0 h 630"/>
                <a:gd name="T86" fmla="*/ 599 w 629"/>
                <a:gd name="T87" fmla="*/ 6 h 630"/>
                <a:gd name="T88" fmla="*/ 615 w 629"/>
                <a:gd name="T89" fmla="*/ 19 h 630"/>
                <a:gd name="T90" fmla="*/ 623 w 629"/>
                <a:gd name="T91" fmla="*/ 31 h 630"/>
                <a:gd name="T92" fmla="*/ 629 w 629"/>
                <a:gd name="T93" fmla="*/ 45 h 630"/>
                <a:gd name="T94" fmla="*/ 629 w 629"/>
                <a:gd name="T95" fmla="*/ 60 h 630"/>
                <a:gd name="T96" fmla="*/ 625 w 629"/>
                <a:gd name="T97" fmla="*/ 75 h 630"/>
                <a:gd name="T98" fmla="*/ 618 w 629"/>
                <a:gd name="T99" fmla="*/ 90 h 630"/>
                <a:gd name="T100" fmla="*/ 606 w 629"/>
                <a:gd name="T101" fmla="*/ 105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9" h="630">
                  <a:moveTo>
                    <a:pt x="606" y="105"/>
                  </a:moveTo>
                  <a:lnTo>
                    <a:pt x="517" y="196"/>
                  </a:lnTo>
                  <a:lnTo>
                    <a:pt x="427" y="286"/>
                  </a:lnTo>
                  <a:lnTo>
                    <a:pt x="106" y="605"/>
                  </a:lnTo>
                  <a:lnTo>
                    <a:pt x="94" y="618"/>
                  </a:lnTo>
                  <a:lnTo>
                    <a:pt x="78" y="625"/>
                  </a:lnTo>
                  <a:lnTo>
                    <a:pt x="63" y="630"/>
                  </a:lnTo>
                  <a:lnTo>
                    <a:pt x="47" y="630"/>
                  </a:lnTo>
                  <a:lnTo>
                    <a:pt x="30" y="622"/>
                  </a:lnTo>
                  <a:lnTo>
                    <a:pt x="16" y="613"/>
                  </a:lnTo>
                  <a:lnTo>
                    <a:pt x="6" y="601"/>
                  </a:lnTo>
                  <a:lnTo>
                    <a:pt x="1" y="588"/>
                  </a:lnTo>
                  <a:lnTo>
                    <a:pt x="0" y="573"/>
                  </a:lnTo>
                  <a:lnTo>
                    <a:pt x="3" y="557"/>
                  </a:lnTo>
                  <a:lnTo>
                    <a:pt x="10" y="543"/>
                  </a:lnTo>
                  <a:lnTo>
                    <a:pt x="20" y="530"/>
                  </a:lnTo>
                  <a:lnTo>
                    <a:pt x="32" y="517"/>
                  </a:lnTo>
                  <a:lnTo>
                    <a:pt x="48" y="501"/>
                  </a:lnTo>
                  <a:lnTo>
                    <a:pt x="68" y="482"/>
                  </a:lnTo>
                  <a:lnTo>
                    <a:pt x="88" y="461"/>
                  </a:lnTo>
                  <a:lnTo>
                    <a:pt x="112" y="438"/>
                  </a:lnTo>
                  <a:lnTo>
                    <a:pt x="136" y="413"/>
                  </a:lnTo>
                  <a:lnTo>
                    <a:pt x="162" y="387"/>
                  </a:lnTo>
                  <a:lnTo>
                    <a:pt x="189" y="360"/>
                  </a:lnTo>
                  <a:lnTo>
                    <a:pt x="217" y="332"/>
                  </a:lnTo>
                  <a:lnTo>
                    <a:pt x="246" y="303"/>
                  </a:lnTo>
                  <a:lnTo>
                    <a:pt x="275" y="274"/>
                  </a:lnTo>
                  <a:lnTo>
                    <a:pt x="303" y="246"/>
                  </a:lnTo>
                  <a:lnTo>
                    <a:pt x="331" y="217"/>
                  </a:lnTo>
                  <a:lnTo>
                    <a:pt x="359" y="191"/>
                  </a:lnTo>
                  <a:lnTo>
                    <a:pt x="385" y="164"/>
                  </a:lnTo>
                  <a:lnTo>
                    <a:pt x="409" y="139"/>
                  </a:lnTo>
                  <a:lnTo>
                    <a:pt x="433" y="116"/>
                  </a:lnTo>
                  <a:lnTo>
                    <a:pt x="455" y="94"/>
                  </a:lnTo>
                  <a:lnTo>
                    <a:pt x="474" y="75"/>
                  </a:lnTo>
                  <a:lnTo>
                    <a:pt x="491" y="59"/>
                  </a:lnTo>
                  <a:lnTo>
                    <a:pt x="505" y="45"/>
                  </a:lnTo>
                  <a:lnTo>
                    <a:pt x="516" y="34"/>
                  </a:lnTo>
                  <a:lnTo>
                    <a:pt x="523" y="27"/>
                  </a:lnTo>
                  <a:lnTo>
                    <a:pt x="527" y="22"/>
                  </a:lnTo>
                  <a:lnTo>
                    <a:pt x="546" y="9"/>
                  </a:lnTo>
                  <a:lnTo>
                    <a:pt x="564" y="1"/>
                  </a:lnTo>
                  <a:lnTo>
                    <a:pt x="581" y="0"/>
                  </a:lnTo>
                  <a:lnTo>
                    <a:pt x="599" y="6"/>
                  </a:lnTo>
                  <a:lnTo>
                    <a:pt x="615" y="19"/>
                  </a:lnTo>
                  <a:lnTo>
                    <a:pt x="623" y="31"/>
                  </a:lnTo>
                  <a:lnTo>
                    <a:pt x="629" y="45"/>
                  </a:lnTo>
                  <a:lnTo>
                    <a:pt x="629" y="60"/>
                  </a:lnTo>
                  <a:lnTo>
                    <a:pt x="625" y="75"/>
                  </a:lnTo>
                  <a:lnTo>
                    <a:pt x="618" y="90"/>
                  </a:lnTo>
                  <a:lnTo>
                    <a:pt x="606" y="1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5"/>
            <p:cNvSpPr>
              <a:spLocks/>
            </p:cNvSpPr>
            <p:nvPr/>
          </p:nvSpPr>
          <p:spPr bwMode="auto">
            <a:xfrm>
              <a:off x="-312" y="2031"/>
              <a:ext cx="180" cy="13"/>
            </a:xfrm>
            <a:custGeom>
              <a:avLst/>
              <a:gdLst>
                <a:gd name="T0" fmla="*/ 1615 w 1615"/>
                <a:gd name="T1" fmla="*/ 61 h 123"/>
                <a:gd name="T2" fmla="*/ 1612 w 1615"/>
                <a:gd name="T3" fmla="*/ 81 h 123"/>
                <a:gd name="T4" fmla="*/ 1603 w 1615"/>
                <a:gd name="T5" fmla="*/ 98 h 123"/>
                <a:gd name="T6" fmla="*/ 1590 w 1615"/>
                <a:gd name="T7" fmla="*/ 111 h 123"/>
                <a:gd name="T8" fmla="*/ 1573 w 1615"/>
                <a:gd name="T9" fmla="*/ 120 h 123"/>
                <a:gd name="T10" fmla="*/ 1554 w 1615"/>
                <a:gd name="T11" fmla="*/ 123 h 123"/>
                <a:gd name="T12" fmla="*/ 61 w 1615"/>
                <a:gd name="T13" fmla="*/ 123 h 123"/>
                <a:gd name="T14" fmla="*/ 42 w 1615"/>
                <a:gd name="T15" fmla="*/ 120 h 123"/>
                <a:gd name="T16" fmla="*/ 25 w 1615"/>
                <a:gd name="T17" fmla="*/ 111 h 123"/>
                <a:gd name="T18" fmla="*/ 12 w 1615"/>
                <a:gd name="T19" fmla="*/ 98 h 123"/>
                <a:gd name="T20" fmla="*/ 3 w 1615"/>
                <a:gd name="T21" fmla="*/ 81 h 123"/>
                <a:gd name="T22" fmla="*/ 0 w 1615"/>
                <a:gd name="T23" fmla="*/ 61 h 123"/>
                <a:gd name="T24" fmla="*/ 3 w 1615"/>
                <a:gd name="T25" fmla="*/ 42 h 123"/>
                <a:gd name="T26" fmla="*/ 12 w 1615"/>
                <a:gd name="T27" fmla="*/ 25 h 123"/>
                <a:gd name="T28" fmla="*/ 25 w 1615"/>
                <a:gd name="T29" fmla="*/ 12 h 123"/>
                <a:gd name="T30" fmla="*/ 42 w 1615"/>
                <a:gd name="T31" fmla="*/ 3 h 123"/>
                <a:gd name="T32" fmla="*/ 61 w 1615"/>
                <a:gd name="T33" fmla="*/ 0 h 123"/>
                <a:gd name="T34" fmla="*/ 1554 w 1615"/>
                <a:gd name="T35" fmla="*/ 0 h 123"/>
                <a:gd name="T36" fmla="*/ 1573 w 1615"/>
                <a:gd name="T37" fmla="*/ 3 h 123"/>
                <a:gd name="T38" fmla="*/ 1590 w 1615"/>
                <a:gd name="T39" fmla="*/ 12 h 123"/>
                <a:gd name="T40" fmla="*/ 1603 w 1615"/>
                <a:gd name="T41" fmla="*/ 25 h 123"/>
                <a:gd name="T42" fmla="*/ 1612 w 1615"/>
                <a:gd name="T43" fmla="*/ 42 h 123"/>
                <a:gd name="T44" fmla="*/ 1615 w 1615"/>
                <a:gd name="T45" fmla="*/ 6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3">
                  <a:moveTo>
                    <a:pt x="1615" y="61"/>
                  </a:moveTo>
                  <a:lnTo>
                    <a:pt x="1612" y="81"/>
                  </a:lnTo>
                  <a:lnTo>
                    <a:pt x="1603" y="98"/>
                  </a:lnTo>
                  <a:lnTo>
                    <a:pt x="1590" y="111"/>
                  </a:lnTo>
                  <a:lnTo>
                    <a:pt x="1573" y="120"/>
                  </a:lnTo>
                  <a:lnTo>
                    <a:pt x="1554" y="123"/>
                  </a:lnTo>
                  <a:lnTo>
                    <a:pt x="61" y="123"/>
                  </a:lnTo>
                  <a:lnTo>
                    <a:pt x="42" y="120"/>
                  </a:lnTo>
                  <a:lnTo>
                    <a:pt x="25" y="111"/>
                  </a:lnTo>
                  <a:lnTo>
                    <a:pt x="12" y="98"/>
                  </a:lnTo>
                  <a:lnTo>
                    <a:pt x="3" y="81"/>
                  </a:lnTo>
                  <a:lnTo>
                    <a:pt x="0" y="61"/>
                  </a:lnTo>
                  <a:lnTo>
                    <a:pt x="3" y="42"/>
                  </a:lnTo>
                  <a:lnTo>
                    <a:pt x="12" y="25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3"/>
                  </a:lnTo>
                  <a:lnTo>
                    <a:pt x="1590" y="12"/>
                  </a:lnTo>
                  <a:lnTo>
                    <a:pt x="1603" y="25"/>
                  </a:lnTo>
                  <a:lnTo>
                    <a:pt x="1612" y="42"/>
                  </a:lnTo>
                  <a:lnTo>
                    <a:pt x="161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6"/>
            <p:cNvSpPr>
              <a:spLocks/>
            </p:cNvSpPr>
            <p:nvPr/>
          </p:nvSpPr>
          <p:spPr bwMode="auto">
            <a:xfrm>
              <a:off x="-312" y="2092"/>
              <a:ext cx="180" cy="14"/>
            </a:xfrm>
            <a:custGeom>
              <a:avLst/>
              <a:gdLst>
                <a:gd name="T0" fmla="*/ 1615 w 1615"/>
                <a:gd name="T1" fmla="*/ 63 h 124"/>
                <a:gd name="T2" fmla="*/ 1612 w 1615"/>
                <a:gd name="T3" fmla="*/ 82 h 124"/>
                <a:gd name="T4" fmla="*/ 1603 w 1615"/>
                <a:gd name="T5" fmla="*/ 99 h 124"/>
                <a:gd name="T6" fmla="*/ 1590 w 1615"/>
                <a:gd name="T7" fmla="*/ 112 h 124"/>
                <a:gd name="T8" fmla="*/ 1573 w 1615"/>
                <a:gd name="T9" fmla="*/ 120 h 124"/>
                <a:gd name="T10" fmla="*/ 1554 w 1615"/>
                <a:gd name="T11" fmla="*/ 124 h 124"/>
                <a:gd name="T12" fmla="*/ 61 w 1615"/>
                <a:gd name="T13" fmla="*/ 124 h 124"/>
                <a:gd name="T14" fmla="*/ 42 w 1615"/>
                <a:gd name="T15" fmla="*/ 120 h 124"/>
                <a:gd name="T16" fmla="*/ 25 w 1615"/>
                <a:gd name="T17" fmla="*/ 112 h 124"/>
                <a:gd name="T18" fmla="*/ 12 w 1615"/>
                <a:gd name="T19" fmla="*/ 99 h 124"/>
                <a:gd name="T20" fmla="*/ 3 w 1615"/>
                <a:gd name="T21" fmla="*/ 82 h 124"/>
                <a:gd name="T22" fmla="*/ 0 w 1615"/>
                <a:gd name="T23" fmla="*/ 63 h 124"/>
                <a:gd name="T24" fmla="*/ 3 w 1615"/>
                <a:gd name="T25" fmla="*/ 43 h 124"/>
                <a:gd name="T26" fmla="*/ 12 w 1615"/>
                <a:gd name="T27" fmla="*/ 26 h 124"/>
                <a:gd name="T28" fmla="*/ 25 w 1615"/>
                <a:gd name="T29" fmla="*/ 12 h 124"/>
                <a:gd name="T30" fmla="*/ 42 w 1615"/>
                <a:gd name="T31" fmla="*/ 4 h 124"/>
                <a:gd name="T32" fmla="*/ 61 w 1615"/>
                <a:gd name="T33" fmla="*/ 0 h 124"/>
                <a:gd name="T34" fmla="*/ 1554 w 1615"/>
                <a:gd name="T35" fmla="*/ 0 h 124"/>
                <a:gd name="T36" fmla="*/ 1573 w 1615"/>
                <a:gd name="T37" fmla="*/ 4 h 124"/>
                <a:gd name="T38" fmla="*/ 1590 w 1615"/>
                <a:gd name="T39" fmla="*/ 12 h 124"/>
                <a:gd name="T40" fmla="*/ 1603 w 1615"/>
                <a:gd name="T41" fmla="*/ 26 h 124"/>
                <a:gd name="T42" fmla="*/ 1612 w 1615"/>
                <a:gd name="T43" fmla="*/ 43 h 124"/>
                <a:gd name="T44" fmla="*/ 1615 w 1615"/>
                <a:gd name="T45" fmla="*/ 6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4">
                  <a:moveTo>
                    <a:pt x="1615" y="63"/>
                  </a:moveTo>
                  <a:lnTo>
                    <a:pt x="1612" y="82"/>
                  </a:lnTo>
                  <a:lnTo>
                    <a:pt x="1603" y="99"/>
                  </a:lnTo>
                  <a:lnTo>
                    <a:pt x="1590" y="112"/>
                  </a:lnTo>
                  <a:lnTo>
                    <a:pt x="1573" y="120"/>
                  </a:lnTo>
                  <a:lnTo>
                    <a:pt x="1554" y="124"/>
                  </a:lnTo>
                  <a:lnTo>
                    <a:pt x="61" y="124"/>
                  </a:lnTo>
                  <a:lnTo>
                    <a:pt x="42" y="120"/>
                  </a:lnTo>
                  <a:lnTo>
                    <a:pt x="25" y="112"/>
                  </a:lnTo>
                  <a:lnTo>
                    <a:pt x="12" y="99"/>
                  </a:lnTo>
                  <a:lnTo>
                    <a:pt x="3" y="82"/>
                  </a:lnTo>
                  <a:lnTo>
                    <a:pt x="0" y="63"/>
                  </a:lnTo>
                  <a:lnTo>
                    <a:pt x="3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4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4"/>
                  </a:lnTo>
                  <a:lnTo>
                    <a:pt x="1590" y="12"/>
                  </a:lnTo>
                  <a:lnTo>
                    <a:pt x="1603" y="26"/>
                  </a:lnTo>
                  <a:lnTo>
                    <a:pt x="1612" y="43"/>
                  </a:lnTo>
                  <a:lnTo>
                    <a:pt x="1615" y="6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7"/>
            <p:cNvSpPr>
              <a:spLocks/>
            </p:cNvSpPr>
            <p:nvPr/>
          </p:nvSpPr>
          <p:spPr bwMode="auto">
            <a:xfrm>
              <a:off x="-312" y="2153"/>
              <a:ext cx="179" cy="14"/>
            </a:xfrm>
            <a:custGeom>
              <a:avLst/>
              <a:gdLst>
                <a:gd name="T0" fmla="*/ 1614 w 1614"/>
                <a:gd name="T1" fmla="*/ 49 h 124"/>
                <a:gd name="T2" fmla="*/ 1540 w 1614"/>
                <a:gd name="T3" fmla="*/ 124 h 124"/>
                <a:gd name="T4" fmla="*/ 61 w 1614"/>
                <a:gd name="T5" fmla="*/ 124 h 124"/>
                <a:gd name="T6" fmla="*/ 42 w 1614"/>
                <a:gd name="T7" fmla="*/ 121 h 124"/>
                <a:gd name="T8" fmla="*/ 25 w 1614"/>
                <a:gd name="T9" fmla="*/ 112 h 124"/>
                <a:gd name="T10" fmla="*/ 12 w 1614"/>
                <a:gd name="T11" fmla="*/ 98 h 124"/>
                <a:gd name="T12" fmla="*/ 2 w 1614"/>
                <a:gd name="T13" fmla="*/ 81 h 124"/>
                <a:gd name="T14" fmla="*/ 0 w 1614"/>
                <a:gd name="T15" fmla="*/ 62 h 124"/>
                <a:gd name="T16" fmla="*/ 2 w 1614"/>
                <a:gd name="T17" fmla="*/ 43 h 124"/>
                <a:gd name="T18" fmla="*/ 12 w 1614"/>
                <a:gd name="T19" fmla="*/ 26 h 124"/>
                <a:gd name="T20" fmla="*/ 25 w 1614"/>
                <a:gd name="T21" fmla="*/ 12 h 124"/>
                <a:gd name="T22" fmla="*/ 42 w 1614"/>
                <a:gd name="T23" fmla="*/ 3 h 124"/>
                <a:gd name="T24" fmla="*/ 61 w 1614"/>
                <a:gd name="T25" fmla="*/ 0 h 124"/>
                <a:gd name="T26" fmla="*/ 1554 w 1614"/>
                <a:gd name="T27" fmla="*/ 0 h 124"/>
                <a:gd name="T28" fmla="*/ 1571 w 1614"/>
                <a:gd name="T29" fmla="*/ 3 h 124"/>
                <a:gd name="T30" fmla="*/ 1586 w 1614"/>
                <a:gd name="T31" fmla="*/ 10 h 124"/>
                <a:gd name="T32" fmla="*/ 1599 w 1614"/>
                <a:gd name="T33" fmla="*/ 20 h 124"/>
                <a:gd name="T34" fmla="*/ 1609 w 1614"/>
                <a:gd name="T35" fmla="*/ 33 h 124"/>
                <a:gd name="T36" fmla="*/ 1614 w 1614"/>
                <a:gd name="T37" fmla="*/ 49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14" h="124">
                  <a:moveTo>
                    <a:pt x="1614" y="49"/>
                  </a:moveTo>
                  <a:lnTo>
                    <a:pt x="1540" y="124"/>
                  </a:lnTo>
                  <a:lnTo>
                    <a:pt x="61" y="124"/>
                  </a:lnTo>
                  <a:lnTo>
                    <a:pt x="42" y="121"/>
                  </a:lnTo>
                  <a:lnTo>
                    <a:pt x="25" y="112"/>
                  </a:lnTo>
                  <a:lnTo>
                    <a:pt x="12" y="98"/>
                  </a:lnTo>
                  <a:lnTo>
                    <a:pt x="2" y="81"/>
                  </a:lnTo>
                  <a:lnTo>
                    <a:pt x="0" y="62"/>
                  </a:lnTo>
                  <a:lnTo>
                    <a:pt x="2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1" y="3"/>
                  </a:lnTo>
                  <a:lnTo>
                    <a:pt x="1586" y="10"/>
                  </a:lnTo>
                  <a:lnTo>
                    <a:pt x="1599" y="20"/>
                  </a:lnTo>
                  <a:lnTo>
                    <a:pt x="1609" y="33"/>
                  </a:lnTo>
                  <a:lnTo>
                    <a:pt x="1614" y="4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8"/>
            <p:cNvSpPr>
              <a:spLocks/>
            </p:cNvSpPr>
            <p:nvPr/>
          </p:nvSpPr>
          <p:spPr bwMode="auto">
            <a:xfrm>
              <a:off x="-224" y="2177"/>
              <a:ext cx="129" cy="132"/>
            </a:xfrm>
            <a:custGeom>
              <a:avLst/>
              <a:gdLst>
                <a:gd name="T0" fmla="*/ 1155 w 1157"/>
                <a:gd name="T1" fmla="*/ 280 h 1183"/>
                <a:gd name="T2" fmla="*/ 1140 w 1157"/>
                <a:gd name="T3" fmla="*/ 296 h 1183"/>
                <a:gd name="T4" fmla="*/ 1111 w 1157"/>
                <a:gd name="T5" fmla="*/ 325 h 1183"/>
                <a:gd name="T6" fmla="*/ 1070 w 1157"/>
                <a:gd name="T7" fmla="*/ 367 h 1183"/>
                <a:gd name="T8" fmla="*/ 1020 w 1157"/>
                <a:gd name="T9" fmla="*/ 417 h 1183"/>
                <a:gd name="T10" fmla="*/ 963 w 1157"/>
                <a:gd name="T11" fmla="*/ 475 h 1183"/>
                <a:gd name="T12" fmla="*/ 899 w 1157"/>
                <a:gd name="T13" fmla="*/ 537 h 1183"/>
                <a:gd name="T14" fmla="*/ 833 w 1157"/>
                <a:gd name="T15" fmla="*/ 603 h 1183"/>
                <a:gd name="T16" fmla="*/ 765 w 1157"/>
                <a:gd name="T17" fmla="*/ 670 h 1183"/>
                <a:gd name="T18" fmla="*/ 697 w 1157"/>
                <a:gd name="T19" fmla="*/ 736 h 1183"/>
                <a:gd name="T20" fmla="*/ 633 w 1157"/>
                <a:gd name="T21" fmla="*/ 798 h 1183"/>
                <a:gd name="T22" fmla="*/ 573 w 1157"/>
                <a:gd name="T23" fmla="*/ 855 h 1183"/>
                <a:gd name="T24" fmla="*/ 520 w 1157"/>
                <a:gd name="T25" fmla="*/ 904 h 1183"/>
                <a:gd name="T26" fmla="*/ 475 w 1157"/>
                <a:gd name="T27" fmla="*/ 945 h 1183"/>
                <a:gd name="T28" fmla="*/ 442 w 1157"/>
                <a:gd name="T29" fmla="*/ 973 h 1183"/>
                <a:gd name="T30" fmla="*/ 427 w 1157"/>
                <a:gd name="T31" fmla="*/ 983 h 1183"/>
                <a:gd name="T32" fmla="*/ 409 w 1157"/>
                <a:gd name="T33" fmla="*/ 995 h 1183"/>
                <a:gd name="T34" fmla="*/ 378 w 1157"/>
                <a:gd name="T35" fmla="*/ 1017 h 1183"/>
                <a:gd name="T36" fmla="*/ 336 w 1157"/>
                <a:gd name="T37" fmla="*/ 1042 h 1183"/>
                <a:gd name="T38" fmla="*/ 287 w 1157"/>
                <a:gd name="T39" fmla="*/ 1071 h 1183"/>
                <a:gd name="T40" fmla="*/ 234 w 1157"/>
                <a:gd name="T41" fmla="*/ 1099 h 1183"/>
                <a:gd name="T42" fmla="*/ 181 w 1157"/>
                <a:gd name="T43" fmla="*/ 1123 h 1183"/>
                <a:gd name="T44" fmla="*/ 129 w 1157"/>
                <a:gd name="T45" fmla="*/ 1139 h 1183"/>
                <a:gd name="T46" fmla="*/ 84 w 1157"/>
                <a:gd name="T47" fmla="*/ 1143 h 1183"/>
                <a:gd name="T48" fmla="*/ 78 w 1157"/>
                <a:gd name="T49" fmla="*/ 1144 h 1183"/>
                <a:gd name="T50" fmla="*/ 47 w 1157"/>
                <a:gd name="T51" fmla="*/ 1174 h 1183"/>
                <a:gd name="T52" fmla="*/ 27 w 1157"/>
                <a:gd name="T53" fmla="*/ 1183 h 1183"/>
                <a:gd name="T54" fmla="*/ 9 w 1157"/>
                <a:gd name="T55" fmla="*/ 1176 h 1183"/>
                <a:gd name="T56" fmla="*/ 0 w 1157"/>
                <a:gd name="T57" fmla="*/ 1157 h 1183"/>
                <a:gd name="T58" fmla="*/ 6 w 1157"/>
                <a:gd name="T59" fmla="*/ 1137 h 1183"/>
                <a:gd name="T60" fmla="*/ 29 w 1157"/>
                <a:gd name="T61" fmla="*/ 1091 h 1183"/>
                <a:gd name="T62" fmla="*/ 32 w 1157"/>
                <a:gd name="T63" fmla="*/ 1046 h 1183"/>
                <a:gd name="T64" fmla="*/ 46 w 1157"/>
                <a:gd name="T65" fmla="*/ 994 h 1183"/>
                <a:gd name="T66" fmla="*/ 68 w 1157"/>
                <a:gd name="T67" fmla="*/ 941 h 1183"/>
                <a:gd name="T68" fmla="*/ 93 w 1157"/>
                <a:gd name="T69" fmla="*/ 886 h 1183"/>
                <a:gd name="T70" fmla="*/ 120 w 1157"/>
                <a:gd name="T71" fmla="*/ 837 h 1183"/>
                <a:gd name="T72" fmla="*/ 146 w 1157"/>
                <a:gd name="T73" fmla="*/ 794 h 1183"/>
                <a:gd name="T74" fmla="*/ 167 w 1157"/>
                <a:gd name="T75" fmla="*/ 762 h 1183"/>
                <a:gd name="T76" fmla="*/ 177 w 1157"/>
                <a:gd name="T77" fmla="*/ 745 h 1183"/>
                <a:gd name="T78" fmla="*/ 188 w 1157"/>
                <a:gd name="T79" fmla="*/ 730 h 1183"/>
                <a:gd name="T80" fmla="*/ 215 w 1157"/>
                <a:gd name="T81" fmla="*/ 695 h 1183"/>
                <a:gd name="T82" fmla="*/ 254 w 1157"/>
                <a:gd name="T83" fmla="*/ 650 h 1183"/>
                <a:gd name="T84" fmla="*/ 302 w 1157"/>
                <a:gd name="T85" fmla="*/ 596 h 1183"/>
                <a:gd name="T86" fmla="*/ 358 w 1157"/>
                <a:gd name="T87" fmla="*/ 535 h 1183"/>
                <a:gd name="T88" fmla="*/ 419 w 1157"/>
                <a:gd name="T89" fmla="*/ 469 h 1183"/>
                <a:gd name="T90" fmla="*/ 484 w 1157"/>
                <a:gd name="T91" fmla="*/ 400 h 1183"/>
                <a:gd name="T92" fmla="*/ 549 w 1157"/>
                <a:gd name="T93" fmla="*/ 331 h 1183"/>
                <a:gd name="T94" fmla="*/ 614 w 1157"/>
                <a:gd name="T95" fmla="*/ 264 h 1183"/>
                <a:gd name="T96" fmla="*/ 675 w 1157"/>
                <a:gd name="T97" fmla="*/ 199 h 1183"/>
                <a:gd name="T98" fmla="*/ 732 w 1157"/>
                <a:gd name="T99" fmla="*/ 141 h 1183"/>
                <a:gd name="T100" fmla="*/ 781 w 1157"/>
                <a:gd name="T101" fmla="*/ 89 h 1183"/>
                <a:gd name="T102" fmla="*/ 821 w 1157"/>
                <a:gd name="T103" fmla="*/ 47 h 1183"/>
                <a:gd name="T104" fmla="*/ 850 w 1157"/>
                <a:gd name="T105" fmla="*/ 18 h 1183"/>
                <a:gd name="T106" fmla="*/ 865 w 1157"/>
                <a:gd name="T107" fmla="*/ 2 h 1183"/>
                <a:gd name="T108" fmla="*/ 1012 w 1157"/>
                <a:gd name="T109" fmla="*/ 137 h 1183"/>
                <a:gd name="T110" fmla="*/ 1020 w 1157"/>
                <a:gd name="T111" fmla="*/ 145 h 1183"/>
                <a:gd name="T112" fmla="*/ 1039 w 1157"/>
                <a:gd name="T113" fmla="*/ 162 h 1183"/>
                <a:gd name="T114" fmla="*/ 1064 w 1157"/>
                <a:gd name="T115" fmla="*/ 187 h 1183"/>
                <a:gd name="T116" fmla="*/ 1093 w 1157"/>
                <a:gd name="T117" fmla="*/ 214 h 1183"/>
                <a:gd name="T118" fmla="*/ 1121 w 1157"/>
                <a:gd name="T119" fmla="*/ 241 h 1183"/>
                <a:gd name="T120" fmla="*/ 1142 w 1157"/>
                <a:gd name="T121" fmla="*/ 264 h 1183"/>
                <a:gd name="T122" fmla="*/ 1155 w 1157"/>
                <a:gd name="T123" fmla="*/ 277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57" h="1183">
                  <a:moveTo>
                    <a:pt x="1157" y="278"/>
                  </a:moveTo>
                  <a:lnTo>
                    <a:pt x="1155" y="280"/>
                  </a:lnTo>
                  <a:lnTo>
                    <a:pt x="1150" y="286"/>
                  </a:lnTo>
                  <a:lnTo>
                    <a:pt x="1140" y="296"/>
                  </a:lnTo>
                  <a:lnTo>
                    <a:pt x="1127" y="309"/>
                  </a:lnTo>
                  <a:lnTo>
                    <a:pt x="1111" y="325"/>
                  </a:lnTo>
                  <a:lnTo>
                    <a:pt x="1092" y="344"/>
                  </a:lnTo>
                  <a:lnTo>
                    <a:pt x="1070" y="367"/>
                  </a:lnTo>
                  <a:lnTo>
                    <a:pt x="1047" y="390"/>
                  </a:lnTo>
                  <a:lnTo>
                    <a:pt x="1020" y="417"/>
                  </a:lnTo>
                  <a:lnTo>
                    <a:pt x="992" y="445"/>
                  </a:lnTo>
                  <a:lnTo>
                    <a:pt x="963" y="475"/>
                  </a:lnTo>
                  <a:lnTo>
                    <a:pt x="932" y="505"/>
                  </a:lnTo>
                  <a:lnTo>
                    <a:pt x="899" y="537"/>
                  </a:lnTo>
                  <a:lnTo>
                    <a:pt x="866" y="570"/>
                  </a:lnTo>
                  <a:lnTo>
                    <a:pt x="833" y="603"/>
                  </a:lnTo>
                  <a:lnTo>
                    <a:pt x="799" y="636"/>
                  </a:lnTo>
                  <a:lnTo>
                    <a:pt x="765" y="670"/>
                  </a:lnTo>
                  <a:lnTo>
                    <a:pt x="731" y="703"/>
                  </a:lnTo>
                  <a:lnTo>
                    <a:pt x="697" y="736"/>
                  </a:lnTo>
                  <a:lnTo>
                    <a:pt x="665" y="767"/>
                  </a:lnTo>
                  <a:lnTo>
                    <a:pt x="633" y="798"/>
                  </a:lnTo>
                  <a:lnTo>
                    <a:pt x="603" y="827"/>
                  </a:lnTo>
                  <a:lnTo>
                    <a:pt x="573" y="855"/>
                  </a:lnTo>
                  <a:lnTo>
                    <a:pt x="546" y="881"/>
                  </a:lnTo>
                  <a:lnTo>
                    <a:pt x="520" y="904"/>
                  </a:lnTo>
                  <a:lnTo>
                    <a:pt x="496" y="926"/>
                  </a:lnTo>
                  <a:lnTo>
                    <a:pt x="475" y="945"/>
                  </a:lnTo>
                  <a:lnTo>
                    <a:pt x="457" y="960"/>
                  </a:lnTo>
                  <a:lnTo>
                    <a:pt x="442" y="973"/>
                  </a:lnTo>
                  <a:lnTo>
                    <a:pt x="429" y="981"/>
                  </a:lnTo>
                  <a:lnTo>
                    <a:pt x="427" y="983"/>
                  </a:lnTo>
                  <a:lnTo>
                    <a:pt x="420" y="988"/>
                  </a:lnTo>
                  <a:lnTo>
                    <a:pt x="409" y="995"/>
                  </a:lnTo>
                  <a:lnTo>
                    <a:pt x="395" y="1005"/>
                  </a:lnTo>
                  <a:lnTo>
                    <a:pt x="378" y="1017"/>
                  </a:lnTo>
                  <a:lnTo>
                    <a:pt x="359" y="1029"/>
                  </a:lnTo>
                  <a:lnTo>
                    <a:pt x="336" y="1042"/>
                  </a:lnTo>
                  <a:lnTo>
                    <a:pt x="313" y="1057"/>
                  </a:lnTo>
                  <a:lnTo>
                    <a:pt x="287" y="1071"/>
                  </a:lnTo>
                  <a:lnTo>
                    <a:pt x="261" y="1086"/>
                  </a:lnTo>
                  <a:lnTo>
                    <a:pt x="234" y="1099"/>
                  </a:lnTo>
                  <a:lnTo>
                    <a:pt x="207" y="1112"/>
                  </a:lnTo>
                  <a:lnTo>
                    <a:pt x="181" y="1123"/>
                  </a:lnTo>
                  <a:lnTo>
                    <a:pt x="155" y="1131"/>
                  </a:lnTo>
                  <a:lnTo>
                    <a:pt x="129" y="1139"/>
                  </a:lnTo>
                  <a:lnTo>
                    <a:pt x="105" y="1142"/>
                  </a:lnTo>
                  <a:lnTo>
                    <a:pt x="84" y="1143"/>
                  </a:lnTo>
                  <a:lnTo>
                    <a:pt x="82" y="1144"/>
                  </a:lnTo>
                  <a:lnTo>
                    <a:pt x="78" y="1144"/>
                  </a:lnTo>
                  <a:lnTo>
                    <a:pt x="76" y="1144"/>
                  </a:lnTo>
                  <a:lnTo>
                    <a:pt x="47" y="1174"/>
                  </a:lnTo>
                  <a:lnTo>
                    <a:pt x="38" y="1180"/>
                  </a:lnTo>
                  <a:lnTo>
                    <a:pt x="27" y="1183"/>
                  </a:lnTo>
                  <a:lnTo>
                    <a:pt x="17" y="1182"/>
                  </a:lnTo>
                  <a:lnTo>
                    <a:pt x="9" y="1176"/>
                  </a:lnTo>
                  <a:lnTo>
                    <a:pt x="2" y="1167"/>
                  </a:lnTo>
                  <a:lnTo>
                    <a:pt x="0" y="1157"/>
                  </a:lnTo>
                  <a:lnTo>
                    <a:pt x="1" y="1146"/>
                  </a:lnTo>
                  <a:lnTo>
                    <a:pt x="6" y="1137"/>
                  </a:lnTo>
                  <a:lnTo>
                    <a:pt x="33" y="1109"/>
                  </a:lnTo>
                  <a:lnTo>
                    <a:pt x="29" y="1091"/>
                  </a:lnTo>
                  <a:lnTo>
                    <a:pt x="29" y="1069"/>
                  </a:lnTo>
                  <a:lnTo>
                    <a:pt x="32" y="1046"/>
                  </a:lnTo>
                  <a:lnTo>
                    <a:pt x="38" y="1021"/>
                  </a:lnTo>
                  <a:lnTo>
                    <a:pt x="46" y="994"/>
                  </a:lnTo>
                  <a:lnTo>
                    <a:pt x="56" y="967"/>
                  </a:lnTo>
                  <a:lnTo>
                    <a:pt x="68" y="941"/>
                  </a:lnTo>
                  <a:lnTo>
                    <a:pt x="81" y="913"/>
                  </a:lnTo>
                  <a:lnTo>
                    <a:pt x="93" y="886"/>
                  </a:lnTo>
                  <a:lnTo>
                    <a:pt x="107" y="860"/>
                  </a:lnTo>
                  <a:lnTo>
                    <a:pt x="120" y="837"/>
                  </a:lnTo>
                  <a:lnTo>
                    <a:pt x="134" y="814"/>
                  </a:lnTo>
                  <a:lnTo>
                    <a:pt x="146" y="794"/>
                  </a:lnTo>
                  <a:lnTo>
                    <a:pt x="157" y="777"/>
                  </a:lnTo>
                  <a:lnTo>
                    <a:pt x="167" y="762"/>
                  </a:lnTo>
                  <a:lnTo>
                    <a:pt x="173" y="751"/>
                  </a:lnTo>
                  <a:lnTo>
                    <a:pt x="177" y="745"/>
                  </a:lnTo>
                  <a:lnTo>
                    <a:pt x="179" y="742"/>
                  </a:lnTo>
                  <a:lnTo>
                    <a:pt x="188" y="730"/>
                  </a:lnTo>
                  <a:lnTo>
                    <a:pt x="200" y="715"/>
                  </a:lnTo>
                  <a:lnTo>
                    <a:pt x="215" y="695"/>
                  </a:lnTo>
                  <a:lnTo>
                    <a:pt x="233" y="674"/>
                  </a:lnTo>
                  <a:lnTo>
                    <a:pt x="254" y="650"/>
                  </a:lnTo>
                  <a:lnTo>
                    <a:pt x="277" y="624"/>
                  </a:lnTo>
                  <a:lnTo>
                    <a:pt x="302" y="596"/>
                  </a:lnTo>
                  <a:lnTo>
                    <a:pt x="329" y="566"/>
                  </a:lnTo>
                  <a:lnTo>
                    <a:pt x="358" y="535"/>
                  </a:lnTo>
                  <a:lnTo>
                    <a:pt x="388" y="503"/>
                  </a:lnTo>
                  <a:lnTo>
                    <a:pt x="419" y="469"/>
                  </a:lnTo>
                  <a:lnTo>
                    <a:pt x="451" y="435"/>
                  </a:lnTo>
                  <a:lnTo>
                    <a:pt x="484" y="400"/>
                  </a:lnTo>
                  <a:lnTo>
                    <a:pt x="516" y="365"/>
                  </a:lnTo>
                  <a:lnTo>
                    <a:pt x="549" y="331"/>
                  </a:lnTo>
                  <a:lnTo>
                    <a:pt x="581" y="297"/>
                  </a:lnTo>
                  <a:lnTo>
                    <a:pt x="614" y="264"/>
                  </a:lnTo>
                  <a:lnTo>
                    <a:pt x="645" y="230"/>
                  </a:lnTo>
                  <a:lnTo>
                    <a:pt x="675" y="199"/>
                  </a:lnTo>
                  <a:lnTo>
                    <a:pt x="704" y="168"/>
                  </a:lnTo>
                  <a:lnTo>
                    <a:pt x="732" y="141"/>
                  </a:lnTo>
                  <a:lnTo>
                    <a:pt x="758" y="114"/>
                  </a:lnTo>
                  <a:lnTo>
                    <a:pt x="781" y="89"/>
                  </a:lnTo>
                  <a:lnTo>
                    <a:pt x="803" y="68"/>
                  </a:lnTo>
                  <a:lnTo>
                    <a:pt x="821" y="47"/>
                  </a:lnTo>
                  <a:lnTo>
                    <a:pt x="837" y="31"/>
                  </a:lnTo>
                  <a:lnTo>
                    <a:pt x="850" y="18"/>
                  </a:lnTo>
                  <a:lnTo>
                    <a:pt x="860" y="9"/>
                  </a:lnTo>
                  <a:lnTo>
                    <a:pt x="865" y="2"/>
                  </a:lnTo>
                  <a:lnTo>
                    <a:pt x="867" y="0"/>
                  </a:lnTo>
                  <a:lnTo>
                    <a:pt x="1012" y="137"/>
                  </a:lnTo>
                  <a:lnTo>
                    <a:pt x="1014" y="139"/>
                  </a:lnTo>
                  <a:lnTo>
                    <a:pt x="1020" y="145"/>
                  </a:lnTo>
                  <a:lnTo>
                    <a:pt x="1028" y="152"/>
                  </a:lnTo>
                  <a:lnTo>
                    <a:pt x="1039" y="162"/>
                  </a:lnTo>
                  <a:lnTo>
                    <a:pt x="1051" y="174"/>
                  </a:lnTo>
                  <a:lnTo>
                    <a:pt x="1064" y="187"/>
                  </a:lnTo>
                  <a:lnTo>
                    <a:pt x="1079" y="201"/>
                  </a:lnTo>
                  <a:lnTo>
                    <a:pt x="1093" y="214"/>
                  </a:lnTo>
                  <a:lnTo>
                    <a:pt x="1107" y="228"/>
                  </a:lnTo>
                  <a:lnTo>
                    <a:pt x="1121" y="241"/>
                  </a:lnTo>
                  <a:lnTo>
                    <a:pt x="1133" y="253"/>
                  </a:lnTo>
                  <a:lnTo>
                    <a:pt x="1142" y="264"/>
                  </a:lnTo>
                  <a:lnTo>
                    <a:pt x="1151" y="271"/>
                  </a:lnTo>
                  <a:lnTo>
                    <a:pt x="1155" y="277"/>
                  </a:lnTo>
                  <a:lnTo>
                    <a:pt x="1157" y="2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790574" y="3465415"/>
            <a:ext cx="430532" cy="465651"/>
            <a:chOff x="131577" y="928520"/>
            <a:chExt cx="3552918" cy="3842742"/>
          </a:xfrm>
          <a:solidFill>
            <a:srgbClr val="00569B"/>
          </a:solidFill>
        </p:grpSpPr>
        <p:sp>
          <p:nvSpPr>
            <p:cNvPr id="39" name="Freeform 6"/>
            <p:cNvSpPr>
              <a:spLocks noEditPoints="1"/>
            </p:cNvSpPr>
            <p:nvPr/>
          </p:nvSpPr>
          <p:spPr bwMode="auto">
            <a:xfrm>
              <a:off x="131577" y="928520"/>
              <a:ext cx="3552918" cy="3842742"/>
            </a:xfrm>
            <a:custGeom>
              <a:avLst/>
              <a:gdLst>
                <a:gd name="T0" fmla="*/ 4832 w 15226"/>
                <a:gd name="T1" fmla="*/ 896 h 16467"/>
                <a:gd name="T2" fmla="*/ 1605 w 15226"/>
                <a:gd name="T3" fmla="*/ 7033 h 16467"/>
                <a:gd name="T4" fmla="*/ 304 w 15226"/>
                <a:gd name="T5" fmla="*/ 9224 h 16467"/>
                <a:gd name="T6" fmla="*/ 1058 w 15226"/>
                <a:gd name="T7" fmla="*/ 10928 h 16467"/>
                <a:gd name="T8" fmla="*/ 1422 w 15226"/>
                <a:gd name="T9" fmla="*/ 12190 h 16467"/>
                <a:gd name="T10" fmla="*/ 2984 w 15226"/>
                <a:gd name="T11" fmla="*/ 14527 h 16467"/>
                <a:gd name="T12" fmla="*/ 4829 w 15226"/>
                <a:gd name="T13" fmla="*/ 15055 h 16467"/>
                <a:gd name="T14" fmla="*/ 12782 w 15226"/>
                <a:gd name="T15" fmla="*/ 16467 h 16467"/>
                <a:gd name="T16" fmla="*/ 12300 w 15226"/>
                <a:gd name="T17" fmla="*/ 11850 h 16467"/>
                <a:gd name="T18" fmla="*/ 14839 w 15226"/>
                <a:gd name="T19" fmla="*/ 6845 h 16467"/>
                <a:gd name="T20" fmla="*/ 13183 w 15226"/>
                <a:gd name="T21" fmla="*/ 4884 h 16467"/>
                <a:gd name="T22" fmla="*/ 12974 w 15226"/>
                <a:gd name="T23" fmla="*/ 7580 h 16467"/>
                <a:gd name="T24" fmla="*/ 12990 w 15226"/>
                <a:gd name="T25" fmla="*/ 8137 h 16467"/>
                <a:gd name="T26" fmla="*/ 11564 w 15226"/>
                <a:gd name="T27" fmla="*/ 8803 h 16467"/>
                <a:gd name="T28" fmla="*/ 9576 w 15226"/>
                <a:gd name="T29" fmla="*/ 9556 h 16467"/>
                <a:gd name="T30" fmla="*/ 9292 w 15226"/>
                <a:gd name="T31" fmla="*/ 10313 h 16467"/>
                <a:gd name="T32" fmla="*/ 8706 w 15226"/>
                <a:gd name="T33" fmla="*/ 10320 h 16467"/>
                <a:gd name="T34" fmla="*/ 7839 w 15226"/>
                <a:gd name="T35" fmla="*/ 8485 h 16467"/>
                <a:gd name="T36" fmla="*/ 5955 w 15226"/>
                <a:gd name="T37" fmla="*/ 7333 h 16467"/>
                <a:gd name="T38" fmla="*/ 5045 w 15226"/>
                <a:gd name="T39" fmla="*/ 7333 h 16467"/>
                <a:gd name="T40" fmla="*/ 3688 w 15226"/>
                <a:gd name="T41" fmla="*/ 5821 h 16467"/>
                <a:gd name="T42" fmla="*/ 3816 w 15226"/>
                <a:gd name="T43" fmla="*/ 3624 h 16467"/>
                <a:gd name="T44" fmla="*/ 3890 w 15226"/>
                <a:gd name="T45" fmla="*/ 3517 h 16467"/>
                <a:gd name="T46" fmla="*/ 4340 w 15226"/>
                <a:gd name="T47" fmla="*/ 2966 h 16467"/>
                <a:gd name="T48" fmla="*/ 6121 w 15226"/>
                <a:gd name="T49" fmla="*/ 2105 h 16467"/>
                <a:gd name="T50" fmla="*/ 6264 w 15226"/>
                <a:gd name="T51" fmla="*/ 2138 h 16467"/>
                <a:gd name="T52" fmla="*/ 7575 w 15226"/>
                <a:gd name="T53" fmla="*/ 1688 h 16467"/>
                <a:gd name="T54" fmla="*/ 8580 w 15226"/>
                <a:gd name="T55" fmla="*/ 1347 h 16467"/>
                <a:gd name="T56" fmla="*/ 9313 w 15226"/>
                <a:gd name="T57" fmla="*/ 1689 h 16467"/>
                <a:gd name="T58" fmla="*/ 9910 w 15226"/>
                <a:gd name="T59" fmla="*/ 1627 h 16467"/>
                <a:gd name="T60" fmla="*/ 10645 w 15226"/>
                <a:gd name="T61" fmla="*/ 2180 h 16467"/>
                <a:gd name="T62" fmla="*/ 11452 w 15226"/>
                <a:gd name="T63" fmla="*/ 2381 h 16467"/>
                <a:gd name="T64" fmla="*/ 11765 w 15226"/>
                <a:gd name="T65" fmla="*/ 2398 h 16467"/>
                <a:gd name="T66" fmla="*/ 12518 w 15226"/>
                <a:gd name="T67" fmla="*/ 3326 h 16467"/>
                <a:gd name="T68" fmla="*/ 13130 w 15226"/>
                <a:gd name="T69" fmla="*/ 4042 h 16467"/>
                <a:gd name="T70" fmla="*/ 13183 w 15226"/>
                <a:gd name="T71" fmla="*/ 4884 h 16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226" h="16467">
                  <a:moveTo>
                    <a:pt x="10368" y="416"/>
                  </a:moveTo>
                  <a:cubicBezTo>
                    <a:pt x="8478" y="0"/>
                    <a:pt x="6596" y="26"/>
                    <a:pt x="4832" y="896"/>
                  </a:cubicBezTo>
                  <a:cubicBezTo>
                    <a:pt x="2904" y="1847"/>
                    <a:pt x="1993" y="3579"/>
                    <a:pt x="1538" y="5586"/>
                  </a:cubicBezTo>
                  <a:cubicBezTo>
                    <a:pt x="1432" y="6054"/>
                    <a:pt x="1196" y="6558"/>
                    <a:pt x="1605" y="7033"/>
                  </a:cubicBezTo>
                  <a:cubicBezTo>
                    <a:pt x="1694" y="7136"/>
                    <a:pt x="1523" y="7277"/>
                    <a:pt x="1451" y="7391"/>
                  </a:cubicBezTo>
                  <a:cubicBezTo>
                    <a:pt x="1067" y="8001"/>
                    <a:pt x="668" y="8603"/>
                    <a:pt x="304" y="9224"/>
                  </a:cubicBezTo>
                  <a:cubicBezTo>
                    <a:pt x="0" y="9742"/>
                    <a:pt x="65" y="9931"/>
                    <a:pt x="617" y="10108"/>
                  </a:cubicBezTo>
                  <a:cubicBezTo>
                    <a:pt x="1059" y="10249"/>
                    <a:pt x="1276" y="10436"/>
                    <a:pt x="1058" y="10928"/>
                  </a:cubicBezTo>
                  <a:cubicBezTo>
                    <a:pt x="895" y="11292"/>
                    <a:pt x="1194" y="11405"/>
                    <a:pt x="1491" y="11491"/>
                  </a:cubicBezTo>
                  <a:cubicBezTo>
                    <a:pt x="1028" y="11792"/>
                    <a:pt x="1016" y="11870"/>
                    <a:pt x="1422" y="12190"/>
                  </a:cubicBezTo>
                  <a:cubicBezTo>
                    <a:pt x="1598" y="12328"/>
                    <a:pt x="1643" y="12442"/>
                    <a:pt x="1549" y="12654"/>
                  </a:cubicBezTo>
                  <a:cubicBezTo>
                    <a:pt x="975" y="13937"/>
                    <a:pt x="1574" y="14691"/>
                    <a:pt x="2984" y="14527"/>
                  </a:cubicBezTo>
                  <a:cubicBezTo>
                    <a:pt x="3319" y="14488"/>
                    <a:pt x="3653" y="14436"/>
                    <a:pt x="3986" y="14387"/>
                  </a:cubicBezTo>
                  <a:cubicBezTo>
                    <a:pt x="4569" y="14301"/>
                    <a:pt x="4773" y="14445"/>
                    <a:pt x="4829" y="15055"/>
                  </a:cubicBezTo>
                  <a:cubicBezTo>
                    <a:pt x="4873" y="15530"/>
                    <a:pt x="4913" y="16003"/>
                    <a:pt x="5027" y="16467"/>
                  </a:cubicBezTo>
                  <a:cubicBezTo>
                    <a:pt x="7612" y="16467"/>
                    <a:pt x="10197" y="16467"/>
                    <a:pt x="12782" y="16467"/>
                  </a:cubicBezTo>
                  <a:cubicBezTo>
                    <a:pt x="12903" y="16279"/>
                    <a:pt x="12716" y="16164"/>
                    <a:pt x="12656" y="16035"/>
                  </a:cubicBezTo>
                  <a:cubicBezTo>
                    <a:pt x="12030" y="14680"/>
                    <a:pt x="11981" y="13284"/>
                    <a:pt x="12300" y="11850"/>
                  </a:cubicBezTo>
                  <a:cubicBezTo>
                    <a:pt x="12418" y="11319"/>
                    <a:pt x="12716" y="10905"/>
                    <a:pt x="13068" y="10511"/>
                  </a:cubicBezTo>
                  <a:cubicBezTo>
                    <a:pt x="14008" y="9460"/>
                    <a:pt x="14655" y="8275"/>
                    <a:pt x="14839" y="6845"/>
                  </a:cubicBezTo>
                  <a:cubicBezTo>
                    <a:pt x="15226" y="3831"/>
                    <a:pt x="13333" y="1070"/>
                    <a:pt x="10368" y="416"/>
                  </a:cubicBezTo>
                  <a:close/>
                  <a:moveTo>
                    <a:pt x="13183" y="4884"/>
                  </a:moveTo>
                  <a:cubicBezTo>
                    <a:pt x="13866" y="5359"/>
                    <a:pt x="13615" y="6325"/>
                    <a:pt x="13615" y="6325"/>
                  </a:cubicBezTo>
                  <a:cubicBezTo>
                    <a:pt x="13583" y="6773"/>
                    <a:pt x="13370" y="7188"/>
                    <a:pt x="12974" y="7580"/>
                  </a:cubicBezTo>
                  <a:cubicBezTo>
                    <a:pt x="12908" y="7646"/>
                    <a:pt x="12897" y="7705"/>
                    <a:pt x="12896" y="7767"/>
                  </a:cubicBezTo>
                  <a:cubicBezTo>
                    <a:pt x="12954" y="7878"/>
                    <a:pt x="12990" y="8003"/>
                    <a:pt x="12990" y="8137"/>
                  </a:cubicBezTo>
                  <a:cubicBezTo>
                    <a:pt x="12990" y="8582"/>
                    <a:pt x="12815" y="8826"/>
                    <a:pt x="12185" y="8943"/>
                  </a:cubicBezTo>
                  <a:cubicBezTo>
                    <a:pt x="11734" y="9026"/>
                    <a:pt x="11564" y="8803"/>
                    <a:pt x="11564" y="8803"/>
                  </a:cubicBezTo>
                  <a:cubicBezTo>
                    <a:pt x="11564" y="9383"/>
                    <a:pt x="11050" y="10063"/>
                    <a:pt x="10470" y="10063"/>
                  </a:cubicBezTo>
                  <a:cubicBezTo>
                    <a:pt x="10090" y="10063"/>
                    <a:pt x="9760" y="9859"/>
                    <a:pt x="9576" y="9556"/>
                  </a:cubicBezTo>
                  <a:cubicBezTo>
                    <a:pt x="9544" y="9531"/>
                    <a:pt x="9513" y="9507"/>
                    <a:pt x="9481" y="9479"/>
                  </a:cubicBezTo>
                  <a:cubicBezTo>
                    <a:pt x="9412" y="9775"/>
                    <a:pt x="9334" y="10042"/>
                    <a:pt x="9292" y="10313"/>
                  </a:cubicBezTo>
                  <a:cubicBezTo>
                    <a:pt x="9266" y="10480"/>
                    <a:pt x="9214" y="10556"/>
                    <a:pt x="9034" y="10551"/>
                  </a:cubicBezTo>
                  <a:cubicBezTo>
                    <a:pt x="8863" y="10547"/>
                    <a:pt x="8759" y="10519"/>
                    <a:pt x="8706" y="10320"/>
                  </a:cubicBezTo>
                  <a:cubicBezTo>
                    <a:pt x="8600" y="9921"/>
                    <a:pt x="8450" y="9535"/>
                    <a:pt x="8320" y="9143"/>
                  </a:cubicBezTo>
                  <a:cubicBezTo>
                    <a:pt x="8221" y="8846"/>
                    <a:pt x="8056" y="8633"/>
                    <a:pt x="7839" y="8485"/>
                  </a:cubicBezTo>
                  <a:cubicBezTo>
                    <a:pt x="7662" y="8576"/>
                    <a:pt x="7462" y="8628"/>
                    <a:pt x="7250" y="8628"/>
                  </a:cubicBezTo>
                  <a:cubicBezTo>
                    <a:pt x="6535" y="8628"/>
                    <a:pt x="5955" y="8048"/>
                    <a:pt x="5955" y="7333"/>
                  </a:cubicBezTo>
                  <a:cubicBezTo>
                    <a:pt x="5955" y="7187"/>
                    <a:pt x="5980" y="7048"/>
                    <a:pt x="6024" y="6917"/>
                  </a:cubicBezTo>
                  <a:cubicBezTo>
                    <a:pt x="5776" y="7173"/>
                    <a:pt x="5429" y="7333"/>
                    <a:pt x="5045" y="7333"/>
                  </a:cubicBezTo>
                  <a:cubicBezTo>
                    <a:pt x="4291" y="7333"/>
                    <a:pt x="3680" y="6721"/>
                    <a:pt x="3680" y="5968"/>
                  </a:cubicBezTo>
                  <a:cubicBezTo>
                    <a:pt x="3680" y="5918"/>
                    <a:pt x="3683" y="5869"/>
                    <a:pt x="3688" y="5821"/>
                  </a:cubicBezTo>
                  <a:cubicBezTo>
                    <a:pt x="3254" y="5655"/>
                    <a:pt x="2945" y="5235"/>
                    <a:pt x="2945" y="4743"/>
                  </a:cubicBezTo>
                  <a:cubicBezTo>
                    <a:pt x="2945" y="4203"/>
                    <a:pt x="3316" y="3751"/>
                    <a:pt x="3816" y="3624"/>
                  </a:cubicBezTo>
                  <a:cubicBezTo>
                    <a:pt x="3843" y="3601"/>
                    <a:pt x="3869" y="3576"/>
                    <a:pt x="3894" y="3551"/>
                  </a:cubicBezTo>
                  <a:cubicBezTo>
                    <a:pt x="3893" y="3540"/>
                    <a:pt x="3890" y="3529"/>
                    <a:pt x="3890" y="3517"/>
                  </a:cubicBezTo>
                  <a:cubicBezTo>
                    <a:pt x="3890" y="3249"/>
                    <a:pt x="4079" y="3025"/>
                    <a:pt x="4332" y="2971"/>
                  </a:cubicBezTo>
                  <a:cubicBezTo>
                    <a:pt x="4335" y="2969"/>
                    <a:pt x="4337" y="2967"/>
                    <a:pt x="4340" y="2966"/>
                  </a:cubicBezTo>
                  <a:cubicBezTo>
                    <a:pt x="4464" y="2401"/>
                    <a:pt x="4968" y="1977"/>
                    <a:pt x="5570" y="1977"/>
                  </a:cubicBezTo>
                  <a:cubicBezTo>
                    <a:pt x="5768" y="1977"/>
                    <a:pt x="5954" y="2024"/>
                    <a:pt x="6121" y="2105"/>
                  </a:cubicBezTo>
                  <a:cubicBezTo>
                    <a:pt x="6158" y="2113"/>
                    <a:pt x="6195" y="2120"/>
                    <a:pt x="6234" y="2133"/>
                  </a:cubicBezTo>
                  <a:cubicBezTo>
                    <a:pt x="6245" y="2136"/>
                    <a:pt x="6254" y="2137"/>
                    <a:pt x="6264" y="2138"/>
                  </a:cubicBezTo>
                  <a:cubicBezTo>
                    <a:pt x="6396" y="1798"/>
                    <a:pt x="6724" y="1557"/>
                    <a:pt x="7110" y="1557"/>
                  </a:cubicBezTo>
                  <a:cubicBezTo>
                    <a:pt x="7281" y="1557"/>
                    <a:pt x="7438" y="1607"/>
                    <a:pt x="7575" y="1688"/>
                  </a:cubicBezTo>
                  <a:cubicBezTo>
                    <a:pt x="7688" y="1730"/>
                    <a:pt x="7786" y="1735"/>
                    <a:pt x="7890" y="1710"/>
                  </a:cubicBezTo>
                  <a:cubicBezTo>
                    <a:pt x="8042" y="1491"/>
                    <a:pt x="8294" y="1347"/>
                    <a:pt x="8580" y="1347"/>
                  </a:cubicBezTo>
                  <a:cubicBezTo>
                    <a:pt x="8828" y="1347"/>
                    <a:pt x="9048" y="1457"/>
                    <a:pt x="9202" y="1627"/>
                  </a:cubicBezTo>
                  <a:cubicBezTo>
                    <a:pt x="9239" y="1646"/>
                    <a:pt x="9276" y="1665"/>
                    <a:pt x="9313" y="1689"/>
                  </a:cubicBezTo>
                  <a:cubicBezTo>
                    <a:pt x="9375" y="1729"/>
                    <a:pt x="9431" y="1753"/>
                    <a:pt x="9494" y="1757"/>
                  </a:cubicBezTo>
                  <a:cubicBezTo>
                    <a:pt x="9612" y="1676"/>
                    <a:pt x="9755" y="1627"/>
                    <a:pt x="9910" y="1627"/>
                  </a:cubicBezTo>
                  <a:cubicBezTo>
                    <a:pt x="10237" y="1627"/>
                    <a:pt x="10511" y="1843"/>
                    <a:pt x="10607" y="2139"/>
                  </a:cubicBezTo>
                  <a:cubicBezTo>
                    <a:pt x="10619" y="2154"/>
                    <a:pt x="10632" y="2168"/>
                    <a:pt x="10645" y="2180"/>
                  </a:cubicBezTo>
                  <a:cubicBezTo>
                    <a:pt x="10735" y="2118"/>
                    <a:pt x="10843" y="2083"/>
                    <a:pt x="10960" y="2083"/>
                  </a:cubicBezTo>
                  <a:cubicBezTo>
                    <a:pt x="11174" y="2083"/>
                    <a:pt x="11358" y="2204"/>
                    <a:pt x="11452" y="2381"/>
                  </a:cubicBezTo>
                  <a:cubicBezTo>
                    <a:pt x="11477" y="2401"/>
                    <a:pt x="11502" y="2420"/>
                    <a:pt x="11528" y="2438"/>
                  </a:cubicBezTo>
                  <a:cubicBezTo>
                    <a:pt x="11603" y="2414"/>
                    <a:pt x="11682" y="2398"/>
                    <a:pt x="11765" y="2398"/>
                  </a:cubicBezTo>
                  <a:cubicBezTo>
                    <a:pt x="12190" y="2398"/>
                    <a:pt x="12535" y="2742"/>
                    <a:pt x="12535" y="3167"/>
                  </a:cubicBezTo>
                  <a:cubicBezTo>
                    <a:pt x="12535" y="3222"/>
                    <a:pt x="12529" y="3275"/>
                    <a:pt x="12518" y="3326"/>
                  </a:cubicBezTo>
                  <a:cubicBezTo>
                    <a:pt x="12521" y="3334"/>
                    <a:pt x="12523" y="3343"/>
                    <a:pt x="12525" y="3352"/>
                  </a:cubicBezTo>
                  <a:cubicBezTo>
                    <a:pt x="12866" y="3399"/>
                    <a:pt x="13130" y="3688"/>
                    <a:pt x="13130" y="4042"/>
                  </a:cubicBezTo>
                  <a:cubicBezTo>
                    <a:pt x="13130" y="4147"/>
                    <a:pt x="13106" y="4245"/>
                    <a:pt x="13064" y="4334"/>
                  </a:cubicBezTo>
                  <a:cubicBezTo>
                    <a:pt x="13065" y="4334"/>
                    <a:pt x="13480" y="4550"/>
                    <a:pt x="13183" y="48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40" name="Group 39"/>
            <p:cNvGrpSpPr/>
            <p:nvPr/>
          </p:nvGrpSpPr>
          <p:grpSpPr>
            <a:xfrm>
              <a:off x="1622524" y="1603080"/>
              <a:ext cx="1152823" cy="1114500"/>
              <a:chOff x="1190992" y="3966801"/>
              <a:chExt cx="2949531" cy="2851481"/>
            </a:xfrm>
            <a:grpFill/>
          </p:grpSpPr>
          <p:sp>
            <p:nvSpPr>
              <p:cNvPr id="41" name="Freeform 40"/>
              <p:cNvSpPr/>
              <p:nvPr/>
            </p:nvSpPr>
            <p:spPr>
              <a:xfrm rot="20110930">
                <a:off x="1190992" y="3966801"/>
                <a:ext cx="1971644" cy="1968573"/>
              </a:xfrm>
              <a:custGeom>
                <a:avLst/>
                <a:gdLst>
                  <a:gd name="connsiteX0" fmla="*/ 3064893 w 6123903"/>
                  <a:gd name="connsiteY0" fmla="*/ 1851552 h 6114381"/>
                  <a:gd name="connsiteX1" fmla="*/ 1845693 w 6123903"/>
                  <a:gd name="connsiteY1" fmla="*/ 3070752 h 6114381"/>
                  <a:gd name="connsiteX2" fmla="*/ 3064893 w 6123903"/>
                  <a:gd name="connsiteY2" fmla="*/ 4289952 h 6114381"/>
                  <a:gd name="connsiteX3" fmla="*/ 4284093 w 6123903"/>
                  <a:gd name="connsiteY3" fmla="*/ 3070752 h 6114381"/>
                  <a:gd name="connsiteX4" fmla="*/ 3064893 w 6123903"/>
                  <a:gd name="connsiteY4" fmla="*/ 1851552 h 6114381"/>
                  <a:gd name="connsiteX5" fmla="*/ 2686685 w 6123903"/>
                  <a:gd name="connsiteY5" fmla="*/ 0 h 6114381"/>
                  <a:gd name="connsiteX6" fmla="*/ 3422929 w 6123903"/>
                  <a:gd name="connsiteY6" fmla="*/ 0 h 6114381"/>
                  <a:gd name="connsiteX7" fmla="*/ 3678191 w 6123903"/>
                  <a:gd name="connsiteY7" fmla="*/ 710255 h 6114381"/>
                  <a:gd name="connsiteX8" fmla="*/ 3818556 w 6123903"/>
                  <a:gd name="connsiteY8" fmla="*/ 751055 h 6114381"/>
                  <a:gd name="connsiteX9" fmla="*/ 4227179 w 6123903"/>
                  <a:gd name="connsiteY9" fmla="*/ 926655 h 6114381"/>
                  <a:gd name="connsiteX10" fmla="*/ 4282555 w 6123903"/>
                  <a:gd name="connsiteY10" fmla="*/ 960296 h 6114381"/>
                  <a:gd name="connsiteX11" fmla="*/ 4970765 w 6123903"/>
                  <a:gd name="connsiteY11" fmla="*/ 634253 h 6114381"/>
                  <a:gd name="connsiteX12" fmla="*/ 5488211 w 6123903"/>
                  <a:gd name="connsiteY12" fmla="*/ 1157995 h 6114381"/>
                  <a:gd name="connsiteX13" fmla="*/ 5164247 w 6123903"/>
                  <a:gd name="connsiteY13" fmla="*/ 1834816 h 6114381"/>
                  <a:gd name="connsiteX14" fmla="*/ 5208991 w 6123903"/>
                  <a:gd name="connsiteY14" fmla="*/ 1908466 h 6114381"/>
                  <a:gd name="connsiteX15" fmla="*/ 5384591 w 6123903"/>
                  <a:gd name="connsiteY15" fmla="*/ 2317090 h 6114381"/>
                  <a:gd name="connsiteX16" fmla="*/ 5421936 w 6123903"/>
                  <a:gd name="connsiteY16" fmla="*/ 2445569 h 6114381"/>
                  <a:gd name="connsiteX17" fmla="*/ 6123903 w 6123903"/>
                  <a:gd name="connsiteY17" fmla="*/ 2691449 h 6114381"/>
                  <a:gd name="connsiteX18" fmla="*/ 6123903 w 6123903"/>
                  <a:gd name="connsiteY18" fmla="*/ 3427693 h 6114381"/>
                  <a:gd name="connsiteX19" fmla="*/ 5426625 w 6123903"/>
                  <a:gd name="connsiteY19" fmla="*/ 3678291 h 6114381"/>
                  <a:gd name="connsiteX20" fmla="*/ 5390304 w 6123903"/>
                  <a:gd name="connsiteY20" fmla="*/ 3806584 h 6114381"/>
                  <a:gd name="connsiteX21" fmla="*/ 5222916 w 6123903"/>
                  <a:gd name="connsiteY21" fmla="*/ 4207031 h 6114381"/>
                  <a:gd name="connsiteX22" fmla="*/ 5171917 w 6123903"/>
                  <a:gd name="connsiteY22" fmla="*/ 4295117 h 6114381"/>
                  <a:gd name="connsiteX23" fmla="*/ 5484219 w 6123903"/>
                  <a:gd name="connsiteY23" fmla="*/ 4978630 h 6114381"/>
                  <a:gd name="connsiteX24" fmla="*/ 4953361 w 6123903"/>
                  <a:gd name="connsiteY24" fmla="*/ 5488772 h 6114381"/>
                  <a:gd name="connsiteX25" fmla="*/ 4307701 w 6123903"/>
                  <a:gd name="connsiteY25" fmla="*/ 5168660 h 6114381"/>
                  <a:gd name="connsiteX26" fmla="*/ 4148601 w 6123903"/>
                  <a:gd name="connsiteY26" fmla="*/ 5255702 h 6114381"/>
                  <a:gd name="connsiteX27" fmla="*/ 3789999 w 6123903"/>
                  <a:gd name="connsiteY27" fmla="*/ 5399527 h 6114381"/>
                  <a:gd name="connsiteX28" fmla="*/ 3672243 w 6123903"/>
                  <a:gd name="connsiteY28" fmla="*/ 5429805 h 6114381"/>
                  <a:gd name="connsiteX29" fmla="*/ 3432454 w 6123903"/>
                  <a:gd name="connsiteY29" fmla="*/ 6114381 h 6114381"/>
                  <a:gd name="connsiteX30" fmla="*/ 2696210 w 6123903"/>
                  <a:gd name="connsiteY30" fmla="*/ 6114381 h 6114381"/>
                  <a:gd name="connsiteX31" fmla="*/ 2450436 w 6123903"/>
                  <a:gd name="connsiteY31" fmla="*/ 5430525 h 6114381"/>
                  <a:gd name="connsiteX32" fmla="*/ 2329062 w 6123903"/>
                  <a:gd name="connsiteY32" fmla="*/ 5396163 h 6114381"/>
                  <a:gd name="connsiteX33" fmla="*/ 1928614 w 6123903"/>
                  <a:gd name="connsiteY33" fmla="*/ 5228775 h 6114381"/>
                  <a:gd name="connsiteX34" fmla="*/ 1815331 w 6123903"/>
                  <a:gd name="connsiteY34" fmla="*/ 5163187 h 6114381"/>
                  <a:gd name="connsiteX35" fmla="*/ 1167731 w 6123903"/>
                  <a:gd name="connsiteY35" fmla="*/ 5490605 h 6114381"/>
                  <a:gd name="connsiteX36" fmla="*/ 637011 w 6123903"/>
                  <a:gd name="connsiteY36" fmla="*/ 4980320 h 6114381"/>
                  <a:gd name="connsiteX37" fmla="*/ 949593 w 6123903"/>
                  <a:gd name="connsiteY37" fmla="*/ 4281769 h 6114381"/>
                  <a:gd name="connsiteX38" fmla="*/ 879944 w 6123903"/>
                  <a:gd name="connsiteY38" fmla="*/ 4154460 h 6114381"/>
                  <a:gd name="connsiteX39" fmla="*/ 736119 w 6123903"/>
                  <a:gd name="connsiteY39" fmla="*/ 3795858 h 6114381"/>
                  <a:gd name="connsiteX40" fmla="*/ 704946 w 6123903"/>
                  <a:gd name="connsiteY40" fmla="*/ 3674624 h 6114381"/>
                  <a:gd name="connsiteX41" fmla="*/ 0 w 6123903"/>
                  <a:gd name="connsiteY41" fmla="*/ 3427700 h 6114381"/>
                  <a:gd name="connsiteX42" fmla="*/ 0 w 6123903"/>
                  <a:gd name="connsiteY42" fmla="*/ 2691456 h 6114381"/>
                  <a:gd name="connsiteX43" fmla="*/ 710874 w 6123903"/>
                  <a:gd name="connsiteY43" fmla="*/ 2435971 h 6114381"/>
                  <a:gd name="connsiteX44" fmla="*/ 739483 w 6123903"/>
                  <a:gd name="connsiteY44" fmla="*/ 2334920 h 6114381"/>
                  <a:gd name="connsiteX45" fmla="*/ 906871 w 6123903"/>
                  <a:gd name="connsiteY45" fmla="*/ 1934473 h 6114381"/>
                  <a:gd name="connsiteX46" fmla="*/ 966845 w 6123903"/>
                  <a:gd name="connsiteY46" fmla="*/ 1830886 h 6114381"/>
                  <a:gd name="connsiteX47" fmla="*/ 638488 w 6123903"/>
                  <a:gd name="connsiteY47" fmla="*/ 1160565 h 6114381"/>
                  <a:gd name="connsiteX48" fmla="*/ 1155427 w 6123903"/>
                  <a:gd name="connsiteY48" fmla="*/ 636323 h 6114381"/>
                  <a:gd name="connsiteX49" fmla="*/ 1849874 w 6123903"/>
                  <a:gd name="connsiteY49" fmla="*/ 957643 h 6114381"/>
                  <a:gd name="connsiteX50" fmla="*/ 1981186 w 6123903"/>
                  <a:gd name="connsiteY50" fmla="*/ 885803 h 6114381"/>
                  <a:gd name="connsiteX51" fmla="*/ 2339788 w 6123903"/>
                  <a:gd name="connsiteY51" fmla="*/ 741978 h 6114381"/>
                  <a:gd name="connsiteX52" fmla="*/ 2435401 w 6123903"/>
                  <a:gd name="connsiteY52" fmla="*/ 717393 h 611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6123903" h="6114381">
                    <a:moveTo>
                      <a:pt x="3064893" y="1851552"/>
                    </a:moveTo>
                    <a:cubicBezTo>
                      <a:pt x="2391547" y="1851552"/>
                      <a:pt x="1845693" y="2397406"/>
                      <a:pt x="1845693" y="3070752"/>
                    </a:cubicBezTo>
                    <a:cubicBezTo>
                      <a:pt x="1845693" y="3744098"/>
                      <a:pt x="2391547" y="4289952"/>
                      <a:pt x="3064893" y="4289952"/>
                    </a:cubicBezTo>
                    <a:cubicBezTo>
                      <a:pt x="3738239" y="4289952"/>
                      <a:pt x="4284093" y="3744098"/>
                      <a:pt x="4284093" y="3070752"/>
                    </a:cubicBezTo>
                    <a:cubicBezTo>
                      <a:pt x="4284093" y="2397406"/>
                      <a:pt x="3738239" y="1851552"/>
                      <a:pt x="3064893" y="1851552"/>
                    </a:cubicBezTo>
                    <a:close/>
                    <a:moveTo>
                      <a:pt x="2686685" y="0"/>
                    </a:moveTo>
                    <a:lnTo>
                      <a:pt x="3422929" y="0"/>
                    </a:lnTo>
                    <a:lnTo>
                      <a:pt x="3678191" y="710255"/>
                    </a:lnTo>
                    <a:lnTo>
                      <a:pt x="3818556" y="751055"/>
                    </a:lnTo>
                    <a:cubicBezTo>
                      <a:pt x="3960958" y="797289"/>
                      <a:pt x="4097615" y="856271"/>
                      <a:pt x="4227179" y="926655"/>
                    </a:cubicBezTo>
                    <a:lnTo>
                      <a:pt x="4282555" y="960296"/>
                    </a:lnTo>
                    <a:lnTo>
                      <a:pt x="4970765" y="634253"/>
                    </a:lnTo>
                    <a:lnTo>
                      <a:pt x="5488211" y="1157995"/>
                    </a:lnTo>
                    <a:lnTo>
                      <a:pt x="5164247" y="1834816"/>
                    </a:lnTo>
                    <a:lnTo>
                      <a:pt x="5208991" y="1908466"/>
                    </a:lnTo>
                    <a:cubicBezTo>
                      <a:pt x="5279375" y="2038031"/>
                      <a:pt x="5338357" y="2174687"/>
                      <a:pt x="5384591" y="2317090"/>
                    </a:cubicBezTo>
                    <a:lnTo>
                      <a:pt x="5421936" y="2445569"/>
                    </a:lnTo>
                    <a:lnTo>
                      <a:pt x="6123903" y="2691449"/>
                    </a:lnTo>
                    <a:lnTo>
                      <a:pt x="6123903" y="3427693"/>
                    </a:lnTo>
                    <a:lnTo>
                      <a:pt x="5426625" y="3678291"/>
                    </a:lnTo>
                    <a:lnTo>
                      <a:pt x="5390304" y="3806584"/>
                    </a:lnTo>
                    <a:cubicBezTo>
                      <a:pt x="5346264" y="3945892"/>
                      <a:pt x="5290052" y="4079790"/>
                      <a:pt x="5222916" y="4207031"/>
                    </a:cubicBezTo>
                    <a:lnTo>
                      <a:pt x="5171917" y="4295117"/>
                    </a:lnTo>
                    <a:lnTo>
                      <a:pt x="5484219" y="4978630"/>
                    </a:lnTo>
                    <a:lnTo>
                      <a:pt x="4953361" y="5488772"/>
                    </a:lnTo>
                    <a:lnTo>
                      <a:pt x="4307701" y="5168660"/>
                    </a:lnTo>
                    <a:lnTo>
                      <a:pt x="4148601" y="5255702"/>
                    </a:lnTo>
                    <a:cubicBezTo>
                      <a:pt x="4033899" y="5312702"/>
                      <a:pt x="3914073" y="5360936"/>
                      <a:pt x="3789999" y="5399527"/>
                    </a:cubicBezTo>
                    <a:lnTo>
                      <a:pt x="3672243" y="5429805"/>
                    </a:lnTo>
                    <a:lnTo>
                      <a:pt x="3432454" y="6114381"/>
                    </a:lnTo>
                    <a:lnTo>
                      <a:pt x="2696210" y="6114381"/>
                    </a:lnTo>
                    <a:lnTo>
                      <a:pt x="2450436" y="5430525"/>
                    </a:lnTo>
                    <a:lnTo>
                      <a:pt x="2329062" y="5396163"/>
                    </a:lnTo>
                    <a:cubicBezTo>
                      <a:pt x="2189754" y="5352123"/>
                      <a:pt x="2055856" y="5295911"/>
                      <a:pt x="1928614" y="5228775"/>
                    </a:cubicBezTo>
                    <a:lnTo>
                      <a:pt x="1815331" y="5163187"/>
                    </a:lnTo>
                    <a:lnTo>
                      <a:pt x="1167731" y="5490605"/>
                    </a:lnTo>
                    <a:lnTo>
                      <a:pt x="637011" y="4980320"/>
                    </a:lnTo>
                    <a:lnTo>
                      <a:pt x="949593" y="4281769"/>
                    </a:lnTo>
                    <a:lnTo>
                      <a:pt x="879944" y="4154460"/>
                    </a:lnTo>
                    <a:cubicBezTo>
                      <a:pt x="822944" y="4039758"/>
                      <a:pt x="774710" y="3919932"/>
                      <a:pt x="736119" y="3795858"/>
                    </a:cubicBezTo>
                    <a:lnTo>
                      <a:pt x="704946" y="3674624"/>
                    </a:lnTo>
                    <a:lnTo>
                      <a:pt x="0" y="3427700"/>
                    </a:lnTo>
                    <a:lnTo>
                      <a:pt x="0" y="2691456"/>
                    </a:lnTo>
                    <a:lnTo>
                      <a:pt x="710874" y="2435971"/>
                    </a:lnTo>
                    <a:lnTo>
                      <a:pt x="739483" y="2334920"/>
                    </a:lnTo>
                    <a:cubicBezTo>
                      <a:pt x="783523" y="2195614"/>
                      <a:pt x="839735" y="2061715"/>
                      <a:pt x="906871" y="1934473"/>
                    </a:cubicBezTo>
                    <a:lnTo>
                      <a:pt x="966845" y="1830886"/>
                    </a:lnTo>
                    <a:lnTo>
                      <a:pt x="638488" y="1160565"/>
                    </a:lnTo>
                    <a:lnTo>
                      <a:pt x="1155427" y="636323"/>
                    </a:lnTo>
                    <a:lnTo>
                      <a:pt x="1849874" y="957643"/>
                    </a:lnTo>
                    <a:lnTo>
                      <a:pt x="1981186" y="885803"/>
                    </a:lnTo>
                    <a:cubicBezTo>
                      <a:pt x="2095887" y="828803"/>
                      <a:pt x="2215713" y="780570"/>
                      <a:pt x="2339788" y="741978"/>
                    </a:cubicBezTo>
                    <a:lnTo>
                      <a:pt x="2435401" y="71739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42" name="Freeform 41"/>
              <p:cNvSpPr/>
              <p:nvPr/>
            </p:nvSpPr>
            <p:spPr>
              <a:xfrm rot="21290135">
                <a:off x="1788507" y="5851303"/>
                <a:ext cx="968485" cy="966979"/>
              </a:xfrm>
              <a:custGeom>
                <a:avLst/>
                <a:gdLst>
                  <a:gd name="connsiteX0" fmla="*/ 3064893 w 6123903"/>
                  <a:gd name="connsiteY0" fmla="*/ 1851552 h 6114381"/>
                  <a:gd name="connsiteX1" fmla="*/ 1845693 w 6123903"/>
                  <a:gd name="connsiteY1" fmla="*/ 3070752 h 6114381"/>
                  <a:gd name="connsiteX2" fmla="*/ 3064893 w 6123903"/>
                  <a:gd name="connsiteY2" fmla="*/ 4289952 h 6114381"/>
                  <a:gd name="connsiteX3" fmla="*/ 4284093 w 6123903"/>
                  <a:gd name="connsiteY3" fmla="*/ 3070752 h 6114381"/>
                  <a:gd name="connsiteX4" fmla="*/ 3064893 w 6123903"/>
                  <a:gd name="connsiteY4" fmla="*/ 1851552 h 6114381"/>
                  <a:gd name="connsiteX5" fmla="*/ 2686685 w 6123903"/>
                  <a:gd name="connsiteY5" fmla="*/ 0 h 6114381"/>
                  <a:gd name="connsiteX6" fmla="*/ 3422929 w 6123903"/>
                  <a:gd name="connsiteY6" fmla="*/ 0 h 6114381"/>
                  <a:gd name="connsiteX7" fmla="*/ 3678191 w 6123903"/>
                  <a:gd name="connsiteY7" fmla="*/ 710255 h 6114381"/>
                  <a:gd name="connsiteX8" fmla="*/ 3818556 w 6123903"/>
                  <a:gd name="connsiteY8" fmla="*/ 751055 h 6114381"/>
                  <a:gd name="connsiteX9" fmla="*/ 4227179 w 6123903"/>
                  <a:gd name="connsiteY9" fmla="*/ 926655 h 6114381"/>
                  <a:gd name="connsiteX10" fmla="*/ 4282555 w 6123903"/>
                  <a:gd name="connsiteY10" fmla="*/ 960296 h 6114381"/>
                  <a:gd name="connsiteX11" fmla="*/ 4970765 w 6123903"/>
                  <a:gd name="connsiteY11" fmla="*/ 634253 h 6114381"/>
                  <a:gd name="connsiteX12" fmla="*/ 5488211 w 6123903"/>
                  <a:gd name="connsiteY12" fmla="*/ 1157995 h 6114381"/>
                  <a:gd name="connsiteX13" fmla="*/ 5164247 w 6123903"/>
                  <a:gd name="connsiteY13" fmla="*/ 1834816 h 6114381"/>
                  <a:gd name="connsiteX14" fmla="*/ 5208991 w 6123903"/>
                  <a:gd name="connsiteY14" fmla="*/ 1908466 h 6114381"/>
                  <a:gd name="connsiteX15" fmla="*/ 5384591 w 6123903"/>
                  <a:gd name="connsiteY15" fmla="*/ 2317090 h 6114381"/>
                  <a:gd name="connsiteX16" fmla="*/ 5421936 w 6123903"/>
                  <a:gd name="connsiteY16" fmla="*/ 2445569 h 6114381"/>
                  <a:gd name="connsiteX17" fmla="*/ 6123903 w 6123903"/>
                  <a:gd name="connsiteY17" fmla="*/ 2691449 h 6114381"/>
                  <a:gd name="connsiteX18" fmla="*/ 6123903 w 6123903"/>
                  <a:gd name="connsiteY18" fmla="*/ 3427693 h 6114381"/>
                  <a:gd name="connsiteX19" fmla="*/ 5426625 w 6123903"/>
                  <a:gd name="connsiteY19" fmla="*/ 3678291 h 6114381"/>
                  <a:gd name="connsiteX20" fmla="*/ 5390304 w 6123903"/>
                  <a:gd name="connsiteY20" fmla="*/ 3806584 h 6114381"/>
                  <a:gd name="connsiteX21" fmla="*/ 5222916 w 6123903"/>
                  <a:gd name="connsiteY21" fmla="*/ 4207031 h 6114381"/>
                  <a:gd name="connsiteX22" fmla="*/ 5171917 w 6123903"/>
                  <a:gd name="connsiteY22" fmla="*/ 4295117 h 6114381"/>
                  <a:gd name="connsiteX23" fmla="*/ 5484219 w 6123903"/>
                  <a:gd name="connsiteY23" fmla="*/ 4978630 h 6114381"/>
                  <a:gd name="connsiteX24" fmla="*/ 4953361 w 6123903"/>
                  <a:gd name="connsiteY24" fmla="*/ 5488772 h 6114381"/>
                  <a:gd name="connsiteX25" fmla="*/ 4307701 w 6123903"/>
                  <a:gd name="connsiteY25" fmla="*/ 5168660 h 6114381"/>
                  <a:gd name="connsiteX26" fmla="*/ 4148601 w 6123903"/>
                  <a:gd name="connsiteY26" fmla="*/ 5255702 h 6114381"/>
                  <a:gd name="connsiteX27" fmla="*/ 3789999 w 6123903"/>
                  <a:gd name="connsiteY27" fmla="*/ 5399527 h 6114381"/>
                  <a:gd name="connsiteX28" fmla="*/ 3672243 w 6123903"/>
                  <a:gd name="connsiteY28" fmla="*/ 5429805 h 6114381"/>
                  <a:gd name="connsiteX29" fmla="*/ 3432454 w 6123903"/>
                  <a:gd name="connsiteY29" fmla="*/ 6114381 h 6114381"/>
                  <a:gd name="connsiteX30" fmla="*/ 2696210 w 6123903"/>
                  <a:gd name="connsiteY30" fmla="*/ 6114381 h 6114381"/>
                  <a:gd name="connsiteX31" fmla="*/ 2450436 w 6123903"/>
                  <a:gd name="connsiteY31" fmla="*/ 5430525 h 6114381"/>
                  <a:gd name="connsiteX32" fmla="*/ 2329062 w 6123903"/>
                  <a:gd name="connsiteY32" fmla="*/ 5396163 h 6114381"/>
                  <a:gd name="connsiteX33" fmla="*/ 1928614 w 6123903"/>
                  <a:gd name="connsiteY33" fmla="*/ 5228775 h 6114381"/>
                  <a:gd name="connsiteX34" fmla="*/ 1815331 w 6123903"/>
                  <a:gd name="connsiteY34" fmla="*/ 5163187 h 6114381"/>
                  <a:gd name="connsiteX35" fmla="*/ 1167731 w 6123903"/>
                  <a:gd name="connsiteY35" fmla="*/ 5490605 h 6114381"/>
                  <a:gd name="connsiteX36" fmla="*/ 637011 w 6123903"/>
                  <a:gd name="connsiteY36" fmla="*/ 4980320 h 6114381"/>
                  <a:gd name="connsiteX37" fmla="*/ 949593 w 6123903"/>
                  <a:gd name="connsiteY37" fmla="*/ 4281769 h 6114381"/>
                  <a:gd name="connsiteX38" fmla="*/ 879944 w 6123903"/>
                  <a:gd name="connsiteY38" fmla="*/ 4154460 h 6114381"/>
                  <a:gd name="connsiteX39" fmla="*/ 736119 w 6123903"/>
                  <a:gd name="connsiteY39" fmla="*/ 3795858 h 6114381"/>
                  <a:gd name="connsiteX40" fmla="*/ 704946 w 6123903"/>
                  <a:gd name="connsiteY40" fmla="*/ 3674624 h 6114381"/>
                  <a:gd name="connsiteX41" fmla="*/ 0 w 6123903"/>
                  <a:gd name="connsiteY41" fmla="*/ 3427700 h 6114381"/>
                  <a:gd name="connsiteX42" fmla="*/ 0 w 6123903"/>
                  <a:gd name="connsiteY42" fmla="*/ 2691456 h 6114381"/>
                  <a:gd name="connsiteX43" fmla="*/ 710874 w 6123903"/>
                  <a:gd name="connsiteY43" fmla="*/ 2435971 h 6114381"/>
                  <a:gd name="connsiteX44" fmla="*/ 739483 w 6123903"/>
                  <a:gd name="connsiteY44" fmla="*/ 2334920 h 6114381"/>
                  <a:gd name="connsiteX45" fmla="*/ 906871 w 6123903"/>
                  <a:gd name="connsiteY45" fmla="*/ 1934473 h 6114381"/>
                  <a:gd name="connsiteX46" fmla="*/ 966845 w 6123903"/>
                  <a:gd name="connsiteY46" fmla="*/ 1830886 h 6114381"/>
                  <a:gd name="connsiteX47" fmla="*/ 638488 w 6123903"/>
                  <a:gd name="connsiteY47" fmla="*/ 1160565 h 6114381"/>
                  <a:gd name="connsiteX48" fmla="*/ 1155427 w 6123903"/>
                  <a:gd name="connsiteY48" fmla="*/ 636323 h 6114381"/>
                  <a:gd name="connsiteX49" fmla="*/ 1849874 w 6123903"/>
                  <a:gd name="connsiteY49" fmla="*/ 957643 h 6114381"/>
                  <a:gd name="connsiteX50" fmla="*/ 1981186 w 6123903"/>
                  <a:gd name="connsiteY50" fmla="*/ 885803 h 6114381"/>
                  <a:gd name="connsiteX51" fmla="*/ 2339788 w 6123903"/>
                  <a:gd name="connsiteY51" fmla="*/ 741978 h 6114381"/>
                  <a:gd name="connsiteX52" fmla="*/ 2435401 w 6123903"/>
                  <a:gd name="connsiteY52" fmla="*/ 717393 h 611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6123903" h="6114381">
                    <a:moveTo>
                      <a:pt x="3064893" y="1851552"/>
                    </a:moveTo>
                    <a:cubicBezTo>
                      <a:pt x="2391547" y="1851552"/>
                      <a:pt x="1845693" y="2397406"/>
                      <a:pt x="1845693" y="3070752"/>
                    </a:cubicBezTo>
                    <a:cubicBezTo>
                      <a:pt x="1845693" y="3744098"/>
                      <a:pt x="2391547" y="4289952"/>
                      <a:pt x="3064893" y="4289952"/>
                    </a:cubicBezTo>
                    <a:cubicBezTo>
                      <a:pt x="3738239" y="4289952"/>
                      <a:pt x="4284093" y="3744098"/>
                      <a:pt x="4284093" y="3070752"/>
                    </a:cubicBezTo>
                    <a:cubicBezTo>
                      <a:pt x="4284093" y="2397406"/>
                      <a:pt x="3738239" y="1851552"/>
                      <a:pt x="3064893" y="1851552"/>
                    </a:cubicBezTo>
                    <a:close/>
                    <a:moveTo>
                      <a:pt x="2686685" y="0"/>
                    </a:moveTo>
                    <a:lnTo>
                      <a:pt x="3422929" y="0"/>
                    </a:lnTo>
                    <a:lnTo>
                      <a:pt x="3678191" y="710255"/>
                    </a:lnTo>
                    <a:lnTo>
                      <a:pt x="3818556" y="751055"/>
                    </a:lnTo>
                    <a:cubicBezTo>
                      <a:pt x="3960958" y="797289"/>
                      <a:pt x="4097615" y="856271"/>
                      <a:pt x="4227179" y="926655"/>
                    </a:cubicBezTo>
                    <a:lnTo>
                      <a:pt x="4282555" y="960296"/>
                    </a:lnTo>
                    <a:lnTo>
                      <a:pt x="4970765" y="634253"/>
                    </a:lnTo>
                    <a:lnTo>
                      <a:pt x="5488211" y="1157995"/>
                    </a:lnTo>
                    <a:lnTo>
                      <a:pt x="5164247" y="1834816"/>
                    </a:lnTo>
                    <a:lnTo>
                      <a:pt x="5208991" y="1908466"/>
                    </a:lnTo>
                    <a:cubicBezTo>
                      <a:pt x="5279375" y="2038031"/>
                      <a:pt x="5338357" y="2174687"/>
                      <a:pt x="5384591" y="2317090"/>
                    </a:cubicBezTo>
                    <a:lnTo>
                      <a:pt x="5421936" y="2445569"/>
                    </a:lnTo>
                    <a:lnTo>
                      <a:pt x="6123903" y="2691449"/>
                    </a:lnTo>
                    <a:lnTo>
                      <a:pt x="6123903" y="3427693"/>
                    </a:lnTo>
                    <a:lnTo>
                      <a:pt x="5426625" y="3678291"/>
                    </a:lnTo>
                    <a:lnTo>
                      <a:pt x="5390304" y="3806584"/>
                    </a:lnTo>
                    <a:cubicBezTo>
                      <a:pt x="5346264" y="3945892"/>
                      <a:pt x="5290052" y="4079790"/>
                      <a:pt x="5222916" y="4207031"/>
                    </a:cubicBezTo>
                    <a:lnTo>
                      <a:pt x="5171917" y="4295117"/>
                    </a:lnTo>
                    <a:lnTo>
                      <a:pt x="5484219" y="4978630"/>
                    </a:lnTo>
                    <a:lnTo>
                      <a:pt x="4953361" y="5488772"/>
                    </a:lnTo>
                    <a:lnTo>
                      <a:pt x="4307701" y="5168660"/>
                    </a:lnTo>
                    <a:lnTo>
                      <a:pt x="4148601" y="5255702"/>
                    </a:lnTo>
                    <a:cubicBezTo>
                      <a:pt x="4033899" y="5312702"/>
                      <a:pt x="3914073" y="5360936"/>
                      <a:pt x="3789999" y="5399527"/>
                    </a:cubicBezTo>
                    <a:lnTo>
                      <a:pt x="3672243" y="5429805"/>
                    </a:lnTo>
                    <a:lnTo>
                      <a:pt x="3432454" y="6114381"/>
                    </a:lnTo>
                    <a:lnTo>
                      <a:pt x="2696210" y="6114381"/>
                    </a:lnTo>
                    <a:lnTo>
                      <a:pt x="2450436" y="5430525"/>
                    </a:lnTo>
                    <a:lnTo>
                      <a:pt x="2329062" y="5396163"/>
                    </a:lnTo>
                    <a:cubicBezTo>
                      <a:pt x="2189754" y="5352123"/>
                      <a:pt x="2055856" y="5295911"/>
                      <a:pt x="1928614" y="5228775"/>
                    </a:cubicBezTo>
                    <a:lnTo>
                      <a:pt x="1815331" y="5163187"/>
                    </a:lnTo>
                    <a:lnTo>
                      <a:pt x="1167731" y="5490605"/>
                    </a:lnTo>
                    <a:lnTo>
                      <a:pt x="637011" y="4980320"/>
                    </a:lnTo>
                    <a:lnTo>
                      <a:pt x="949593" y="4281769"/>
                    </a:lnTo>
                    <a:lnTo>
                      <a:pt x="879944" y="4154460"/>
                    </a:lnTo>
                    <a:cubicBezTo>
                      <a:pt x="822944" y="4039758"/>
                      <a:pt x="774710" y="3919932"/>
                      <a:pt x="736119" y="3795858"/>
                    </a:cubicBezTo>
                    <a:lnTo>
                      <a:pt x="704946" y="3674624"/>
                    </a:lnTo>
                    <a:lnTo>
                      <a:pt x="0" y="3427700"/>
                    </a:lnTo>
                    <a:lnTo>
                      <a:pt x="0" y="2691456"/>
                    </a:lnTo>
                    <a:lnTo>
                      <a:pt x="710874" y="2435971"/>
                    </a:lnTo>
                    <a:lnTo>
                      <a:pt x="739483" y="2334920"/>
                    </a:lnTo>
                    <a:cubicBezTo>
                      <a:pt x="783523" y="2195614"/>
                      <a:pt x="839735" y="2061715"/>
                      <a:pt x="906871" y="1934473"/>
                    </a:cubicBezTo>
                    <a:lnTo>
                      <a:pt x="966845" y="1830886"/>
                    </a:lnTo>
                    <a:lnTo>
                      <a:pt x="638488" y="1160565"/>
                    </a:lnTo>
                    <a:lnTo>
                      <a:pt x="1155427" y="636323"/>
                    </a:lnTo>
                    <a:lnTo>
                      <a:pt x="1849874" y="957643"/>
                    </a:lnTo>
                    <a:lnTo>
                      <a:pt x="1981186" y="885803"/>
                    </a:lnTo>
                    <a:cubicBezTo>
                      <a:pt x="2095887" y="828803"/>
                      <a:pt x="2215713" y="780570"/>
                      <a:pt x="2339788" y="741978"/>
                    </a:cubicBezTo>
                    <a:lnTo>
                      <a:pt x="2435401" y="71739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43" name="Freeform 42"/>
              <p:cNvSpPr/>
              <p:nvPr/>
            </p:nvSpPr>
            <p:spPr>
              <a:xfrm rot="21290135">
                <a:off x="2817783" y="5466494"/>
                <a:ext cx="968485" cy="966979"/>
              </a:xfrm>
              <a:custGeom>
                <a:avLst/>
                <a:gdLst>
                  <a:gd name="connsiteX0" fmla="*/ 3064893 w 6123903"/>
                  <a:gd name="connsiteY0" fmla="*/ 1851552 h 6114381"/>
                  <a:gd name="connsiteX1" fmla="*/ 1845693 w 6123903"/>
                  <a:gd name="connsiteY1" fmla="*/ 3070752 h 6114381"/>
                  <a:gd name="connsiteX2" fmla="*/ 3064893 w 6123903"/>
                  <a:gd name="connsiteY2" fmla="*/ 4289952 h 6114381"/>
                  <a:gd name="connsiteX3" fmla="*/ 4284093 w 6123903"/>
                  <a:gd name="connsiteY3" fmla="*/ 3070752 h 6114381"/>
                  <a:gd name="connsiteX4" fmla="*/ 3064893 w 6123903"/>
                  <a:gd name="connsiteY4" fmla="*/ 1851552 h 6114381"/>
                  <a:gd name="connsiteX5" fmla="*/ 2686685 w 6123903"/>
                  <a:gd name="connsiteY5" fmla="*/ 0 h 6114381"/>
                  <a:gd name="connsiteX6" fmla="*/ 3422929 w 6123903"/>
                  <a:gd name="connsiteY6" fmla="*/ 0 h 6114381"/>
                  <a:gd name="connsiteX7" fmla="*/ 3678191 w 6123903"/>
                  <a:gd name="connsiteY7" fmla="*/ 710255 h 6114381"/>
                  <a:gd name="connsiteX8" fmla="*/ 3818556 w 6123903"/>
                  <a:gd name="connsiteY8" fmla="*/ 751055 h 6114381"/>
                  <a:gd name="connsiteX9" fmla="*/ 4227179 w 6123903"/>
                  <a:gd name="connsiteY9" fmla="*/ 926655 h 6114381"/>
                  <a:gd name="connsiteX10" fmla="*/ 4282555 w 6123903"/>
                  <a:gd name="connsiteY10" fmla="*/ 960296 h 6114381"/>
                  <a:gd name="connsiteX11" fmla="*/ 4970765 w 6123903"/>
                  <a:gd name="connsiteY11" fmla="*/ 634253 h 6114381"/>
                  <a:gd name="connsiteX12" fmla="*/ 5488211 w 6123903"/>
                  <a:gd name="connsiteY12" fmla="*/ 1157995 h 6114381"/>
                  <a:gd name="connsiteX13" fmla="*/ 5164247 w 6123903"/>
                  <a:gd name="connsiteY13" fmla="*/ 1834816 h 6114381"/>
                  <a:gd name="connsiteX14" fmla="*/ 5208991 w 6123903"/>
                  <a:gd name="connsiteY14" fmla="*/ 1908466 h 6114381"/>
                  <a:gd name="connsiteX15" fmla="*/ 5384591 w 6123903"/>
                  <a:gd name="connsiteY15" fmla="*/ 2317090 h 6114381"/>
                  <a:gd name="connsiteX16" fmla="*/ 5421936 w 6123903"/>
                  <a:gd name="connsiteY16" fmla="*/ 2445569 h 6114381"/>
                  <a:gd name="connsiteX17" fmla="*/ 6123903 w 6123903"/>
                  <a:gd name="connsiteY17" fmla="*/ 2691449 h 6114381"/>
                  <a:gd name="connsiteX18" fmla="*/ 6123903 w 6123903"/>
                  <a:gd name="connsiteY18" fmla="*/ 3427693 h 6114381"/>
                  <a:gd name="connsiteX19" fmla="*/ 5426625 w 6123903"/>
                  <a:gd name="connsiteY19" fmla="*/ 3678291 h 6114381"/>
                  <a:gd name="connsiteX20" fmla="*/ 5390304 w 6123903"/>
                  <a:gd name="connsiteY20" fmla="*/ 3806584 h 6114381"/>
                  <a:gd name="connsiteX21" fmla="*/ 5222916 w 6123903"/>
                  <a:gd name="connsiteY21" fmla="*/ 4207031 h 6114381"/>
                  <a:gd name="connsiteX22" fmla="*/ 5171917 w 6123903"/>
                  <a:gd name="connsiteY22" fmla="*/ 4295117 h 6114381"/>
                  <a:gd name="connsiteX23" fmla="*/ 5484219 w 6123903"/>
                  <a:gd name="connsiteY23" fmla="*/ 4978630 h 6114381"/>
                  <a:gd name="connsiteX24" fmla="*/ 4953361 w 6123903"/>
                  <a:gd name="connsiteY24" fmla="*/ 5488772 h 6114381"/>
                  <a:gd name="connsiteX25" fmla="*/ 4307701 w 6123903"/>
                  <a:gd name="connsiteY25" fmla="*/ 5168660 h 6114381"/>
                  <a:gd name="connsiteX26" fmla="*/ 4148601 w 6123903"/>
                  <a:gd name="connsiteY26" fmla="*/ 5255702 h 6114381"/>
                  <a:gd name="connsiteX27" fmla="*/ 3789999 w 6123903"/>
                  <a:gd name="connsiteY27" fmla="*/ 5399527 h 6114381"/>
                  <a:gd name="connsiteX28" fmla="*/ 3672243 w 6123903"/>
                  <a:gd name="connsiteY28" fmla="*/ 5429805 h 6114381"/>
                  <a:gd name="connsiteX29" fmla="*/ 3432454 w 6123903"/>
                  <a:gd name="connsiteY29" fmla="*/ 6114381 h 6114381"/>
                  <a:gd name="connsiteX30" fmla="*/ 2696210 w 6123903"/>
                  <a:gd name="connsiteY30" fmla="*/ 6114381 h 6114381"/>
                  <a:gd name="connsiteX31" fmla="*/ 2450436 w 6123903"/>
                  <a:gd name="connsiteY31" fmla="*/ 5430525 h 6114381"/>
                  <a:gd name="connsiteX32" fmla="*/ 2329062 w 6123903"/>
                  <a:gd name="connsiteY32" fmla="*/ 5396163 h 6114381"/>
                  <a:gd name="connsiteX33" fmla="*/ 1928614 w 6123903"/>
                  <a:gd name="connsiteY33" fmla="*/ 5228775 h 6114381"/>
                  <a:gd name="connsiteX34" fmla="*/ 1815331 w 6123903"/>
                  <a:gd name="connsiteY34" fmla="*/ 5163187 h 6114381"/>
                  <a:gd name="connsiteX35" fmla="*/ 1167731 w 6123903"/>
                  <a:gd name="connsiteY35" fmla="*/ 5490605 h 6114381"/>
                  <a:gd name="connsiteX36" fmla="*/ 637011 w 6123903"/>
                  <a:gd name="connsiteY36" fmla="*/ 4980320 h 6114381"/>
                  <a:gd name="connsiteX37" fmla="*/ 949593 w 6123903"/>
                  <a:gd name="connsiteY37" fmla="*/ 4281769 h 6114381"/>
                  <a:gd name="connsiteX38" fmla="*/ 879944 w 6123903"/>
                  <a:gd name="connsiteY38" fmla="*/ 4154460 h 6114381"/>
                  <a:gd name="connsiteX39" fmla="*/ 736119 w 6123903"/>
                  <a:gd name="connsiteY39" fmla="*/ 3795858 h 6114381"/>
                  <a:gd name="connsiteX40" fmla="*/ 704946 w 6123903"/>
                  <a:gd name="connsiteY40" fmla="*/ 3674624 h 6114381"/>
                  <a:gd name="connsiteX41" fmla="*/ 0 w 6123903"/>
                  <a:gd name="connsiteY41" fmla="*/ 3427700 h 6114381"/>
                  <a:gd name="connsiteX42" fmla="*/ 0 w 6123903"/>
                  <a:gd name="connsiteY42" fmla="*/ 2691456 h 6114381"/>
                  <a:gd name="connsiteX43" fmla="*/ 710874 w 6123903"/>
                  <a:gd name="connsiteY43" fmla="*/ 2435971 h 6114381"/>
                  <a:gd name="connsiteX44" fmla="*/ 739483 w 6123903"/>
                  <a:gd name="connsiteY44" fmla="*/ 2334920 h 6114381"/>
                  <a:gd name="connsiteX45" fmla="*/ 906871 w 6123903"/>
                  <a:gd name="connsiteY45" fmla="*/ 1934473 h 6114381"/>
                  <a:gd name="connsiteX46" fmla="*/ 966845 w 6123903"/>
                  <a:gd name="connsiteY46" fmla="*/ 1830886 h 6114381"/>
                  <a:gd name="connsiteX47" fmla="*/ 638488 w 6123903"/>
                  <a:gd name="connsiteY47" fmla="*/ 1160565 h 6114381"/>
                  <a:gd name="connsiteX48" fmla="*/ 1155427 w 6123903"/>
                  <a:gd name="connsiteY48" fmla="*/ 636323 h 6114381"/>
                  <a:gd name="connsiteX49" fmla="*/ 1849874 w 6123903"/>
                  <a:gd name="connsiteY49" fmla="*/ 957643 h 6114381"/>
                  <a:gd name="connsiteX50" fmla="*/ 1981186 w 6123903"/>
                  <a:gd name="connsiteY50" fmla="*/ 885803 h 6114381"/>
                  <a:gd name="connsiteX51" fmla="*/ 2339788 w 6123903"/>
                  <a:gd name="connsiteY51" fmla="*/ 741978 h 6114381"/>
                  <a:gd name="connsiteX52" fmla="*/ 2435401 w 6123903"/>
                  <a:gd name="connsiteY52" fmla="*/ 717393 h 611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6123903" h="6114381">
                    <a:moveTo>
                      <a:pt x="3064893" y="1851552"/>
                    </a:moveTo>
                    <a:cubicBezTo>
                      <a:pt x="2391547" y="1851552"/>
                      <a:pt x="1845693" y="2397406"/>
                      <a:pt x="1845693" y="3070752"/>
                    </a:cubicBezTo>
                    <a:cubicBezTo>
                      <a:pt x="1845693" y="3744098"/>
                      <a:pt x="2391547" y="4289952"/>
                      <a:pt x="3064893" y="4289952"/>
                    </a:cubicBezTo>
                    <a:cubicBezTo>
                      <a:pt x="3738239" y="4289952"/>
                      <a:pt x="4284093" y="3744098"/>
                      <a:pt x="4284093" y="3070752"/>
                    </a:cubicBezTo>
                    <a:cubicBezTo>
                      <a:pt x="4284093" y="2397406"/>
                      <a:pt x="3738239" y="1851552"/>
                      <a:pt x="3064893" y="1851552"/>
                    </a:cubicBezTo>
                    <a:close/>
                    <a:moveTo>
                      <a:pt x="2686685" y="0"/>
                    </a:moveTo>
                    <a:lnTo>
                      <a:pt x="3422929" y="0"/>
                    </a:lnTo>
                    <a:lnTo>
                      <a:pt x="3678191" y="710255"/>
                    </a:lnTo>
                    <a:lnTo>
                      <a:pt x="3818556" y="751055"/>
                    </a:lnTo>
                    <a:cubicBezTo>
                      <a:pt x="3960958" y="797289"/>
                      <a:pt x="4097615" y="856271"/>
                      <a:pt x="4227179" y="926655"/>
                    </a:cubicBezTo>
                    <a:lnTo>
                      <a:pt x="4282555" y="960296"/>
                    </a:lnTo>
                    <a:lnTo>
                      <a:pt x="4970765" y="634253"/>
                    </a:lnTo>
                    <a:lnTo>
                      <a:pt x="5488211" y="1157995"/>
                    </a:lnTo>
                    <a:lnTo>
                      <a:pt x="5164247" y="1834816"/>
                    </a:lnTo>
                    <a:lnTo>
                      <a:pt x="5208991" y="1908466"/>
                    </a:lnTo>
                    <a:cubicBezTo>
                      <a:pt x="5279375" y="2038031"/>
                      <a:pt x="5338357" y="2174687"/>
                      <a:pt x="5384591" y="2317090"/>
                    </a:cubicBezTo>
                    <a:lnTo>
                      <a:pt x="5421936" y="2445569"/>
                    </a:lnTo>
                    <a:lnTo>
                      <a:pt x="6123903" y="2691449"/>
                    </a:lnTo>
                    <a:lnTo>
                      <a:pt x="6123903" y="3427693"/>
                    </a:lnTo>
                    <a:lnTo>
                      <a:pt x="5426625" y="3678291"/>
                    </a:lnTo>
                    <a:lnTo>
                      <a:pt x="5390304" y="3806584"/>
                    </a:lnTo>
                    <a:cubicBezTo>
                      <a:pt x="5346264" y="3945892"/>
                      <a:pt x="5290052" y="4079790"/>
                      <a:pt x="5222916" y="4207031"/>
                    </a:cubicBezTo>
                    <a:lnTo>
                      <a:pt x="5171917" y="4295117"/>
                    </a:lnTo>
                    <a:lnTo>
                      <a:pt x="5484219" y="4978630"/>
                    </a:lnTo>
                    <a:lnTo>
                      <a:pt x="4953361" y="5488772"/>
                    </a:lnTo>
                    <a:lnTo>
                      <a:pt x="4307701" y="5168660"/>
                    </a:lnTo>
                    <a:lnTo>
                      <a:pt x="4148601" y="5255702"/>
                    </a:lnTo>
                    <a:cubicBezTo>
                      <a:pt x="4033899" y="5312702"/>
                      <a:pt x="3914073" y="5360936"/>
                      <a:pt x="3789999" y="5399527"/>
                    </a:cubicBezTo>
                    <a:lnTo>
                      <a:pt x="3672243" y="5429805"/>
                    </a:lnTo>
                    <a:lnTo>
                      <a:pt x="3432454" y="6114381"/>
                    </a:lnTo>
                    <a:lnTo>
                      <a:pt x="2696210" y="6114381"/>
                    </a:lnTo>
                    <a:lnTo>
                      <a:pt x="2450436" y="5430525"/>
                    </a:lnTo>
                    <a:lnTo>
                      <a:pt x="2329062" y="5396163"/>
                    </a:lnTo>
                    <a:cubicBezTo>
                      <a:pt x="2189754" y="5352123"/>
                      <a:pt x="2055856" y="5295911"/>
                      <a:pt x="1928614" y="5228775"/>
                    </a:cubicBezTo>
                    <a:lnTo>
                      <a:pt x="1815331" y="5163187"/>
                    </a:lnTo>
                    <a:lnTo>
                      <a:pt x="1167731" y="5490605"/>
                    </a:lnTo>
                    <a:lnTo>
                      <a:pt x="637011" y="4980320"/>
                    </a:lnTo>
                    <a:lnTo>
                      <a:pt x="949593" y="4281769"/>
                    </a:lnTo>
                    <a:lnTo>
                      <a:pt x="879944" y="4154460"/>
                    </a:lnTo>
                    <a:cubicBezTo>
                      <a:pt x="822944" y="4039758"/>
                      <a:pt x="774710" y="3919932"/>
                      <a:pt x="736119" y="3795858"/>
                    </a:cubicBezTo>
                    <a:lnTo>
                      <a:pt x="704946" y="3674624"/>
                    </a:lnTo>
                    <a:lnTo>
                      <a:pt x="0" y="3427700"/>
                    </a:lnTo>
                    <a:lnTo>
                      <a:pt x="0" y="2691456"/>
                    </a:lnTo>
                    <a:lnTo>
                      <a:pt x="710874" y="2435971"/>
                    </a:lnTo>
                    <a:lnTo>
                      <a:pt x="739483" y="2334920"/>
                    </a:lnTo>
                    <a:cubicBezTo>
                      <a:pt x="783523" y="2195614"/>
                      <a:pt x="839735" y="2061715"/>
                      <a:pt x="906871" y="1934473"/>
                    </a:cubicBezTo>
                    <a:lnTo>
                      <a:pt x="966845" y="1830886"/>
                    </a:lnTo>
                    <a:lnTo>
                      <a:pt x="638488" y="1160565"/>
                    </a:lnTo>
                    <a:lnTo>
                      <a:pt x="1155427" y="636323"/>
                    </a:lnTo>
                    <a:lnTo>
                      <a:pt x="1849874" y="957643"/>
                    </a:lnTo>
                    <a:lnTo>
                      <a:pt x="1981186" y="885803"/>
                    </a:lnTo>
                    <a:cubicBezTo>
                      <a:pt x="2095887" y="828803"/>
                      <a:pt x="2215713" y="780570"/>
                      <a:pt x="2339788" y="741978"/>
                    </a:cubicBezTo>
                    <a:lnTo>
                      <a:pt x="2435401" y="71739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44" name="Freeform 43"/>
              <p:cNvSpPr/>
              <p:nvPr/>
            </p:nvSpPr>
            <p:spPr>
              <a:xfrm rot="21290135">
                <a:off x="3172038" y="4372492"/>
                <a:ext cx="968485" cy="966979"/>
              </a:xfrm>
              <a:custGeom>
                <a:avLst/>
                <a:gdLst>
                  <a:gd name="connsiteX0" fmla="*/ 3064893 w 6123903"/>
                  <a:gd name="connsiteY0" fmla="*/ 1851552 h 6114381"/>
                  <a:gd name="connsiteX1" fmla="*/ 1845693 w 6123903"/>
                  <a:gd name="connsiteY1" fmla="*/ 3070752 h 6114381"/>
                  <a:gd name="connsiteX2" fmla="*/ 3064893 w 6123903"/>
                  <a:gd name="connsiteY2" fmla="*/ 4289952 h 6114381"/>
                  <a:gd name="connsiteX3" fmla="*/ 4284093 w 6123903"/>
                  <a:gd name="connsiteY3" fmla="*/ 3070752 h 6114381"/>
                  <a:gd name="connsiteX4" fmla="*/ 3064893 w 6123903"/>
                  <a:gd name="connsiteY4" fmla="*/ 1851552 h 6114381"/>
                  <a:gd name="connsiteX5" fmla="*/ 2686685 w 6123903"/>
                  <a:gd name="connsiteY5" fmla="*/ 0 h 6114381"/>
                  <a:gd name="connsiteX6" fmla="*/ 3422929 w 6123903"/>
                  <a:gd name="connsiteY6" fmla="*/ 0 h 6114381"/>
                  <a:gd name="connsiteX7" fmla="*/ 3678191 w 6123903"/>
                  <a:gd name="connsiteY7" fmla="*/ 710255 h 6114381"/>
                  <a:gd name="connsiteX8" fmla="*/ 3818556 w 6123903"/>
                  <a:gd name="connsiteY8" fmla="*/ 751055 h 6114381"/>
                  <a:gd name="connsiteX9" fmla="*/ 4227179 w 6123903"/>
                  <a:gd name="connsiteY9" fmla="*/ 926655 h 6114381"/>
                  <a:gd name="connsiteX10" fmla="*/ 4282555 w 6123903"/>
                  <a:gd name="connsiteY10" fmla="*/ 960296 h 6114381"/>
                  <a:gd name="connsiteX11" fmla="*/ 4970765 w 6123903"/>
                  <a:gd name="connsiteY11" fmla="*/ 634253 h 6114381"/>
                  <a:gd name="connsiteX12" fmla="*/ 5488211 w 6123903"/>
                  <a:gd name="connsiteY12" fmla="*/ 1157995 h 6114381"/>
                  <a:gd name="connsiteX13" fmla="*/ 5164247 w 6123903"/>
                  <a:gd name="connsiteY13" fmla="*/ 1834816 h 6114381"/>
                  <a:gd name="connsiteX14" fmla="*/ 5208991 w 6123903"/>
                  <a:gd name="connsiteY14" fmla="*/ 1908466 h 6114381"/>
                  <a:gd name="connsiteX15" fmla="*/ 5384591 w 6123903"/>
                  <a:gd name="connsiteY15" fmla="*/ 2317090 h 6114381"/>
                  <a:gd name="connsiteX16" fmla="*/ 5421936 w 6123903"/>
                  <a:gd name="connsiteY16" fmla="*/ 2445569 h 6114381"/>
                  <a:gd name="connsiteX17" fmla="*/ 6123903 w 6123903"/>
                  <a:gd name="connsiteY17" fmla="*/ 2691449 h 6114381"/>
                  <a:gd name="connsiteX18" fmla="*/ 6123903 w 6123903"/>
                  <a:gd name="connsiteY18" fmla="*/ 3427693 h 6114381"/>
                  <a:gd name="connsiteX19" fmla="*/ 5426625 w 6123903"/>
                  <a:gd name="connsiteY19" fmla="*/ 3678291 h 6114381"/>
                  <a:gd name="connsiteX20" fmla="*/ 5390304 w 6123903"/>
                  <a:gd name="connsiteY20" fmla="*/ 3806584 h 6114381"/>
                  <a:gd name="connsiteX21" fmla="*/ 5222916 w 6123903"/>
                  <a:gd name="connsiteY21" fmla="*/ 4207031 h 6114381"/>
                  <a:gd name="connsiteX22" fmla="*/ 5171917 w 6123903"/>
                  <a:gd name="connsiteY22" fmla="*/ 4295117 h 6114381"/>
                  <a:gd name="connsiteX23" fmla="*/ 5484219 w 6123903"/>
                  <a:gd name="connsiteY23" fmla="*/ 4978630 h 6114381"/>
                  <a:gd name="connsiteX24" fmla="*/ 4953361 w 6123903"/>
                  <a:gd name="connsiteY24" fmla="*/ 5488772 h 6114381"/>
                  <a:gd name="connsiteX25" fmla="*/ 4307701 w 6123903"/>
                  <a:gd name="connsiteY25" fmla="*/ 5168660 h 6114381"/>
                  <a:gd name="connsiteX26" fmla="*/ 4148601 w 6123903"/>
                  <a:gd name="connsiteY26" fmla="*/ 5255702 h 6114381"/>
                  <a:gd name="connsiteX27" fmla="*/ 3789999 w 6123903"/>
                  <a:gd name="connsiteY27" fmla="*/ 5399527 h 6114381"/>
                  <a:gd name="connsiteX28" fmla="*/ 3672243 w 6123903"/>
                  <a:gd name="connsiteY28" fmla="*/ 5429805 h 6114381"/>
                  <a:gd name="connsiteX29" fmla="*/ 3432454 w 6123903"/>
                  <a:gd name="connsiteY29" fmla="*/ 6114381 h 6114381"/>
                  <a:gd name="connsiteX30" fmla="*/ 2696210 w 6123903"/>
                  <a:gd name="connsiteY30" fmla="*/ 6114381 h 6114381"/>
                  <a:gd name="connsiteX31" fmla="*/ 2450436 w 6123903"/>
                  <a:gd name="connsiteY31" fmla="*/ 5430525 h 6114381"/>
                  <a:gd name="connsiteX32" fmla="*/ 2329062 w 6123903"/>
                  <a:gd name="connsiteY32" fmla="*/ 5396163 h 6114381"/>
                  <a:gd name="connsiteX33" fmla="*/ 1928614 w 6123903"/>
                  <a:gd name="connsiteY33" fmla="*/ 5228775 h 6114381"/>
                  <a:gd name="connsiteX34" fmla="*/ 1815331 w 6123903"/>
                  <a:gd name="connsiteY34" fmla="*/ 5163187 h 6114381"/>
                  <a:gd name="connsiteX35" fmla="*/ 1167731 w 6123903"/>
                  <a:gd name="connsiteY35" fmla="*/ 5490605 h 6114381"/>
                  <a:gd name="connsiteX36" fmla="*/ 637011 w 6123903"/>
                  <a:gd name="connsiteY36" fmla="*/ 4980320 h 6114381"/>
                  <a:gd name="connsiteX37" fmla="*/ 949593 w 6123903"/>
                  <a:gd name="connsiteY37" fmla="*/ 4281769 h 6114381"/>
                  <a:gd name="connsiteX38" fmla="*/ 879944 w 6123903"/>
                  <a:gd name="connsiteY38" fmla="*/ 4154460 h 6114381"/>
                  <a:gd name="connsiteX39" fmla="*/ 736119 w 6123903"/>
                  <a:gd name="connsiteY39" fmla="*/ 3795858 h 6114381"/>
                  <a:gd name="connsiteX40" fmla="*/ 704946 w 6123903"/>
                  <a:gd name="connsiteY40" fmla="*/ 3674624 h 6114381"/>
                  <a:gd name="connsiteX41" fmla="*/ 0 w 6123903"/>
                  <a:gd name="connsiteY41" fmla="*/ 3427700 h 6114381"/>
                  <a:gd name="connsiteX42" fmla="*/ 0 w 6123903"/>
                  <a:gd name="connsiteY42" fmla="*/ 2691456 h 6114381"/>
                  <a:gd name="connsiteX43" fmla="*/ 710874 w 6123903"/>
                  <a:gd name="connsiteY43" fmla="*/ 2435971 h 6114381"/>
                  <a:gd name="connsiteX44" fmla="*/ 739483 w 6123903"/>
                  <a:gd name="connsiteY44" fmla="*/ 2334920 h 6114381"/>
                  <a:gd name="connsiteX45" fmla="*/ 906871 w 6123903"/>
                  <a:gd name="connsiteY45" fmla="*/ 1934473 h 6114381"/>
                  <a:gd name="connsiteX46" fmla="*/ 966845 w 6123903"/>
                  <a:gd name="connsiteY46" fmla="*/ 1830886 h 6114381"/>
                  <a:gd name="connsiteX47" fmla="*/ 638488 w 6123903"/>
                  <a:gd name="connsiteY47" fmla="*/ 1160565 h 6114381"/>
                  <a:gd name="connsiteX48" fmla="*/ 1155427 w 6123903"/>
                  <a:gd name="connsiteY48" fmla="*/ 636323 h 6114381"/>
                  <a:gd name="connsiteX49" fmla="*/ 1849874 w 6123903"/>
                  <a:gd name="connsiteY49" fmla="*/ 957643 h 6114381"/>
                  <a:gd name="connsiteX50" fmla="*/ 1981186 w 6123903"/>
                  <a:gd name="connsiteY50" fmla="*/ 885803 h 6114381"/>
                  <a:gd name="connsiteX51" fmla="*/ 2339788 w 6123903"/>
                  <a:gd name="connsiteY51" fmla="*/ 741978 h 6114381"/>
                  <a:gd name="connsiteX52" fmla="*/ 2435401 w 6123903"/>
                  <a:gd name="connsiteY52" fmla="*/ 717393 h 611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6123903" h="6114381">
                    <a:moveTo>
                      <a:pt x="3064893" y="1851552"/>
                    </a:moveTo>
                    <a:cubicBezTo>
                      <a:pt x="2391547" y="1851552"/>
                      <a:pt x="1845693" y="2397406"/>
                      <a:pt x="1845693" y="3070752"/>
                    </a:cubicBezTo>
                    <a:cubicBezTo>
                      <a:pt x="1845693" y="3744098"/>
                      <a:pt x="2391547" y="4289952"/>
                      <a:pt x="3064893" y="4289952"/>
                    </a:cubicBezTo>
                    <a:cubicBezTo>
                      <a:pt x="3738239" y="4289952"/>
                      <a:pt x="4284093" y="3744098"/>
                      <a:pt x="4284093" y="3070752"/>
                    </a:cubicBezTo>
                    <a:cubicBezTo>
                      <a:pt x="4284093" y="2397406"/>
                      <a:pt x="3738239" y="1851552"/>
                      <a:pt x="3064893" y="1851552"/>
                    </a:cubicBezTo>
                    <a:close/>
                    <a:moveTo>
                      <a:pt x="2686685" y="0"/>
                    </a:moveTo>
                    <a:lnTo>
                      <a:pt x="3422929" y="0"/>
                    </a:lnTo>
                    <a:lnTo>
                      <a:pt x="3678191" y="710255"/>
                    </a:lnTo>
                    <a:lnTo>
                      <a:pt x="3818556" y="751055"/>
                    </a:lnTo>
                    <a:cubicBezTo>
                      <a:pt x="3960958" y="797289"/>
                      <a:pt x="4097615" y="856271"/>
                      <a:pt x="4227179" y="926655"/>
                    </a:cubicBezTo>
                    <a:lnTo>
                      <a:pt x="4282555" y="960296"/>
                    </a:lnTo>
                    <a:lnTo>
                      <a:pt x="4970765" y="634253"/>
                    </a:lnTo>
                    <a:lnTo>
                      <a:pt x="5488211" y="1157995"/>
                    </a:lnTo>
                    <a:lnTo>
                      <a:pt x="5164247" y="1834816"/>
                    </a:lnTo>
                    <a:lnTo>
                      <a:pt x="5208991" y="1908466"/>
                    </a:lnTo>
                    <a:cubicBezTo>
                      <a:pt x="5279375" y="2038031"/>
                      <a:pt x="5338357" y="2174687"/>
                      <a:pt x="5384591" y="2317090"/>
                    </a:cubicBezTo>
                    <a:lnTo>
                      <a:pt x="5421936" y="2445569"/>
                    </a:lnTo>
                    <a:lnTo>
                      <a:pt x="6123903" y="2691449"/>
                    </a:lnTo>
                    <a:lnTo>
                      <a:pt x="6123903" y="3427693"/>
                    </a:lnTo>
                    <a:lnTo>
                      <a:pt x="5426625" y="3678291"/>
                    </a:lnTo>
                    <a:lnTo>
                      <a:pt x="5390304" y="3806584"/>
                    </a:lnTo>
                    <a:cubicBezTo>
                      <a:pt x="5346264" y="3945892"/>
                      <a:pt x="5290052" y="4079790"/>
                      <a:pt x="5222916" y="4207031"/>
                    </a:cubicBezTo>
                    <a:lnTo>
                      <a:pt x="5171917" y="4295117"/>
                    </a:lnTo>
                    <a:lnTo>
                      <a:pt x="5484219" y="4978630"/>
                    </a:lnTo>
                    <a:lnTo>
                      <a:pt x="4953361" y="5488772"/>
                    </a:lnTo>
                    <a:lnTo>
                      <a:pt x="4307701" y="5168660"/>
                    </a:lnTo>
                    <a:lnTo>
                      <a:pt x="4148601" y="5255702"/>
                    </a:lnTo>
                    <a:cubicBezTo>
                      <a:pt x="4033899" y="5312702"/>
                      <a:pt x="3914073" y="5360936"/>
                      <a:pt x="3789999" y="5399527"/>
                    </a:cubicBezTo>
                    <a:lnTo>
                      <a:pt x="3672243" y="5429805"/>
                    </a:lnTo>
                    <a:lnTo>
                      <a:pt x="3432454" y="6114381"/>
                    </a:lnTo>
                    <a:lnTo>
                      <a:pt x="2696210" y="6114381"/>
                    </a:lnTo>
                    <a:lnTo>
                      <a:pt x="2450436" y="5430525"/>
                    </a:lnTo>
                    <a:lnTo>
                      <a:pt x="2329062" y="5396163"/>
                    </a:lnTo>
                    <a:cubicBezTo>
                      <a:pt x="2189754" y="5352123"/>
                      <a:pt x="2055856" y="5295911"/>
                      <a:pt x="1928614" y="5228775"/>
                    </a:cubicBezTo>
                    <a:lnTo>
                      <a:pt x="1815331" y="5163187"/>
                    </a:lnTo>
                    <a:lnTo>
                      <a:pt x="1167731" y="5490605"/>
                    </a:lnTo>
                    <a:lnTo>
                      <a:pt x="637011" y="4980320"/>
                    </a:lnTo>
                    <a:lnTo>
                      <a:pt x="949593" y="4281769"/>
                    </a:lnTo>
                    <a:lnTo>
                      <a:pt x="879944" y="4154460"/>
                    </a:lnTo>
                    <a:cubicBezTo>
                      <a:pt x="822944" y="4039758"/>
                      <a:pt x="774710" y="3919932"/>
                      <a:pt x="736119" y="3795858"/>
                    </a:cubicBezTo>
                    <a:lnTo>
                      <a:pt x="704946" y="3674624"/>
                    </a:lnTo>
                    <a:lnTo>
                      <a:pt x="0" y="3427700"/>
                    </a:lnTo>
                    <a:lnTo>
                      <a:pt x="0" y="2691456"/>
                    </a:lnTo>
                    <a:lnTo>
                      <a:pt x="710874" y="2435971"/>
                    </a:lnTo>
                    <a:lnTo>
                      <a:pt x="739483" y="2334920"/>
                    </a:lnTo>
                    <a:cubicBezTo>
                      <a:pt x="783523" y="2195614"/>
                      <a:pt x="839735" y="2061715"/>
                      <a:pt x="906871" y="1934473"/>
                    </a:cubicBezTo>
                    <a:lnTo>
                      <a:pt x="966845" y="1830886"/>
                    </a:lnTo>
                    <a:lnTo>
                      <a:pt x="638488" y="1160565"/>
                    </a:lnTo>
                    <a:lnTo>
                      <a:pt x="1155427" y="636323"/>
                    </a:lnTo>
                    <a:lnTo>
                      <a:pt x="1849874" y="957643"/>
                    </a:lnTo>
                    <a:lnTo>
                      <a:pt x="1981186" y="885803"/>
                    </a:lnTo>
                    <a:cubicBezTo>
                      <a:pt x="2095887" y="828803"/>
                      <a:pt x="2215713" y="780570"/>
                      <a:pt x="2339788" y="741978"/>
                    </a:cubicBezTo>
                    <a:lnTo>
                      <a:pt x="2435401" y="71739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sp>
        <p:nvSpPr>
          <p:cNvPr id="46" name="Freeform 6"/>
          <p:cNvSpPr>
            <a:spLocks noEditPoints="1"/>
          </p:cNvSpPr>
          <p:nvPr/>
        </p:nvSpPr>
        <p:spPr bwMode="auto">
          <a:xfrm>
            <a:off x="805815" y="5483237"/>
            <a:ext cx="400050" cy="400050"/>
          </a:xfrm>
          <a:custGeom>
            <a:avLst/>
            <a:gdLst>
              <a:gd name="T0" fmla="*/ 2633 w 3526"/>
              <a:gd name="T1" fmla="*/ 2269 h 3531"/>
              <a:gd name="T2" fmla="*/ 3023 w 3526"/>
              <a:gd name="T3" fmla="*/ 2660 h 3531"/>
              <a:gd name="T4" fmla="*/ 3082 w 3526"/>
              <a:gd name="T5" fmla="*/ 2784 h 3531"/>
              <a:gd name="T6" fmla="*/ 2975 w 3526"/>
              <a:gd name="T7" fmla="*/ 2869 h 3531"/>
              <a:gd name="T8" fmla="*/ 2434 w 3526"/>
              <a:gd name="T9" fmla="*/ 2808 h 3531"/>
              <a:gd name="T10" fmla="*/ 2448 w 3526"/>
              <a:gd name="T11" fmla="*/ 2248 h 3531"/>
              <a:gd name="T12" fmla="*/ 2577 w 3526"/>
              <a:gd name="T13" fmla="*/ 1990 h 3531"/>
              <a:gd name="T14" fmla="*/ 2224 w 3526"/>
              <a:gd name="T15" fmla="*/ 2138 h 3531"/>
              <a:gd name="T16" fmla="*/ 2013 w 3526"/>
              <a:gd name="T17" fmla="*/ 2452 h 3531"/>
              <a:gd name="T18" fmla="*/ 2013 w 3526"/>
              <a:gd name="T19" fmla="*/ 2845 h 3531"/>
              <a:gd name="T20" fmla="*/ 2224 w 3526"/>
              <a:gd name="T21" fmla="*/ 3159 h 3531"/>
              <a:gd name="T22" fmla="*/ 2577 w 3526"/>
              <a:gd name="T23" fmla="*/ 3307 h 3531"/>
              <a:gd name="T24" fmla="*/ 2959 w 3526"/>
              <a:gd name="T25" fmla="*/ 3231 h 3531"/>
              <a:gd name="T26" fmla="*/ 3226 w 3526"/>
              <a:gd name="T27" fmla="*/ 2964 h 3531"/>
              <a:gd name="T28" fmla="*/ 3302 w 3526"/>
              <a:gd name="T29" fmla="*/ 2581 h 3531"/>
              <a:gd name="T30" fmla="*/ 3154 w 3526"/>
              <a:gd name="T31" fmla="*/ 2228 h 3531"/>
              <a:gd name="T32" fmla="*/ 2841 w 3526"/>
              <a:gd name="T33" fmla="*/ 2017 h 3531"/>
              <a:gd name="T34" fmla="*/ 1543 w 3526"/>
              <a:gd name="T35" fmla="*/ 2428 h 3531"/>
              <a:gd name="T36" fmla="*/ 441 w 3526"/>
              <a:gd name="T37" fmla="*/ 2428 h 3531"/>
              <a:gd name="T38" fmla="*/ 2936 w 3526"/>
              <a:gd name="T39" fmla="*/ 1816 h 3531"/>
              <a:gd name="T40" fmla="*/ 3292 w 3526"/>
              <a:gd name="T41" fmla="*/ 2050 h 3531"/>
              <a:gd name="T42" fmla="*/ 3497 w 3526"/>
              <a:gd name="T43" fmla="*/ 2426 h 3531"/>
              <a:gd name="T44" fmla="*/ 3497 w 3526"/>
              <a:gd name="T45" fmla="*/ 2871 h 3531"/>
              <a:gd name="T46" fmla="*/ 3292 w 3526"/>
              <a:gd name="T47" fmla="*/ 3247 h 3531"/>
              <a:gd name="T48" fmla="*/ 2936 w 3526"/>
              <a:gd name="T49" fmla="*/ 3482 h 3531"/>
              <a:gd name="T50" fmla="*/ 2493 w 3526"/>
              <a:gd name="T51" fmla="*/ 3519 h 3531"/>
              <a:gd name="T52" fmla="*/ 2101 w 3526"/>
              <a:gd name="T53" fmla="*/ 3344 h 3531"/>
              <a:gd name="T54" fmla="*/ 1840 w 3526"/>
              <a:gd name="T55" fmla="*/ 3009 h 3531"/>
              <a:gd name="T56" fmla="*/ 1766 w 3526"/>
              <a:gd name="T57" fmla="*/ 2573 h 3531"/>
              <a:gd name="T58" fmla="*/ 1908 w 3526"/>
              <a:gd name="T59" fmla="*/ 2163 h 3531"/>
              <a:gd name="T60" fmla="*/ 2220 w 3526"/>
              <a:gd name="T61" fmla="*/ 1875 h 3531"/>
              <a:gd name="T62" fmla="*/ 2645 w 3526"/>
              <a:gd name="T63" fmla="*/ 1766 h 3531"/>
              <a:gd name="T64" fmla="*/ 1102 w 3526"/>
              <a:gd name="T65" fmla="*/ 1325 h 3531"/>
              <a:gd name="T66" fmla="*/ 881 w 3526"/>
              <a:gd name="T67" fmla="*/ 1325 h 3531"/>
              <a:gd name="T68" fmla="*/ 330 w 3526"/>
              <a:gd name="T69" fmla="*/ 552 h 3531"/>
              <a:gd name="T70" fmla="*/ 421 w 3526"/>
              <a:gd name="T71" fmla="*/ 730 h 3531"/>
              <a:gd name="T72" fmla="*/ 621 w 3526"/>
              <a:gd name="T73" fmla="*/ 761 h 3531"/>
              <a:gd name="T74" fmla="*/ 760 w 3526"/>
              <a:gd name="T75" fmla="*/ 622 h 3531"/>
              <a:gd name="T76" fmla="*/ 2096 w 3526"/>
              <a:gd name="T77" fmla="*/ 588 h 3531"/>
              <a:gd name="T78" fmla="*/ 2213 w 3526"/>
              <a:gd name="T79" fmla="*/ 749 h 3531"/>
              <a:gd name="T80" fmla="*/ 2415 w 3526"/>
              <a:gd name="T81" fmla="*/ 749 h 3531"/>
              <a:gd name="T82" fmla="*/ 2531 w 3526"/>
              <a:gd name="T83" fmla="*/ 588 h 3531"/>
              <a:gd name="T84" fmla="*/ 2736 w 3526"/>
              <a:gd name="T85" fmla="*/ 469 h 3531"/>
              <a:gd name="T86" fmla="*/ 2861 w 3526"/>
              <a:gd name="T87" fmla="*/ 645 h 3531"/>
              <a:gd name="T88" fmla="*/ 221 w 3526"/>
              <a:gd name="T89" fmla="*/ 2626 h 3531"/>
              <a:gd name="T90" fmla="*/ 239 w 3526"/>
              <a:gd name="T91" fmla="*/ 2869 h 3531"/>
              <a:gd name="T92" fmla="*/ 46 w 3526"/>
              <a:gd name="T93" fmla="*/ 2770 h 3531"/>
              <a:gd name="T94" fmla="*/ 3 w 3526"/>
              <a:gd name="T95" fmla="*/ 645 h 3531"/>
              <a:gd name="T96" fmla="*/ 129 w 3526"/>
              <a:gd name="T97" fmla="*/ 469 h 3531"/>
              <a:gd name="T98" fmla="*/ 2362 w 3526"/>
              <a:gd name="T99" fmla="*/ 12 h 3531"/>
              <a:gd name="T100" fmla="*/ 2424 w 3526"/>
              <a:gd name="T101" fmla="*/ 552 h 3531"/>
              <a:gd name="T102" fmla="*/ 2339 w 3526"/>
              <a:gd name="T103" fmla="*/ 659 h 3531"/>
              <a:gd name="T104" fmla="*/ 2215 w 3526"/>
              <a:gd name="T105" fmla="*/ 600 h 3531"/>
              <a:gd name="T106" fmla="*/ 2228 w 3526"/>
              <a:gd name="T107" fmla="*/ 42 h 3531"/>
              <a:gd name="T108" fmla="*/ 576 w 3526"/>
              <a:gd name="T109" fmla="*/ 3 h 3531"/>
              <a:gd name="T110" fmla="*/ 661 w 3526"/>
              <a:gd name="T111" fmla="*/ 111 h 3531"/>
              <a:gd name="T112" fmla="*/ 599 w 3526"/>
              <a:gd name="T113" fmla="*/ 651 h 3531"/>
              <a:gd name="T114" fmla="*/ 465 w 3526"/>
              <a:gd name="T115" fmla="*/ 621 h 3531"/>
              <a:gd name="T116" fmla="*/ 452 w 3526"/>
              <a:gd name="T117" fmla="*/ 62 h 35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526" h="3531">
                <a:moveTo>
                  <a:pt x="2534" y="2208"/>
                </a:moveTo>
                <a:lnTo>
                  <a:pt x="2559" y="2210"/>
                </a:lnTo>
                <a:lnTo>
                  <a:pt x="2582" y="2218"/>
                </a:lnTo>
                <a:lnTo>
                  <a:pt x="2603" y="2231"/>
                </a:lnTo>
                <a:lnTo>
                  <a:pt x="2620" y="2248"/>
                </a:lnTo>
                <a:lnTo>
                  <a:pt x="2633" y="2269"/>
                </a:lnTo>
                <a:lnTo>
                  <a:pt x="2641" y="2292"/>
                </a:lnTo>
                <a:lnTo>
                  <a:pt x="2645" y="2317"/>
                </a:lnTo>
                <a:lnTo>
                  <a:pt x="2645" y="2649"/>
                </a:lnTo>
                <a:lnTo>
                  <a:pt x="2975" y="2649"/>
                </a:lnTo>
                <a:lnTo>
                  <a:pt x="2999" y="2651"/>
                </a:lnTo>
                <a:lnTo>
                  <a:pt x="3023" y="2660"/>
                </a:lnTo>
                <a:lnTo>
                  <a:pt x="3043" y="2673"/>
                </a:lnTo>
                <a:lnTo>
                  <a:pt x="3061" y="2690"/>
                </a:lnTo>
                <a:lnTo>
                  <a:pt x="3073" y="2710"/>
                </a:lnTo>
                <a:lnTo>
                  <a:pt x="3082" y="2734"/>
                </a:lnTo>
                <a:lnTo>
                  <a:pt x="3085" y="2760"/>
                </a:lnTo>
                <a:lnTo>
                  <a:pt x="3082" y="2784"/>
                </a:lnTo>
                <a:lnTo>
                  <a:pt x="3073" y="2808"/>
                </a:lnTo>
                <a:lnTo>
                  <a:pt x="3061" y="2828"/>
                </a:lnTo>
                <a:lnTo>
                  <a:pt x="3043" y="2845"/>
                </a:lnTo>
                <a:lnTo>
                  <a:pt x="3023" y="2858"/>
                </a:lnTo>
                <a:lnTo>
                  <a:pt x="2999" y="2867"/>
                </a:lnTo>
                <a:lnTo>
                  <a:pt x="2975" y="2869"/>
                </a:lnTo>
                <a:lnTo>
                  <a:pt x="2534" y="2869"/>
                </a:lnTo>
                <a:lnTo>
                  <a:pt x="2508" y="2867"/>
                </a:lnTo>
                <a:lnTo>
                  <a:pt x="2486" y="2858"/>
                </a:lnTo>
                <a:lnTo>
                  <a:pt x="2466" y="2845"/>
                </a:lnTo>
                <a:lnTo>
                  <a:pt x="2448" y="2828"/>
                </a:lnTo>
                <a:lnTo>
                  <a:pt x="2434" y="2808"/>
                </a:lnTo>
                <a:lnTo>
                  <a:pt x="2427" y="2784"/>
                </a:lnTo>
                <a:lnTo>
                  <a:pt x="2424" y="2760"/>
                </a:lnTo>
                <a:lnTo>
                  <a:pt x="2424" y="2317"/>
                </a:lnTo>
                <a:lnTo>
                  <a:pt x="2427" y="2292"/>
                </a:lnTo>
                <a:lnTo>
                  <a:pt x="2434" y="2269"/>
                </a:lnTo>
                <a:lnTo>
                  <a:pt x="2448" y="2248"/>
                </a:lnTo>
                <a:lnTo>
                  <a:pt x="2466" y="2231"/>
                </a:lnTo>
                <a:lnTo>
                  <a:pt x="2486" y="2218"/>
                </a:lnTo>
                <a:lnTo>
                  <a:pt x="2508" y="2210"/>
                </a:lnTo>
                <a:lnTo>
                  <a:pt x="2534" y="2208"/>
                </a:lnTo>
                <a:close/>
                <a:moveTo>
                  <a:pt x="2645" y="1986"/>
                </a:moveTo>
                <a:lnTo>
                  <a:pt x="2577" y="1990"/>
                </a:lnTo>
                <a:lnTo>
                  <a:pt x="2511" y="2000"/>
                </a:lnTo>
                <a:lnTo>
                  <a:pt x="2447" y="2017"/>
                </a:lnTo>
                <a:lnTo>
                  <a:pt x="2387" y="2039"/>
                </a:lnTo>
                <a:lnTo>
                  <a:pt x="2329" y="2067"/>
                </a:lnTo>
                <a:lnTo>
                  <a:pt x="2275" y="2100"/>
                </a:lnTo>
                <a:lnTo>
                  <a:pt x="2224" y="2138"/>
                </a:lnTo>
                <a:lnTo>
                  <a:pt x="2177" y="2181"/>
                </a:lnTo>
                <a:lnTo>
                  <a:pt x="2134" y="2228"/>
                </a:lnTo>
                <a:lnTo>
                  <a:pt x="2096" y="2279"/>
                </a:lnTo>
                <a:lnTo>
                  <a:pt x="2062" y="2333"/>
                </a:lnTo>
                <a:lnTo>
                  <a:pt x="2035" y="2391"/>
                </a:lnTo>
                <a:lnTo>
                  <a:pt x="2013" y="2452"/>
                </a:lnTo>
                <a:lnTo>
                  <a:pt x="1996" y="2516"/>
                </a:lnTo>
                <a:lnTo>
                  <a:pt x="1986" y="2581"/>
                </a:lnTo>
                <a:lnTo>
                  <a:pt x="1983" y="2649"/>
                </a:lnTo>
                <a:lnTo>
                  <a:pt x="1986" y="2717"/>
                </a:lnTo>
                <a:lnTo>
                  <a:pt x="1996" y="2782"/>
                </a:lnTo>
                <a:lnTo>
                  <a:pt x="2013" y="2845"/>
                </a:lnTo>
                <a:lnTo>
                  <a:pt x="2035" y="2907"/>
                </a:lnTo>
                <a:lnTo>
                  <a:pt x="2062" y="2964"/>
                </a:lnTo>
                <a:lnTo>
                  <a:pt x="2096" y="3018"/>
                </a:lnTo>
                <a:lnTo>
                  <a:pt x="2134" y="3070"/>
                </a:lnTo>
                <a:lnTo>
                  <a:pt x="2177" y="3117"/>
                </a:lnTo>
                <a:lnTo>
                  <a:pt x="2224" y="3159"/>
                </a:lnTo>
                <a:lnTo>
                  <a:pt x="2275" y="3198"/>
                </a:lnTo>
                <a:lnTo>
                  <a:pt x="2329" y="3231"/>
                </a:lnTo>
                <a:lnTo>
                  <a:pt x="2387" y="3259"/>
                </a:lnTo>
                <a:lnTo>
                  <a:pt x="2447" y="3281"/>
                </a:lnTo>
                <a:lnTo>
                  <a:pt x="2511" y="3297"/>
                </a:lnTo>
                <a:lnTo>
                  <a:pt x="2577" y="3307"/>
                </a:lnTo>
                <a:lnTo>
                  <a:pt x="2645" y="3310"/>
                </a:lnTo>
                <a:lnTo>
                  <a:pt x="2712" y="3307"/>
                </a:lnTo>
                <a:lnTo>
                  <a:pt x="2778" y="3297"/>
                </a:lnTo>
                <a:lnTo>
                  <a:pt x="2841" y="3281"/>
                </a:lnTo>
                <a:lnTo>
                  <a:pt x="2901" y="3259"/>
                </a:lnTo>
                <a:lnTo>
                  <a:pt x="2959" y="3231"/>
                </a:lnTo>
                <a:lnTo>
                  <a:pt x="3013" y="3198"/>
                </a:lnTo>
                <a:lnTo>
                  <a:pt x="3065" y="3159"/>
                </a:lnTo>
                <a:lnTo>
                  <a:pt x="3111" y="3117"/>
                </a:lnTo>
                <a:lnTo>
                  <a:pt x="3154" y="3070"/>
                </a:lnTo>
                <a:lnTo>
                  <a:pt x="3192" y="3018"/>
                </a:lnTo>
                <a:lnTo>
                  <a:pt x="3226" y="2964"/>
                </a:lnTo>
                <a:lnTo>
                  <a:pt x="3253" y="2907"/>
                </a:lnTo>
                <a:lnTo>
                  <a:pt x="3275" y="2845"/>
                </a:lnTo>
                <a:lnTo>
                  <a:pt x="3292" y="2782"/>
                </a:lnTo>
                <a:lnTo>
                  <a:pt x="3302" y="2717"/>
                </a:lnTo>
                <a:lnTo>
                  <a:pt x="3305" y="2649"/>
                </a:lnTo>
                <a:lnTo>
                  <a:pt x="3302" y="2581"/>
                </a:lnTo>
                <a:lnTo>
                  <a:pt x="3292" y="2516"/>
                </a:lnTo>
                <a:lnTo>
                  <a:pt x="3275" y="2452"/>
                </a:lnTo>
                <a:lnTo>
                  <a:pt x="3253" y="2391"/>
                </a:lnTo>
                <a:lnTo>
                  <a:pt x="3226" y="2333"/>
                </a:lnTo>
                <a:lnTo>
                  <a:pt x="3192" y="2279"/>
                </a:lnTo>
                <a:lnTo>
                  <a:pt x="3154" y="2228"/>
                </a:lnTo>
                <a:lnTo>
                  <a:pt x="3111" y="2181"/>
                </a:lnTo>
                <a:lnTo>
                  <a:pt x="3065" y="2138"/>
                </a:lnTo>
                <a:lnTo>
                  <a:pt x="3013" y="2100"/>
                </a:lnTo>
                <a:lnTo>
                  <a:pt x="2959" y="2067"/>
                </a:lnTo>
                <a:lnTo>
                  <a:pt x="2901" y="2039"/>
                </a:lnTo>
                <a:lnTo>
                  <a:pt x="2841" y="2017"/>
                </a:lnTo>
                <a:lnTo>
                  <a:pt x="2778" y="2000"/>
                </a:lnTo>
                <a:lnTo>
                  <a:pt x="2712" y="1990"/>
                </a:lnTo>
                <a:lnTo>
                  <a:pt x="2645" y="1986"/>
                </a:lnTo>
                <a:close/>
                <a:moveTo>
                  <a:pt x="1102" y="1986"/>
                </a:moveTo>
                <a:lnTo>
                  <a:pt x="1543" y="1986"/>
                </a:lnTo>
                <a:lnTo>
                  <a:pt x="1543" y="2428"/>
                </a:lnTo>
                <a:lnTo>
                  <a:pt x="1102" y="2428"/>
                </a:lnTo>
                <a:lnTo>
                  <a:pt x="1102" y="1986"/>
                </a:lnTo>
                <a:close/>
                <a:moveTo>
                  <a:pt x="441" y="1986"/>
                </a:moveTo>
                <a:lnTo>
                  <a:pt x="881" y="1986"/>
                </a:lnTo>
                <a:lnTo>
                  <a:pt x="881" y="2428"/>
                </a:lnTo>
                <a:lnTo>
                  <a:pt x="441" y="2428"/>
                </a:lnTo>
                <a:lnTo>
                  <a:pt x="441" y="1986"/>
                </a:lnTo>
                <a:close/>
                <a:moveTo>
                  <a:pt x="2645" y="1766"/>
                </a:moveTo>
                <a:lnTo>
                  <a:pt x="2721" y="1770"/>
                </a:lnTo>
                <a:lnTo>
                  <a:pt x="2795" y="1779"/>
                </a:lnTo>
                <a:lnTo>
                  <a:pt x="2866" y="1794"/>
                </a:lnTo>
                <a:lnTo>
                  <a:pt x="2936" y="1816"/>
                </a:lnTo>
                <a:lnTo>
                  <a:pt x="3004" y="1843"/>
                </a:lnTo>
                <a:lnTo>
                  <a:pt x="3068" y="1875"/>
                </a:lnTo>
                <a:lnTo>
                  <a:pt x="3129" y="1911"/>
                </a:lnTo>
                <a:lnTo>
                  <a:pt x="3187" y="1953"/>
                </a:lnTo>
                <a:lnTo>
                  <a:pt x="3242" y="1999"/>
                </a:lnTo>
                <a:lnTo>
                  <a:pt x="3292" y="2050"/>
                </a:lnTo>
                <a:lnTo>
                  <a:pt x="3338" y="2105"/>
                </a:lnTo>
                <a:lnTo>
                  <a:pt x="3380" y="2163"/>
                </a:lnTo>
                <a:lnTo>
                  <a:pt x="3418" y="2224"/>
                </a:lnTo>
                <a:lnTo>
                  <a:pt x="3449" y="2288"/>
                </a:lnTo>
                <a:lnTo>
                  <a:pt x="3475" y="2356"/>
                </a:lnTo>
                <a:lnTo>
                  <a:pt x="3497" y="2426"/>
                </a:lnTo>
                <a:lnTo>
                  <a:pt x="3513" y="2499"/>
                </a:lnTo>
                <a:lnTo>
                  <a:pt x="3523" y="2573"/>
                </a:lnTo>
                <a:lnTo>
                  <a:pt x="3526" y="2649"/>
                </a:lnTo>
                <a:lnTo>
                  <a:pt x="3523" y="2725"/>
                </a:lnTo>
                <a:lnTo>
                  <a:pt x="3513" y="2799"/>
                </a:lnTo>
                <a:lnTo>
                  <a:pt x="3497" y="2871"/>
                </a:lnTo>
                <a:lnTo>
                  <a:pt x="3475" y="2941"/>
                </a:lnTo>
                <a:lnTo>
                  <a:pt x="3449" y="3009"/>
                </a:lnTo>
                <a:lnTo>
                  <a:pt x="3418" y="3073"/>
                </a:lnTo>
                <a:lnTo>
                  <a:pt x="3380" y="3135"/>
                </a:lnTo>
                <a:lnTo>
                  <a:pt x="3338" y="3193"/>
                </a:lnTo>
                <a:lnTo>
                  <a:pt x="3292" y="3247"/>
                </a:lnTo>
                <a:lnTo>
                  <a:pt x="3242" y="3297"/>
                </a:lnTo>
                <a:lnTo>
                  <a:pt x="3187" y="3344"/>
                </a:lnTo>
                <a:lnTo>
                  <a:pt x="3129" y="3385"/>
                </a:lnTo>
                <a:lnTo>
                  <a:pt x="3068" y="3423"/>
                </a:lnTo>
                <a:lnTo>
                  <a:pt x="3004" y="3455"/>
                </a:lnTo>
                <a:lnTo>
                  <a:pt x="2936" y="3482"/>
                </a:lnTo>
                <a:lnTo>
                  <a:pt x="2866" y="3504"/>
                </a:lnTo>
                <a:lnTo>
                  <a:pt x="2795" y="3519"/>
                </a:lnTo>
                <a:lnTo>
                  <a:pt x="2721" y="3528"/>
                </a:lnTo>
                <a:lnTo>
                  <a:pt x="2645" y="3531"/>
                </a:lnTo>
                <a:lnTo>
                  <a:pt x="2568" y="3528"/>
                </a:lnTo>
                <a:lnTo>
                  <a:pt x="2493" y="3519"/>
                </a:lnTo>
                <a:lnTo>
                  <a:pt x="2422" y="3504"/>
                </a:lnTo>
                <a:lnTo>
                  <a:pt x="2352" y="3482"/>
                </a:lnTo>
                <a:lnTo>
                  <a:pt x="2284" y="3455"/>
                </a:lnTo>
                <a:lnTo>
                  <a:pt x="2220" y="3423"/>
                </a:lnTo>
                <a:lnTo>
                  <a:pt x="2159" y="3385"/>
                </a:lnTo>
                <a:lnTo>
                  <a:pt x="2101" y="3344"/>
                </a:lnTo>
                <a:lnTo>
                  <a:pt x="2046" y="3297"/>
                </a:lnTo>
                <a:lnTo>
                  <a:pt x="1996" y="3247"/>
                </a:lnTo>
                <a:lnTo>
                  <a:pt x="1950" y="3193"/>
                </a:lnTo>
                <a:lnTo>
                  <a:pt x="1908" y="3135"/>
                </a:lnTo>
                <a:lnTo>
                  <a:pt x="1872" y="3073"/>
                </a:lnTo>
                <a:lnTo>
                  <a:pt x="1840" y="3009"/>
                </a:lnTo>
                <a:lnTo>
                  <a:pt x="1813" y="2941"/>
                </a:lnTo>
                <a:lnTo>
                  <a:pt x="1791" y="2871"/>
                </a:lnTo>
                <a:lnTo>
                  <a:pt x="1775" y="2799"/>
                </a:lnTo>
                <a:lnTo>
                  <a:pt x="1766" y="2725"/>
                </a:lnTo>
                <a:lnTo>
                  <a:pt x="1762" y="2649"/>
                </a:lnTo>
                <a:lnTo>
                  <a:pt x="1766" y="2573"/>
                </a:lnTo>
                <a:lnTo>
                  <a:pt x="1775" y="2499"/>
                </a:lnTo>
                <a:lnTo>
                  <a:pt x="1791" y="2426"/>
                </a:lnTo>
                <a:lnTo>
                  <a:pt x="1813" y="2356"/>
                </a:lnTo>
                <a:lnTo>
                  <a:pt x="1840" y="2288"/>
                </a:lnTo>
                <a:lnTo>
                  <a:pt x="1872" y="2224"/>
                </a:lnTo>
                <a:lnTo>
                  <a:pt x="1908" y="2163"/>
                </a:lnTo>
                <a:lnTo>
                  <a:pt x="1950" y="2105"/>
                </a:lnTo>
                <a:lnTo>
                  <a:pt x="1996" y="2050"/>
                </a:lnTo>
                <a:lnTo>
                  <a:pt x="2046" y="1999"/>
                </a:lnTo>
                <a:lnTo>
                  <a:pt x="2101" y="1953"/>
                </a:lnTo>
                <a:lnTo>
                  <a:pt x="2159" y="1911"/>
                </a:lnTo>
                <a:lnTo>
                  <a:pt x="2220" y="1875"/>
                </a:lnTo>
                <a:lnTo>
                  <a:pt x="2284" y="1843"/>
                </a:lnTo>
                <a:lnTo>
                  <a:pt x="2352" y="1816"/>
                </a:lnTo>
                <a:lnTo>
                  <a:pt x="2422" y="1794"/>
                </a:lnTo>
                <a:lnTo>
                  <a:pt x="2493" y="1779"/>
                </a:lnTo>
                <a:lnTo>
                  <a:pt x="2568" y="1770"/>
                </a:lnTo>
                <a:lnTo>
                  <a:pt x="2645" y="1766"/>
                </a:lnTo>
                <a:close/>
                <a:moveTo>
                  <a:pt x="1762" y="1325"/>
                </a:moveTo>
                <a:lnTo>
                  <a:pt x="2203" y="1325"/>
                </a:lnTo>
                <a:lnTo>
                  <a:pt x="2203" y="1766"/>
                </a:lnTo>
                <a:lnTo>
                  <a:pt x="1762" y="1766"/>
                </a:lnTo>
                <a:lnTo>
                  <a:pt x="1762" y="1325"/>
                </a:lnTo>
                <a:close/>
                <a:moveTo>
                  <a:pt x="1102" y="1325"/>
                </a:moveTo>
                <a:lnTo>
                  <a:pt x="1543" y="1325"/>
                </a:lnTo>
                <a:lnTo>
                  <a:pt x="1543" y="1766"/>
                </a:lnTo>
                <a:lnTo>
                  <a:pt x="1102" y="1766"/>
                </a:lnTo>
                <a:lnTo>
                  <a:pt x="1102" y="1325"/>
                </a:lnTo>
                <a:close/>
                <a:moveTo>
                  <a:pt x="441" y="1325"/>
                </a:moveTo>
                <a:lnTo>
                  <a:pt x="881" y="1325"/>
                </a:lnTo>
                <a:lnTo>
                  <a:pt x="881" y="1766"/>
                </a:lnTo>
                <a:lnTo>
                  <a:pt x="441" y="1766"/>
                </a:lnTo>
                <a:lnTo>
                  <a:pt x="441" y="1325"/>
                </a:lnTo>
                <a:close/>
                <a:moveTo>
                  <a:pt x="239" y="441"/>
                </a:moveTo>
                <a:lnTo>
                  <a:pt x="330" y="441"/>
                </a:lnTo>
                <a:lnTo>
                  <a:pt x="330" y="552"/>
                </a:lnTo>
                <a:lnTo>
                  <a:pt x="333" y="588"/>
                </a:lnTo>
                <a:lnTo>
                  <a:pt x="342" y="622"/>
                </a:lnTo>
                <a:lnTo>
                  <a:pt x="355" y="653"/>
                </a:lnTo>
                <a:lnTo>
                  <a:pt x="373" y="682"/>
                </a:lnTo>
                <a:lnTo>
                  <a:pt x="396" y="708"/>
                </a:lnTo>
                <a:lnTo>
                  <a:pt x="421" y="730"/>
                </a:lnTo>
                <a:lnTo>
                  <a:pt x="449" y="749"/>
                </a:lnTo>
                <a:lnTo>
                  <a:pt x="481" y="761"/>
                </a:lnTo>
                <a:lnTo>
                  <a:pt x="516" y="770"/>
                </a:lnTo>
                <a:lnTo>
                  <a:pt x="551" y="773"/>
                </a:lnTo>
                <a:lnTo>
                  <a:pt x="586" y="770"/>
                </a:lnTo>
                <a:lnTo>
                  <a:pt x="621" y="761"/>
                </a:lnTo>
                <a:lnTo>
                  <a:pt x="652" y="749"/>
                </a:lnTo>
                <a:lnTo>
                  <a:pt x="681" y="730"/>
                </a:lnTo>
                <a:lnTo>
                  <a:pt x="706" y="708"/>
                </a:lnTo>
                <a:lnTo>
                  <a:pt x="729" y="682"/>
                </a:lnTo>
                <a:lnTo>
                  <a:pt x="746" y="653"/>
                </a:lnTo>
                <a:lnTo>
                  <a:pt x="760" y="622"/>
                </a:lnTo>
                <a:lnTo>
                  <a:pt x="769" y="588"/>
                </a:lnTo>
                <a:lnTo>
                  <a:pt x="771" y="552"/>
                </a:lnTo>
                <a:lnTo>
                  <a:pt x="771" y="441"/>
                </a:lnTo>
                <a:lnTo>
                  <a:pt x="2094" y="441"/>
                </a:lnTo>
                <a:lnTo>
                  <a:pt x="2094" y="552"/>
                </a:lnTo>
                <a:lnTo>
                  <a:pt x="2096" y="588"/>
                </a:lnTo>
                <a:lnTo>
                  <a:pt x="2104" y="622"/>
                </a:lnTo>
                <a:lnTo>
                  <a:pt x="2118" y="653"/>
                </a:lnTo>
                <a:lnTo>
                  <a:pt x="2135" y="682"/>
                </a:lnTo>
                <a:lnTo>
                  <a:pt x="2158" y="708"/>
                </a:lnTo>
                <a:lnTo>
                  <a:pt x="2184" y="730"/>
                </a:lnTo>
                <a:lnTo>
                  <a:pt x="2213" y="749"/>
                </a:lnTo>
                <a:lnTo>
                  <a:pt x="2244" y="761"/>
                </a:lnTo>
                <a:lnTo>
                  <a:pt x="2278" y="770"/>
                </a:lnTo>
                <a:lnTo>
                  <a:pt x="2313" y="773"/>
                </a:lnTo>
                <a:lnTo>
                  <a:pt x="2350" y="770"/>
                </a:lnTo>
                <a:lnTo>
                  <a:pt x="2383" y="761"/>
                </a:lnTo>
                <a:lnTo>
                  <a:pt x="2415" y="749"/>
                </a:lnTo>
                <a:lnTo>
                  <a:pt x="2444" y="730"/>
                </a:lnTo>
                <a:lnTo>
                  <a:pt x="2470" y="708"/>
                </a:lnTo>
                <a:lnTo>
                  <a:pt x="2491" y="682"/>
                </a:lnTo>
                <a:lnTo>
                  <a:pt x="2510" y="653"/>
                </a:lnTo>
                <a:lnTo>
                  <a:pt x="2522" y="622"/>
                </a:lnTo>
                <a:lnTo>
                  <a:pt x="2531" y="588"/>
                </a:lnTo>
                <a:lnTo>
                  <a:pt x="2534" y="552"/>
                </a:lnTo>
                <a:lnTo>
                  <a:pt x="2534" y="441"/>
                </a:lnTo>
                <a:lnTo>
                  <a:pt x="2626" y="441"/>
                </a:lnTo>
                <a:lnTo>
                  <a:pt x="2665" y="445"/>
                </a:lnTo>
                <a:lnTo>
                  <a:pt x="2701" y="454"/>
                </a:lnTo>
                <a:lnTo>
                  <a:pt x="2736" y="469"/>
                </a:lnTo>
                <a:lnTo>
                  <a:pt x="2767" y="489"/>
                </a:lnTo>
                <a:lnTo>
                  <a:pt x="2795" y="512"/>
                </a:lnTo>
                <a:lnTo>
                  <a:pt x="2818" y="541"/>
                </a:lnTo>
                <a:lnTo>
                  <a:pt x="2838" y="572"/>
                </a:lnTo>
                <a:lnTo>
                  <a:pt x="2853" y="608"/>
                </a:lnTo>
                <a:lnTo>
                  <a:pt x="2861" y="645"/>
                </a:lnTo>
                <a:lnTo>
                  <a:pt x="2864" y="684"/>
                </a:lnTo>
                <a:lnTo>
                  <a:pt x="2864" y="1545"/>
                </a:lnTo>
                <a:lnTo>
                  <a:pt x="2645" y="1545"/>
                </a:lnTo>
                <a:lnTo>
                  <a:pt x="2645" y="1104"/>
                </a:lnTo>
                <a:lnTo>
                  <a:pt x="221" y="1104"/>
                </a:lnTo>
                <a:lnTo>
                  <a:pt x="221" y="2626"/>
                </a:lnTo>
                <a:lnTo>
                  <a:pt x="223" y="2637"/>
                </a:lnTo>
                <a:lnTo>
                  <a:pt x="229" y="2646"/>
                </a:lnTo>
                <a:lnTo>
                  <a:pt x="239" y="2649"/>
                </a:lnTo>
                <a:lnTo>
                  <a:pt x="1543" y="2649"/>
                </a:lnTo>
                <a:lnTo>
                  <a:pt x="1543" y="2869"/>
                </a:lnTo>
                <a:lnTo>
                  <a:pt x="239" y="2869"/>
                </a:lnTo>
                <a:lnTo>
                  <a:pt x="200" y="2866"/>
                </a:lnTo>
                <a:lnTo>
                  <a:pt x="163" y="2857"/>
                </a:lnTo>
                <a:lnTo>
                  <a:pt x="129" y="2842"/>
                </a:lnTo>
                <a:lnTo>
                  <a:pt x="97" y="2823"/>
                </a:lnTo>
                <a:lnTo>
                  <a:pt x="70" y="2798"/>
                </a:lnTo>
                <a:lnTo>
                  <a:pt x="46" y="2770"/>
                </a:lnTo>
                <a:lnTo>
                  <a:pt x="27" y="2738"/>
                </a:lnTo>
                <a:lnTo>
                  <a:pt x="12" y="2704"/>
                </a:lnTo>
                <a:lnTo>
                  <a:pt x="3" y="2666"/>
                </a:lnTo>
                <a:lnTo>
                  <a:pt x="0" y="2626"/>
                </a:lnTo>
                <a:lnTo>
                  <a:pt x="0" y="684"/>
                </a:lnTo>
                <a:lnTo>
                  <a:pt x="3" y="645"/>
                </a:lnTo>
                <a:lnTo>
                  <a:pt x="12" y="608"/>
                </a:lnTo>
                <a:lnTo>
                  <a:pt x="27" y="572"/>
                </a:lnTo>
                <a:lnTo>
                  <a:pt x="46" y="541"/>
                </a:lnTo>
                <a:lnTo>
                  <a:pt x="70" y="512"/>
                </a:lnTo>
                <a:lnTo>
                  <a:pt x="97" y="489"/>
                </a:lnTo>
                <a:lnTo>
                  <a:pt x="129" y="469"/>
                </a:lnTo>
                <a:lnTo>
                  <a:pt x="163" y="454"/>
                </a:lnTo>
                <a:lnTo>
                  <a:pt x="200" y="445"/>
                </a:lnTo>
                <a:lnTo>
                  <a:pt x="239" y="441"/>
                </a:lnTo>
                <a:close/>
                <a:moveTo>
                  <a:pt x="2313" y="0"/>
                </a:moveTo>
                <a:lnTo>
                  <a:pt x="2339" y="3"/>
                </a:lnTo>
                <a:lnTo>
                  <a:pt x="2362" y="12"/>
                </a:lnTo>
                <a:lnTo>
                  <a:pt x="2383" y="25"/>
                </a:lnTo>
                <a:lnTo>
                  <a:pt x="2399" y="42"/>
                </a:lnTo>
                <a:lnTo>
                  <a:pt x="2413" y="62"/>
                </a:lnTo>
                <a:lnTo>
                  <a:pt x="2421" y="85"/>
                </a:lnTo>
                <a:lnTo>
                  <a:pt x="2424" y="111"/>
                </a:lnTo>
                <a:lnTo>
                  <a:pt x="2424" y="552"/>
                </a:lnTo>
                <a:lnTo>
                  <a:pt x="2421" y="578"/>
                </a:lnTo>
                <a:lnTo>
                  <a:pt x="2413" y="600"/>
                </a:lnTo>
                <a:lnTo>
                  <a:pt x="2399" y="621"/>
                </a:lnTo>
                <a:lnTo>
                  <a:pt x="2383" y="638"/>
                </a:lnTo>
                <a:lnTo>
                  <a:pt x="2362" y="651"/>
                </a:lnTo>
                <a:lnTo>
                  <a:pt x="2339" y="659"/>
                </a:lnTo>
                <a:lnTo>
                  <a:pt x="2313" y="663"/>
                </a:lnTo>
                <a:lnTo>
                  <a:pt x="2289" y="659"/>
                </a:lnTo>
                <a:lnTo>
                  <a:pt x="2265" y="651"/>
                </a:lnTo>
                <a:lnTo>
                  <a:pt x="2245" y="638"/>
                </a:lnTo>
                <a:lnTo>
                  <a:pt x="2228" y="621"/>
                </a:lnTo>
                <a:lnTo>
                  <a:pt x="2215" y="600"/>
                </a:lnTo>
                <a:lnTo>
                  <a:pt x="2206" y="578"/>
                </a:lnTo>
                <a:lnTo>
                  <a:pt x="2203" y="552"/>
                </a:lnTo>
                <a:lnTo>
                  <a:pt x="2203" y="111"/>
                </a:lnTo>
                <a:lnTo>
                  <a:pt x="2206" y="85"/>
                </a:lnTo>
                <a:lnTo>
                  <a:pt x="2215" y="62"/>
                </a:lnTo>
                <a:lnTo>
                  <a:pt x="2228" y="42"/>
                </a:lnTo>
                <a:lnTo>
                  <a:pt x="2245" y="25"/>
                </a:lnTo>
                <a:lnTo>
                  <a:pt x="2265" y="12"/>
                </a:lnTo>
                <a:lnTo>
                  <a:pt x="2289" y="3"/>
                </a:lnTo>
                <a:lnTo>
                  <a:pt x="2313" y="0"/>
                </a:lnTo>
                <a:close/>
                <a:moveTo>
                  <a:pt x="551" y="0"/>
                </a:moveTo>
                <a:lnTo>
                  <a:pt x="576" y="3"/>
                </a:lnTo>
                <a:lnTo>
                  <a:pt x="599" y="12"/>
                </a:lnTo>
                <a:lnTo>
                  <a:pt x="620" y="25"/>
                </a:lnTo>
                <a:lnTo>
                  <a:pt x="637" y="42"/>
                </a:lnTo>
                <a:lnTo>
                  <a:pt x="650" y="62"/>
                </a:lnTo>
                <a:lnTo>
                  <a:pt x="658" y="85"/>
                </a:lnTo>
                <a:lnTo>
                  <a:pt x="661" y="111"/>
                </a:lnTo>
                <a:lnTo>
                  <a:pt x="661" y="552"/>
                </a:lnTo>
                <a:lnTo>
                  <a:pt x="658" y="578"/>
                </a:lnTo>
                <a:lnTo>
                  <a:pt x="650" y="600"/>
                </a:lnTo>
                <a:lnTo>
                  <a:pt x="637" y="621"/>
                </a:lnTo>
                <a:lnTo>
                  <a:pt x="620" y="638"/>
                </a:lnTo>
                <a:lnTo>
                  <a:pt x="599" y="651"/>
                </a:lnTo>
                <a:lnTo>
                  <a:pt x="576" y="659"/>
                </a:lnTo>
                <a:lnTo>
                  <a:pt x="551" y="663"/>
                </a:lnTo>
                <a:lnTo>
                  <a:pt x="525" y="659"/>
                </a:lnTo>
                <a:lnTo>
                  <a:pt x="503" y="651"/>
                </a:lnTo>
                <a:lnTo>
                  <a:pt x="482" y="638"/>
                </a:lnTo>
                <a:lnTo>
                  <a:pt x="465" y="621"/>
                </a:lnTo>
                <a:lnTo>
                  <a:pt x="452" y="600"/>
                </a:lnTo>
                <a:lnTo>
                  <a:pt x="444" y="578"/>
                </a:lnTo>
                <a:lnTo>
                  <a:pt x="441" y="552"/>
                </a:lnTo>
                <a:lnTo>
                  <a:pt x="441" y="111"/>
                </a:lnTo>
                <a:lnTo>
                  <a:pt x="444" y="85"/>
                </a:lnTo>
                <a:lnTo>
                  <a:pt x="452" y="62"/>
                </a:lnTo>
                <a:lnTo>
                  <a:pt x="465" y="42"/>
                </a:lnTo>
                <a:lnTo>
                  <a:pt x="482" y="25"/>
                </a:lnTo>
                <a:lnTo>
                  <a:pt x="503" y="12"/>
                </a:lnTo>
                <a:lnTo>
                  <a:pt x="525" y="3"/>
                </a:lnTo>
                <a:lnTo>
                  <a:pt x="551" y="0"/>
                </a:lnTo>
                <a:close/>
              </a:path>
            </a:pathLst>
          </a:custGeom>
          <a:solidFill>
            <a:srgbClr val="00569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67775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STATE PLANNING PROVIS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23</a:t>
            </a:fld>
            <a:endParaRPr lang="en-US"/>
          </a:p>
        </p:txBody>
      </p:sp>
      <p:sp>
        <p:nvSpPr>
          <p:cNvPr id="8" name="Rectangle 7"/>
          <p:cNvSpPr/>
          <p:nvPr/>
        </p:nvSpPr>
        <p:spPr bwMode="gray">
          <a:xfrm>
            <a:off x="1237784" y="1476029"/>
            <a:ext cx="10344616" cy="941922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000" dirty="0"/>
              <a:t>Provided to release any of the statutory or elective shares.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E8CEFFF2-0095-434C-ADD6-FA2002F84E3E}"/>
              </a:ext>
            </a:extLst>
          </p:cNvPr>
          <p:cNvSpPr/>
          <p:nvPr/>
        </p:nvSpPr>
        <p:spPr bwMode="gray">
          <a:xfrm>
            <a:off x="609600" y="1455784"/>
            <a:ext cx="978408" cy="98241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569B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3" name="Rectangle 12"/>
          <p:cNvSpPr/>
          <p:nvPr/>
        </p:nvSpPr>
        <p:spPr bwMode="gray">
          <a:xfrm>
            <a:off x="1237784" y="2706875"/>
            <a:ext cx="10344616" cy="941922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000" dirty="0"/>
              <a:t>Right to receive any intestate shares in other party’s real or personal property.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E8CEFFF2-0095-434C-ADD6-FA2002F84E3E}"/>
              </a:ext>
            </a:extLst>
          </p:cNvPr>
          <p:cNvSpPr/>
          <p:nvPr/>
        </p:nvSpPr>
        <p:spPr bwMode="gray">
          <a:xfrm>
            <a:off x="609600" y="2686630"/>
            <a:ext cx="978408" cy="98241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26867C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6" name="Rectangle 15"/>
          <p:cNvSpPr/>
          <p:nvPr/>
        </p:nvSpPr>
        <p:spPr bwMode="gray">
          <a:xfrm>
            <a:off x="1237784" y="3937721"/>
            <a:ext cx="10344616" cy="941922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000" dirty="0"/>
              <a:t>Right to qualify and serve as the executor or personal representative of the other’s estate.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E8CEFFF2-0095-434C-ADD6-FA2002F84E3E}"/>
              </a:ext>
            </a:extLst>
          </p:cNvPr>
          <p:cNvSpPr/>
          <p:nvPr/>
        </p:nvSpPr>
        <p:spPr bwMode="gray">
          <a:xfrm>
            <a:off x="609600" y="3917476"/>
            <a:ext cx="978408" cy="98241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00569B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1237784" y="5168567"/>
            <a:ext cx="10344616" cy="941922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sz="2000" dirty="0"/>
              <a:t>Broad language should be included to address any issues or entitlements in another state law to which the party may move (community property rights).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xmlns="" id="{E8CEFFF2-0095-434C-ADD6-FA2002F84E3E}"/>
              </a:ext>
            </a:extLst>
          </p:cNvPr>
          <p:cNvSpPr/>
          <p:nvPr/>
        </p:nvSpPr>
        <p:spPr bwMode="gray">
          <a:xfrm>
            <a:off x="609600" y="5148322"/>
            <a:ext cx="978408" cy="982413"/>
          </a:xfrm>
          <a:prstGeom prst="ellipse">
            <a:avLst/>
          </a:prstGeom>
          <a:solidFill>
            <a:srgbClr val="FFFFFF"/>
          </a:solidFill>
          <a:ln w="38100" cap="flat" cmpd="sng" algn="ctr">
            <a:solidFill>
              <a:srgbClr val="26867C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2" name="Freeform 12"/>
          <p:cNvSpPr>
            <a:spLocks noEditPoints="1"/>
          </p:cNvSpPr>
          <p:nvPr/>
        </p:nvSpPr>
        <p:spPr bwMode="auto">
          <a:xfrm>
            <a:off x="850676" y="1620405"/>
            <a:ext cx="496256" cy="653170"/>
          </a:xfrm>
          <a:custGeom>
            <a:avLst/>
            <a:gdLst>
              <a:gd name="T0" fmla="*/ 1945 w 2569"/>
              <a:gd name="T1" fmla="*/ 2571 h 3379"/>
              <a:gd name="T2" fmla="*/ 1819 w 2569"/>
              <a:gd name="T3" fmla="*/ 2753 h 3379"/>
              <a:gd name="T4" fmla="*/ 1732 w 2569"/>
              <a:gd name="T5" fmla="*/ 2806 h 3379"/>
              <a:gd name="T6" fmla="*/ 1743 w 2569"/>
              <a:gd name="T7" fmla="*/ 2909 h 3379"/>
              <a:gd name="T8" fmla="*/ 1923 w 2569"/>
              <a:gd name="T9" fmla="*/ 2945 h 3379"/>
              <a:gd name="T10" fmla="*/ 1960 w 2569"/>
              <a:gd name="T11" fmla="*/ 3129 h 3379"/>
              <a:gd name="T12" fmla="*/ 2062 w 2569"/>
              <a:gd name="T13" fmla="*/ 3140 h 3379"/>
              <a:gd name="T14" fmla="*/ 2116 w 2569"/>
              <a:gd name="T15" fmla="*/ 3053 h 3379"/>
              <a:gd name="T16" fmla="*/ 2302 w 2569"/>
              <a:gd name="T17" fmla="*/ 2924 h 3379"/>
              <a:gd name="T18" fmla="*/ 2335 w 2569"/>
              <a:gd name="T19" fmla="*/ 2827 h 3379"/>
              <a:gd name="T20" fmla="*/ 2264 w 2569"/>
              <a:gd name="T21" fmla="*/ 2756 h 3379"/>
              <a:gd name="T22" fmla="*/ 2106 w 2569"/>
              <a:gd name="T23" fmla="*/ 2589 h 3379"/>
              <a:gd name="T24" fmla="*/ 2020 w 2569"/>
              <a:gd name="T25" fmla="*/ 2535 h 3379"/>
              <a:gd name="T26" fmla="*/ 2252 w 2569"/>
              <a:gd name="T27" fmla="*/ 2353 h 3379"/>
              <a:gd name="T28" fmla="*/ 2464 w 2569"/>
              <a:gd name="T29" fmla="*/ 2525 h 3379"/>
              <a:gd name="T30" fmla="*/ 2566 w 2569"/>
              <a:gd name="T31" fmla="*/ 2784 h 3379"/>
              <a:gd name="T32" fmla="*/ 2521 w 2569"/>
              <a:gd name="T33" fmla="*/ 3064 h 3379"/>
              <a:gd name="T34" fmla="*/ 2349 w 2569"/>
              <a:gd name="T35" fmla="*/ 3276 h 3379"/>
              <a:gd name="T36" fmla="*/ 2089 w 2569"/>
              <a:gd name="T37" fmla="*/ 3376 h 3379"/>
              <a:gd name="T38" fmla="*/ 1809 w 2569"/>
              <a:gd name="T39" fmla="*/ 3332 h 3379"/>
              <a:gd name="T40" fmla="*/ 1596 w 2569"/>
              <a:gd name="T41" fmla="*/ 3160 h 3379"/>
              <a:gd name="T42" fmla="*/ 1495 w 2569"/>
              <a:gd name="T43" fmla="*/ 2901 h 3379"/>
              <a:gd name="T44" fmla="*/ 1540 w 2569"/>
              <a:gd name="T45" fmla="*/ 2620 h 3379"/>
              <a:gd name="T46" fmla="*/ 1712 w 2569"/>
              <a:gd name="T47" fmla="*/ 2409 h 3379"/>
              <a:gd name="T48" fmla="*/ 1972 w 2569"/>
              <a:gd name="T49" fmla="*/ 2308 h 3379"/>
              <a:gd name="T50" fmla="*/ 444 w 2569"/>
              <a:gd name="T51" fmla="*/ 1724 h 3379"/>
              <a:gd name="T52" fmla="*/ 411 w 2569"/>
              <a:gd name="T53" fmla="*/ 1821 h 3379"/>
              <a:gd name="T54" fmla="*/ 482 w 2569"/>
              <a:gd name="T55" fmla="*/ 1892 h 3379"/>
              <a:gd name="T56" fmla="*/ 1834 w 2569"/>
              <a:gd name="T57" fmla="*/ 1874 h 3379"/>
              <a:gd name="T58" fmla="*/ 1867 w 2569"/>
              <a:gd name="T59" fmla="*/ 1777 h 3379"/>
              <a:gd name="T60" fmla="*/ 1796 w 2569"/>
              <a:gd name="T61" fmla="*/ 1705 h 3379"/>
              <a:gd name="T62" fmla="*/ 463 w 2569"/>
              <a:gd name="T63" fmla="*/ 1290 h 3379"/>
              <a:gd name="T64" fmla="*/ 409 w 2569"/>
              <a:gd name="T65" fmla="*/ 1377 h 3379"/>
              <a:gd name="T66" fmla="*/ 463 w 2569"/>
              <a:gd name="T67" fmla="*/ 1463 h 3379"/>
              <a:gd name="T68" fmla="*/ 1816 w 2569"/>
              <a:gd name="T69" fmla="*/ 1463 h 3379"/>
              <a:gd name="T70" fmla="*/ 1871 w 2569"/>
              <a:gd name="T71" fmla="*/ 1377 h 3379"/>
              <a:gd name="T72" fmla="*/ 1816 w 2569"/>
              <a:gd name="T73" fmla="*/ 1290 h 3379"/>
              <a:gd name="T74" fmla="*/ 482 w 2569"/>
              <a:gd name="T75" fmla="*/ 886 h 3379"/>
              <a:gd name="T76" fmla="*/ 411 w 2569"/>
              <a:gd name="T77" fmla="*/ 958 h 3379"/>
              <a:gd name="T78" fmla="*/ 444 w 2569"/>
              <a:gd name="T79" fmla="*/ 1055 h 3379"/>
              <a:gd name="T80" fmla="*/ 1796 w 2569"/>
              <a:gd name="T81" fmla="*/ 1073 h 3379"/>
              <a:gd name="T82" fmla="*/ 1867 w 2569"/>
              <a:gd name="T83" fmla="*/ 1002 h 3379"/>
              <a:gd name="T84" fmla="*/ 1834 w 2569"/>
              <a:gd name="T85" fmla="*/ 905 h 3379"/>
              <a:gd name="T86" fmla="*/ 1859 w 2569"/>
              <a:gd name="T87" fmla="*/ 31 h 3379"/>
              <a:gd name="T88" fmla="*/ 1667 w 2569"/>
              <a:gd name="T89" fmla="*/ 0 h 3379"/>
              <a:gd name="T90" fmla="*/ 1706 w 2569"/>
              <a:gd name="T91" fmla="*/ 594 h 3379"/>
              <a:gd name="T92" fmla="*/ 2308 w 2569"/>
              <a:gd name="T93" fmla="*/ 2169 h 3379"/>
              <a:gd name="T94" fmla="*/ 2079 w 2569"/>
              <a:gd name="T95" fmla="*/ 2114 h 3379"/>
              <a:gd name="T96" fmla="*/ 1773 w 2569"/>
              <a:gd name="T97" fmla="*/ 2159 h 3379"/>
              <a:gd name="T98" fmla="*/ 1513 w 2569"/>
              <a:gd name="T99" fmla="*/ 2327 h 3379"/>
              <a:gd name="T100" fmla="*/ 1344 w 2569"/>
              <a:gd name="T101" fmla="*/ 2588 h 3379"/>
              <a:gd name="T102" fmla="*/ 1302 w 2569"/>
              <a:gd name="T103" fmla="*/ 2910 h 3379"/>
              <a:gd name="T104" fmla="*/ 99 w 2569"/>
              <a:gd name="T105" fmla="*/ 3153 h 3379"/>
              <a:gd name="T106" fmla="*/ 11 w 2569"/>
              <a:gd name="T107" fmla="*/ 3097 h 3379"/>
              <a:gd name="T108" fmla="*/ 11 w 2569"/>
              <a:gd name="T109" fmla="*/ 54 h 3379"/>
              <a:gd name="T110" fmla="*/ 101 w 2569"/>
              <a:gd name="T111" fmla="*/ 0 h 3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569" h="3379">
                <a:moveTo>
                  <a:pt x="2020" y="2535"/>
                </a:moveTo>
                <a:lnTo>
                  <a:pt x="1998" y="2538"/>
                </a:lnTo>
                <a:lnTo>
                  <a:pt x="1977" y="2545"/>
                </a:lnTo>
                <a:lnTo>
                  <a:pt x="1960" y="2556"/>
                </a:lnTo>
                <a:lnTo>
                  <a:pt x="1945" y="2571"/>
                </a:lnTo>
                <a:lnTo>
                  <a:pt x="1934" y="2589"/>
                </a:lnTo>
                <a:lnTo>
                  <a:pt x="1926" y="2609"/>
                </a:lnTo>
                <a:lnTo>
                  <a:pt x="1923" y="2631"/>
                </a:lnTo>
                <a:lnTo>
                  <a:pt x="1923" y="2753"/>
                </a:lnTo>
                <a:lnTo>
                  <a:pt x="1819" y="2753"/>
                </a:lnTo>
                <a:lnTo>
                  <a:pt x="1797" y="2756"/>
                </a:lnTo>
                <a:lnTo>
                  <a:pt x="1776" y="2763"/>
                </a:lnTo>
                <a:lnTo>
                  <a:pt x="1759" y="2774"/>
                </a:lnTo>
                <a:lnTo>
                  <a:pt x="1743" y="2789"/>
                </a:lnTo>
                <a:lnTo>
                  <a:pt x="1732" y="2806"/>
                </a:lnTo>
                <a:lnTo>
                  <a:pt x="1725" y="2827"/>
                </a:lnTo>
                <a:lnTo>
                  <a:pt x="1723" y="2849"/>
                </a:lnTo>
                <a:lnTo>
                  <a:pt x="1725" y="2870"/>
                </a:lnTo>
                <a:lnTo>
                  <a:pt x="1732" y="2891"/>
                </a:lnTo>
                <a:lnTo>
                  <a:pt x="1743" y="2909"/>
                </a:lnTo>
                <a:lnTo>
                  <a:pt x="1759" y="2924"/>
                </a:lnTo>
                <a:lnTo>
                  <a:pt x="1776" y="2935"/>
                </a:lnTo>
                <a:lnTo>
                  <a:pt x="1797" y="2943"/>
                </a:lnTo>
                <a:lnTo>
                  <a:pt x="1819" y="2945"/>
                </a:lnTo>
                <a:lnTo>
                  <a:pt x="1923" y="2945"/>
                </a:lnTo>
                <a:lnTo>
                  <a:pt x="1923" y="3053"/>
                </a:lnTo>
                <a:lnTo>
                  <a:pt x="1926" y="3076"/>
                </a:lnTo>
                <a:lnTo>
                  <a:pt x="1934" y="3095"/>
                </a:lnTo>
                <a:lnTo>
                  <a:pt x="1945" y="3114"/>
                </a:lnTo>
                <a:lnTo>
                  <a:pt x="1960" y="3129"/>
                </a:lnTo>
                <a:lnTo>
                  <a:pt x="1977" y="3140"/>
                </a:lnTo>
                <a:lnTo>
                  <a:pt x="1998" y="3147"/>
                </a:lnTo>
                <a:lnTo>
                  <a:pt x="2020" y="3149"/>
                </a:lnTo>
                <a:lnTo>
                  <a:pt x="2041" y="3147"/>
                </a:lnTo>
                <a:lnTo>
                  <a:pt x="2062" y="3140"/>
                </a:lnTo>
                <a:lnTo>
                  <a:pt x="2080" y="3129"/>
                </a:lnTo>
                <a:lnTo>
                  <a:pt x="2095" y="3114"/>
                </a:lnTo>
                <a:lnTo>
                  <a:pt x="2106" y="3095"/>
                </a:lnTo>
                <a:lnTo>
                  <a:pt x="2114" y="3076"/>
                </a:lnTo>
                <a:lnTo>
                  <a:pt x="2116" y="3053"/>
                </a:lnTo>
                <a:lnTo>
                  <a:pt x="2116" y="2945"/>
                </a:lnTo>
                <a:lnTo>
                  <a:pt x="2242" y="2945"/>
                </a:lnTo>
                <a:lnTo>
                  <a:pt x="2264" y="2943"/>
                </a:lnTo>
                <a:lnTo>
                  <a:pt x="2284" y="2935"/>
                </a:lnTo>
                <a:lnTo>
                  <a:pt x="2302" y="2924"/>
                </a:lnTo>
                <a:lnTo>
                  <a:pt x="2317" y="2909"/>
                </a:lnTo>
                <a:lnTo>
                  <a:pt x="2328" y="2891"/>
                </a:lnTo>
                <a:lnTo>
                  <a:pt x="2335" y="2870"/>
                </a:lnTo>
                <a:lnTo>
                  <a:pt x="2338" y="2849"/>
                </a:lnTo>
                <a:lnTo>
                  <a:pt x="2335" y="2827"/>
                </a:lnTo>
                <a:lnTo>
                  <a:pt x="2328" y="2806"/>
                </a:lnTo>
                <a:lnTo>
                  <a:pt x="2317" y="2789"/>
                </a:lnTo>
                <a:lnTo>
                  <a:pt x="2302" y="2774"/>
                </a:lnTo>
                <a:lnTo>
                  <a:pt x="2284" y="2763"/>
                </a:lnTo>
                <a:lnTo>
                  <a:pt x="2264" y="2756"/>
                </a:lnTo>
                <a:lnTo>
                  <a:pt x="2242" y="2753"/>
                </a:lnTo>
                <a:lnTo>
                  <a:pt x="2116" y="2753"/>
                </a:lnTo>
                <a:lnTo>
                  <a:pt x="2116" y="2631"/>
                </a:lnTo>
                <a:lnTo>
                  <a:pt x="2114" y="2609"/>
                </a:lnTo>
                <a:lnTo>
                  <a:pt x="2106" y="2589"/>
                </a:lnTo>
                <a:lnTo>
                  <a:pt x="2095" y="2571"/>
                </a:lnTo>
                <a:lnTo>
                  <a:pt x="2080" y="2556"/>
                </a:lnTo>
                <a:lnTo>
                  <a:pt x="2062" y="2545"/>
                </a:lnTo>
                <a:lnTo>
                  <a:pt x="2041" y="2538"/>
                </a:lnTo>
                <a:lnTo>
                  <a:pt x="2020" y="2535"/>
                </a:lnTo>
                <a:close/>
                <a:moveTo>
                  <a:pt x="2030" y="2304"/>
                </a:moveTo>
                <a:lnTo>
                  <a:pt x="2089" y="2308"/>
                </a:lnTo>
                <a:lnTo>
                  <a:pt x="2146" y="2317"/>
                </a:lnTo>
                <a:lnTo>
                  <a:pt x="2201" y="2332"/>
                </a:lnTo>
                <a:lnTo>
                  <a:pt x="2252" y="2353"/>
                </a:lnTo>
                <a:lnTo>
                  <a:pt x="2302" y="2379"/>
                </a:lnTo>
                <a:lnTo>
                  <a:pt x="2349" y="2409"/>
                </a:lnTo>
                <a:lnTo>
                  <a:pt x="2391" y="2444"/>
                </a:lnTo>
                <a:lnTo>
                  <a:pt x="2430" y="2482"/>
                </a:lnTo>
                <a:lnTo>
                  <a:pt x="2464" y="2525"/>
                </a:lnTo>
                <a:lnTo>
                  <a:pt x="2495" y="2571"/>
                </a:lnTo>
                <a:lnTo>
                  <a:pt x="2521" y="2620"/>
                </a:lnTo>
                <a:lnTo>
                  <a:pt x="2541" y="2673"/>
                </a:lnTo>
                <a:lnTo>
                  <a:pt x="2556" y="2727"/>
                </a:lnTo>
                <a:lnTo>
                  <a:pt x="2566" y="2784"/>
                </a:lnTo>
                <a:lnTo>
                  <a:pt x="2569" y="2842"/>
                </a:lnTo>
                <a:lnTo>
                  <a:pt x="2566" y="2901"/>
                </a:lnTo>
                <a:lnTo>
                  <a:pt x="2556" y="2958"/>
                </a:lnTo>
                <a:lnTo>
                  <a:pt x="2541" y="3012"/>
                </a:lnTo>
                <a:lnTo>
                  <a:pt x="2521" y="3064"/>
                </a:lnTo>
                <a:lnTo>
                  <a:pt x="2495" y="3113"/>
                </a:lnTo>
                <a:lnTo>
                  <a:pt x="2464" y="3160"/>
                </a:lnTo>
                <a:lnTo>
                  <a:pt x="2430" y="3203"/>
                </a:lnTo>
                <a:lnTo>
                  <a:pt x="2391" y="3241"/>
                </a:lnTo>
                <a:lnTo>
                  <a:pt x="2349" y="3276"/>
                </a:lnTo>
                <a:lnTo>
                  <a:pt x="2302" y="3306"/>
                </a:lnTo>
                <a:lnTo>
                  <a:pt x="2252" y="3332"/>
                </a:lnTo>
                <a:lnTo>
                  <a:pt x="2201" y="3353"/>
                </a:lnTo>
                <a:lnTo>
                  <a:pt x="2146" y="3367"/>
                </a:lnTo>
                <a:lnTo>
                  <a:pt x="2089" y="3376"/>
                </a:lnTo>
                <a:lnTo>
                  <a:pt x="2030" y="3379"/>
                </a:lnTo>
                <a:lnTo>
                  <a:pt x="1972" y="3376"/>
                </a:lnTo>
                <a:lnTo>
                  <a:pt x="1915" y="3367"/>
                </a:lnTo>
                <a:lnTo>
                  <a:pt x="1860" y="3353"/>
                </a:lnTo>
                <a:lnTo>
                  <a:pt x="1809" y="3332"/>
                </a:lnTo>
                <a:lnTo>
                  <a:pt x="1759" y="3306"/>
                </a:lnTo>
                <a:lnTo>
                  <a:pt x="1712" y="3276"/>
                </a:lnTo>
                <a:lnTo>
                  <a:pt x="1670" y="3241"/>
                </a:lnTo>
                <a:lnTo>
                  <a:pt x="1631" y="3203"/>
                </a:lnTo>
                <a:lnTo>
                  <a:pt x="1596" y="3160"/>
                </a:lnTo>
                <a:lnTo>
                  <a:pt x="1565" y="3113"/>
                </a:lnTo>
                <a:lnTo>
                  <a:pt x="1540" y="3064"/>
                </a:lnTo>
                <a:lnTo>
                  <a:pt x="1520" y="3012"/>
                </a:lnTo>
                <a:lnTo>
                  <a:pt x="1504" y="2958"/>
                </a:lnTo>
                <a:lnTo>
                  <a:pt x="1495" y="2901"/>
                </a:lnTo>
                <a:lnTo>
                  <a:pt x="1492" y="2842"/>
                </a:lnTo>
                <a:lnTo>
                  <a:pt x="1495" y="2784"/>
                </a:lnTo>
                <a:lnTo>
                  <a:pt x="1504" y="2727"/>
                </a:lnTo>
                <a:lnTo>
                  <a:pt x="1520" y="2673"/>
                </a:lnTo>
                <a:lnTo>
                  <a:pt x="1540" y="2620"/>
                </a:lnTo>
                <a:lnTo>
                  <a:pt x="1565" y="2571"/>
                </a:lnTo>
                <a:lnTo>
                  <a:pt x="1596" y="2525"/>
                </a:lnTo>
                <a:lnTo>
                  <a:pt x="1631" y="2482"/>
                </a:lnTo>
                <a:lnTo>
                  <a:pt x="1670" y="2444"/>
                </a:lnTo>
                <a:lnTo>
                  <a:pt x="1712" y="2409"/>
                </a:lnTo>
                <a:lnTo>
                  <a:pt x="1759" y="2379"/>
                </a:lnTo>
                <a:lnTo>
                  <a:pt x="1809" y="2353"/>
                </a:lnTo>
                <a:lnTo>
                  <a:pt x="1860" y="2332"/>
                </a:lnTo>
                <a:lnTo>
                  <a:pt x="1915" y="2317"/>
                </a:lnTo>
                <a:lnTo>
                  <a:pt x="1972" y="2308"/>
                </a:lnTo>
                <a:lnTo>
                  <a:pt x="2030" y="2304"/>
                </a:lnTo>
                <a:close/>
                <a:moveTo>
                  <a:pt x="505" y="1703"/>
                </a:moveTo>
                <a:lnTo>
                  <a:pt x="482" y="1705"/>
                </a:lnTo>
                <a:lnTo>
                  <a:pt x="463" y="1713"/>
                </a:lnTo>
                <a:lnTo>
                  <a:pt x="444" y="1724"/>
                </a:lnTo>
                <a:lnTo>
                  <a:pt x="430" y="1740"/>
                </a:lnTo>
                <a:lnTo>
                  <a:pt x="418" y="1757"/>
                </a:lnTo>
                <a:lnTo>
                  <a:pt x="411" y="1777"/>
                </a:lnTo>
                <a:lnTo>
                  <a:pt x="409" y="1799"/>
                </a:lnTo>
                <a:lnTo>
                  <a:pt x="411" y="1821"/>
                </a:lnTo>
                <a:lnTo>
                  <a:pt x="418" y="1842"/>
                </a:lnTo>
                <a:lnTo>
                  <a:pt x="430" y="1859"/>
                </a:lnTo>
                <a:lnTo>
                  <a:pt x="444" y="1874"/>
                </a:lnTo>
                <a:lnTo>
                  <a:pt x="463" y="1885"/>
                </a:lnTo>
                <a:lnTo>
                  <a:pt x="482" y="1892"/>
                </a:lnTo>
                <a:lnTo>
                  <a:pt x="505" y="1895"/>
                </a:lnTo>
                <a:lnTo>
                  <a:pt x="1774" y="1895"/>
                </a:lnTo>
                <a:lnTo>
                  <a:pt x="1796" y="1892"/>
                </a:lnTo>
                <a:lnTo>
                  <a:pt x="1816" y="1885"/>
                </a:lnTo>
                <a:lnTo>
                  <a:pt x="1834" y="1874"/>
                </a:lnTo>
                <a:lnTo>
                  <a:pt x="1849" y="1859"/>
                </a:lnTo>
                <a:lnTo>
                  <a:pt x="1860" y="1842"/>
                </a:lnTo>
                <a:lnTo>
                  <a:pt x="1867" y="1821"/>
                </a:lnTo>
                <a:lnTo>
                  <a:pt x="1871" y="1799"/>
                </a:lnTo>
                <a:lnTo>
                  <a:pt x="1867" y="1777"/>
                </a:lnTo>
                <a:lnTo>
                  <a:pt x="1860" y="1757"/>
                </a:lnTo>
                <a:lnTo>
                  <a:pt x="1849" y="1740"/>
                </a:lnTo>
                <a:lnTo>
                  <a:pt x="1834" y="1724"/>
                </a:lnTo>
                <a:lnTo>
                  <a:pt x="1816" y="1713"/>
                </a:lnTo>
                <a:lnTo>
                  <a:pt x="1796" y="1705"/>
                </a:lnTo>
                <a:lnTo>
                  <a:pt x="1774" y="1703"/>
                </a:lnTo>
                <a:lnTo>
                  <a:pt x="505" y="1703"/>
                </a:lnTo>
                <a:close/>
                <a:moveTo>
                  <a:pt x="505" y="1281"/>
                </a:moveTo>
                <a:lnTo>
                  <a:pt x="482" y="1283"/>
                </a:lnTo>
                <a:lnTo>
                  <a:pt x="463" y="1290"/>
                </a:lnTo>
                <a:lnTo>
                  <a:pt x="444" y="1302"/>
                </a:lnTo>
                <a:lnTo>
                  <a:pt x="430" y="1317"/>
                </a:lnTo>
                <a:lnTo>
                  <a:pt x="418" y="1335"/>
                </a:lnTo>
                <a:lnTo>
                  <a:pt x="411" y="1354"/>
                </a:lnTo>
                <a:lnTo>
                  <a:pt x="409" y="1377"/>
                </a:lnTo>
                <a:lnTo>
                  <a:pt x="411" y="1399"/>
                </a:lnTo>
                <a:lnTo>
                  <a:pt x="418" y="1419"/>
                </a:lnTo>
                <a:lnTo>
                  <a:pt x="430" y="1437"/>
                </a:lnTo>
                <a:lnTo>
                  <a:pt x="444" y="1451"/>
                </a:lnTo>
                <a:lnTo>
                  <a:pt x="463" y="1463"/>
                </a:lnTo>
                <a:lnTo>
                  <a:pt x="482" y="1470"/>
                </a:lnTo>
                <a:lnTo>
                  <a:pt x="505" y="1473"/>
                </a:lnTo>
                <a:lnTo>
                  <a:pt x="1774" y="1473"/>
                </a:lnTo>
                <a:lnTo>
                  <a:pt x="1796" y="1470"/>
                </a:lnTo>
                <a:lnTo>
                  <a:pt x="1816" y="1463"/>
                </a:lnTo>
                <a:lnTo>
                  <a:pt x="1834" y="1451"/>
                </a:lnTo>
                <a:lnTo>
                  <a:pt x="1849" y="1437"/>
                </a:lnTo>
                <a:lnTo>
                  <a:pt x="1860" y="1419"/>
                </a:lnTo>
                <a:lnTo>
                  <a:pt x="1867" y="1399"/>
                </a:lnTo>
                <a:lnTo>
                  <a:pt x="1871" y="1377"/>
                </a:lnTo>
                <a:lnTo>
                  <a:pt x="1867" y="1354"/>
                </a:lnTo>
                <a:lnTo>
                  <a:pt x="1860" y="1335"/>
                </a:lnTo>
                <a:lnTo>
                  <a:pt x="1849" y="1317"/>
                </a:lnTo>
                <a:lnTo>
                  <a:pt x="1834" y="1302"/>
                </a:lnTo>
                <a:lnTo>
                  <a:pt x="1816" y="1290"/>
                </a:lnTo>
                <a:lnTo>
                  <a:pt x="1796" y="1283"/>
                </a:lnTo>
                <a:lnTo>
                  <a:pt x="1774" y="1281"/>
                </a:lnTo>
                <a:lnTo>
                  <a:pt x="505" y="1281"/>
                </a:lnTo>
                <a:close/>
                <a:moveTo>
                  <a:pt x="505" y="884"/>
                </a:moveTo>
                <a:lnTo>
                  <a:pt x="482" y="886"/>
                </a:lnTo>
                <a:lnTo>
                  <a:pt x="463" y="894"/>
                </a:lnTo>
                <a:lnTo>
                  <a:pt x="444" y="905"/>
                </a:lnTo>
                <a:lnTo>
                  <a:pt x="430" y="920"/>
                </a:lnTo>
                <a:lnTo>
                  <a:pt x="418" y="938"/>
                </a:lnTo>
                <a:lnTo>
                  <a:pt x="411" y="958"/>
                </a:lnTo>
                <a:lnTo>
                  <a:pt x="409" y="980"/>
                </a:lnTo>
                <a:lnTo>
                  <a:pt x="411" y="1002"/>
                </a:lnTo>
                <a:lnTo>
                  <a:pt x="418" y="1022"/>
                </a:lnTo>
                <a:lnTo>
                  <a:pt x="430" y="1040"/>
                </a:lnTo>
                <a:lnTo>
                  <a:pt x="444" y="1055"/>
                </a:lnTo>
                <a:lnTo>
                  <a:pt x="463" y="1066"/>
                </a:lnTo>
                <a:lnTo>
                  <a:pt x="482" y="1073"/>
                </a:lnTo>
                <a:lnTo>
                  <a:pt x="505" y="1076"/>
                </a:lnTo>
                <a:lnTo>
                  <a:pt x="1774" y="1076"/>
                </a:lnTo>
                <a:lnTo>
                  <a:pt x="1796" y="1073"/>
                </a:lnTo>
                <a:lnTo>
                  <a:pt x="1816" y="1066"/>
                </a:lnTo>
                <a:lnTo>
                  <a:pt x="1834" y="1055"/>
                </a:lnTo>
                <a:lnTo>
                  <a:pt x="1849" y="1040"/>
                </a:lnTo>
                <a:lnTo>
                  <a:pt x="1860" y="1022"/>
                </a:lnTo>
                <a:lnTo>
                  <a:pt x="1867" y="1002"/>
                </a:lnTo>
                <a:lnTo>
                  <a:pt x="1871" y="980"/>
                </a:lnTo>
                <a:lnTo>
                  <a:pt x="1867" y="958"/>
                </a:lnTo>
                <a:lnTo>
                  <a:pt x="1860" y="938"/>
                </a:lnTo>
                <a:lnTo>
                  <a:pt x="1849" y="920"/>
                </a:lnTo>
                <a:lnTo>
                  <a:pt x="1834" y="905"/>
                </a:lnTo>
                <a:lnTo>
                  <a:pt x="1816" y="894"/>
                </a:lnTo>
                <a:lnTo>
                  <a:pt x="1796" y="886"/>
                </a:lnTo>
                <a:lnTo>
                  <a:pt x="1774" y="884"/>
                </a:lnTo>
                <a:lnTo>
                  <a:pt x="505" y="884"/>
                </a:lnTo>
                <a:close/>
                <a:moveTo>
                  <a:pt x="1859" y="31"/>
                </a:moveTo>
                <a:lnTo>
                  <a:pt x="2273" y="423"/>
                </a:lnTo>
                <a:lnTo>
                  <a:pt x="1859" y="423"/>
                </a:lnTo>
                <a:lnTo>
                  <a:pt x="1859" y="31"/>
                </a:lnTo>
                <a:close/>
                <a:moveTo>
                  <a:pt x="101" y="0"/>
                </a:moveTo>
                <a:lnTo>
                  <a:pt x="1667" y="0"/>
                </a:lnTo>
                <a:lnTo>
                  <a:pt x="1667" y="519"/>
                </a:lnTo>
                <a:lnTo>
                  <a:pt x="1670" y="542"/>
                </a:lnTo>
                <a:lnTo>
                  <a:pt x="1678" y="561"/>
                </a:lnTo>
                <a:lnTo>
                  <a:pt x="1690" y="579"/>
                </a:lnTo>
                <a:lnTo>
                  <a:pt x="1706" y="594"/>
                </a:lnTo>
                <a:lnTo>
                  <a:pt x="1725" y="606"/>
                </a:lnTo>
                <a:lnTo>
                  <a:pt x="1745" y="613"/>
                </a:lnTo>
                <a:lnTo>
                  <a:pt x="1767" y="615"/>
                </a:lnTo>
                <a:lnTo>
                  <a:pt x="2308" y="615"/>
                </a:lnTo>
                <a:lnTo>
                  <a:pt x="2308" y="2169"/>
                </a:lnTo>
                <a:lnTo>
                  <a:pt x="2268" y="2153"/>
                </a:lnTo>
                <a:lnTo>
                  <a:pt x="2223" y="2138"/>
                </a:lnTo>
                <a:lnTo>
                  <a:pt x="2177" y="2128"/>
                </a:lnTo>
                <a:lnTo>
                  <a:pt x="2128" y="2120"/>
                </a:lnTo>
                <a:lnTo>
                  <a:pt x="2079" y="2114"/>
                </a:lnTo>
                <a:lnTo>
                  <a:pt x="2028" y="2112"/>
                </a:lnTo>
                <a:lnTo>
                  <a:pt x="1962" y="2115"/>
                </a:lnTo>
                <a:lnTo>
                  <a:pt x="1897" y="2125"/>
                </a:lnTo>
                <a:lnTo>
                  <a:pt x="1834" y="2139"/>
                </a:lnTo>
                <a:lnTo>
                  <a:pt x="1773" y="2159"/>
                </a:lnTo>
                <a:lnTo>
                  <a:pt x="1715" y="2184"/>
                </a:lnTo>
                <a:lnTo>
                  <a:pt x="1660" y="2212"/>
                </a:lnTo>
                <a:lnTo>
                  <a:pt x="1608" y="2247"/>
                </a:lnTo>
                <a:lnTo>
                  <a:pt x="1558" y="2285"/>
                </a:lnTo>
                <a:lnTo>
                  <a:pt x="1513" y="2327"/>
                </a:lnTo>
                <a:lnTo>
                  <a:pt x="1470" y="2373"/>
                </a:lnTo>
                <a:lnTo>
                  <a:pt x="1432" y="2422"/>
                </a:lnTo>
                <a:lnTo>
                  <a:pt x="1398" y="2475"/>
                </a:lnTo>
                <a:lnTo>
                  <a:pt x="1369" y="2530"/>
                </a:lnTo>
                <a:lnTo>
                  <a:pt x="1344" y="2588"/>
                </a:lnTo>
                <a:lnTo>
                  <a:pt x="1324" y="2648"/>
                </a:lnTo>
                <a:lnTo>
                  <a:pt x="1310" y="2711"/>
                </a:lnTo>
                <a:lnTo>
                  <a:pt x="1302" y="2776"/>
                </a:lnTo>
                <a:lnTo>
                  <a:pt x="1299" y="2842"/>
                </a:lnTo>
                <a:lnTo>
                  <a:pt x="1302" y="2910"/>
                </a:lnTo>
                <a:lnTo>
                  <a:pt x="1311" y="2975"/>
                </a:lnTo>
                <a:lnTo>
                  <a:pt x="1326" y="3039"/>
                </a:lnTo>
                <a:lnTo>
                  <a:pt x="1346" y="3100"/>
                </a:lnTo>
                <a:lnTo>
                  <a:pt x="1372" y="3158"/>
                </a:lnTo>
                <a:lnTo>
                  <a:pt x="99" y="3153"/>
                </a:lnTo>
                <a:lnTo>
                  <a:pt x="76" y="3150"/>
                </a:lnTo>
                <a:lnTo>
                  <a:pt x="56" y="3142"/>
                </a:lnTo>
                <a:lnTo>
                  <a:pt x="37" y="3131"/>
                </a:lnTo>
                <a:lnTo>
                  <a:pt x="22" y="3115"/>
                </a:lnTo>
                <a:lnTo>
                  <a:pt x="11" y="3097"/>
                </a:lnTo>
                <a:lnTo>
                  <a:pt x="3" y="3076"/>
                </a:lnTo>
                <a:lnTo>
                  <a:pt x="0" y="3053"/>
                </a:lnTo>
                <a:lnTo>
                  <a:pt x="0" y="96"/>
                </a:lnTo>
                <a:lnTo>
                  <a:pt x="3" y="75"/>
                </a:lnTo>
                <a:lnTo>
                  <a:pt x="11" y="54"/>
                </a:lnTo>
                <a:lnTo>
                  <a:pt x="23" y="37"/>
                </a:lnTo>
                <a:lnTo>
                  <a:pt x="39" y="22"/>
                </a:lnTo>
                <a:lnTo>
                  <a:pt x="57" y="11"/>
                </a:lnTo>
                <a:lnTo>
                  <a:pt x="79" y="3"/>
                </a:lnTo>
                <a:lnTo>
                  <a:pt x="101" y="0"/>
                </a:lnTo>
                <a:close/>
              </a:path>
            </a:pathLst>
          </a:custGeom>
          <a:solidFill>
            <a:srgbClr val="00569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" name="Freeform 20"/>
          <p:cNvSpPr>
            <a:spLocks noEditPoints="1"/>
          </p:cNvSpPr>
          <p:nvPr/>
        </p:nvSpPr>
        <p:spPr bwMode="auto">
          <a:xfrm>
            <a:off x="805479" y="2884514"/>
            <a:ext cx="586651" cy="586645"/>
          </a:xfrm>
          <a:custGeom>
            <a:avLst/>
            <a:gdLst>
              <a:gd name="T0" fmla="*/ 1531 w 3402"/>
              <a:gd name="T1" fmla="*/ 2381 h 3402"/>
              <a:gd name="T2" fmla="*/ 1531 w 3402"/>
              <a:gd name="T3" fmla="*/ 1905 h 3402"/>
              <a:gd name="T4" fmla="*/ 1796 w 3402"/>
              <a:gd name="T5" fmla="*/ 3 h 3402"/>
              <a:gd name="T6" fmla="*/ 2076 w 3402"/>
              <a:gd name="T7" fmla="*/ 43 h 3402"/>
              <a:gd name="T8" fmla="*/ 2347 w 3402"/>
              <a:gd name="T9" fmla="*/ 119 h 3402"/>
              <a:gd name="T10" fmla="*/ 1931 w 3402"/>
              <a:gd name="T11" fmla="*/ 359 h 3402"/>
              <a:gd name="T12" fmla="*/ 1701 w 3402"/>
              <a:gd name="T13" fmla="*/ 340 h 3402"/>
              <a:gd name="T14" fmla="*/ 1428 w 3402"/>
              <a:gd name="T15" fmla="*/ 368 h 3402"/>
              <a:gd name="T16" fmla="*/ 1173 w 3402"/>
              <a:gd name="T17" fmla="*/ 448 h 3402"/>
              <a:gd name="T18" fmla="*/ 941 w 3402"/>
              <a:gd name="T19" fmla="*/ 574 h 3402"/>
              <a:gd name="T20" fmla="*/ 740 w 3402"/>
              <a:gd name="T21" fmla="*/ 740 h 3402"/>
              <a:gd name="T22" fmla="*/ 574 w 3402"/>
              <a:gd name="T23" fmla="*/ 941 h 3402"/>
              <a:gd name="T24" fmla="*/ 448 w 3402"/>
              <a:gd name="T25" fmla="*/ 1173 h 3402"/>
              <a:gd name="T26" fmla="*/ 368 w 3402"/>
              <a:gd name="T27" fmla="*/ 1428 h 3402"/>
              <a:gd name="T28" fmla="*/ 340 w 3402"/>
              <a:gd name="T29" fmla="*/ 1701 h 3402"/>
              <a:gd name="T30" fmla="*/ 368 w 3402"/>
              <a:gd name="T31" fmla="*/ 1974 h 3402"/>
              <a:gd name="T32" fmla="*/ 448 w 3402"/>
              <a:gd name="T33" fmla="*/ 2229 h 3402"/>
              <a:gd name="T34" fmla="*/ 574 w 3402"/>
              <a:gd name="T35" fmla="*/ 2461 h 3402"/>
              <a:gd name="T36" fmla="*/ 740 w 3402"/>
              <a:gd name="T37" fmla="*/ 2662 h 3402"/>
              <a:gd name="T38" fmla="*/ 941 w 3402"/>
              <a:gd name="T39" fmla="*/ 2828 h 3402"/>
              <a:gd name="T40" fmla="*/ 1173 w 3402"/>
              <a:gd name="T41" fmla="*/ 2954 h 3402"/>
              <a:gd name="T42" fmla="*/ 1428 w 3402"/>
              <a:gd name="T43" fmla="*/ 3034 h 3402"/>
              <a:gd name="T44" fmla="*/ 1701 w 3402"/>
              <a:gd name="T45" fmla="*/ 3062 h 3402"/>
              <a:gd name="T46" fmla="*/ 1974 w 3402"/>
              <a:gd name="T47" fmla="*/ 3034 h 3402"/>
              <a:gd name="T48" fmla="*/ 2229 w 3402"/>
              <a:gd name="T49" fmla="*/ 2954 h 3402"/>
              <a:gd name="T50" fmla="*/ 2461 w 3402"/>
              <a:gd name="T51" fmla="*/ 2828 h 3402"/>
              <a:gd name="T52" fmla="*/ 2662 w 3402"/>
              <a:gd name="T53" fmla="*/ 2662 h 3402"/>
              <a:gd name="T54" fmla="*/ 2828 w 3402"/>
              <a:gd name="T55" fmla="*/ 2461 h 3402"/>
              <a:gd name="T56" fmla="*/ 2954 w 3402"/>
              <a:gd name="T57" fmla="*/ 2229 h 3402"/>
              <a:gd name="T58" fmla="*/ 3034 w 3402"/>
              <a:gd name="T59" fmla="*/ 1974 h 3402"/>
              <a:gd name="T60" fmla="*/ 3062 w 3402"/>
              <a:gd name="T61" fmla="*/ 1701 h 3402"/>
              <a:gd name="T62" fmla="*/ 3390 w 3402"/>
              <a:gd name="T63" fmla="*/ 1906 h 3402"/>
              <a:gd name="T64" fmla="*/ 3327 w 3402"/>
              <a:gd name="T65" fmla="*/ 2199 h 3402"/>
              <a:gd name="T66" fmla="*/ 3215 w 3402"/>
              <a:gd name="T67" fmla="*/ 2472 h 3402"/>
              <a:gd name="T68" fmla="*/ 3061 w 3402"/>
              <a:gd name="T69" fmla="*/ 2720 h 3402"/>
              <a:gd name="T70" fmla="*/ 2867 w 3402"/>
              <a:gd name="T71" fmla="*/ 2936 h 3402"/>
              <a:gd name="T72" fmla="*/ 2640 w 3402"/>
              <a:gd name="T73" fmla="*/ 3117 h 3402"/>
              <a:gd name="T74" fmla="*/ 2383 w 3402"/>
              <a:gd name="T75" fmla="*/ 3258 h 3402"/>
              <a:gd name="T76" fmla="*/ 2103 w 3402"/>
              <a:gd name="T77" fmla="*/ 3354 h 3402"/>
              <a:gd name="T78" fmla="*/ 1804 w 3402"/>
              <a:gd name="T79" fmla="*/ 3399 h 3402"/>
              <a:gd name="T80" fmla="*/ 1496 w 3402"/>
              <a:gd name="T81" fmla="*/ 3390 h 3402"/>
              <a:gd name="T82" fmla="*/ 1203 w 3402"/>
              <a:gd name="T83" fmla="*/ 3327 h 3402"/>
              <a:gd name="T84" fmla="*/ 930 w 3402"/>
              <a:gd name="T85" fmla="*/ 3215 h 3402"/>
              <a:gd name="T86" fmla="*/ 682 w 3402"/>
              <a:gd name="T87" fmla="*/ 3061 h 3402"/>
              <a:gd name="T88" fmla="*/ 466 w 3402"/>
              <a:gd name="T89" fmla="*/ 2867 h 3402"/>
              <a:gd name="T90" fmla="*/ 285 w 3402"/>
              <a:gd name="T91" fmla="*/ 2640 h 3402"/>
              <a:gd name="T92" fmla="*/ 144 w 3402"/>
              <a:gd name="T93" fmla="*/ 2383 h 3402"/>
              <a:gd name="T94" fmla="*/ 48 w 3402"/>
              <a:gd name="T95" fmla="*/ 2103 h 3402"/>
              <a:gd name="T96" fmla="*/ 3 w 3402"/>
              <a:gd name="T97" fmla="*/ 1804 h 3402"/>
              <a:gd name="T98" fmla="*/ 12 w 3402"/>
              <a:gd name="T99" fmla="*/ 1496 h 3402"/>
              <a:gd name="T100" fmla="*/ 75 w 3402"/>
              <a:gd name="T101" fmla="*/ 1203 h 3402"/>
              <a:gd name="T102" fmla="*/ 187 w 3402"/>
              <a:gd name="T103" fmla="*/ 930 h 3402"/>
              <a:gd name="T104" fmla="*/ 341 w 3402"/>
              <a:gd name="T105" fmla="*/ 682 h 3402"/>
              <a:gd name="T106" fmla="*/ 535 w 3402"/>
              <a:gd name="T107" fmla="*/ 466 h 3402"/>
              <a:gd name="T108" fmla="*/ 762 w 3402"/>
              <a:gd name="T109" fmla="*/ 285 h 3402"/>
              <a:gd name="T110" fmla="*/ 1019 w 3402"/>
              <a:gd name="T111" fmla="*/ 144 h 3402"/>
              <a:gd name="T112" fmla="*/ 1299 w 3402"/>
              <a:gd name="T113" fmla="*/ 48 h 3402"/>
              <a:gd name="T114" fmla="*/ 1598 w 3402"/>
              <a:gd name="T115" fmla="*/ 3 h 3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02" h="3402">
                <a:moveTo>
                  <a:pt x="2994" y="442"/>
                </a:moveTo>
                <a:lnTo>
                  <a:pt x="3232" y="680"/>
                </a:lnTo>
                <a:lnTo>
                  <a:pt x="1531" y="2381"/>
                </a:lnTo>
                <a:lnTo>
                  <a:pt x="766" y="1616"/>
                </a:lnTo>
                <a:lnTo>
                  <a:pt x="1003" y="1377"/>
                </a:lnTo>
                <a:lnTo>
                  <a:pt x="1531" y="1905"/>
                </a:lnTo>
                <a:lnTo>
                  <a:pt x="2994" y="442"/>
                </a:lnTo>
                <a:close/>
                <a:moveTo>
                  <a:pt x="1701" y="0"/>
                </a:moveTo>
                <a:lnTo>
                  <a:pt x="1796" y="3"/>
                </a:lnTo>
                <a:lnTo>
                  <a:pt x="1890" y="11"/>
                </a:lnTo>
                <a:lnTo>
                  <a:pt x="1983" y="26"/>
                </a:lnTo>
                <a:lnTo>
                  <a:pt x="2076" y="43"/>
                </a:lnTo>
                <a:lnTo>
                  <a:pt x="2168" y="65"/>
                </a:lnTo>
                <a:lnTo>
                  <a:pt x="2259" y="91"/>
                </a:lnTo>
                <a:lnTo>
                  <a:pt x="2347" y="119"/>
                </a:lnTo>
                <a:lnTo>
                  <a:pt x="2075" y="391"/>
                </a:lnTo>
                <a:lnTo>
                  <a:pt x="2004" y="373"/>
                </a:lnTo>
                <a:lnTo>
                  <a:pt x="1931" y="359"/>
                </a:lnTo>
                <a:lnTo>
                  <a:pt x="1858" y="348"/>
                </a:lnTo>
                <a:lnTo>
                  <a:pt x="1780" y="342"/>
                </a:lnTo>
                <a:lnTo>
                  <a:pt x="1701" y="340"/>
                </a:lnTo>
                <a:lnTo>
                  <a:pt x="1608" y="343"/>
                </a:lnTo>
                <a:lnTo>
                  <a:pt x="1517" y="354"/>
                </a:lnTo>
                <a:lnTo>
                  <a:pt x="1428" y="368"/>
                </a:lnTo>
                <a:lnTo>
                  <a:pt x="1340" y="390"/>
                </a:lnTo>
                <a:lnTo>
                  <a:pt x="1256" y="416"/>
                </a:lnTo>
                <a:lnTo>
                  <a:pt x="1173" y="448"/>
                </a:lnTo>
                <a:lnTo>
                  <a:pt x="1093" y="485"/>
                </a:lnTo>
                <a:lnTo>
                  <a:pt x="1015" y="527"/>
                </a:lnTo>
                <a:lnTo>
                  <a:pt x="941" y="574"/>
                </a:lnTo>
                <a:lnTo>
                  <a:pt x="871" y="625"/>
                </a:lnTo>
                <a:lnTo>
                  <a:pt x="804" y="680"/>
                </a:lnTo>
                <a:lnTo>
                  <a:pt x="740" y="740"/>
                </a:lnTo>
                <a:lnTo>
                  <a:pt x="680" y="804"/>
                </a:lnTo>
                <a:lnTo>
                  <a:pt x="625" y="871"/>
                </a:lnTo>
                <a:lnTo>
                  <a:pt x="574" y="941"/>
                </a:lnTo>
                <a:lnTo>
                  <a:pt x="527" y="1015"/>
                </a:lnTo>
                <a:lnTo>
                  <a:pt x="485" y="1093"/>
                </a:lnTo>
                <a:lnTo>
                  <a:pt x="448" y="1173"/>
                </a:lnTo>
                <a:lnTo>
                  <a:pt x="416" y="1256"/>
                </a:lnTo>
                <a:lnTo>
                  <a:pt x="390" y="1340"/>
                </a:lnTo>
                <a:lnTo>
                  <a:pt x="368" y="1428"/>
                </a:lnTo>
                <a:lnTo>
                  <a:pt x="354" y="1517"/>
                </a:lnTo>
                <a:lnTo>
                  <a:pt x="343" y="1608"/>
                </a:lnTo>
                <a:lnTo>
                  <a:pt x="340" y="1701"/>
                </a:lnTo>
                <a:lnTo>
                  <a:pt x="343" y="1794"/>
                </a:lnTo>
                <a:lnTo>
                  <a:pt x="354" y="1885"/>
                </a:lnTo>
                <a:lnTo>
                  <a:pt x="368" y="1974"/>
                </a:lnTo>
                <a:lnTo>
                  <a:pt x="390" y="2062"/>
                </a:lnTo>
                <a:lnTo>
                  <a:pt x="416" y="2146"/>
                </a:lnTo>
                <a:lnTo>
                  <a:pt x="448" y="2229"/>
                </a:lnTo>
                <a:lnTo>
                  <a:pt x="485" y="2309"/>
                </a:lnTo>
                <a:lnTo>
                  <a:pt x="527" y="2387"/>
                </a:lnTo>
                <a:lnTo>
                  <a:pt x="574" y="2461"/>
                </a:lnTo>
                <a:lnTo>
                  <a:pt x="625" y="2531"/>
                </a:lnTo>
                <a:lnTo>
                  <a:pt x="680" y="2598"/>
                </a:lnTo>
                <a:lnTo>
                  <a:pt x="740" y="2662"/>
                </a:lnTo>
                <a:lnTo>
                  <a:pt x="804" y="2722"/>
                </a:lnTo>
                <a:lnTo>
                  <a:pt x="871" y="2777"/>
                </a:lnTo>
                <a:lnTo>
                  <a:pt x="941" y="2828"/>
                </a:lnTo>
                <a:lnTo>
                  <a:pt x="1015" y="2875"/>
                </a:lnTo>
                <a:lnTo>
                  <a:pt x="1093" y="2917"/>
                </a:lnTo>
                <a:lnTo>
                  <a:pt x="1173" y="2954"/>
                </a:lnTo>
                <a:lnTo>
                  <a:pt x="1256" y="2986"/>
                </a:lnTo>
                <a:lnTo>
                  <a:pt x="1340" y="3012"/>
                </a:lnTo>
                <a:lnTo>
                  <a:pt x="1428" y="3034"/>
                </a:lnTo>
                <a:lnTo>
                  <a:pt x="1517" y="3048"/>
                </a:lnTo>
                <a:lnTo>
                  <a:pt x="1608" y="3059"/>
                </a:lnTo>
                <a:lnTo>
                  <a:pt x="1701" y="3062"/>
                </a:lnTo>
                <a:lnTo>
                  <a:pt x="1794" y="3059"/>
                </a:lnTo>
                <a:lnTo>
                  <a:pt x="1885" y="3048"/>
                </a:lnTo>
                <a:lnTo>
                  <a:pt x="1974" y="3034"/>
                </a:lnTo>
                <a:lnTo>
                  <a:pt x="2062" y="3012"/>
                </a:lnTo>
                <a:lnTo>
                  <a:pt x="2146" y="2986"/>
                </a:lnTo>
                <a:lnTo>
                  <a:pt x="2229" y="2954"/>
                </a:lnTo>
                <a:lnTo>
                  <a:pt x="2309" y="2917"/>
                </a:lnTo>
                <a:lnTo>
                  <a:pt x="2387" y="2875"/>
                </a:lnTo>
                <a:lnTo>
                  <a:pt x="2461" y="2828"/>
                </a:lnTo>
                <a:lnTo>
                  <a:pt x="2531" y="2777"/>
                </a:lnTo>
                <a:lnTo>
                  <a:pt x="2598" y="2722"/>
                </a:lnTo>
                <a:lnTo>
                  <a:pt x="2662" y="2662"/>
                </a:lnTo>
                <a:lnTo>
                  <a:pt x="2722" y="2598"/>
                </a:lnTo>
                <a:lnTo>
                  <a:pt x="2777" y="2531"/>
                </a:lnTo>
                <a:lnTo>
                  <a:pt x="2828" y="2461"/>
                </a:lnTo>
                <a:lnTo>
                  <a:pt x="2875" y="2387"/>
                </a:lnTo>
                <a:lnTo>
                  <a:pt x="2917" y="2309"/>
                </a:lnTo>
                <a:lnTo>
                  <a:pt x="2954" y="2229"/>
                </a:lnTo>
                <a:lnTo>
                  <a:pt x="2986" y="2146"/>
                </a:lnTo>
                <a:lnTo>
                  <a:pt x="3012" y="2062"/>
                </a:lnTo>
                <a:lnTo>
                  <a:pt x="3034" y="1974"/>
                </a:lnTo>
                <a:lnTo>
                  <a:pt x="3048" y="1885"/>
                </a:lnTo>
                <a:lnTo>
                  <a:pt x="3059" y="1794"/>
                </a:lnTo>
                <a:lnTo>
                  <a:pt x="3062" y="1701"/>
                </a:lnTo>
                <a:lnTo>
                  <a:pt x="3402" y="1701"/>
                </a:lnTo>
                <a:lnTo>
                  <a:pt x="3399" y="1804"/>
                </a:lnTo>
                <a:lnTo>
                  <a:pt x="3390" y="1906"/>
                </a:lnTo>
                <a:lnTo>
                  <a:pt x="3374" y="2005"/>
                </a:lnTo>
                <a:lnTo>
                  <a:pt x="3354" y="2103"/>
                </a:lnTo>
                <a:lnTo>
                  <a:pt x="3327" y="2199"/>
                </a:lnTo>
                <a:lnTo>
                  <a:pt x="3295" y="2293"/>
                </a:lnTo>
                <a:lnTo>
                  <a:pt x="3258" y="2383"/>
                </a:lnTo>
                <a:lnTo>
                  <a:pt x="3215" y="2472"/>
                </a:lnTo>
                <a:lnTo>
                  <a:pt x="3169" y="2558"/>
                </a:lnTo>
                <a:lnTo>
                  <a:pt x="3117" y="2640"/>
                </a:lnTo>
                <a:lnTo>
                  <a:pt x="3061" y="2720"/>
                </a:lnTo>
                <a:lnTo>
                  <a:pt x="3001" y="2795"/>
                </a:lnTo>
                <a:lnTo>
                  <a:pt x="2936" y="2867"/>
                </a:lnTo>
                <a:lnTo>
                  <a:pt x="2867" y="2936"/>
                </a:lnTo>
                <a:lnTo>
                  <a:pt x="2795" y="3001"/>
                </a:lnTo>
                <a:lnTo>
                  <a:pt x="2720" y="3061"/>
                </a:lnTo>
                <a:lnTo>
                  <a:pt x="2640" y="3117"/>
                </a:lnTo>
                <a:lnTo>
                  <a:pt x="2558" y="3169"/>
                </a:lnTo>
                <a:lnTo>
                  <a:pt x="2472" y="3215"/>
                </a:lnTo>
                <a:lnTo>
                  <a:pt x="2383" y="3258"/>
                </a:lnTo>
                <a:lnTo>
                  <a:pt x="2293" y="3295"/>
                </a:lnTo>
                <a:lnTo>
                  <a:pt x="2199" y="3327"/>
                </a:lnTo>
                <a:lnTo>
                  <a:pt x="2103" y="3354"/>
                </a:lnTo>
                <a:lnTo>
                  <a:pt x="2005" y="3374"/>
                </a:lnTo>
                <a:lnTo>
                  <a:pt x="1906" y="3390"/>
                </a:lnTo>
                <a:lnTo>
                  <a:pt x="1804" y="3399"/>
                </a:lnTo>
                <a:lnTo>
                  <a:pt x="1701" y="3402"/>
                </a:lnTo>
                <a:lnTo>
                  <a:pt x="1598" y="3399"/>
                </a:lnTo>
                <a:lnTo>
                  <a:pt x="1496" y="3390"/>
                </a:lnTo>
                <a:lnTo>
                  <a:pt x="1397" y="3374"/>
                </a:lnTo>
                <a:lnTo>
                  <a:pt x="1299" y="3354"/>
                </a:lnTo>
                <a:lnTo>
                  <a:pt x="1203" y="3327"/>
                </a:lnTo>
                <a:lnTo>
                  <a:pt x="1109" y="3295"/>
                </a:lnTo>
                <a:lnTo>
                  <a:pt x="1019" y="3258"/>
                </a:lnTo>
                <a:lnTo>
                  <a:pt x="930" y="3215"/>
                </a:lnTo>
                <a:lnTo>
                  <a:pt x="844" y="3169"/>
                </a:lnTo>
                <a:lnTo>
                  <a:pt x="762" y="3117"/>
                </a:lnTo>
                <a:lnTo>
                  <a:pt x="682" y="3061"/>
                </a:lnTo>
                <a:lnTo>
                  <a:pt x="607" y="3001"/>
                </a:lnTo>
                <a:lnTo>
                  <a:pt x="535" y="2936"/>
                </a:lnTo>
                <a:lnTo>
                  <a:pt x="466" y="2867"/>
                </a:lnTo>
                <a:lnTo>
                  <a:pt x="401" y="2795"/>
                </a:lnTo>
                <a:lnTo>
                  <a:pt x="341" y="2720"/>
                </a:lnTo>
                <a:lnTo>
                  <a:pt x="285" y="2640"/>
                </a:lnTo>
                <a:lnTo>
                  <a:pt x="233" y="2558"/>
                </a:lnTo>
                <a:lnTo>
                  <a:pt x="187" y="2472"/>
                </a:lnTo>
                <a:lnTo>
                  <a:pt x="144" y="2383"/>
                </a:lnTo>
                <a:lnTo>
                  <a:pt x="107" y="2293"/>
                </a:lnTo>
                <a:lnTo>
                  <a:pt x="75" y="2199"/>
                </a:lnTo>
                <a:lnTo>
                  <a:pt x="48" y="2103"/>
                </a:lnTo>
                <a:lnTo>
                  <a:pt x="28" y="2005"/>
                </a:lnTo>
                <a:lnTo>
                  <a:pt x="12" y="1906"/>
                </a:lnTo>
                <a:lnTo>
                  <a:pt x="3" y="1804"/>
                </a:lnTo>
                <a:lnTo>
                  <a:pt x="0" y="1701"/>
                </a:lnTo>
                <a:lnTo>
                  <a:pt x="3" y="1598"/>
                </a:lnTo>
                <a:lnTo>
                  <a:pt x="12" y="1496"/>
                </a:lnTo>
                <a:lnTo>
                  <a:pt x="28" y="1397"/>
                </a:lnTo>
                <a:lnTo>
                  <a:pt x="48" y="1299"/>
                </a:lnTo>
                <a:lnTo>
                  <a:pt x="75" y="1203"/>
                </a:lnTo>
                <a:lnTo>
                  <a:pt x="107" y="1109"/>
                </a:lnTo>
                <a:lnTo>
                  <a:pt x="144" y="1019"/>
                </a:lnTo>
                <a:lnTo>
                  <a:pt x="187" y="930"/>
                </a:lnTo>
                <a:lnTo>
                  <a:pt x="233" y="844"/>
                </a:lnTo>
                <a:lnTo>
                  <a:pt x="285" y="762"/>
                </a:lnTo>
                <a:lnTo>
                  <a:pt x="341" y="682"/>
                </a:lnTo>
                <a:lnTo>
                  <a:pt x="401" y="607"/>
                </a:lnTo>
                <a:lnTo>
                  <a:pt x="466" y="535"/>
                </a:lnTo>
                <a:lnTo>
                  <a:pt x="535" y="466"/>
                </a:lnTo>
                <a:lnTo>
                  <a:pt x="607" y="401"/>
                </a:lnTo>
                <a:lnTo>
                  <a:pt x="682" y="341"/>
                </a:lnTo>
                <a:lnTo>
                  <a:pt x="762" y="285"/>
                </a:lnTo>
                <a:lnTo>
                  <a:pt x="844" y="233"/>
                </a:lnTo>
                <a:lnTo>
                  <a:pt x="930" y="187"/>
                </a:lnTo>
                <a:lnTo>
                  <a:pt x="1019" y="144"/>
                </a:lnTo>
                <a:lnTo>
                  <a:pt x="1109" y="107"/>
                </a:lnTo>
                <a:lnTo>
                  <a:pt x="1203" y="75"/>
                </a:lnTo>
                <a:lnTo>
                  <a:pt x="1299" y="48"/>
                </a:lnTo>
                <a:lnTo>
                  <a:pt x="1397" y="28"/>
                </a:lnTo>
                <a:lnTo>
                  <a:pt x="1496" y="12"/>
                </a:lnTo>
                <a:lnTo>
                  <a:pt x="1598" y="3"/>
                </a:lnTo>
                <a:lnTo>
                  <a:pt x="1701" y="0"/>
                </a:lnTo>
                <a:close/>
              </a:path>
            </a:pathLst>
          </a:custGeom>
          <a:solidFill>
            <a:srgbClr val="26867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" name="Group 4"/>
          <p:cNvGrpSpPr>
            <a:grpSpLocks noChangeAspect="1"/>
          </p:cNvGrpSpPr>
          <p:nvPr/>
        </p:nvGrpSpPr>
        <p:grpSpPr bwMode="auto">
          <a:xfrm>
            <a:off x="848931" y="4133762"/>
            <a:ext cx="499747" cy="549840"/>
            <a:chOff x="-576" y="3243"/>
            <a:chExt cx="419" cy="461"/>
          </a:xfrm>
          <a:solidFill>
            <a:srgbClr val="00569B"/>
          </a:solidFill>
        </p:grpSpPr>
        <p:sp>
          <p:nvSpPr>
            <p:cNvPr id="10" name="Freeform 6"/>
            <p:cNvSpPr>
              <a:spLocks noEditPoints="1"/>
            </p:cNvSpPr>
            <p:nvPr/>
          </p:nvSpPr>
          <p:spPr bwMode="auto">
            <a:xfrm>
              <a:off x="-365" y="3496"/>
              <a:ext cx="208" cy="208"/>
            </a:xfrm>
            <a:custGeom>
              <a:avLst/>
              <a:gdLst>
                <a:gd name="T0" fmla="*/ 732 w 1672"/>
                <a:gd name="T1" fmla="*/ 934 h 1666"/>
                <a:gd name="T2" fmla="*/ 238 w 1672"/>
                <a:gd name="T3" fmla="*/ 797 h 1666"/>
                <a:gd name="T4" fmla="*/ 1380 w 1672"/>
                <a:gd name="T5" fmla="*/ 642 h 1666"/>
                <a:gd name="T6" fmla="*/ 836 w 1672"/>
                <a:gd name="T7" fmla="*/ 0 h 1666"/>
                <a:gd name="T8" fmla="*/ 986 w 1672"/>
                <a:gd name="T9" fmla="*/ 13 h 1666"/>
                <a:gd name="T10" fmla="*/ 1127 w 1672"/>
                <a:gd name="T11" fmla="*/ 51 h 1666"/>
                <a:gd name="T12" fmla="*/ 1257 w 1672"/>
                <a:gd name="T13" fmla="*/ 114 h 1666"/>
                <a:gd name="T14" fmla="*/ 1374 w 1672"/>
                <a:gd name="T15" fmla="*/ 195 h 1666"/>
                <a:gd name="T16" fmla="*/ 1474 w 1672"/>
                <a:gd name="T17" fmla="*/ 296 h 1666"/>
                <a:gd name="T18" fmla="*/ 1557 w 1672"/>
                <a:gd name="T19" fmla="*/ 412 h 1666"/>
                <a:gd name="T20" fmla="*/ 1619 w 1672"/>
                <a:gd name="T21" fmla="*/ 542 h 1666"/>
                <a:gd name="T22" fmla="*/ 1658 w 1672"/>
                <a:gd name="T23" fmla="*/ 683 h 1666"/>
                <a:gd name="T24" fmla="*/ 1672 w 1672"/>
                <a:gd name="T25" fmla="*/ 832 h 1666"/>
                <a:gd name="T26" fmla="*/ 1658 w 1672"/>
                <a:gd name="T27" fmla="*/ 982 h 1666"/>
                <a:gd name="T28" fmla="*/ 1619 w 1672"/>
                <a:gd name="T29" fmla="*/ 1123 h 1666"/>
                <a:gd name="T30" fmla="*/ 1557 w 1672"/>
                <a:gd name="T31" fmla="*/ 1252 h 1666"/>
                <a:gd name="T32" fmla="*/ 1474 w 1672"/>
                <a:gd name="T33" fmla="*/ 1369 h 1666"/>
                <a:gd name="T34" fmla="*/ 1374 w 1672"/>
                <a:gd name="T35" fmla="*/ 1469 h 1666"/>
                <a:gd name="T36" fmla="*/ 1257 w 1672"/>
                <a:gd name="T37" fmla="*/ 1552 h 1666"/>
                <a:gd name="T38" fmla="*/ 1127 w 1672"/>
                <a:gd name="T39" fmla="*/ 1613 h 1666"/>
                <a:gd name="T40" fmla="*/ 986 w 1672"/>
                <a:gd name="T41" fmla="*/ 1653 h 1666"/>
                <a:gd name="T42" fmla="*/ 836 w 1672"/>
                <a:gd name="T43" fmla="*/ 1666 h 1666"/>
                <a:gd name="T44" fmla="*/ 686 w 1672"/>
                <a:gd name="T45" fmla="*/ 1653 h 1666"/>
                <a:gd name="T46" fmla="*/ 545 w 1672"/>
                <a:gd name="T47" fmla="*/ 1613 h 1666"/>
                <a:gd name="T48" fmla="*/ 415 w 1672"/>
                <a:gd name="T49" fmla="*/ 1552 h 1666"/>
                <a:gd name="T50" fmla="*/ 298 w 1672"/>
                <a:gd name="T51" fmla="*/ 1469 h 1666"/>
                <a:gd name="T52" fmla="*/ 198 w 1672"/>
                <a:gd name="T53" fmla="*/ 1369 h 1666"/>
                <a:gd name="T54" fmla="*/ 115 w 1672"/>
                <a:gd name="T55" fmla="*/ 1252 h 1666"/>
                <a:gd name="T56" fmla="*/ 53 w 1672"/>
                <a:gd name="T57" fmla="*/ 1123 h 1666"/>
                <a:gd name="T58" fmla="*/ 14 w 1672"/>
                <a:gd name="T59" fmla="*/ 982 h 1666"/>
                <a:gd name="T60" fmla="*/ 0 w 1672"/>
                <a:gd name="T61" fmla="*/ 832 h 1666"/>
                <a:gd name="T62" fmla="*/ 14 w 1672"/>
                <a:gd name="T63" fmla="*/ 683 h 1666"/>
                <a:gd name="T64" fmla="*/ 53 w 1672"/>
                <a:gd name="T65" fmla="*/ 542 h 1666"/>
                <a:gd name="T66" fmla="*/ 115 w 1672"/>
                <a:gd name="T67" fmla="*/ 412 h 1666"/>
                <a:gd name="T68" fmla="*/ 198 w 1672"/>
                <a:gd name="T69" fmla="*/ 296 h 1666"/>
                <a:gd name="T70" fmla="*/ 298 w 1672"/>
                <a:gd name="T71" fmla="*/ 195 h 1666"/>
                <a:gd name="T72" fmla="*/ 415 w 1672"/>
                <a:gd name="T73" fmla="*/ 114 h 1666"/>
                <a:gd name="T74" fmla="*/ 545 w 1672"/>
                <a:gd name="T75" fmla="*/ 51 h 1666"/>
                <a:gd name="T76" fmla="*/ 686 w 1672"/>
                <a:gd name="T77" fmla="*/ 13 h 1666"/>
                <a:gd name="T78" fmla="*/ 836 w 1672"/>
                <a:gd name="T79" fmla="*/ 0 h 16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72" h="1666">
                  <a:moveTo>
                    <a:pt x="1202" y="465"/>
                  </a:moveTo>
                  <a:lnTo>
                    <a:pt x="732" y="934"/>
                  </a:lnTo>
                  <a:lnTo>
                    <a:pt x="416" y="619"/>
                  </a:lnTo>
                  <a:lnTo>
                    <a:pt x="238" y="797"/>
                  </a:lnTo>
                  <a:lnTo>
                    <a:pt x="732" y="1289"/>
                  </a:lnTo>
                  <a:lnTo>
                    <a:pt x="1380" y="642"/>
                  </a:lnTo>
                  <a:lnTo>
                    <a:pt x="1202" y="465"/>
                  </a:lnTo>
                  <a:close/>
                  <a:moveTo>
                    <a:pt x="836" y="0"/>
                  </a:moveTo>
                  <a:lnTo>
                    <a:pt x="912" y="3"/>
                  </a:lnTo>
                  <a:lnTo>
                    <a:pt x="986" y="13"/>
                  </a:lnTo>
                  <a:lnTo>
                    <a:pt x="1058" y="29"/>
                  </a:lnTo>
                  <a:lnTo>
                    <a:pt x="1127" y="51"/>
                  </a:lnTo>
                  <a:lnTo>
                    <a:pt x="1193" y="79"/>
                  </a:lnTo>
                  <a:lnTo>
                    <a:pt x="1257" y="114"/>
                  </a:lnTo>
                  <a:lnTo>
                    <a:pt x="1318" y="152"/>
                  </a:lnTo>
                  <a:lnTo>
                    <a:pt x="1374" y="195"/>
                  </a:lnTo>
                  <a:lnTo>
                    <a:pt x="1426" y="243"/>
                  </a:lnTo>
                  <a:lnTo>
                    <a:pt x="1474" y="296"/>
                  </a:lnTo>
                  <a:lnTo>
                    <a:pt x="1518" y="353"/>
                  </a:lnTo>
                  <a:lnTo>
                    <a:pt x="1557" y="412"/>
                  </a:lnTo>
                  <a:lnTo>
                    <a:pt x="1591" y="476"/>
                  </a:lnTo>
                  <a:lnTo>
                    <a:pt x="1619" y="542"/>
                  </a:lnTo>
                  <a:lnTo>
                    <a:pt x="1641" y="611"/>
                  </a:lnTo>
                  <a:lnTo>
                    <a:pt x="1658" y="683"/>
                  </a:lnTo>
                  <a:lnTo>
                    <a:pt x="1668" y="757"/>
                  </a:lnTo>
                  <a:lnTo>
                    <a:pt x="1672" y="832"/>
                  </a:lnTo>
                  <a:lnTo>
                    <a:pt x="1668" y="908"/>
                  </a:lnTo>
                  <a:lnTo>
                    <a:pt x="1658" y="982"/>
                  </a:lnTo>
                  <a:lnTo>
                    <a:pt x="1641" y="1054"/>
                  </a:lnTo>
                  <a:lnTo>
                    <a:pt x="1619" y="1123"/>
                  </a:lnTo>
                  <a:lnTo>
                    <a:pt x="1591" y="1190"/>
                  </a:lnTo>
                  <a:lnTo>
                    <a:pt x="1557" y="1252"/>
                  </a:lnTo>
                  <a:lnTo>
                    <a:pt x="1518" y="1313"/>
                  </a:lnTo>
                  <a:lnTo>
                    <a:pt x="1474" y="1369"/>
                  </a:lnTo>
                  <a:lnTo>
                    <a:pt x="1426" y="1421"/>
                  </a:lnTo>
                  <a:lnTo>
                    <a:pt x="1374" y="1469"/>
                  </a:lnTo>
                  <a:lnTo>
                    <a:pt x="1318" y="1513"/>
                  </a:lnTo>
                  <a:lnTo>
                    <a:pt x="1257" y="1552"/>
                  </a:lnTo>
                  <a:lnTo>
                    <a:pt x="1193" y="1586"/>
                  </a:lnTo>
                  <a:lnTo>
                    <a:pt x="1127" y="1613"/>
                  </a:lnTo>
                  <a:lnTo>
                    <a:pt x="1058" y="1636"/>
                  </a:lnTo>
                  <a:lnTo>
                    <a:pt x="986" y="1653"/>
                  </a:lnTo>
                  <a:lnTo>
                    <a:pt x="912" y="1663"/>
                  </a:lnTo>
                  <a:lnTo>
                    <a:pt x="836" y="1666"/>
                  </a:lnTo>
                  <a:lnTo>
                    <a:pt x="760" y="1663"/>
                  </a:lnTo>
                  <a:lnTo>
                    <a:pt x="686" y="1653"/>
                  </a:lnTo>
                  <a:lnTo>
                    <a:pt x="614" y="1636"/>
                  </a:lnTo>
                  <a:lnTo>
                    <a:pt x="545" y="1613"/>
                  </a:lnTo>
                  <a:lnTo>
                    <a:pt x="479" y="1586"/>
                  </a:lnTo>
                  <a:lnTo>
                    <a:pt x="415" y="1552"/>
                  </a:lnTo>
                  <a:lnTo>
                    <a:pt x="354" y="1513"/>
                  </a:lnTo>
                  <a:lnTo>
                    <a:pt x="298" y="1469"/>
                  </a:lnTo>
                  <a:lnTo>
                    <a:pt x="246" y="1421"/>
                  </a:lnTo>
                  <a:lnTo>
                    <a:pt x="198" y="1369"/>
                  </a:lnTo>
                  <a:lnTo>
                    <a:pt x="154" y="1313"/>
                  </a:lnTo>
                  <a:lnTo>
                    <a:pt x="115" y="1252"/>
                  </a:lnTo>
                  <a:lnTo>
                    <a:pt x="81" y="1190"/>
                  </a:lnTo>
                  <a:lnTo>
                    <a:pt x="53" y="1123"/>
                  </a:lnTo>
                  <a:lnTo>
                    <a:pt x="31" y="1054"/>
                  </a:lnTo>
                  <a:lnTo>
                    <a:pt x="14" y="982"/>
                  </a:lnTo>
                  <a:lnTo>
                    <a:pt x="4" y="908"/>
                  </a:lnTo>
                  <a:lnTo>
                    <a:pt x="0" y="832"/>
                  </a:lnTo>
                  <a:lnTo>
                    <a:pt x="4" y="757"/>
                  </a:lnTo>
                  <a:lnTo>
                    <a:pt x="14" y="683"/>
                  </a:lnTo>
                  <a:lnTo>
                    <a:pt x="31" y="611"/>
                  </a:lnTo>
                  <a:lnTo>
                    <a:pt x="53" y="542"/>
                  </a:lnTo>
                  <a:lnTo>
                    <a:pt x="81" y="476"/>
                  </a:lnTo>
                  <a:lnTo>
                    <a:pt x="115" y="412"/>
                  </a:lnTo>
                  <a:lnTo>
                    <a:pt x="154" y="353"/>
                  </a:lnTo>
                  <a:lnTo>
                    <a:pt x="198" y="296"/>
                  </a:lnTo>
                  <a:lnTo>
                    <a:pt x="246" y="243"/>
                  </a:lnTo>
                  <a:lnTo>
                    <a:pt x="298" y="195"/>
                  </a:lnTo>
                  <a:lnTo>
                    <a:pt x="354" y="152"/>
                  </a:lnTo>
                  <a:lnTo>
                    <a:pt x="415" y="114"/>
                  </a:lnTo>
                  <a:lnTo>
                    <a:pt x="479" y="79"/>
                  </a:lnTo>
                  <a:lnTo>
                    <a:pt x="545" y="51"/>
                  </a:lnTo>
                  <a:lnTo>
                    <a:pt x="614" y="29"/>
                  </a:lnTo>
                  <a:lnTo>
                    <a:pt x="686" y="13"/>
                  </a:lnTo>
                  <a:lnTo>
                    <a:pt x="760" y="3"/>
                  </a:lnTo>
                  <a:lnTo>
                    <a:pt x="83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7"/>
            <p:cNvSpPr>
              <a:spLocks/>
            </p:cNvSpPr>
            <p:nvPr/>
          </p:nvSpPr>
          <p:spPr bwMode="auto">
            <a:xfrm>
              <a:off x="-350" y="3259"/>
              <a:ext cx="73" cy="73"/>
            </a:xfrm>
            <a:custGeom>
              <a:avLst/>
              <a:gdLst>
                <a:gd name="T0" fmla="*/ 0 w 590"/>
                <a:gd name="T1" fmla="*/ 0 h 588"/>
                <a:gd name="T2" fmla="*/ 590 w 590"/>
                <a:gd name="T3" fmla="*/ 588 h 588"/>
                <a:gd name="T4" fmla="*/ 0 w 590"/>
                <a:gd name="T5" fmla="*/ 588 h 588"/>
                <a:gd name="T6" fmla="*/ 0 w 590"/>
                <a:gd name="T7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90" h="588">
                  <a:moveTo>
                    <a:pt x="0" y="0"/>
                  </a:moveTo>
                  <a:lnTo>
                    <a:pt x="590" y="588"/>
                  </a:lnTo>
                  <a:lnTo>
                    <a:pt x="0" y="588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-576" y="3243"/>
              <a:ext cx="315" cy="435"/>
            </a:xfrm>
            <a:custGeom>
              <a:avLst/>
              <a:gdLst>
                <a:gd name="T0" fmla="*/ 420 w 2520"/>
                <a:gd name="T1" fmla="*/ 1487 h 3479"/>
                <a:gd name="T2" fmla="*/ 420 w 2520"/>
                <a:gd name="T3" fmla="*/ 1739 h 3479"/>
                <a:gd name="T4" fmla="*/ 2100 w 2520"/>
                <a:gd name="T5" fmla="*/ 1739 h 3479"/>
                <a:gd name="T6" fmla="*/ 2100 w 2520"/>
                <a:gd name="T7" fmla="*/ 1487 h 3479"/>
                <a:gd name="T8" fmla="*/ 420 w 2520"/>
                <a:gd name="T9" fmla="*/ 1487 h 3479"/>
                <a:gd name="T10" fmla="*/ 0 w 2520"/>
                <a:gd name="T11" fmla="*/ 0 h 3479"/>
                <a:gd name="T12" fmla="*/ 1555 w 2520"/>
                <a:gd name="T13" fmla="*/ 0 h 3479"/>
                <a:gd name="T14" fmla="*/ 1555 w 2520"/>
                <a:gd name="T15" fmla="*/ 964 h 3479"/>
                <a:gd name="T16" fmla="*/ 2520 w 2520"/>
                <a:gd name="T17" fmla="*/ 964 h 3479"/>
                <a:gd name="T18" fmla="*/ 2520 w 2520"/>
                <a:gd name="T19" fmla="*/ 1770 h 3479"/>
                <a:gd name="T20" fmla="*/ 2433 w 2520"/>
                <a:gd name="T21" fmla="*/ 1774 h 3479"/>
                <a:gd name="T22" fmla="*/ 2348 w 2520"/>
                <a:gd name="T23" fmla="*/ 1784 h 3479"/>
                <a:gd name="T24" fmla="*/ 2265 w 2520"/>
                <a:gd name="T25" fmla="*/ 1800 h 3479"/>
                <a:gd name="T26" fmla="*/ 2184 w 2520"/>
                <a:gd name="T27" fmla="*/ 1823 h 3479"/>
                <a:gd name="T28" fmla="*/ 2107 w 2520"/>
                <a:gd name="T29" fmla="*/ 1852 h 3479"/>
                <a:gd name="T30" fmla="*/ 2031 w 2520"/>
                <a:gd name="T31" fmla="*/ 1885 h 3479"/>
                <a:gd name="T32" fmla="*/ 1959 w 2520"/>
                <a:gd name="T33" fmla="*/ 1926 h 3479"/>
                <a:gd name="T34" fmla="*/ 1891 w 2520"/>
                <a:gd name="T35" fmla="*/ 1970 h 3479"/>
                <a:gd name="T36" fmla="*/ 1826 w 2520"/>
                <a:gd name="T37" fmla="*/ 2021 h 3479"/>
                <a:gd name="T38" fmla="*/ 1765 w 2520"/>
                <a:gd name="T39" fmla="*/ 2074 h 3479"/>
                <a:gd name="T40" fmla="*/ 420 w 2520"/>
                <a:gd name="T41" fmla="*/ 2074 h 3479"/>
                <a:gd name="T42" fmla="*/ 420 w 2520"/>
                <a:gd name="T43" fmla="*/ 2326 h 3479"/>
                <a:gd name="T44" fmla="*/ 1571 w 2520"/>
                <a:gd name="T45" fmla="*/ 2326 h 3479"/>
                <a:gd name="T46" fmla="*/ 1538 w 2520"/>
                <a:gd name="T47" fmla="*/ 2388 h 3479"/>
                <a:gd name="T48" fmla="*/ 1510 w 2520"/>
                <a:gd name="T49" fmla="*/ 2454 h 3479"/>
                <a:gd name="T50" fmla="*/ 1485 w 2520"/>
                <a:gd name="T51" fmla="*/ 2521 h 3479"/>
                <a:gd name="T52" fmla="*/ 1465 w 2520"/>
                <a:gd name="T53" fmla="*/ 2591 h 3479"/>
                <a:gd name="T54" fmla="*/ 1450 w 2520"/>
                <a:gd name="T55" fmla="*/ 2661 h 3479"/>
                <a:gd name="T56" fmla="*/ 420 w 2520"/>
                <a:gd name="T57" fmla="*/ 2661 h 3479"/>
                <a:gd name="T58" fmla="*/ 420 w 2520"/>
                <a:gd name="T59" fmla="*/ 2912 h 3479"/>
                <a:gd name="T60" fmla="*/ 1435 w 2520"/>
                <a:gd name="T61" fmla="*/ 2912 h 3479"/>
                <a:gd name="T62" fmla="*/ 1441 w 2520"/>
                <a:gd name="T63" fmla="*/ 2991 h 3479"/>
                <a:gd name="T64" fmla="*/ 1454 w 2520"/>
                <a:gd name="T65" fmla="*/ 3067 h 3479"/>
                <a:gd name="T66" fmla="*/ 1472 w 2520"/>
                <a:gd name="T67" fmla="*/ 3142 h 3479"/>
                <a:gd name="T68" fmla="*/ 1494 w 2520"/>
                <a:gd name="T69" fmla="*/ 3214 h 3479"/>
                <a:gd name="T70" fmla="*/ 1522 w 2520"/>
                <a:gd name="T71" fmla="*/ 3283 h 3479"/>
                <a:gd name="T72" fmla="*/ 1553 w 2520"/>
                <a:gd name="T73" fmla="*/ 3352 h 3479"/>
                <a:gd name="T74" fmla="*/ 1590 w 2520"/>
                <a:gd name="T75" fmla="*/ 3416 h 3479"/>
                <a:gd name="T76" fmla="*/ 1631 w 2520"/>
                <a:gd name="T77" fmla="*/ 3479 h 3479"/>
                <a:gd name="T78" fmla="*/ 0 w 2520"/>
                <a:gd name="T79" fmla="*/ 3479 h 3479"/>
                <a:gd name="T80" fmla="*/ 0 w 2520"/>
                <a:gd name="T81" fmla="*/ 0 h 3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520" h="3479">
                  <a:moveTo>
                    <a:pt x="420" y="1487"/>
                  </a:moveTo>
                  <a:lnTo>
                    <a:pt x="420" y="1739"/>
                  </a:lnTo>
                  <a:lnTo>
                    <a:pt x="2100" y="1739"/>
                  </a:lnTo>
                  <a:lnTo>
                    <a:pt x="2100" y="1487"/>
                  </a:lnTo>
                  <a:lnTo>
                    <a:pt x="420" y="1487"/>
                  </a:lnTo>
                  <a:close/>
                  <a:moveTo>
                    <a:pt x="0" y="0"/>
                  </a:moveTo>
                  <a:lnTo>
                    <a:pt x="1555" y="0"/>
                  </a:lnTo>
                  <a:lnTo>
                    <a:pt x="1555" y="964"/>
                  </a:lnTo>
                  <a:lnTo>
                    <a:pt x="2520" y="964"/>
                  </a:lnTo>
                  <a:lnTo>
                    <a:pt x="2520" y="1770"/>
                  </a:lnTo>
                  <a:lnTo>
                    <a:pt x="2433" y="1774"/>
                  </a:lnTo>
                  <a:lnTo>
                    <a:pt x="2348" y="1784"/>
                  </a:lnTo>
                  <a:lnTo>
                    <a:pt x="2265" y="1800"/>
                  </a:lnTo>
                  <a:lnTo>
                    <a:pt x="2184" y="1823"/>
                  </a:lnTo>
                  <a:lnTo>
                    <a:pt x="2107" y="1852"/>
                  </a:lnTo>
                  <a:lnTo>
                    <a:pt x="2031" y="1885"/>
                  </a:lnTo>
                  <a:lnTo>
                    <a:pt x="1959" y="1926"/>
                  </a:lnTo>
                  <a:lnTo>
                    <a:pt x="1891" y="1970"/>
                  </a:lnTo>
                  <a:lnTo>
                    <a:pt x="1826" y="2021"/>
                  </a:lnTo>
                  <a:lnTo>
                    <a:pt x="1765" y="2074"/>
                  </a:lnTo>
                  <a:lnTo>
                    <a:pt x="420" y="2074"/>
                  </a:lnTo>
                  <a:lnTo>
                    <a:pt x="420" y="2326"/>
                  </a:lnTo>
                  <a:lnTo>
                    <a:pt x="1571" y="2326"/>
                  </a:lnTo>
                  <a:lnTo>
                    <a:pt x="1538" y="2388"/>
                  </a:lnTo>
                  <a:lnTo>
                    <a:pt x="1510" y="2454"/>
                  </a:lnTo>
                  <a:lnTo>
                    <a:pt x="1485" y="2521"/>
                  </a:lnTo>
                  <a:lnTo>
                    <a:pt x="1465" y="2591"/>
                  </a:lnTo>
                  <a:lnTo>
                    <a:pt x="1450" y="2661"/>
                  </a:lnTo>
                  <a:lnTo>
                    <a:pt x="420" y="2661"/>
                  </a:lnTo>
                  <a:lnTo>
                    <a:pt x="420" y="2912"/>
                  </a:lnTo>
                  <a:lnTo>
                    <a:pt x="1435" y="2912"/>
                  </a:lnTo>
                  <a:lnTo>
                    <a:pt x="1441" y="2991"/>
                  </a:lnTo>
                  <a:lnTo>
                    <a:pt x="1454" y="3067"/>
                  </a:lnTo>
                  <a:lnTo>
                    <a:pt x="1472" y="3142"/>
                  </a:lnTo>
                  <a:lnTo>
                    <a:pt x="1494" y="3214"/>
                  </a:lnTo>
                  <a:lnTo>
                    <a:pt x="1522" y="3283"/>
                  </a:lnTo>
                  <a:lnTo>
                    <a:pt x="1553" y="3352"/>
                  </a:lnTo>
                  <a:lnTo>
                    <a:pt x="1590" y="3416"/>
                  </a:lnTo>
                  <a:lnTo>
                    <a:pt x="1631" y="3479"/>
                  </a:lnTo>
                  <a:lnTo>
                    <a:pt x="0" y="347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" name="Group 4"/>
          <p:cNvGrpSpPr>
            <a:grpSpLocks noChangeAspect="1"/>
          </p:cNvGrpSpPr>
          <p:nvPr/>
        </p:nvGrpSpPr>
        <p:grpSpPr bwMode="auto">
          <a:xfrm>
            <a:off x="814381" y="5377540"/>
            <a:ext cx="568846" cy="523976"/>
            <a:chOff x="-413" y="1979"/>
            <a:chExt cx="393" cy="362"/>
          </a:xfrm>
          <a:solidFill>
            <a:srgbClr val="26867C"/>
          </a:solidFill>
        </p:grpSpPr>
        <p:sp>
          <p:nvSpPr>
            <p:cNvPr id="22" name="Rectangle 6"/>
            <p:cNvSpPr>
              <a:spLocks noChangeArrowheads="1"/>
            </p:cNvSpPr>
            <p:nvPr/>
          </p:nvSpPr>
          <p:spPr bwMode="auto">
            <a:xfrm>
              <a:off x="-389" y="2104"/>
              <a:ext cx="17" cy="4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Rectangle 7"/>
            <p:cNvSpPr>
              <a:spLocks noChangeArrowheads="1"/>
            </p:cNvSpPr>
            <p:nvPr/>
          </p:nvSpPr>
          <p:spPr bwMode="auto">
            <a:xfrm>
              <a:off x="-389" y="2176"/>
              <a:ext cx="17" cy="4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8"/>
            <p:cNvSpPr>
              <a:spLocks/>
            </p:cNvSpPr>
            <p:nvPr/>
          </p:nvSpPr>
          <p:spPr bwMode="auto">
            <a:xfrm>
              <a:off x="-389" y="1979"/>
              <a:ext cx="305" cy="153"/>
            </a:xfrm>
            <a:custGeom>
              <a:avLst/>
              <a:gdLst>
                <a:gd name="T0" fmla="*/ 2746 w 2746"/>
                <a:gd name="T1" fmla="*/ 942 h 1381"/>
                <a:gd name="T2" fmla="*/ 2746 w 2746"/>
                <a:gd name="T3" fmla="*/ 1225 h 1381"/>
                <a:gd name="T4" fmla="*/ 2589 w 2746"/>
                <a:gd name="T5" fmla="*/ 1381 h 1381"/>
                <a:gd name="T6" fmla="*/ 2589 w 2746"/>
                <a:gd name="T7" fmla="*/ 287 h 1381"/>
                <a:gd name="T8" fmla="*/ 2586 w 2746"/>
                <a:gd name="T9" fmla="*/ 260 h 1381"/>
                <a:gd name="T10" fmla="*/ 2579 w 2746"/>
                <a:gd name="T11" fmla="*/ 236 h 1381"/>
                <a:gd name="T12" fmla="*/ 2567 w 2746"/>
                <a:gd name="T13" fmla="*/ 214 h 1381"/>
                <a:gd name="T14" fmla="*/ 2551 w 2746"/>
                <a:gd name="T15" fmla="*/ 195 h 1381"/>
                <a:gd name="T16" fmla="*/ 2531 w 2746"/>
                <a:gd name="T17" fmla="*/ 179 h 1381"/>
                <a:gd name="T18" fmla="*/ 2509 w 2746"/>
                <a:gd name="T19" fmla="*/ 166 h 1381"/>
                <a:gd name="T20" fmla="*/ 2484 w 2746"/>
                <a:gd name="T21" fmla="*/ 159 h 1381"/>
                <a:gd name="T22" fmla="*/ 2458 w 2746"/>
                <a:gd name="T23" fmla="*/ 156 h 1381"/>
                <a:gd name="T24" fmla="*/ 287 w 2746"/>
                <a:gd name="T25" fmla="*/ 156 h 1381"/>
                <a:gd name="T26" fmla="*/ 261 w 2746"/>
                <a:gd name="T27" fmla="*/ 159 h 1381"/>
                <a:gd name="T28" fmla="*/ 236 w 2746"/>
                <a:gd name="T29" fmla="*/ 166 h 1381"/>
                <a:gd name="T30" fmla="*/ 214 w 2746"/>
                <a:gd name="T31" fmla="*/ 179 h 1381"/>
                <a:gd name="T32" fmla="*/ 194 w 2746"/>
                <a:gd name="T33" fmla="*/ 195 h 1381"/>
                <a:gd name="T34" fmla="*/ 178 w 2746"/>
                <a:gd name="T35" fmla="*/ 214 h 1381"/>
                <a:gd name="T36" fmla="*/ 166 w 2746"/>
                <a:gd name="T37" fmla="*/ 236 h 1381"/>
                <a:gd name="T38" fmla="*/ 159 w 2746"/>
                <a:gd name="T39" fmla="*/ 260 h 1381"/>
                <a:gd name="T40" fmla="*/ 156 w 2746"/>
                <a:gd name="T41" fmla="*/ 287 h 1381"/>
                <a:gd name="T42" fmla="*/ 156 w 2746"/>
                <a:gd name="T43" fmla="*/ 832 h 1381"/>
                <a:gd name="T44" fmla="*/ 0 w 2746"/>
                <a:gd name="T45" fmla="*/ 832 h 1381"/>
                <a:gd name="T46" fmla="*/ 0 w 2746"/>
                <a:gd name="T47" fmla="*/ 287 h 1381"/>
                <a:gd name="T48" fmla="*/ 3 w 2746"/>
                <a:gd name="T49" fmla="*/ 244 h 1381"/>
                <a:gd name="T50" fmla="*/ 12 w 2746"/>
                <a:gd name="T51" fmla="*/ 205 h 1381"/>
                <a:gd name="T52" fmla="*/ 27 w 2746"/>
                <a:gd name="T53" fmla="*/ 166 h 1381"/>
                <a:gd name="T54" fmla="*/ 46 w 2746"/>
                <a:gd name="T55" fmla="*/ 131 h 1381"/>
                <a:gd name="T56" fmla="*/ 70 w 2746"/>
                <a:gd name="T57" fmla="*/ 99 h 1381"/>
                <a:gd name="T58" fmla="*/ 99 w 2746"/>
                <a:gd name="T59" fmla="*/ 71 h 1381"/>
                <a:gd name="T60" fmla="*/ 131 w 2746"/>
                <a:gd name="T61" fmla="*/ 46 h 1381"/>
                <a:gd name="T62" fmla="*/ 165 w 2746"/>
                <a:gd name="T63" fmla="*/ 27 h 1381"/>
                <a:gd name="T64" fmla="*/ 204 w 2746"/>
                <a:gd name="T65" fmla="*/ 13 h 1381"/>
                <a:gd name="T66" fmla="*/ 245 w 2746"/>
                <a:gd name="T67" fmla="*/ 3 h 1381"/>
                <a:gd name="T68" fmla="*/ 287 w 2746"/>
                <a:gd name="T69" fmla="*/ 0 h 1381"/>
                <a:gd name="T70" fmla="*/ 2458 w 2746"/>
                <a:gd name="T71" fmla="*/ 0 h 1381"/>
                <a:gd name="T72" fmla="*/ 2500 w 2746"/>
                <a:gd name="T73" fmla="*/ 3 h 1381"/>
                <a:gd name="T74" fmla="*/ 2541 w 2746"/>
                <a:gd name="T75" fmla="*/ 13 h 1381"/>
                <a:gd name="T76" fmla="*/ 2579 w 2746"/>
                <a:gd name="T77" fmla="*/ 27 h 1381"/>
                <a:gd name="T78" fmla="*/ 2614 w 2746"/>
                <a:gd name="T79" fmla="*/ 46 h 1381"/>
                <a:gd name="T80" fmla="*/ 2646 w 2746"/>
                <a:gd name="T81" fmla="*/ 71 h 1381"/>
                <a:gd name="T82" fmla="*/ 2674 w 2746"/>
                <a:gd name="T83" fmla="*/ 99 h 1381"/>
                <a:gd name="T84" fmla="*/ 2699 w 2746"/>
                <a:gd name="T85" fmla="*/ 131 h 1381"/>
                <a:gd name="T86" fmla="*/ 2718 w 2746"/>
                <a:gd name="T87" fmla="*/ 166 h 1381"/>
                <a:gd name="T88" fmla="*/ 2733 w 2746"/>
                <a:gd name="T89" fmla="*/ 205 h 1381"/>
                <a:gd name="T90" fmla="*/ 2742 w 2746"/>
                <a:gd name="T91" fmla="*/ 244 h 1381"/>
                <a:gd name="T92" fmla="*/ 2745 w 2746"/>
                <a:gd name="T93" fmla="*/ 287 h 1381"/>
                <a:gd name="T94" fmla="*/ 2745 w 2746"/>
                <a:gd name="T95" fmla="*/ 942 h 1381"/>
                <a:gd name="T96" fmla="*/ 2746 w 2746"/>
                <a:gd name="T97" fmla="*/ 942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46" h="1381">
                  <a:moveTo>
                    <a:pt x="2746" y="942"/>
                  </a:moveTo>
                  <a:lnTo>
                    <a:pt x="2746" y="1225"/>
                  </a:lnTo>
                  <a:lnTo>
                    <a:pt x="2589" y="1381"/>
                  </a:lnTo>
                  <a:lnTo>
                    <a:pt x="2589" y="287"/>
                  </a:lnTo>
                  <a:lnTo>
                    <a:pt x="2586" y="260"/>
                  </a:lnTo>
                  <a:lnTo>
                    <a:pt x="2579" y="236"/>
                  </a:lnTo>
                  <a:lnTo>
                    <a:pt x="2567" y="214"/>
                  </a:lnTo>
                  <a:lnTo>
                    <a:pt x="2551" y="195"/>
                  </a:lnTo>
                  <a:lnTo>
                    <a:pt x="2531" y="179"/>
                  </a:lnTo>
                  <a:lnTo>
                    <a:pt x="2509" y="166"/>
                  </a:lnTo>
                  <a:lnTo>
                    <a:pt x="2484" y="159"/>
                  </a:lnTo>
                  <a:lnTo>
                    <a:pt x="2458" y="156"/>
                  </a:lnTo>
                  <a:lnTo>
                    <a:pt x="287" y="156"/>
                  </a:lnTo>
                  <a:lnTo>
                    <a:pt x="261" y="159"/>
                  </a:lnTo>
                  <a:lnTo>
                    <a:pt x="236" y="166"/>
                  </a:lnTo>
                  <a:lnTo>
                    <a:pt x="214" y="179"/>
                  </a:lnTo>
                  <a:lnTo>
                    <a:pt x="194" y="195"/>
                  </a:lnTo>
                  <a:lnTo>
                    <a:pt x="178" y="214"/>
                  </a:lnTo>
                  <a:lnTo>
                    <a:pt x="166" y="236"/>
                  </a:lnTo>
                  <a:lnTo>
                    <a:pt x="159" y="260"/>
                  </a:lnTo>
                  <a:lnTo>
                    <a:pt x="156" y="287"/>
                  </a:lnTo>
                  <a:lnTo>
                    <a:pt x="156" y="832"/>
                  </a:lnTo>
                  <a:lnTo>
                    <a:pt x="0" y="832"/>
                  </a:lnTo>
                  <a:lnTo>
                    <a:pt x="0" y="287"/>
                  </a:lnTo>
                  <a:lnTo>
                    <a:pt x="3" y="244"/>
                  </a:lnTo>
                  <a:lnTo>
                    <a:pt x="12" y="205"/>
                  </a:lnTo>
                  <a:lnTo>
                    <a:pt x="27" y="166"/>
                  </a:lnTo>
                  <a:lnTo>
                    <a:pt x="46" y="131"/>
                  </a:lnTo>
                  <a:lnTo>
                    <a:pt x="70" y="99"/>
                  </a:lnTo>
                  <a:lnTo>
                    <a:pt x="99" y="71"/>
                  </a:lnTo>
                  <a:lnTo>
                    <a:pt x="131" y="46"/>
                  </a:lnTo>
                  <a:lnTo>
                    <a:pt x="165" y="27"/>
                  </a:lnTo>
                  <a:lnTo>
                    <a:pt x="204" y="13"/>
                  </a:lnTo>
                  <a:lnTo>
                    <a:pt x="245" y="3"/>
                  </a:lnTo>
                  <a:lnTo>
                    <a:pt x="287" y="0"/>
                  </a:lnTo>
                  <a:lnTo>
                    <a:pt x="2458" y="0"/>
                  </a:lnTo>
                  <a:lnTo>
                    <a:pt x="2500" y="3"/>
                  </a:lnTo>
                  <a:lnTo>
                    <a:pt x="2541" y="13"/>
                  </a:lnTo>
                  <a:lnTo>
                    <a:pt x="2579" y="27"/>
                  </a:lnTo>
                  <a:lnTo>
                    <a:pt x="2614" y="46"/>
                  </a:lnTo>
                  <a:lnTo>
                    <a:pt x="2646" y="71"/>
                  </a:lnTo>
                  <a:lnTo>
                    <a:pt x="2674" y="99"/>
                  </a:lnTo>
                  <a:lnTo>
                    <a:pt x="2699" y="131"/>
                  </a:lnTo>
                  <a:lnTo>
                    <a:pt x="2718" y="166"/>
                  </a:lnTo>
                  <a:lnTo>
                    <a:pt x="2733" y="205"/>
                  </a:lnTo>
                  <a:lnTo>
                    <a:pt x="2742" y="244"/>
                  </a:lnTo>
                  <a:lnTo>
                    <a:pt x="2745" y="287"/>
                  </a:lnTo>
                  <a:lnTo>
                    <a:pt x="2745" y="942"/>
                  </a:lnTo>
                  <a:lnTo>
                    <a:pt x="2746" y="9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9"/>
            <p:cNvSpPr>
              <a:spLocks/>
            </p:cNvSpPr>
            <p:nvPr/>
          </p:nvSpPr>
          <p:spPr bwMode="auto">
            <a:xfrm>
              <a:off x="-389" y="2235"/>
              <a:ext cx="305" cy="106"/>
            </a:xfrm>
            <a:custGeom>
              <a:avLst/>
              <a:gdLst>
                <a:gd name="T0" fmla="*/ 2662 w 2746"/>
                <a:gd name="T1" fmla="*/ 53 h 954"/>
                <a:gd name="T2" fmla="*/ 2689 w 2746"/>
                <a:gd name="T3" fmla="*/ 66 h 954"/>
                <a:gd name="T4" fmla="*/ 2717 w 2746"/>
                <a:gd name="T5" fmla="*/ 74 h 954"/>
                <a:gd name="T6" fmla="*/ 2746 w 2746"/>
                <a:gd name="T7" fmla="*/ 78 h 954"/>
                <a:gd name="T8" fmla="*/ 2746 w 2746"/>
                <a:gd name="T9" fmla="*/ 667 h 954"/>
                <a:gd name="T10" fmla="*/ 2743 w 2746"/>
                <a:gd name="T11" fmla="*/ 710 h 954"/>
                <a:gd name="T12" fmla="*/ 2733 w 2746"/>
                <a:gd name="T13" fmla="*/ 749 h 954"/>
                <a:gd name="T14" fmla="*/ 2719 w 2746"/>
                <a:gd name="T15" fmla="*/ 788 h 954"/>
                <a:gd name="T16" fmla="*/ 2699 w 2746"/>
                <a:gd name="T17" fmla="*/ 823 h 954"/>
                <a:gd name="T18" fmla="*/ 2675 w 2746"/>
                <a:gd name="T19" fmla="*/ 854 h 954"/>
                <a:gd name="T20" fmla="*/ 2646 w 2746"/>
                <a:gd name="T21" fmla="*/ 883 h 954"/>
                <a:gd name="T22" fmla="*/ 2614 w 2746"/>
                <a:gd name="T23" fmla="*/ 907 h 954"/>
                <a:gd name="T24" fmla="*/ 2579 w 2746"/>
                <a:gd name="T25" fmla="*/ 927 h 954"/>
                <a:gd name="T26" fmla="*/ 2541 w 2746"/>
                <a:gd name="T27" fmla="*/ 941 h 954"/>
                <a:gd name="T28" fmla="*/ 2500 w 2746"/>
                <a:gd name="T29" fmla="*/ 951 h 954"/>
                <a:gd name="T30" fmla="*/ 2458 w 2746"/>
                <a:gd name="T31" fmla="*/ 954 h 954"/>
                <a:gd name="T32" fmla="*/ 287 w 2746"/>
                <a:gd name="T33" fmla="*/ 954 h 954"/>
                <a:gd name="T34" fmla="*/ 245 w 2746"/>
                <a:gd name="T35" fmla="*/ 951 h 954"/>
                <a:gd name="T36" fmla="*/ 204 w 2746"/>
                <a:gd name="T37" fmla="*/ 941 h 954"/>
                <a:gd name="T38" fmla="*/ 165 w 2746"/>
                <a:gd name="T39" fmla="*/ 927 h 954"/>
                <a:gd name="T40" fmla="*/ 131 w 2746"/>
                <a:gd name="T41" fmla="*/ 907 h 954"/>
                <a:gd name="T42" fmla="*/ 99 w 2746"/>
                <a:gd name="T43" fmla="*/ 883 h 954"/>
                <a:gd name="T44" fmla="*/ 70 w 2746"/>
                <a:gd name="T45" fmla="*/ 854 h 954"/>
                <a:gd name="T46" fmla="*/ 46 w 2746"/>
                <a:gd name="T47" fmla="*/ 823 h 954"/>
                <a:gd name="T48" fmla="*/ 27 w 2746"/>
                <a:gd name="T49" fmla="*/ 788 h 954"/>
                <a:gd name="T50" fmla="*/ 12 w 2746"/>
                <a:gd name="T51" fmla="*/ 749 h 954"/>
                <a:gd name="T52" fmla="*/ 3 w 2746"/>
                <a:gd name="T53" fmla="*/ 710 h 954"/>
                <a:gd name="T54" fmla="*/ 0 w 2746"/>
                <a:gd name="T55" fmla="*/ 667 h 954"/>
                <a:gd name="T56" fmla="*/ 0 w 2746"/>
                <a:gd name="T57" fmla="*/ 123 h 954"/>
                <a:gd name="T58" fmla="*/ 156 w 2746"/>
                <a:gd name="T59" fmla="*/ 123 h 954"/>
                <a:gd name="T60" fmla="*/ 156 w 2746"/>
                <a:gd name="T61" fmla="*/ 667 h 954"/>
                <a:gd name="T62" fmla="*/ 159 w 2746"/>
                <a:gd name="T63" fmla="*/ 694 h 954"/>
                <a:gd name="T64" fmla="*/ 166 w 2746"/>
                <a:gd name="T65" fmla="*/ 718 h 954"/>
                <a:gd name="T66" fmla="*/ 178 w 2746"/>
                <a:gd name="T67" fmla="*/ 740 h 954"/>
                <a:gd name="T68" fmla="*/ 194 w 2746"/>
                <a:gd name="T69" fmla="*/ 759 h 954"/>
                <a:gd name="T70" fmla="*/ 214 w 2746"/>
                <a:gd name="T71" fmla="*/ 775 h 954"/>
                <a:gd name="T72" fmla="*/ 236 w 2746"/>
                <a:gd name="T73" fmla="*/ 788 h 954"/>
                <a:gd name="T74" fmla="*/ 261 w 2746"/>
                <a:gd name="T75" fmla="*/ 795 h 954"/>
                <a:gd name="T76" fmla="*/ 287 w 2746"/>
                <a:gd name="T77" fmla="*/ 798 h 954"/>
                <a:gd name="T78" fmla="*/ 2458 w 2746"/>
                <a:gd name="T79" fmla="*/ 798 h 954"/>
                <a:gd name="T80" fmla="*/ 2484 w 2746"/>
                <a:gd name="T81" fmla="*/ 795 h 954"/>
                <a:gd name="T82" fmla="*/ 2509 w 2746"/>
                <a:gd name="T83" fmla="*/ 788 h 954"/>
                <a:gd name="T84" fmla="*/ 2531 w 2746"/>
                <a:gd name="T85" fmla="*/ 775 h 954"/>
                <a:gd name="T86" fmla="*/ 2551 w 2746"/>
                <a:gd name="T87" fmla="*/ 759 h 954"/>
                <a:gd name="T88" fmla="*/ 2567 w 2746"/>
                <a:gd name="T89" fmla="*/ 740 h 954"/>
                <a:gd name="T90" fmla="*/ 2579 w 2746"/>
                <a:gd name="T91" fmla="*/ 718 h 954"/>
                <a:gd name="T92" fmla="*/ 2587 w 2746"/>
                <a:gd name="T93" fmla="*/ 694 h 954"/>
                <a:gd name="T94" fmla="*/ 2589 w 2746"/>
                <a:gd name="T95" fmla="*/ 667 h 954"/>
                <a:gd name="T96" fmla="*/ 2589 w 2746"/>
                <a:gd name="T97" fmla="*/ 181 h 954"/>
                <a:gd name="T98" fmla="*/ 2589 w 2746"/>
                <a:gd name="T99" fmla="*/ 181 h 954"/>
                <a:gd name="T100" fmla="*/ 2589 w 2746"/>
                <a:gd name="T101" fmla="*/ 9 h 954"/>
                <a:gd name="T102" fmla="*/ 2599 w 2746"/>
                <a:gd name="T103" fmla="*/ 0 h 954"/>
                <a:gd name="T104" fmla="*/ 2617 w 2746"/>
                <a:gd name="T105" fmla="*/ 20 h 954"/>
                <a:gd name="T106" fmla="*/ 2639 w 2746"/>
                <a:gd name="T107" fmla="*/ 38 h 954"/>
                <a:gd name="T108" fmla="*/ 2662 w 2746"/>
                <a:gd name="T109" fmla="*/ 53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46" h="954">
                  <a:moveTo>
                    <a:pt x="2662" y="53"/>
                  </a:moveTo>
                  <a:lnTo>
                    <a:pt x="2689" y="66"/>
                  </a:lnTo>
                  <a:lnTo>
                    <a:pt x="2717" y="74"/>
                  </a:lnTo>
                  <a:lnTo>
                    <a:pt x="2746" y="78"/>
                  </a:lnTo>
                  <a:lnTo>
                    <a:pt x="2746" y="667"/>
                  </a:lnTo>
                  <a:lnTo>
                    <a:pt x="2743" y="710"/>
                  </a:lnTo>
                  <a:lnTo>
                    <a:pt x="2733" y="749"/>
                  </a:lnTo>
                  <a:lnTo>
                    <a:pt x="2719" y="788"/>
                  </a:lnTo>
                  <a:lnTo>
                    <a:pt x="2699" y="823"/>
                  </a:lnTo>
                  <a:lnTo>
                    <a:pt x="2675" y="854"/>
                  </a:lnTo>
                  <a:lnTo>
                    <a:pt x="2646" y="883"/>
                  </a:lnTo>
                  <a:lnTo>
                    <a:pt x="2614" y="907"/>
                  </a:lnTo>
                  <a:lnTo>
                    <a:pt x="2579" y="927"/>
                  </a:lnTo>
                  <a:lnTo>
                    <a:pt x="2541" y="941"/>
                  </a:lnTo>
                  <a:lnTo>
                    <a:pt x="2500" y="951"/>
                  </a:lnTo>
                  <a:lnTo>
                    <a:pt x="2458" y="954"/>
                  </a:lnTo>
                  <a:lnTo>
                    <a:pt x="287" y="954"/>
                  </a:lnTo>
                  <a:lnTo>
                    <a:pt x="245" y="951"/>
                  </a:lnTo>
                  <a:lnTo>
                    <a:pt x="204" y="941"/>
                  </a:lnTo>
                  <a:lnTo>
                    <a:pt x="165" y="927"/>
                  </a:lnTo>
                  <a:lnTo>
                    <a:pt x="131" y="907"/>
                  </a:lnTo>
                  <a:lnTo>
                    <a:pt x="99" y="883"/>
                  </a:lnTo>
                  <a:lnTo>
                    <a:pt x="70" y="854"/>
                  </a:lnTo>
                  <a:lnTo>
                    <a:pt x="46" y="823"/>
                  </a:lnTo>
                  <a:lnTo>
                    <a:pt x="27" y="788"/>
                  </a:lnTo>
                  <a:lnTo>
                    <a:pt x="12" y="749"/>
                  </a:lnTo>
                  <a:lnTo>
                    <a:pt x="3" y="710"/>
                  </a:lnTo>
                  <a:lnTo>
                    <a:pt x="0" y="667"/>
                  </a:lnTo>
                  <a:lnTo>
                    <a:pt x="0" y="123"/>
                  </a:lnTo>
                  <a:lnTo>
                    <a:pt x="156" y="123"/>
                  </a:lnTo>
                  <a:lnTo>
                    <a:pt x="156" y="667"/>
                  </a:lnTo>
                  <a:lnTo>
                    <a:pt x="159" y="694"/>
                  </a:lnTo>
                  <a:lnTo>
                    <a:pt x="166" y="718"/>
                  </a:lnTo>
                  <a:lnTo>
                    <a:pt x="178" y="740"/>
                  </a:lnTo>
                  <a:lnTo>
                    <a:pt x="194" y="759"/>
                  </a:lnTo>
                  <a:lnTo>
                    <a:pt x="214" y="775"/>
                  </a:lnTo>
                  <a:lnTo>
                    <a:pt x="236" y="788"/>
                  </a:lnTo>
                  <a:lnTo>
                    <a:pt x="261" y="795"/>
                  </a:lnTo>
                  <a:lnTo>
                    <a:pt x="287" y="798"/>
                  </a:lnTo>
                  <a:lnTo>
                    <a:pt x="2458" y="798"/>
                  </a:lnTo>
                  <a:lnTo>
                    <a:pt x="2484" y="795"/>
                  </a:lnTo>
                  <a:lnTo>
                    <a:pt x="2509" y="788"/>
                  </a:lnTo>
                  <a:lnTo>
                    <a:pt x="2531" y="775"/>
                  </a:lnTo>
                  <a:lnTo>
                    <a:pt x="2551" y="759"/>
                  </a:lnTo>
                  <a:lnTo>
                    <a:pt x="2567" y="740"/>
                  </a:lnTo>
                  <a:lnTo>
                    <a:pt x="2579" y="718"/>
                  </a:lnTo>
                  <a:lnTo>
                    <a:pt x="2587" y="694"/>
                  </a:lnTo>
                  <a:lnTo>
                    <a:pt x="2589" y="667"/>
                  </a:lnTo>
                  <a:lnTo>
                    <a:pt x="2589" y="181"/>
                  </a:lnTo>
                  <a:lnTo>
                    <a:pt x="2589" y="181"/>
                  </a:lnTo>
                  <a:lnTo>
                    <a:pt x="2589" y="9"/>
                  </a:lnTo>
                  <a:lnTo>
                    <a:pt x="2599" y="0"/>
                  </a:lnTo>
                  <a:lnTo>
                    <a:pt x="2617" y="20"/>
                  </a:lnTo>
                  <a:lnTo>
                    <a:pt x="2639" y="38"/>
                  </a:lnTo>
                  <a:lnTo>
                    <a:pt x="2662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-413" y="2218"/>
              <a:ext cx="72" cy="29"/>
            </a:xfrm>
            <a:custGeom>
              <a:avLst/>
              <a:gdLst>
                <a:gd name="T0" fmla="*/ 400 w 647"/>
                <a:gd name="T1" fmla="*/ 64 h 264"/>
                <a:gd name="T2" fmla="*/ 68 w 647"/>
                <a:gd name="T3" fmla="*/ 64 h 264"/>
                <a:gd name="T4" fmla="*/ 51 w 647"/>
                <a:gd name="T5" fmla="*/ 67 h 264"/>
                <a:gd name="T6" fmla="*/ 35 w 647"/>
                <a:gd name="T7" fmla="*/ 73 h 264"/>
                <a:gd name="T8" fmla="*/ 21 w 647"/>
                <a:gd name="T9" fmla="*/ 84 h 264"/>
                <a:gd name="T10" fmla="*/ 10 w 647"/>
                <a:gd name="T11" fmla="*/ 97 h 264"/>
                <a:gd name="T12" fmla="*/ 4 w 647"/>
                <a:gd name="T13" fmla="*/ 114 h 264"/>
                <a:gd name="T14" fmla="*/ 0 w 647"/>
                <a:gd name="T15" fmla="*/ 131 h 264"/>
                <a:gd name="T16" fmla="*/ 4 w 647"/>
                <a:gd name="T17" fmla="*/ 149 h 264"/>
                <a:gd name="T18" fmla="*/ 10 w 647"/>
                <a:gd name="T19" fmla="*/ 166 h 264"/>
                <a:gd name="T20" fmla="*/ 21 w 647"/>
                <a:gd name="T21" fmla="*/ 179 h 264"/>
                <a:gd name="T22" fmla="*/ 35 w 647"/>
                <a:gd name="T23" fmla="*/ 190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0 h 264"/>
                <a:gd name="T32" fmla="*/ 437 w 647"/>
                <a:gd name="T33" fmla="*/ 238 h 264"/>
                <a:gd name="T34" fmla="*/ 459 w 647"/>
                <a:gd name="T35" fmla="*/ 252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1 h 264"/>
                <a:gd name="T42" fmla="*/ 566 w 647"/>
                <a:gd name="T43" fmla="*/ 253 h 264"/>
                <a:gd name="T44" fmla="*/ 588 w 647"/>
                <a:gd name="T45" fmla="*/ 242 h 264"/>
                <a:gd name="T46" fmla="*/ 607 w 647"/>
                <a:gd name="T47" fmla="*/ 224 h 264"/>
                <a:gd name="T48" fmla="*/ 624 w 647"/>
                <a:gd name="T49" fmla="*/ 205 h 264"/>
                <a:gd name="T50" fmla="*/ 636 w 647"/>
                <a:gd name="T51" fmla="*/ 183 h 264"/>
                <a:gd name="T52" fmla="*/ 644 w 647"/>
                <a:gd name="T53" fmla="*/ 158 h 264"/>
                <a:gd name="T54" fmla="*/ 647 w 647"/>
                <a:gd name="T55" fmla="*/ 131 h 264"/>
                <a:gd name="T56" fmla="*/ 644 w 647"/>
                <a:gd name="T57" fmla="*/ 104 h 264"/>
                <a:gd name="T58" fmla="*/ 636 w 647"/>
                <a:gd name="T59" fmla="*/ 80 h 264"/>
                <a:gd name="T60" fmla="*/ 624 w 647"/>
                <a:gd name="T61" fmla="*/ 57 h 264"/>
                <a:gd name="T62" fmla="*/ 607 w 647"/>
                <a:gd name="T63" fmla="*/ 38 h 264"/>
                <a:gd name="T64" fmla="*/ 588 w 647"/>
                <a:gd name="T65" fmla="*/ 22 h 264"/>
                <a:gd name="T66" fmla="*/ 566 w 647"/>
                <a:gd name="T67" fmla="*/ 9 h 264"/>
                <a:gd name="T68" fmla="*/ 541 w 647"/>
                <a:gd name="T69" fmla="*/ 2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1 h 264"/>
                <a:gd name="T76" fmla="*/ 437 w 647"/>
                <a:gd name="T77" fmla="*/ 24 h 264"/>
                <a:gd name="T78" fmla="*/ 416 w 647"/>
                <a:gd name="T79" fmla="*/ 42 h 264"/>
                <a:gd name="T80" fmla="*/ 400 w 647"/>
                <a:gd name="T81" fmla="*/ 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4"/>
                  </a:moveTo>
                  <a:lnTo>
                    <a:pt x="68" y="64"/>
                  </a:lnTo>
                  <a:lnTo>
                    <a:pt x="51" y="67"/>
                  </a:lnTo>
                  <a:lnTo>
                    <a:pt x="35" y="73"/>
                  </a:lnTo>
                  <a:lnTo>
                    <a:pt x="21" y="84"/>
                  </a:lnTo>
                  <a:lnTo>
                    <a:pt x="10" y="97"/>
                  </a:lnTo>
                  <a:lnTo>
                    <a:pt x="4" y="114"/>
                  </a:lnTo>
                  <a:lnTo>
                    <a:pt x="0" y="131"/>
                  </a:lnTo>
                  <a:lnTo>
                    <a:pt x="4" y="149"/>
                  </a:lnTo>
                  <a:lnTo>
                    <a:pt x="10" y="166"/>
                  </a:lnTo>
                  <a:lnTo>
                    <a:pt x="21" y="179"/>
                  </a:lnTo>
                  <a:lnTo>
                    <a:pt x="35" y="190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0"/>
                  </a:lnTo>
                  <a:lnTo>
                    <a:pt x="437" y="238"/>
                  </a:lnTo>
                  <a:lnTo>
                    <a:pt x="459" y="252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1"/>
                  </a:lnTo>
                  <a:lnTo>
                    <a:pt x="566" y="253"/>
                  </a:lnTo>
                  <a:lnTo>
                    <a:pt x="588" y="242"/>
                  </a:lnTo>
                  <a:lnTo>
                    <a:pt x="607" y="224"/>
                  </a:lnTo>
                  <a:lnTo>
                    <a:pt x="624" y="205"/>
                  </a:lnTo>
                  <a:lnTo>
                    <a:pt x="636" y="183"/>
                  </a:lnTo>
                  <a:lnTo>
                    <a:pt x="644" y="158"/>
                  </a:lnTo>
                  <a:lnTo>
                    <a:pt x="647" y="131"/>
                  </a:lnTo>
                  <a:lnTo>
                    <a:pt x="644" y="104"/>
                  </a:lnTo>
                  <a:lnTo>
                    <a:pt x="636" y="80"/>
                  </a:lnTo>
                  <a:lnTo>
                    <a:pt x="624" y="57"/>
                  </a:lnTo>
                  <a:lnTo>
                    <a:pt x="607" y="38"/>
                  </a:lnTo>
                  <a:lnTo>
                    <a:pt x="588" y="22"/>
                  </a:lnTo>
                  <a:lnTo>
                    <a:pt x="566" y="9"/>
                  </a:lnTo>
                  <a:lnTo>
                    <a:pt x="541" y="2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1"/>
                  </a:lnTo>
                  <a:lnTo>
                    <a:pt x="437" y="24"/>
                  </a:lnTo>
                  <a:lnTo>
                    <a:pt x="416" y="42"/>
                  </a:lnTo>
                  <a:lnTo>
                    <a:pt x="400" y="6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"/>
            <p:cNvSpPr>
              <a:spLocks/>
            </p:cNvSpPr>
            <p:nvPr/>
          </p:nvSpPr>
          <p:spPr bwMode="auto">
            <a:xfrm>
              <a:off x="-413" y="2145"/>
              <a:ext cx="72" cy="30"/>
            </a:xfrm>
            <a:custGeom>
              <a:avLst/>
              <a:gdLst>
                <a:gd name="T0" fmla="*/ 400 w 647"/>
                <a:gd name="T1" fmla="*/ 66 h 265"/>
                <a:gd name="T2" fmla="*/ 68 w 647"/>
                <a:gd name="T3" fmla="*/ 66 h 265"/>
                <a:gd name="T4" fmla="*/ 51 w 647"/>
                <a:gd name="T5" fmla="*/ 68 h 265"/>
                <a:gd name="T6" fmla="*/ 35 w 647"/>
                <a:gd name="T7" fmla="*/ 74 h 265"/>
                <a:gd name="T8" fmla="*/ 21 w 647"/>
                <a:gd name="T9" fmla="*/ 85 h 265"/>
                <a:gd name="T10" fmla="*/ 10 w 647"/>
                <a:gd name="T11" fmla="*/ 99 h 265"/>
                <a:gd name="T12" fmla="*/ 4 w 647"/>
                <a:gd name="T13" fmla="*/ 115 h 265"/>
                <a:gd name="T14" fmla="*/ 0 w 647"/>
                <a:gd name="T15" fmla="*/ 132 h 265"/>
                <a:gd name="T16" fmla="*/ 4 w 647"/>
                <a:gd name="T17" fmla="*/ 151 h 265"/>
                <a:gd name="T18" fmla="*/ 10 w 647"/>
                <a:gd name="T19" fmla="*/ 167 h 265"/>
                <a:gd name="T20" fmla="*/ 21 w 647"/>
                <a:gd name="T21" fmla="*/ 181 h 265"/>
                <a:gd name="T22" fmla="*/ 35 w 647"/>
                <a:gd name="T23" fmla="*/ 191 h 265"/>
                <a:gd name="T24" fmla="*/ 51 w 647"/>
                <a:gd name="T25" fmla="*/ 198 h 265"/>
                <a:gd name="T26" fmla="*/ 68 w 647"/>
                <a:gd name="T27" fmla="*/ 200 h 265"/>
                <a:gd name="T28" fmla="*/ 400 w 647"/>
                <a:gd name="T29" fmla="*/ 200 h 265"/>
                <a:gd name="T30" fmla="*/ 416 w 647"/>
                <a:gd name="T31" fmla="*/ 222 h 265"/>
                <a:gd name="T32" fmla="*/ 437 w 647"/>
                <a:gd name="T33" fmla="*/ 240 h 265"/>
                <a:gd name="T34" fmla="*/ 460 w 647"/>
                <a:gd name="T35" fmla="*/ 253 h 265"/>
                <a:gd name="T36" fmla="*/ 486 w 647"/>
                <a:gd name="T37" fmla="*/ 262 h 265"/>
                <a:gd name="T38" fmla="*/ 514 w 647"/>
                <a:gd name="T39" fmla="*/ 265 h 265"/>
                <a:gd name="T40" fmla="*/ 541 w 647"/>
                <a:gd name="T41" fmla="*/ 263 h 265"/>
                <a:gd name="T42" fmla="*/ 566 w 647"/>
                <a:gd name="T43" fmla="*/ 255 h 265"/>
                <a:gd name="T44" fmla="*/ 588 w 647"/>
                <a:gd name="T45" fmla="*/ 242 h 265"/>
                <a:gd name="T46" fmla="*/ 607 w 647"/>
                <a:gd name="T47" fmla="*/ 226 h 265"/>
                <a:gd name="T48" fmla="*/ 624 w 647"/>
                <a:gd name="T49" fmla="*/ 207 h 265"/>
                <a:gd name="T50" fmla="*/ 636 w 647"/>
                <a:gd name="T51" fmla="*/ 184 h 265"/>
                <a:gd name="T52" fmla="*/ 644 w 647"/>
                <a:gd name="T53" fmla="*/ 160 h 265"/>
                <a:gd name="T54" fmla="*/ 647 w 647"/>
                <a:gd name="T55" fmla="*/ 132 h 265"/>
                <a:gd name="T56" fmla="*/ 644 w 647"/>
                <a:gd name="T57" fmla="*/ 106 h 265"/>
                <a:gd name="T58" fmla="*/ 636 w 647"/>
                <a:gd name="T59" fmla="*/ 82 h 265"/>
                <a:gd name="T60" fmla="*/ 624 w 647"/>
                <a:gd name="T61" fmla="*/ 59 h 265"/>
                <a:gd name="T62" fmla="*/ 607 w 647"/>
                <a:gd name="T63" fmla="*/ 40 h 265"/>
                <a:gd name="T64" fmla="*/ 588 w 647"/>
                <a:gd name="T65" fmla="*/ 24 h 265"/>
                <a:gd name="T66" fmla="*/ 566 w 647"/>
                <a:gd name="T67" fmla="*/ 11 h 265"/>
                <a:gd name="T68" fmla="*/ 541 w 647"/>
                <a:gd name="T69" fmla="*/ 3 h 265"/>
                <a:gd name="T70" fmla="*/ 514 w 647"/>
                <a:gd name="T71" fmla="*/ 0 h 265"/>
                <a:gd name="T72" fmla="*/ 486 w 647"/>
                <a:gd name="T73" fmla="*/ 3 h 265"/>
                <a:gd name="T74" fmla="*/ 460 w 647"/>
                <a:gd name="T75" fmla="*/ 12 h 265"/>
                <a:gd name="T76" fmla="*/ 437 w 647"/>
                <a:gd name="T77" fmla="*/ 26 h 265"/>
                <a:gd name="T78" fmla="*/ 416 w 647"/>
                <a:gd name="T79" fmla="*/ 44 h 265"/>
                <a:gd name="T80" fmla="*/ 400 w 647"/>
                <a:gd name="T81" fmla="*/ 66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5">
                  <a:moveTo>
                    <a:pt x="400" y="66"/>
                  </a:moveTo>
                  <a:lnTo>
                    <a:pt x="68" y="66"/>
                  </a:lnTo>
                  <a:lnTo>
                    <a:pt x="51" y="68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9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1"/>
                  </a:lnTo>
                  <a:lnTo>
                    <a:pt x="10" y="167"/>
                  </a:lnTo>
                  <a:lnTo>
                    <a:pt x="21" y="181"/>
                  </a:lnTo>
                  <a:lnTo>
                    <a:pt x="35" y="191"/>
                  </a:lnTo>
                  <a:lnTo>
                    <a:pt x="51" y="198"/>
                  </a:lnTo>
                  <a:lnTo>
                    <a:pt x="68" y="200"/>
                  </a:lnTo>
                  <a:lnTo>
                    <a:pt x="400" y="200"/>
                  </a:lnTo>
                  <a:lnTo>
                    <a:pt x="416" y="222"/>
                  </a:lnTo>
                  <a:lnTo>
                    <a:pt x="437" y="240"/>
                  </a:lnTo>
                  <a:lnTo>
                    <a:pt x="460" y="253"/>
                  </a:lnTo>
                  <a:lnTo>
                    <a:pt x="486" y="262"/>
                  </a:lnTo>
                  <a:lnTo>
                    <a:pt x="514" y="265"/>
                  </a:lnTo>
                  <a:lnTo>
                    <a:pt x="541" y="263"/>
                  </a:lnTo>
                  <a:lnTo>
                    <a:pt x="566" y="255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2"/>
                  </a:lnTo>
                  <a:lnTo>
                    <a:pt x="644" y="106"/>
                  </a:lnTo>
                  <a:lnTo>
                    <a:pt x="636" y="82"/>
                  </a:lnTo>
                  <a:lnTo>
                    <a:pt x="624" y="59"/>
                  </a:lnTo>
                  <a:lnTo>
                    <a:pt x="607" y="40"/>
                  </a:lnTo>
                  <a:lnTo>
                    <a:pt x="588" y="24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60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2"/>
            <p:cNvSpPr>
              <a:spLocks/>
            </p:cNvSpPr>
            <p:nvPr/>
          </p:nvSpPr>
          <p:spPr bwMode="auto">
            <a:xfrm>
              <a:off x="-413" y="2073"/>
              <a:ext cx="72" cy="29"/>
            </a:xfrm>
            <a:custGeom>
              <a:avLst/>
              <a:gdLst>
                <a:gd name="T0" fmla="*/ 400 w 647"/>
                <a:gd name="T1" fmla="*/ 65 h 264"/>
                <a:gd name="T2" fmla="*/ 68 w 647"/>
                <a:gd name="T3" fmla="*/ 65 h 264"/>
                <a:gd name="T4" fmla="*/ 51 w 647"/>
                <a:gd name="T5" fmla="*/ 67 h 264"/>
                <a:gd name="T6" fmla="*/ 35 w 647"/>
                <a:gd name="T7" fmla="*/ 74 h 264"/>
                <a:gd name="T8" fmla="*/ 21 w 647"/>
                <a:gd name="T9" fmla="*/ 85 h 264"/>
                <a:gd name="T10" fmla="*/ 10 w 647"/>
                <a:gd name="T11" fmla="*/ 98 h 264"/>
                <a:gd name="T12" fmla="*/ 4 w 647"/>
                <a:gd name="T13" fmla="*/ 115 h 264"/>
                <a:gd name="T14" fmla="*/ 0 w 647"/>
                <a:gd name="T15" fmla="*/ 132 h 264"/>
                <a:gd name="T16" fmla="*/ 4 w 647"/>
                <a:gd name="T17" fmla="*/ 150 h 264"/>
                <a:gd name="T18" fmla="*/ 10 w 647"/>
                <a:gd name="T19" fmla="*/ 166 h 264"/>
                <a:gd name="T20" fmla="*/ 21 w 647"/>
                <a:gd name="T21" fmla="*/ 180 h 264"/>
                <a:gd name="T22" fmla="*/ 35 w 647"/>
                <a:gd name="T23" fmla="*/ 191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2 h 264"/>
                <a:gd name="T32" fmla="*/ 437 w 647"/>
                <a:gd name="T33" fmla="*/ 239 h 264"/>
                <a:gd name="T34" fmla="*/ 459 w 647"/>
                <a:gd name="T35" fmla="*/ 253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2 h 264"/>
                <a:gd name="T42" fmla="*/ 566 w 647"/>
                <a:gd name="T43" fmla="*/ 254 h 264"/>
                <a:gd name="T44" fmla="*/ 588 w 647"/>
                <a:gd name="T45" fmla="*/ 242 h 264"/>
                <a:gd name="T46" fmla="*/ 607 w 647"/>
                <a:gd name="T47" fmla="*/ 226 h 264"/>
                <a:gd name="T48" fmla="*/ 624 w 647"/>
                <a:gd name="T49" fmla="*/ 207 h 264"/>
                <a:gd name="T50" fmla="*/ 636 w 647"/>
                <a:gd name="T51" fmla="*/ 184 h 264"/>
                <a:gd name="T52" fmla="*/ 644 w 647"/>
                <a:gd name="T53" fmla="*/ 160 h 264"/>
                <a:gd name="T54" fmla="*/ 647 w 647"/>
                <a:gd name="T55" fmla="*/ 133 h 264"/>
                <a:gd name="T56" fmla="*/ 644 w 647"/>
                <a:gd name="T57" fmla="*/ 106 h 264"/>
                <a:gd name="T58" fmla="*/ 636 w 647"/>
                <a:gd name="T59" fmla="*/ 81 h 264"/>
                <a:gd name="T60" fmla="*/ 624 w 647"/>
                <a:gd name="T61" fmla="*/ 59 h 264"/>
                <a:gd name="T62" fmla="*/ 607 w 647"/>
                <a:gd name="T63" fmla="*/ 39 h 264"/>
                <a:gd name="T64" fmla="*/ 588 w 647"/>
                <a:gd name="T65" fmla="*/ 22 h 264"/>
                <a:gd name="T66" fmla="*/ 566 w 647"/>
                <a:gd name="T67" fmla="*/ 11 h 264"/>
                <a:gd name="T68" fmla="*/ 541 w 647"/>
                <a:gd name="T69" fmla="*/ 3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2 h 264"/>
                <a:gd name="T76" fmla="*/ 437 w 647"/>
                <a:gd name="T77" fmla="*/ 26 h 264"/>
                <a:gd name="T78" fmla="*/ 416 w 647"/>
                <a:gd name="T79" fmla="*/ 44 h 264"/>
                <a:gd name="T80" fmla="*/ 400 w 647"/>
                <a:gd name="T81" fmla="*/ 65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5"/>
                  </a:moveTo>
                  <a:lnTo>
                    <a:pt x="68" y="65"/>
                  </a:lnTo>
                  <a:lnTo>
                    <a:pt x="51" y="67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8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0"/>
                  </a:lnTo>
                  <a:lnTo>
                    <a:pt x="10" y="166"/>
                  </a:lnTo>
                  <a:lnTo>
                    <a:pt x="21" y="180"/>
                  </a:lnTo>
                  <a:lnTo>
                    <a:pt x="35" y="191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2"/>
                  </a:lnTo>
                  <a:lnTo>
                    <a:pt x="437" y="239"/>
                  </a:lnTo>
                  <a:lnTo>
                    <a:pt x="459" y="253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2"/>
                  </a:lnTo>
                  <a:lnTo>
                    <a:pt x="566" y="254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3"/>
                  </a:lnTo>
                  <a:lnTo>
                    <a:pt x="644" y="106"/>
                  </a:lnTo>
                  <a:lnTo>
                    <a:pt x="636" y="81"/>
                  </a:lnTo>
                  <a:lnTo>
                    <a:pt x="624" y="59"/>
                  </a:lnTo>
                  <a:lnTo>
                    <a:pt x="607" y="39"/>
                  </a:lnTo>
                  <a:lnTo>
                    <a:pt x="588" y="22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3"/>
            <p:cNvSpPr>
              <a:spLocks/>
            </p:cNvSpPr>
            <p:nvPr/>
          </p:nvSpPr>
          <p:spPr bwMode="auto">
            <a:xfrm>
              <a:off x="-118" y="2110"/>
              <a:ext cx="91" cy="90"/>
            </a:xfrm>
            <a:custGeom>
              <a:avLst/>
              <a:gdLst>
                <a:gd name="T0" fmla="*/ 537 w 816"/>
                <a:gd name="T1" fmla="*/ 547 h 805"/>
                <a:gd name="T2" fmla="*/ 497 w 816"/>
                <a:gd name="T3" fmla="*/ 587 h 805"/>
                <a:gd name="T4" fmla="*/ 468 w 816"/>
                <a:gd name="T5" fmla="*/ 616 h 805"/>
                <a:gd name="T6" fmla="*/ 447 w 816"/>
                <a:gd name="T7" fmla="*/ 636 h 805"/>
                <a:gd name="T8" fmla="*/ 433 w 816"/>
                <a:gd name="T9" fmla="*/ 650 h 805"/>
                <a:gd name="T10" fmla="*/ 421 w 816"/>
                <a:gd name="T11" fmla="*/ 662 h 805"/>
                <a:gd name="T12" fmla="*/ 410 w 816"/>
                <a:gd name="T13" fmla="*/ 673 h 805"/>
                <a:gd name="T14" fmla="*/ 395 w 816"/>
                <a:gd name="T15" fmla="*/ 688 h 805"/>
                <a:gd name="T16" fmla="*/ 374 w 816"/>
                <a:gd name="T17" fmla="*/ 708 h 805"/>
                <a:gd name="T18" fmla="*/ 345 w 816"/>
                <a:gd name="T19" fmla="*/ 737 h 805"/>
                <a:gd name="T20" fmla="*/ 303 w 816"/>
                <a:gd name="T21" fmla="*/ 779 h 805"/>
                <a:gd name="T22" fmla="*/ 208 w 816"/>
                <a:gd name="T23" fmla="*/ 736 h 805"/>
                <a:gd name="T24" fmla="*/ 68 w 816"/>
                <a:gd name="T25" fmla="*/ 607 h 805"/>
                <a:gd name="T26" fmla="*/ 0 w 816"/>
                <a:gd name="T27" fmla="*/ 538 h 805"/>
                <a:gd name="T28" fmla="*/ 2 w 816"/>
                <a:gd name="T29" fmla="*/ 535 h 805"/>
                <a:gd name="T30" fmla="*/ 37 w 816"/>
                <a:gd name="T31" fmla="*/ 499 h 805"/>
                <a:gd name="T32" fmla="*/ 92 w 816"/>
                <a:gd name="T33" fmla="*/ 446 h 805"/>
                <a:gd name="T34" fmla="*/ 135 w 816"/>
                <a:gd name="T35" fmla="*/ 403 h 805"/>
                <a:gd name="T36" fmla="*/ 169 w 816"/>
                <a:gd name="T37" fmla="*/ 369 h 805"/>
                <a:gd name="T38" fmla="*/ 197 w 816"/>
                <a:gd name="T39" fmla="*/ 341 h 805"/>
                <a:gd name="T40" fmla="*/ 223 w 816"/>
                <a:gd name="T41" fmla="*/ 315 h 805"/>
                <a:gd name="T42" fmla="*/ 248 w 816"/>
                <a:gd name="T43" fmla="*/ 291 h 805"/>
                <a:gd name="T44" fmla="*/ 277 w 816"/>
                <a:gd name="T45" fmla="*/ 263 h 805"/>
                <a:gd name="T46" fmla="*/ 312 w 816"/>
                <a:gd name="T47" fmla="*/ 228 h 805"/>
                <a:gd name="T48" fmla="*/ 356 w 816"/>
                <a:gd name="T49" fmla="*/ 187 h 805"/>
                <a:gd name="T50" fmla="*/ 411 w 816"/>
                <a:gd name="T51" fmla="*/ 133 h 805"/>
                <a:gd name="T52" fmla="*/ 473 w 816"/>
                <a:gd name="T53" fmla="*/ 75 h 805"/>
                <a:gd name="T54" fmla="*/ 540 w 816"/>
                <a:gd name="T55" fmla="*/ 31 h 805"/>
                <a:gd name="T56" fmla="*/ 602 w 816"/>
                <a:gd name="T57" fmla="*/ 4 h 805"/>
                <a:gd name="T58" fmla="*/ 657 w 816"/>
                <a:gd name="T59" fmla="*/ 1 h 805"/>
                <a:gd name="T60" fmla="*/ 709 w 816"/>
                <a:gd name="T61" fmla="*/ 22 h 805"/>
                <a:gd name="T62" fmla="*/ 759 w 816"/>
                <a:gd name="T63" fmla="*/ 60 h 805"/>
                <a:gd name="T64" fmla="*/ 796 w 816"/>
                <a:gd name="T65" fmla="*/ 108 h 805"/>
                <a:gd name="T66" fmla="*/ 815 w 816"/>
                <a:gd name="T67" fmla="*/ 161 h 805"/>
                <a:gd name="T68" fmla="*/ 810 w 816"/>
                <a:gd name="T69" fmla="*/ 217 h 805"/>
                <a:gd name="T70" fmla="*/ 773 w 816"/>
                <a:gd name="T71" fmla="*/ 283 h 805"/>
                <a:gd name="T72" fmla="*/ 717 w 816"/>
                <a:gd name="T73" fmla="*/ 354 h 805"/>
                <a:gd name="T74" fmla="*/ 681 w 816"/>
                <a:gd name="T75" fmla="*/ 398 h 805"/>
                <a:gd name="T76" fmla="*/ 656 w 816"/>
                <a:gd name="T77" fmla="*/ 424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6" h="805">
                  <a:moveTo>
                    <a:pt x="563" y="521"/>
                  </a:moveTo>
                  <a:lnTo>
                    <a:pt x="537" y="547"/>
                  </a:lnTo>
                  <a:lnTo>
                    <a:pt x="516" y="569"/>
                  </a:lnTo>
                  <a:lnTo>
                    <a:pt x="497" y="587"/>
                  </a:lnTo>
                  <a:lnTo>
                    <a:pt x="482" y="603"/>
                  </a:lnTo>
                  <a:lnTo>
                    <a:pt x="468" y="616"/>
                  </a:lnTo>
                  <a:lnTo>
                    <a:pt x="457" y="627"/>
                  </a:lnTo>
                  <a:lnTo>
                    <a:pt x="447" y="636"/>
                  </a:lnTo>
                  <a:lnTo>
                    <a:pt x="440" y="644"/>
                  </a:lnTo>
                  <a:lnTo>
                    <a:pt x="433" y="650"/>
                  </a:lnTo>
                  <a:lnTo>
                    <a:pt x="427" y="657"/>
                  </a:lnTo>
                  <a:lnTo>
                    <a:pt x="421" y="662"/>
                  </a:lnTo>
                  <a:lnTo>
                    <a:pt x="416" y="668"/>
                  </a:lnTo>
                  <a:lnTo>
                    <a:pt x="410" y="673"/>
                  </a:lnTo>
                  <a:lnTo>
                    <a:pt x="403" y="679"/>
                  </a:lnTo>
                  <a:lnTo>
                    <a:pt x="395" y="688"/>
                  </a:lnTo>
                  <a:lnTo>
                    <a:pt x="386" y="696"/>
                  </a:lnTo>
                  <a:lnTo>
                    <a:pt x="374" y="708"/>
                  </a:lnTo>
                  <a:lnTo>
                    <a:pt x="361" y="721"/>
                  </a:lnTo>
                  <a:lnTo>
                    <a:pt x="345" y="737"/>
                  </a:lnTo>
                  <a:lnTo>
                    <a:pt x="326" y="756"/>
                  </a:lnTo>
                  <a:lnTo>
                    <a:pt x="303" y="779"/>
                  </a:lnTo>
                  <a:lnTo>
                    <a:pt x="277" y="805"/>
                  </a:lnTo>
                  <a:lnTo>
                    <a:pt x="208" y="736"/>
                  </a:lnTo>
                  <a:lnTo>
                    <a:pt x="138" y="671"/>
                  </a:lnTo>
                  <a:lnTo>
                    <a:pt x="68" y="607"/>
                  </a:lnTo>
                  <a:lnTo>
                    <a:pt x="0" y="539"/>
                  </a:lnTo>
                  <a:lnTo>
                    <a:pt x="0" y="538"/>
                  </a:lnTo>
                  <a:lnTo>
                    <a:pt x="1" y="537"/>
                  </a:lnTo>
                  <a:lnTo>
                    <a:pt x="2" y="535"/>
                  </a:lnTo>
                  <a:lnTo>
                    <a:pt x="3" y="533"/>
                  </a:lnTo>
                  <a:lnTo>
                    <a:pt x="37" y="499"/>
                  </a:lnTo>
                  <a:lnTo>
                    <a:pt x="66" y="472"/>
                  </a:lnTo>
                  <a:lnTo>
                    <a:pt x="92" y="446"/>
                  </a:lnTo>
                  <a:lnTo>
                    <a:pt x="114" y="423"/>
                  </a:lnTo>
                  <a:lnTo>
                    <a:pt x="135" y="403"/>
                  </a:lnTo>
                  <a:lnTo>
                    <a:pt x="152" y="385"/>
                  </a:lnTo>
                  <a:lnTo>
                    <a:pt x="169" y="369"/>
                  </a:lnTo>
                  <a:lnTo>
                    <a:pt x="183" y="355"/>
                  </a:lnTo>
                  <a:lnTo>
                    <a:pt x="197" y="341"/>
                  </a:lnTo>
                  <a:lnTo>
                    <a:pt x="210" y="328"/>
                  </a:lnTo>
                  <a:lnTo>
                    <a:pt x="223" y="315"/>
                  </a:lnTo>
                  <a:lnTo>
                    <a:pt x="236" y="303"/>
                  </a:lnTo>
                  <a:lnTo>
                    <a:pt x="248" y="291"/>
                  </a:lnTo>
                  <a:lnTo>
                    <a:pt x="262" y="277"/>
                  </a:lnTo>
                  <a:lnTo>
                    <a:pt x="277" y="263"/>
                  </a:lnTo>
                  <a:lnTo>
                    <a:pt x="294" y="247"/>
                  </a:lnTo>
                  <a:lnTo>
                    <a:pt x="312" y="228"/>
                  </a:lnTo>
                  <a:lnTo>
                    <a:pt x="332" y="209"/>
                  </a:lnTo>
                  <a:lnTo>
                    <a:pt x="356" y="187"/>
                  </a:lnTo>
                  <a:lnTo>
                    <a:pt x="382" y="161"/>
                  </a:lnTo>
                  <a:lnTo>
                    <a:pt x="411" y="133"/>
                  </a:lnTo>
                  <a:lnTo>
                    <a:pt x="443" y="101"/>
                  </a:lnTo>
                  <a:lnTo>
                    <a:pt x="473" y="75"/>
                  </a:lnTo>
                  <a:lnTo>
                    <a:pt x="505" y="52"/>
                  </a:lnTo>
                  <a:lnTo>
                    <a:pt x="540" y="31"/>
                  </a:lnTo>
                  <a:lnTo>
                    <a:pt x="574" y="14"/>
                  </a:lnTo>
                  <a:lnTo>
                    <a:pt x="602" y="4"/>
                  </a:lnTo>
                  <a:lnTo>
                    <a:pt x="630" y="0"/>
                  </a:lnTo>
                  <a:lnTo>
                    <a:pt x="657" y="1"/>
                  </a:lnTo>
                  <a:lnTo>
                    <a:pt x="684" y="9"/>
                  </a:lnTo>
                  <a:lnTo>
                    <a:pt x="709" y="22"/>
                  </a:lnTo>
                  <a:lnTo>
                    <a:pt x="734" y="39"/>
                  </a:lnTo>
                  <a:lnTo>
                    <a:pt x="759" y="60"/>
                  </a:lnTo>
                  <a:lnTo>
                    <a:pt x="780" y="84"/>
                  </a:lnTo>
                  <a:lnTo>
                    <a:pt x="796" y="108"/>
                  </a:lnTo>
                  <a:lnTo>
                    <a:pt x="808" y="134"/>
                  </a:lnTo>
                  <a:lnTo>
                    <a:pt x="815" y="161"/>
                  </a:lnTo>
                  <a:lnTo>
                    <a:pt x="816" y="188"/>
                  </a:lnTo>
                  <a:lnTo>
                    <a:pt x="810" y="217"/>
                  </a:lnTo>
                  <a:lnTo>
                    <a:pt x="798" y="246"/>
                  </a:lnTo>
                  <a:lnTo>
                    <a:pt x="773" y="283"/>
                  </a:lnTo>
                  <a:lnTo>
                    <a:pt x="746" y="319"/>
                  </a:lnTo>
                  <a:lnTo>
                    <a:pt x="717" y="354"/>
                  </a:lnTo>
                  <a:lnTo>
                    <a:pt x="689" y="389"/>
                  </a:lnTo>
                  <a:lnTo>
                    <a:pt x="681" y="398"/>
                  </a:lnTo>
                  <a:lnTo>
                    <a:pt x="674" y="407"/>
                  </a:lnTo>
                  <a:lnTo>
                    <a:pt x="656" y="424"/>
                  </a:lnTo>
                  <a:lnTo>
                    <a:pt x="563" y="5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4"/>
            <p:cNvSpPr>
              <a:spLocks/>
            </p:cNvSpPr>
            <p:nvPr/>
          </p:nvSpPr>
          <p:spPr bwMode="auto">
            <a:xfrm>
              <a:off x="-89" y="2158"/>
              <a:ext cx="69" cy="70"/>
            </a:xfrm>
            <a:custGeom>
              <a:avLst/>
              <a:gdLst>
                <a:gd name="T0" fmla="*/ 606 w 629"/>
                <a:gd name="T1" fmla="*/ 105 h 630"/>
                <a:gd name="T2" fmla="*/ 517 w 629"/>
                <a:gd name="T3" fmla="*/ 196 h 630"/>
                <a:gd name="T4" fmla="*/ 427 w 629"/>
                <a:gd name="T5" fmla="*/ 286 h 630"/>
                <a:gd name="T6" fmla="*/ 106 w 629"/>
                <a:gd name="T7" fmla="*/ 605 h 630"/>
                <a:gd name="T8" fmla="*/ 94 w 629"/>
                <a:gd name="T9" fmla="*/ 618 h 630"/>
                <a:gd name="T10" fmla="*/ 78 w 629"/>
                <a:gd name="T11" fmla="*/ 625 h 630"/>
                <a:gd name="T12" fmla="*/ 63 w 629"/>
                <a:gd name="T13" fmla="*/ 630 h 630"/>
                <a:gd name="T14" fmla="*/ 47 w 629"/>
                <a:gd name="T15" fmla="*/ 630 h 630"/>
                <a:gd name="T16" fmla="*/ 30 w 629"/>
                <a:gd name="T17" fmla="*/ 622 h 630"/>
                <a:gd name="T18" fmla="*/ 16 w 629"/>
                <a:gd name="T19" fmla="*/ 613 h 630"/>
                <a:gd name="T20" fmla="*/ 6 w 629"/>
                <a:gd name="T21" fmla="*/ 601 h 630"/>
                <a:gd name="T22" fmla="*/ 1 w 629"/>
                <a:gd name="T23" fmla="*/ 588 h 630"/>
                <a:gd name="T24" fmla="*/ 0 w 629"/>
                <a:gd name="T25" fmla="*/ 573 h 630"/>
                <a:gd name="T26" fmla="*/ 3 w 629"/>
                <a:gd name="T27" fmla="*/ 557 h 630"/>
                <a:gd name="T28" fmla="*/ 10 w 629"/>
                <a:gd name="T29" fmla="*/ 543 h 630"/>
                <a:gd name="T30" fmla="*/ 20 w 629"/>
                <a:gd name="T31" fmla="*/ 530 h 630"/>
                <a:gd name="T32" fmla="*/ 32 w 629"/>
                <a:gd name="T33" fmla="*/ 517 h 630"/>
                <a:gd name="T34" fmla="*/ 48 w 629"/>
                <a:gd name="T35" fmla="*/ 501 h 630"/>
                <a:gd name="T36" fmla="*/ 68 w 629"/>
                <a:gd name="T37" fmla="*/ 482 h 630"/>
                <a:gd name="T38" fmla="*/ 88 w 629"/>
                <a:gd name="T39" fmla="*/ 461 h 630"/>
                <a:gd name="T40" fmla="*/ 112 w 629"/>
                <a:gd name="T41" fmla="*/ 438 h 630"/>
                <a:gd name="T42" fmla="*/ 136 w 629"/>
                <a:gd name="T43" fmla="*/ 413 h 630"/>
                <a:gd name="T44" fmla="*/ 162 w 629"/>
                <a:gd name="T45" fmla="*/ 387 h 630"/>
                <a:gd name="T46" fmla="*/ 189 w 629"/>
                <a:gd name="T47" fmla="*/ 360 h 630"/>
                <a:gd name="T48" fmla="*/ 217 w 629"/>
                <a:gd name="T49" fmla="*/ 332 h 630"/>
                <a:gd name="T50" fmla="*/ 246 w 629"/>
                <a:gd name="T51" fmla="*/ 303 h 630"/>
                <a:gd name="T52" fmla="*/ 275 w 629"/>
                <a:gd name="T53" fmla="*/ 274 h 630"/>
                <a:gd name="T54" fmla="*/ 303 w 629"/>
                <a:gd name="T55" fmla="*/ 246 h 630"/>
                <a:gd name="T56" fmla="*/ 331 w 629"/>
                <a:gd name="T57" fmla="*/ 217 h 630"/>
                <a:gd name="T58" fmla="*/ 359 w 629"/>
                <a:gd name="T59" fmla="*/ 191 h 630"/>
                <a:gd name="T60" fmla="*/ 385 w 629"/>
                <a:gd name="T61" fmla="*/ 164 h 630"/>
                <a:gd name="T62" fmla="*/ 409 w 629"/>
                <a:gd name="T63" fmla="*/ 139 h 630"/>
                <a:gd name="T64" fmla="*/ 433 w 629"/>
                <a:gd name="T65" fmla="*/ 116 h 630"/>
                <a:gd name="T66" fmla="*/ 455 w 629"/>
                <a:gd name="T67" fmla="*/ 94 h 630"/>
                <a:gd name="T68" fmla="*/ 474 w 629"/>
                <a:gd name="T69" fmla="*/ 75 h 630"/>
                <a:gd name="T70" fmla="*/ 491 w 629"/>
                <a:gd name="T71" fmla="*/ 59 h 630"/>
                <a:gd name="T72" fmla="*/ 505 w 629"/>
                <a:gd name="T73" fmla="*/ 45 h 630"/>
                <a:gd name="T74" fmla="*/ 516 w 629"/>
                <a:gd name="T75" fmla="*/ 34 h 630"/>
                <a:gd name="T76" fmla="*/ 523 w 629"/>
                <a:gd name="T77" fmla="*/ 27 h 630"/>
                <a:gd name="T78" fmla="*/ 527 w 629"/>
                <a:gd name="T79" fmla="*/ 22 h 630"/>
                <a:gd name="T80" fmla="*/ 546 w 629"/>
                <a:gd name="T81" fmla="*/ 9 h 630"/>
                <a:gd name="T82" fmla="*/ 564 w 629"/>
                <a:gd name="T83" fmla="*/ 1 h 630"/>
                <a:gd name="T84" fmla="*/ 581 w 629"/>
                <a:gd name="T85" fmla="*/ 0 h 630"/>
                <a:gd name="T86" fmla="*/ 599 w 629"/>
                <a:gd name="T87" fmla="*/ 6 h 630"/>
                <a:gd name="T88" fmla="*/ 615 w 629"/>
                <a:gd name="T89" fmla="*/ 19 h 630"/>
                <a:gd name="T90" fmla="*/ 623 w 629"/>
                <a:gd name="T91" fmla="*/ 31 h 630"/>
                <a:gd name="T92" fmla="*/ 629 w 629"/>
                <a:gd name="T93" fmla="*/ 45 h 630"/>
                <a:gd name="T94" fmla="*/ 629 w 629"/>
                <a:gd name="T95" fmla="*/ 60 h 630"/>
                <a:gd name="T96" fmla="*/ 625 w 629"/>
                <a:gd name="T97" fmla="*/ 75 h 630"/>
                <a:gd name="T98" fmla="*/ 618 w 629"/>
                <a:gd name="T99" fmla="*/ 90 h 630"/>
                <a:gd name="T100" fmla="*/ 606 w 629"/>
                <a:gd name="T101" fmla="*/ 105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9" h="630">
                  <a:moveTo>
                    <a:pt x="606" y="105"/>
                  </a:moveTo>
                  <a:lnTo>
                    <a:pt x="517" y="196"/>
                  </a:lnTo>
                  <a:lnTo>
                    <a:pt x="427" y="286"/>
                  </a:lnTo>
                  <a:lnTo>
                    <a:pt x="106" y="605"/>
                  </a:lnTo>
                  <a:lnTo>
                    <a:pt x="94" y="618"/>
                  </a:lnTo>
                  <a:lnTo>
                    <a:pt x="78" y="625"/>
                  </a:lnTo>
                  <a:lnTo>
                    <a:pt x="63" y="630"/>
                  </a:lnTo>
                  <a:lnTo>
                    <a:pt x="47" y="630"/>
                  </a:lnTo>
                  <a:lnTo>
                    <a:pt x="30" y="622"/>
                  </a:lnTo>
                  <a:lnTo>
                    <a:pt x="16" y="613"/>
                  </a:lnTo>
                  <a:lnTo>
                    <a:pt x="6" y="601"/>
                  </a:lnTo>
                  <a:lnTo>
                    <a:pt x="1" y="588"/>
                  </a:lnTo>
                  <a:lnTo>
                    <a:pt x="0" y="573"/>
                  </a:lnTo>
                  <a:lnTo>
                    <a:pt x="3" y="557"/>
                  </a:lnTo>
                  <a:lnTo>
                    <a:pt x="10" y="543"/>
                  </a:lnTo>
                  <a:lnTo>
                    <a:pt x="20" y="530"/>
                  </a:lnTo>
                  <a:lnTo>
                    <a:pt x="32" y="517"/>
                  </a:lnTo>
                  <a:lnTo>
                    <a:pt x="48" y="501"/>
                  </a:lnTo>
                  <a:lnTo>
                    <a:pt x="68" y="482"/>
                  </a:lnTo>
                  <a:lnTo>
                    <a:pt x="88" y="461"/>
                  </a:lnTo>
                  <a:lnTo>
                    <a:pt x="112" y="438"/>
                  </a:lnTo>
                  <a:lnTo>
                    <a:pt x="136" y="413"/>
                  </a:lnTo>
                  <a:lnTo>
                    <a:pt x="162" y="387"/>
                  </a:lnTo>
                  <a:lnTo>
                    <a:pt x="189" y="360"/>
                  </a:lnTo>
                  <a:lnTo>
                    <a:pt x="217" y="332"/>
                  </a:lnTo>
                  <a:lnTo>
                    <a:pt x="246" y="303"/>
                  </a:lnTo>
                  <a:lnTo>
                    <a:pt x="275" y="274"/>
                  </a:lnTo>
                  <a:lnTo>
                    <a:pt x="303" y="246"/>
                  </a:lnTo>
                  <a:lnTo>
                    <a:pt x="331" y="217"/>
                  </a:lnTo>
                  <a:lnTo>
                    <a:pt x="359" y="191"/>
                  </a:lnTo>
                  <a:lnTo>
                    <a:pt x="385" y="164"/>
                  </a:lnTo>
                  <a:lnTo>
                    <a:pt x="409" y="139"/>
                  </a:lnTo>
                  <a:lnTo>
                    <a:pt x="433" y="116"/>
                  </a:lnTo>
                  <a:lnTo>
                    <a:pt x="455" y="94"/>
                  </a:lnTo>
                  <a:lnTo>
                    <a:pt x="474" y="75"/>
                  </a:lnTo>
                  <a:lnTo>
                    <a:pt x="491" y="59"/>
                  </a:lnTo>
                  <a:lnTo>
                    <a:pt x="505" y="45"/>
                  </a:lnTo>
                  <a:lnTo>
                    <a:pt x="516" y="34"/>
                  </a:lnTo>
                  <a:lnTo>
                    <a:pt x="523" y="27"/>
                  </a:lnTo>
                  <a:lnTo>
                    <a:pt x="527" y="22"/>
                  </a:lnTo>
                  <a:lnTo>
                    <a:pt x="546" y="9"/>
                  </a:lnTo>
                  <a:lnTo>
                    <a:pt x="564" y="1"/>
                  </a:lnTo>
                  <a:lnTo>
                    <a:pt x="581" y="0"/>
                  </a:lnTo>
                  <a:lnTo>
                    <a:pt x="599" y="6"/>
                  </a:lnTo>
                  <a:lnTo>
                    <a:pt x="615" y="19"/>
                  </a:lnTo>
                  <a:lnTo>
                    <a:pt x="623" y="31"/>
                  </a:lnTo>
                  <a:lnTo>
                    <a:pt x="629" y="45"/>
                  </a:lnTo>
                  <a:lnTo>
                    <a:pt x="629" y="60"/>
                  </a:lnTo>
                  <a:lnTo>
                    <a:pt x="625" y="75"/>
                  </a:lnTo>
                  <a:lnTo>
                    <a:pt x="618" y="90"/>
                  </a:lnTo>
                  <a:lnTo>
                    <a:pt x="606" y="1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5"/>
            <p:cNvSpPr>
              <a:spLocks/>
            </p:cNvSpPr>
            <p:nvPr/>
          </p:nvSpPr>
          <p:spPr bwMode="auto">
            <a:xfrm>
              <a:off x="-312" y="2031"/>
              <a:ext cx="180" cy="13"/>
            </a:xfrm>
            <a:custGeom>
              <a:avLst/>
              <a:gdLst>
                <a:gd name="T0" fmla="*/ 1615 w 1615"/>
                <a:gd name="T1" fmla="*/ 61 h 123"/>
                <a:gd name="T2" fmla="*/ 1612 w 1615"/>
                <a:gd name="T3" fmla="*/ 81 h 123"/>
                <a:gd name="T4" fmla="*/ 1603 w 1615"/>
                <a:gd name="T5" fmla="*/ 98 h 123"/>
                <a:gd name="T6" fmla="*/ 1590 w 1615"/>
                <a:gd name="T7" fmla="*/ 111 h 123"/>
                <a:gd name="T8" fmla="*/ 1573 w 1615"/>
                <a:gd name="T9" fmla="*/ 120 h 123"/>
                <a:gd name="T10" fmla="*/ 1554 w 1615"/>
                <a:gd name="T11" fmla="*/ 123 h 123"/>
                <a:gd name="T12" fmla="*/ 61 w 1615"/>
                <a:gd name="T13" fmla="*/ 123 h 123"/>
                <a:gd name="T14" fmla="*/ 42 w 1615"/>
                <a:gd name="T15" fmla="*/ 120 h 123"/>
                <a:gd name="T16" fmla="*/ 25 w 1615"/>
                <a:gd name="T17" fmla="*/ 111 h 123"/>
                <a:gd name="T18" fmla="*/ 12 w 1615"/>
                <a:gd name="T19" fmla="*/ 98 h 123"/>
                <a:gd name="T20" fmla="*/ 3 w 1615"/>
                <a:gd name="T21" fmla="*/ 81 h 123"/>
                <a:gd name="T22" fmla="*/ 0 w 1615"/>
                <a:gd name="T23" fmla="*/ 61 h 123"/>
                <a:gd name="T24" fmla="*/ 3 w 1615"/>
                <a:gd name="T25" fmla="*/ 42 h 123"/>
                <a:gd name="T26" fmla="*/ 12 w 1615"/>
                <a:gd name="T27" fmla="*/ 25 h 123"/>
                <a:gd name="T28" fmla="*/ 25 w 1615"/>
                <a:gd name="T29" fmla="*/ 12 h 123"/>
                <a:gd name="T30" fmla="*/ 42 w 1615"/>
                <a:gd name="T31" fmla="*/ 3 h 123"/>
                <a:gd name="T32" fmla="*/ 61 w 1615"/>
                <a:gd name="T33" fmla="*/ 0 h 123"/>
                <a:gd name="T34" fmla="*/ 1554 w 1615"/>
                <a:gd name="T35" fmla="*/ 0 h 123"/>
                <a:gd name="T36" fmla="*/ 1573 w 1615"/>
                <a:gd name="T37" fmla="*/ 3 h 123"/>
                <a:gd name="T38" fmla="*/ 1590 w 1615"/>
                <a:gd name="T39" fmla="*/ 12 h 123"/>
                <a:gd name="T40" fmla="*/ 1603 w 1615"/>
                <a:gd name="T41" fmla="*/ 25 h 123"/>
                <a:gd name="T42" fmla="*/ 1612 w 1615"/>
                <a:gd name="T43" fmla="*/ 42 h 123"/>
                <a:gd name="T44" fmla="*/ 1615 w 1615"/>
                <a:gd name="T45" fmla="*/ 6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3">
                  <a:moveTo>
                    <a:pt x="1615" y="61"/>
                  </a:moveTo>
                  <a:lnTo>
                    <a:pt x="1612" y="81"/>
                  </a:lnTo>
                  <a:lnTo>
                    <a:pt x="1603" y="98"/>
                  </a:lnTo>
                  <a:lnTo>
                    <a:pt x="1590" y="111"/>
                  </a:lnTo>
                  <a:lnTo>
                    <a:pt x="1573" y="120"/>
                  </a:lnTo>
                  <a:lnTo>
                    <a:pt x="1554" y="123"/>
                  </a:lnTo>
                  <a:lnTo>
                    <a:pt x="61" y="123"/>
                  </a:lnTo>
                  <a:lnTo>
                    <a:pt x="42" y="120"/>
                  </a:lnTo>
                  <a:lnTo>
                    <a:pt x="25" y="111"/>
                  </a:lnTo>
                  <a:lnTo>
                    <a:pt x="12" y="98"/>
                  </a:lnTo>
                  <a:lnTo>
                    <a:pt x="3" y="81"/>
                  </a:lnTo>
                  <a:lnTo>
                    <a:pt x="0" y="61"/>
                  </a:lnTo>
                  <a:lnTo>
                    <a:pt x="3" y="42"/>
                  </a:lnTo>
                  <a:lnTo>
                    <a:pt x="12" y="25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3"/>
                  </a:lnTo>
                  <a:lnTo>
                    <a:pt x="1590" y="12"/>
                  </a:lnTo>
                  <a:lnTo>
                    <a:pt x="1603" y="25"/>
                  </a:lnTo>
                  <a:lnTo>
                    <a:pt x="1612" y="42"/>
                  </a:lnTo>
                  <a:lnTo>
                    <a:pt x="161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6"/>
            <p:cNvSpPr>
              <a:spLocks/>
            </p:cNvSpPr>
            <p:nvPr/>
          </p:nvSpPr>
          <p:spPr bwMode="auto">
            <a:xfrm>
              <a:off x="-312" y="2092"/>
              <a:ext cx="180" cy="14"/>
            </a:xfrm>
            <a:custGeom>
              <a:avLst/>
              <a:gdLst>
                <a:gd name="T0" fmla="*/ 1615 w 1615"/>
                <a:gd name="T1" fmla="*/ 63 h 124"/>
                <a:gd name="T2" fmla="*/ 1612 w 1615"/>
                <a:gd name="T3" fmla="*/ 82 h 124"/>
                <a:gd name="T4" fmla="*/ 1603 w 1615"/>
                <a:gd name="T5" fmla="*/ 99 h 124"/>
                <a:gd name="T6" fmla="*/ 1590 w 1615"/>
                <a:gd name="T7" fmla="*/ 112 h 124"/>
                <a:gd name="T8" fmla="*/ 1573 w 1615"/>
                <a:gd name="T9" fmla="*/ 120 h 124"/>
                <a:gd name="T10" fmla="*/ 1554 w 1615"/>
                <a:gd name="T11" fmla="*/ 124 h 124"/>
                <a:gd name="T12" fmla="*/ 61 w 1615"/>
                <a:gd name="T13" fmla="*/ 124 h 124"/>
                <a:gd name="T14" fmla="*/ 42 w 1615"/>
                <a:gd name="T15" fmla="*/ 120 h 124"/>
                <a:gd name="T16" fmla="*/ 25 w 1615"/>
                <a:gd name="T17" fmla="*/ 112 h 124"/>
                <a:gd name="T18" fmla="*/ 12 w 1615"/>
                <a:gd name="T19" fmla="*/ 99 h 124"/>
                <a:gd name="T20" fmla="*/ 3 w 1615"/>
                <a:gd name="T21" fmla="*/ 82 h 124"/>
                <a:gd name="T22" fmla="*/ 0 w 1615"/>
                <a:gd name="T23" fmla="*/ 63 h 124"/>
                <a:gd name="T24" fmla="*/ 3 w 1615"/>
                <a:gd name="T25" fmla="*/ 43 h 124"/>
                <a:gd name="T26" fmla="*/ 12 w 1615"/>
                <a:gd name="T27" fmla="*/ 26 h 124"/>
                <a:gd name="T28" fmla="*/ 25 w 1615"/>
                <a:gd name="T29" fmla="*/ 12 h 124"/>
                <a:gd name="T30" fmla="*/ 42 w 1615"/>
                <a:gd name="T31" fmla="*/ 4 h 124"/>
                <a:gd name="T32" fmla="*/ 61 w 1615"/>
                <a:gd name="T33" fmla="*/ 0 h 124"/>
                <a:gd name="T34" fmla="*/ 1554 w 1615"/>
                <a:gd name="T35" fmla="*/ 0 h 124"/>
                <a:gd name="T36" fmla="*/ 1573 w 1615"/>
                <a:gd name="T37" fmla="*/ 4 h 124"/>
                <a:gd name="T38" fmla="*/ 1590 w 1615"/>
                <a:gd name="T39" fmla="*/ 12 h 124"/>
                <a:gd name="T40" fmla="*/ 1603 w 1615"/>
                <a:gd name="T41" fmla="*/ 26 h 124"/>
                <a:gd name="T42" fmla="*/ 1612 w 1615"/>
                <a:gd name="T43" fmla="*/ 43 h 124"/>
                <a:gd name="T44" fmla="*/ 1615 w 1615"/>
                <a:gd name="T45" fmla="*/ 6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4">
                  <a:moveTo>
                    <a:pt x="1615" y="63"/>
                  </a:moveTo>
                  <a:lnTo>
                    <a:pt x="1612" y="82"/>
                  </a:lnTo>
                  <a:lnTo>
                    <a:pt x="1603" y="99"/>
                  </a:lnTo>
                  <a:lnTo>
                    <a:pt x="1590" y="112"/>
                  </a:lnTo>
                  <a:lnTo>
                    <a:pt x="1573" y="120"/>
                  </a:lnTo>
                  <a:lnTo>
                    <a:pt x="1554" y="124"/>
                  </a:lnTo>
                  <a:lnTo>
                    <a:pt x="61" y="124"/>
                  </a:lnTo>
                  <a:lnTo>
                    <a:pt x="42" y="120"/>
                  </a:lnTo>
                  <a:lnTo>
                    <a:pt x="25" y="112"/>
                  </a:lnTo>
                  <a:lnTo>
                    <a:pt x="12" y="99"/>
                  </a:lnTo>
                  <a:lnTo>
                    <a:pt x="3" y="82"/>
                  </a:lnTo>
                  <a:lnTo>
                    <a:pt x="0" y="63"/>
                  </a:lnTo>
                  <a:lnTo>
                    <a:pt x="3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4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4"/>
                  </a:lnTo>
                  <a:lnTo>
                    <a:pt x="1590" y="12"/>
                  </a:lnTo>
                  <a:lnTo>
                    <a:pt x="1603" y="26"/>
                  </a:lnTo>
                  <a:lnTo>
                    <a:pt x="1612" y="43"/>
                  </a:lnTo>
                  <a:lnTo>
                    <a:pt x="1615" y="6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7"/>
            <p:cNvSpPr>
              <a:spLocks/>
            </p:cNvSpPr>
            <p:nvPr/>
          </p:nvSpPr>
          <p:spPr bwMode="auto">
            <a:xfrm>
              <a:off x="-312" y="2153"/>
              <a:ext cx="179" cy="14"/>
            </a:xfrm>
            <a:custGeom>
              <a:avLst/>
              <a:gdLst>
                <a:gd name="T0" fmla="*/ 1614 w 1614"/>
                <a:gd name="T1" fmla="*/ 49 h 124"/>
                <a:gd name="T2" fmla="*/ 1540 w 1614"/>
                <a:gd name="T3" fmla="*/ 124 h 124"/>
                <a:gd name="T4" fmla="*/ 61 w 1614"/>
                <a:gd name="T5" fmla="*/ 124 h 124"/>
                <a:gd name="T6" fmla="*/ 42 w 1614"/>
                <a:gd name="T7" fmla="*/ 121 h 124"/>
                <a:gd name="T8" fmla="*/ 25 w 1614"/>
                <a:gd name="T9" fmla="*/ 112 h 124"/>
                <a:gd name="T10" fmla="*/ 12 w 1614"/>
                <a:gd name="T11" fmla="*/ 98 h 124"/>
                <a:gd name="T12" fmla="*/ 2 w 1614"/>
                <a:gd name="T13" fmla="*/ 81 h 124"/>
                <a:gd name="T14" fmla="*/ 0 w 1614"/>
                <a:gd name="T15" fmla="*/ 62 h 124"/>
                <a:gd name="T16" fmla="*/ 2 w 1614"/>
                <a:gd name="T17" fmla="*/ 43 h 124"/>
                <a:gd name="T18" fmla="*/ 12 w 1614"/>
                <a:gd name="T19" fmla="*/ 26 h 124"/>
                <a:gd name="T20" fmla="*/ 25 w 1614"/>
                <a:gd name="T21" fmla="*/ 12 h 124"/>
                <a:gd name="T22" fmla="*/ 42 w 1614"/>
                <a:gd name="T23" fmla="*/ 3 h 124"/>
                <a:gd name="T24" fmla="*/ 61 w 1614"/>
                <a:gd name="T25" fmla="*/ 0 h 124"/>
                <a:gd name="T26" fmla="*/ 1554 w 1614"/>
                <a:gd name="T27" fmla="*/ 0 h 124"/>
                <a:gd name="T28" fmla="*/ 1571 w 1614"/>
                <a:gd name="T29" fmla="*/ 3 h 124"/>
                <a:gd name="T30" fmla="*/ 1586 w 1614"/>
                <a:gd name="T31" fmla="*/ 10 h 124"/>
                <a:gd name="T32" fmla="*/ 1599 w 1614"/>
                <a:gd name="T33" fmla="*/ 20 h 124"/>
                <a:gd name="T34" fmla="*/ 1609 w 1614"/>
                <a:gd name="T35" fmla="*/ 33 h 124"/>
                <a:gd name="T36" fmla="*/ 1614 w 1614"/>
                <a:gd name="T37" fmla="*/ 49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14" h="124">
                  <a:moveTo>
                    <a:pt x="1614" y="49"/>
                  </a:moveTo>
                  <a:lnTo>
                    <a:pt x="1540" y="124"/>
                  </a:lnTo>
                  <a:lnTo>
                    <a:pt x="61" y="124"/>
                  </a:lnTo>
                  <a:lnTo>
                    <a:pt x="42" y="121"/>
                  </a:lnTo>
                  <a:lnTo>
                    <a:pt x="25" y="112"/>
                  </a:lnTo>
                  <a:lnTo>
                    <a:pt x="12" y="98"/>
                  </a:lnTo>
                  <a:lnTo>
                    <a:pt x="2" y="81"/>
                  </a:lnTo>
                  <a:lnTo>
                    <a:pt x="0" y="62"/>
                  </a:lnTo>
                  <a:lnTo>
                    <a:pt x="2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1" y="3"/>
                  </a:lnTo>
                  <a:lnTo>
                    <a:pt x="1586" y="10"/>
                  </a:lnTo>
                  <a:lnTo>
                    <a:pt x="1599" y="20"/>
                  </a:lnTo>
                  <a:lnTo>
                    <a:pt x="1609" y="33"/>
                  </a:lnTo>
                  <a:lnTo>
                    <a:pt x="1614" y="4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18"/>
            <p:cNvSpPr>
              <a:spLocks/>
            </p:cNvSpPr>
            <p:nvPr/>
          </p:nvSpPr>
          <p:spPr bwMode="auto">
            <a:xfrm>
              <a:off x="-224" y="2177"/>
              <a:ext cx="129" cy="132"/>
            </a:xfrm>
            <a:custGeom>
              <a:avLst/>
              <a:gdLst>
                <a:gd name="T0" fmla="*/ 1155 w 1157"/>
                <a:gd name="T1" fmla="*/ 280 h 1183"/>
                <a:gd name="T2" fmla="*/ 1140 w 1157"/>
                <a:gd name="T3" fmla="*/ 296 h 1183"/>
                <a:gd name="T4" fmla="*/ 1111 w 1157"/>
                <a:gd name="T5" fmla="*/ 325 h 1183"/>
                <a:gd name="T6" fmla="*/ 1070 w 1157"/>
                <a:gd name="T7" fmla="*/ 367 h 1183"/>
                <a:gd name="T8" fmla="*/ 1020 w 1157"/>
                <a:gd name="T9" fmla="*/ 417 h 1183"/>
                <a:gd name="T10" fmla="*/ 963 w 1157"/>
                <a:gd name="T11" fmla="*/ 475 h 1183"/>
                <a:gd name="T12" fmla="*/ 899 w 1157"/>
                <a:gd name="T13" fmla="*/ 537 h 1183"/>
                <a:gd name="T14" fmla="*/ 833 w 1157"/>
                <a:gd name="T15" fmla="*/ 603 h 1183"/>
                <a:gd name="T16" fmla="*/ 765 w 1157"/>
                <a:gd name="T17" fmla="*/ 670 h 1183"/>
                <a:gd name="T18" fmla="*/ 697 w 1157"/>
                <a:gd name="T19" fmla="*/ 736 h 1183"/>
                <a:gd name="T20" fmla="*/ 633 w 1157"/>
                <a:gd name="T21" fmla="*/ 798 h 1183"/>
                <a:gd name="T22" fmla="*/ 573 w 1157"/>
                <a:gd name="T23" fmla="*/ 855 h 1183"/>
                <a:gd name="T24" fmla="*/ 520 w 1157"/>
                <a:gd name="T25" fmla="*/ 904 h 1183"/>
                <a:gd name="T26" fmla="*/ 475 w 1157"/>
                <a:gd name="T27" fmla="*/ 945 h 1183"/>
                <a:gd name="T28" fmla="*/ 442 w 1157"/>
                <a:gd name="T29" fmla="*/ 973 h 1183"/>
                <a:gd name="T30" fmla="*/ 427 w 1157"/>
                <a:gd name="T31" fmla="*/ 983 h 1183"/>
                <a:gd name="T32" fmla="*/ 409 w 1157"/>
                <a:gd name="T33" fmla="*/ 995 h 1183"/>
                <a:gd name="T34" fmla="*/ 378 w 1157"/>
                <a:gd name="T35" fmla="*/ 1017 h 1183"/>
                <a:gd name="T36" fmla="*/ 336 w 1157"/>
                <a:gd name="T37" fmla="*/ 1042 h 1183"/>
                <a:gd name="T38" fmla="*/ 287 w 1157"/>
                <a:gd name="T39" fmla="*/ 1071 h 1183"/>
                <a:gd name="T40" fmla="*/ 234 w 1157"/>
                <a:gd name="T41" fmla="*/ 1099 h 1183"/>
                <a:gd name="T42" fmla="*/ 181 w 1157"/>
                <a:gd name="T43" fmla="*/ 1123 h 1183"/>
                <a:gd name="T44" fmla="*/ 129 w 1157"/>
                <a:gd name="T45" fmla="*/ 1139 h 1183"/>
                <a:gd name="T46" fmla="*/ 84 w 1157"/>
                <a:gd name="T47" fmla="*/ 1143 h 1183"/>
                <a:gd name="T48" fmla="*/ 78 w 1157"/>
                <a:gd name="T49" fmla="*/ 1144 h 1183"/>
                <a:gd name="T50" fmla="*/ 47 w 1157"/>
                <a:gd name="T51" fmla="*/ 1174 h 1183"/>
                <a:gd name="T52" fmla="*/ 27 w 1157"/>
                <a:gd name="T53" fmla="*/ 1183 h 1183"/>
                <a:gd name="T54" fmla="*/ 9 w 1157"/>
                <a:gd name="T55" fmla="*/ 1176 h 1183"/>
                <a:gd name="T56" fmla="*/ 0 w 1157"/>
                <a:gd name="T57" fmla="*/ 1157 h 1183"/>
                <a:gd name="T58" fmla="*/ 6 w 1157"/>
                <a:gd name="T59" fmla="*/ 1137 h 1183"/>
                <a:gd name="T60" fmla="*/ 29 w 1157"/>
                <a:gd name="T61" fmla="*/ 1091 h 1183"/>
                <a:gd name="T62" fmla="*/ 32 w 1157"/>
                <a:gd name="T63" fmla="*/ 1046 h 1183"/>
                <a:gd name="T64" fmla="*/ 46 w 1157"/>
                <a:gd name="T65" fmla="*/ 994 h 1183"/>
                <a:gd name="T66" fmla="*/ 68 w 1157"/>
                <a:gd name="T67" fmla="*/ 941 h 1183"/>
                <a:gd name="T68" fmla="*/ 93 w 1157"/>
                <a:gd name="T69" fmla="*/ 886 h 1183"/>
                <a:gd name="T70" fmla="*/ 120 w 1157"/>
                <a:gd name="T71" fmla="*/ 837 h 1183"/>
                <a:gd name="T72" fmla="*/ 146 w 1157"/>
                <a:gd name="T73" fmla="*/ 794 h 1183"/>
                <a:gd name="T74" fmla="*/ 167 w 1157"/>
                <a:gd name="T75" fmla="*/ 762 h 1183"/>
                <a:gd name="T76" fmla="*/ 177 w 1157"/>
                <a:gd name="T77" fmla="*/ 745 h 1183"/>
                <a:gd name="T78" fmla="*/ 188 w 1157"/>
                <a:gd name="T79" fmla="*/ 730 h 1183"/>
                <a:gd name="T80" fmla="*/ 215 w 1157"/>
                <a:gd name="T81" fmla="*/ 695 h 1183"/>
                <a:gd name="T82" fmla="*/ 254 w 1157"/>
                <a:gd name="T83" fmla="*/ 650 h 1183"/>
                <a:gd name="T84" fmla="*/ 302 w 1157"/>
                <a:gd name="T85" fmla="*/ 596 h 1183"/>
                <a:gd name="T86" fmla="*/ 358 w 1157"/>
                <a:gd name="T87" fmla="*/ 535 h 1183"/>
                <a:gd name="T88" fmla="*/ 419 w 1157"/>
                <a:gd name="T89" fmla="*/ 469 h 1183"/>
                <a:gd name="T90" fmla="*/ 484 w 1157"/>
                <a:gd name="T91" fmla="*/ 400 h 1183"/>
                <a:gd name="T92" fmla="*/ 549 w 1157"/>
                <a:gd name="T93" fmla="*/ 331 h 1183"/>
                <a:gd name="T94" fmla="*/ 614 w 1157"/>
                <a:gd name="T95" fmla="*/ 264 h 1183"/>
                <a:gd name="T96" fmla="*/ 675 w 1157"/>
                <a:gd name="T97" fmla="*/ 199 h 1183"/>
                <a:gd name="T98" fmla="*/ 732 w 1157"/>
                <a:gd name="T99" fmla="*/ 141 h 1183"/>
                <a:gd name="T100" fmla="*/ 781 w 1157"/>
                <a:gd name="T101" fmla="*/ 89 h 1183"/>
                <a:gd name="T102" fmla="*/ 821 w 1157"/>
                <a:gd name="T103" fmla="*/ 47 h 1183"/>
                <a:gd name="T104" fmla="*/ 850 w 1157"/>
                <a:gd name="T105" fmla="*/ 18 h 1183"/>
                <a:gd name="T106" fmla="*/ 865 w 1157"/>
                <a:gd name="T107" fmla="*/ 2 h 1183"/>
                <a:gd name="T108" fmla="*/ 1012 w 1157"/>
                <a:gd name="T109" fmla="*/ 137 h 1183"/>
                <a:gd name="T110" fmla="*/ 1020 w 1157"/>
                <a:gd name="T111" fmla="*/ 145 h 1183"/>
                <a:gd name="T112" fmla="*/ 1039 w 1157"/>
                <a:gd name="T113" fmla="*/ 162 h 1183"/>
                <a:gd name="T114" fmla="*/ 1064 w 1157"/>
                <a:gd name="T115" fmla="*/ 187 h 1183"/>
                <a:gd name="T116" fmla="*/ 1093 w 1157"/>
                <a:gd name="T117" fmla="*/ 214 h 1183"/>
                <a:gd name="T118" fmla="*/ 1121 w 1157"/>
                <a:gd name="T119" fmla="*/ 241 h 1183"/>
                <a:gd name="T120" fmla="*/ 1142 w 1157"/>
                <a:gd name="T121" fmla="*/ 264 h 1183"/>
                <a:gd name="T122" fmla="*/ 1155 w 1157"/>
                <a:gd name="T123" fmla="*/ 277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57" h="1183">
                  <a:moveTo>
                    <a:pt x="1157" y="278"/>
                  </a:moveTo>
                  <a:lnTo>
                    <a:pt x="1155" y="280"/>
                  </a:lnTo>
                  <a:lnTo>
                    <a:pt x="1150" y="286"/>
                  </a:lnTo>
                  <a:lnTo>
                    <a:pt x="1140" y="296"/>
                  </a:lnTo>
                  <a:lnTo>
                    <a:pt x="1127" y="309"/>
                  </a:lnTo>
                  <a:lnTo>
                    <a:pt x="1111" y="325"/>
                  </a:lnTo>
                  <a:lnTo>
                    <a:pt x="1092" y="344"/>
                  </a:lnTo>
                  <a:lnTo>
                    <a:pt x="1070" y="367"/>
                  </a:lnTo>
                  <a:lnTo>
                    <a:pt x="1047" y="390"/>
                  </a:lnTo>
                  <a:lnTo>
                    <a:pt x="1020" y="417"/>
                  </a:lnTo>
                  <a:lnTo>
                    <a:pt x="992" y="445"/>
                  </a:lnTo>
                  <a:lnTo>
                    <a:pt x="963" y="475"/>
                  </a:lnTo>
                  <a:lnTo>
                    <a:pt x="932" y="505"/>
                  </a:lnTo>
                  <a:lnTo>
                    <a:pt x="899" y="537"/>
                  </a:lnTo>
                  <a:lnTo>
                    <a:pt x="866" y="570"/>
                  </a:lnTo>
                  <a:lnTo>
                    <a:pt x="833" y="603"/>
                  </a:lnTo>
                  <a:lnTo>
                    <a:pt x="799" y="636"/>
                  </a:lnTo>
                  <a:lnTo>
                    <a:pt x="765" y="670"/>
                  </a:lnTo>
                  <a:lnTo>
                    <a:pt x="731" y="703"/>
                  </a:lnTo>
                  <a:lnTo>
                    <a:pt x="697" y="736"/>
                  </a:lnTo>
                  <a:lnTo>
                    <a:pt x="665" y="767"/>
                  </a:lnTo>
                  <a:lnTo>
                    <a:pt x="633" y="798"/>
                  </a:lnTo>
                  <a:lnTo>
                    <a:pt x="603" y="827"/>
                  </a:lnTo>
                  <a:lnTo>
                    <a:pt x="573" y="855"/>
                  </a:lnTo>
                  <a:lnTo>
                    <a:pt x="546" y="881"/>
                  </a:lnTo>
                  <a:lnTo>
                    <a:pt x="520" y="904"/>
                  </a:lnTo>
                  <a:lnTo>
                    <a:pt x="496" y="926"/>
                  </a:lnTo>
                  <a:lnTo>
                    <a:pt x="475" y="945"/>
                  </a:lnTo>
                  <a:lnTo>
                    <a:pt x="457" y="960"/>
                  </a:lnTo>
                  <a:lnTo>
                    <a:pt x="442" y="973"/>
                  </a:lnTo>
                  <a:lnTo>
                    <a:pt x="429" y="981"/>
                  </a:lnTo>
                  <a:lnTo>
                    <a:pt x="427" y="983"/>
                  </a:lnTo>
                  <a:lnTo>
                    <a:pt x="420" y="988"/>
                  </a:lnTo>
                  <a:lnTo>
                    <a:pt x="409" y="995"/>
                  </a:lnTo>
                  <a:lnTo>
                    <a:pt x="395" y="1005"/>
                  </a:lnTo>
                  <a:lnTo>
                    <a:pt x="378" y="1017"/>
                  </a:lnTo>
                  <a:lnTo>
                    <a:pt x="359" y="1029"/>
                  </a:lnTo>
                  <a:lnTo>
                    <a:pt x="336" y="1042"/>
                  </a:lnTo>
                  <a:lnTo>
                    <a:pt x="313" y="1057"/>
                  </a:lnTo>
                  <a:lnTo>
                    <a:pt x="287" y="1071"/>
                  </a:lnTo>
                  <a:lnTo>
                    <a:pt x="261" y="1086"/>
                  </a:lnTo>
                  <a:lnTo>
                    <a:pt x="234" y="1099"/>
                  </a:lnTo>
                  <a:lnTo>
                    <a:pt x="207" y="1112"/>
                  </a:lnTo>
                  <a:lnTo>
                    <a:pt x="181" y="1123"/>
                  </a:lnTo>
                  <a:lnTo>
                    <a:pt x="155" y="1131"/>
                  </a:lnTo>
                  <a:lnTo>
                    <a:pt x="129" y="1139"/>
                  </a:lnTo>
                  <a:lnTo>
                    <a:pt x="105" y="1142"/>
                  </a:lnTo>
                  <a:lnTo>
                    <a:pt x="84" y="1143"/>
                  </a:lnTo>
                  <a:lnTo>
                    <a:pt x="82" y="1144"/>
                  </a:lnTo>
                  <a:lnTo>
                    <a:pt x="78" y="1144"/>
                  </a:lnTo>
                  <a:lnTo>
                    <a:pt x="76" y="1144"/>
                  </a:lnTo>
                  <a:lnTo>
                    <a:pt x="47" y="1174"/>
                  </a:lnTo>
                  <a:lnTo>
                    <a:pt x="38" y="1180"/>
                  </a:lnTo>
                  <a:lnTo>
                    <a:pt x="27" y="1183"/>
                  </a:lnTo>
                  <a:lnTo>
                    <a:pt x="17" y="1182"/>
                  </a:lnTo>
                  <a:lnTo>
                    <a:pt x="9" y="1176"/>
                  </a:lnTo>
                  <a:lnTo>
                    <a:pt x="2" y="1167"/>
                  </a:lnTo>
                  <a:lnTo>
                    <a:pt x="0" y="1157"/>
                  </a:lnTo>
                  <a:lnTo>
                    <a:pt x="1" y="1146"/>
                  </a:lnTo>
                  <a:lnTo>
                    <a:pt x="6" y="1137"/>
                  </a:lnTo>
                  <a:lnTo>
                    <a:pt x="33" y="1109"/>
                  </a:lnTo>
                  <a:lnTo>
                    <a:pt x="29" y="1091"/>
                  </a:lnTo>
                  <a:lnTo>
                    <a:pt x="29" y="1069"/>
                  </a:lnTo>
                  <a:lnTo>
                    <a:pt x="32" y="1046"/>
                  </a:lnTo>
                  <a:lnTo>
                    <a:pt x="38" y="1021"/>
                  </a:lnTo>
                  <a:lnTo>
                    <a:pt x="46" y="994"/>
                  </a:lnTo>
                  <a:lnTo>
                    <a:pt x="56" y="967"/>
                  </a:lnTo>
                  <a:lnTo>
                    <a:pt x="68" y="941"/>
                  </a:lnTo>
                  <a:lnTo>
                    <a:pt x="81" y="913"/>
                  </a:lnTo>
                  <a:lnTo>
                    <a:pt x="93" y="886"/>
                  </a:lnTo>
                  <a:lnTo>
                    <a:pt x="107" y="860"/>
                  </a:lnTo>
                  <a:lnTo>
                    <a:pt x="120" y="837"/>
                  </a:lnTo>
                  <a:lnTo>
                    <a:pt x="134" y="814"/>
                  </a:lnTo>
                  <a:lnTo>
                    <a:pt x="146" y="794"/>
                  </a:lnTo>
                  <a:lnTo>
                    <a:pt x="157" y="777"/>
                  </a:lnTo>
                  <a:lnTo>
                    <a:pt x="167" y="762"/>
                  </a:lnTo>
                  <a:lnTo>
                    <a:pt x="173" y="751"/>
                  </a:lnTo>
                  <a:lnTo>
                    <a:pt x="177" y="745"/>
                  </a:lnTo>
                  <a:lnTo>
                    <a:pt x="179" y="742"/>
                  </a:lnTo>
                  <a:lnTo>
                    <a:pt x="188" y="730"/>
                  </a:lnTo>
                  <a:lnTo>
                    <a:pt x="200" y="715"/>
                  </a:lnTo>
                  <a:lnTo>
                    <a:pt x="215" y="695"/>
                  </a:lnTo>
                  <a:lnTo>
                    <a:pt x="233" y="674"/>
                  </a:lnTo>
                  <a:lnTo>
                    <a:pt x="254" y="650"/>
                  </a:lnTo>
                  <a:lnTo>
                    <a:pt x="277" y="624"/>
                  </a:lnTo>
                  <a:lnTo>
                    <a:pt x="302" y="596"/>
                  </a:lnTo>
                  <a:lnTo>
                    <a:pt x="329" y="566"/>
                  </a:lnTo>
                  <a:lnTo>
                    <a:pt x="358" y="535"/>
                  </a:lnTo>
                  <a:lnTo>
                    <a:pt x="388" y="503"/>
                  </a:lnTo>
                  <a:lnTo>
                    <a:pt x="419" y="469"/>
                  </a:lnTo>
                  <a:lnTo>
                    <a:pt x="451" y="435"/>
                  </a:lnTo>
                  <a:lnTo>
                    <a:pt x="484" y="400"/>
                  </a:lnTo>
                  <a:lnTo>
                    <a:pt x="516" y="365"/>
                  </a:lnTo>
                  <a:lnTo>
                    <a:pt x="549" y="331"/>
                  </a:lnTo>
                  <a:lnTo>
                    <a:pt x="581" y="297"/>
                  </a:lnTo>
                  <a:lnTo>
                    <a:pt x="614" y="264"/>
                  </a:lnTo>
                  <a:lnTo>
                    <a:pt x="645" y="230"/>
                  </a:lnTo>
                  <a:lnTo>
                    <a:pt x="675" y="199"/>
                  </a:lnTo>
                  <a:lnTo>
                    <a:pt x="704" y="168"/>
                  </a:lnTo>
                  <a:lnTo>
                    <a:pt x="732" y="141"/>
                  </a:lnTo>
                  <a:lnTo>
                    <a:pt x="758" y="114"/>
                  </a:lnTo>
                  <a:lnTo>
                    <a:pt x="781" y="89"/>
                  </a:lnTo>
                  <a:lnTo>
                    <a:pt x="803" y="68"/>
                  </a:lnTo>
                  <a:lnTo>
                    <a:pt x="821" y="47"/>
                  </a:lnTo>
                  <a:lnTo>
                    <a:pt x="837" y="31"/>
                  </a:lnTo>
                  <a:lnTo>
                    <a:pt x="850" y="18"/>
                  </a:lnTo>
                  <a:lnTo>
                    <a:pt x="860" y="9"/>
                  </a:lnTo>
                  <a:lnTo>
                    <a:pt x="865" y="2"/>
                  </a:lnTo>
                  <a:lnTo>
                    <a:pt x="867" y="0"/>
                  </a:lnTo>
                  <a:lnTo>
                    <a:pt x="1012" y="137"/>
                  </a:lnTo>
                  <a:lnTo>
                    <a:pt x="1014" y="139"/>
                  </a:lnTo>
                  <a:lnTo>
                    <a:pt x="1020" y="145"/>
                  </a:lnTo>
                  <a:lnTo>
                    <a:pt x="1028" y="152"/>
                  </a:lnTo>
                  <a:lnTo>
                    <a:pt x="1039" y="162"/>
                  </a:lnTo>
                  <a:lnTo>
                    <a:pt x="1051" y="174"/>
                  </a:lnTo>
                  <a:lnTo>
                    <a:pt x="1064" y="187"/>
                  </a:lnTo>
                  <a:lnTo>
                    <a:pt x="1079" y="201"/>
                  </a:lnTo>
                  <a:lnTo>
                    <a:pt x="1093" y="214"/>
                  </a:lnTo>
                  <a:lnTo>
                    <a:pt x="1107" y="228"/>
                  </a:lnTo>
                  <a:lnTo>
                    <a:pt x="1121" y="241"/>
                  </a:lnTo>
                  <a:lnTo>
                    <a:pt x="1133" y="253"/>
                  </a:lnTo>
                  <a:lnTo>
                    <a:pt x="1142" y="264"/>
                  </a:lnTo>
                  <a:lnTo>
                    <a:pt x="1151" y="271"/>
                  </a:lnTo>
                  <a:lnTo>
                    <a:pt x="1155" y="277"/>
                  </a:lnTo>
                  <a:lnTo>
                    <a:pt x="1157" y="2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1008873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ALTERNATIVES TO A PRENUPTIAL AGREE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24</a:t>
            </a:fld>
            <a:endParaRPr lang="en-US"/>
          </a:p>
        </p:txBody>
      </p:sp>
      <p:sp>
        <p:nvSpPr>
          <p:cNvPr id="6" name="Rectangle 5"/>
          <p:cNvSpPr/>
          <p:nvPr/>
        </p:nvSpPr>
        <p:spPr>
          <a:xfrm>
            <a:off x="609600" y="2104570"/>
            <a:ext cx="2568102" cy="40676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731520" rIns="91440" bIns="91440" rtlCol="0" anchor="t"/>
          <a:lstStyle/>
          <a:p>
            <a:pPr algn="ctr"/>
            <a:r>
              <a:rPr lang="en-US" sz="2000" dirty="0">
                <a:solidFill>
                  <a:schemeClr val="tx1"/>
                </a:solidFill>
              </a:rPr>
              <a:t>Identification of property/ revocable trusts</a:t>
            </a:r>
          </a:p>
        </p:txBody>
      </p:sp>
      <p:sp>
        <p:nvSpPr>
          <p:cNvPr id="7" name="Rectangle 6"/>
          <p:cNvSpPr/>
          <p:nvPr/>
        </p:nvSpPr>
        <p:spPr>
          <a:xfrm>
            <a:off x="3411166" y="2104570"/>
            <a:ext cx="2568102" cy="40676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731520" rIns="91440" bIns="91440" rtlCol="0" anchor="t"/>
          <a:lstStyle/>
          <a:p>
            <a:pPr algn="ctr"/>
            <a:r>
              <a:rPr lang="en-US" sz="2000">
                <a:solidFill>
                  <a:schemeClr val="tx1"/>
                </a:solidFill>
              </a:rPr>
              <a:t>Bank custody account—origin of assets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6212732" y="2104570"/>
            <a:ext cx="2568102" cy="40676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731520" rIns="91440" bIns="91440" rtlCol="0" anchor="t"/>
          <a:lstStyle/>
          <a:p>
            <a:pPr algn="ctr"/>
            <a:r>
              <a:rPr lang="en-US" sz="2000">
                <a:solidFill>
                  <a:schemeClr val="tx1"/>
                </a:solidFill>
              </a:rPr>
              <a:t>Establish living trust and reregister assets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9014298" y="2104570"/>
            <a:ext cx="2568102" cy="406762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731520" rIns="91440" bIns="91440" rtlCol="0" anchor="t"/>
          <a:lstStyle/>
          <a:p>
            <a:pPr algn="ctr"/>
            <a:r>
              <a:rPr lang="en-US" sz="2000">
                <a:solidFill>
                  <a:schemeClr val="tx1"/>
                </a:solidFill>
              </a:rPr>
              <a:t>More from one state ot another and identify community property assets.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609600" y="6082336"/>
            <a:ext cx="2568102" cy="89864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3411166" y="6082336"/>
            <a:ext cx="2568102" cy="89864"/>
          </a:xfrm>
          <a:prstGeom prst="rect">
            <a:avLst/>
          </a:prstGeom>
          <a:solidFill>
            <a:srgbClr val="268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6212732" y="6082336"/>
            <a:ext cx="2568102" cy="89864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9014298" y="6082336"/>
            <a:ext cx="2568102" cy="89864"/>
          </a:xfrm>
          <a:prstGeom prst="rect">
            <a:avLst/>
          </a:prstGeom>
          <a:solidFill>
            <a:srgbClr val="268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1204687" y="1447800"/>
            <a:ext cx="1161142" cy="1161142"/>
          </a:xfrm>
          <a:prstGeom prst="ellipse">
            <a:avLst/>
          </a:prstGeom>
          <a:solidFill>
            <a:srgbClr val="00569B"/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Oval 14"/>
          <p:cNvSpPr/>
          <p:nvPr/>
        </p:nvSpPr>
        <p:spPr>
          <a:xfrm>
            <a:off x="4042384" y="1447800"/>
            <a:ext cx="1161142" cy="1161142"/>
          </a:xfrm>
          <a:prstGeom prst="ellipse">
            <a:avLst/>
          </a:prstGeom>
          <a:solidFill>
            <a:srgbClr val="26867C"/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Oval 15"/>
          <p:cNvSpPr/>
          <p:nvPr/>
        </p:nvSpPr>
        <p:spPr>
          <a:xfrm>
            <a:off x="6880081" y="1447800"/>
            <a:ext cx="1161142" cy="1161142"/>
          </a:xfrm>
          <a:prstGeom prst="ellipse">
            <a:avLst/>
          </a:prstGeom>
          <a:solidFill>
            <a:srgbClr val="00569B"/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Oval 16"/>
          <p:cNvSpPr/>
          <p:nvPr/>
        </p:nvSpPr>
        <p:spPr>
          <a:xfrm>
            <a:off x="9717778" y="1447800"/>
            <a:ext cx="1161142" cy="1161142"/>
          </a:xfrm>
          <a:prstGeom prst="ellipse">
            <a:avLst/>
          </a:prstGeom>
          <a:solidFill>
            <a:srgbClr val="26867C"/>
          </a:solidFill>
          <a:ln w="412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reeform 20"/>
          <p:cNvSpPr>
            <a:spLocks noEditPoints="1"/>
          </p:cNvSpPr>
          <p:nvPr/>
        </p:nvSpPr>
        <p:spPr bwMode="auto">
          <a:xfrm>
            <a:off x="1491933" y="1735049"/>
            <a:ext cx="586651" cy="586645"/>
          </a:xfrm>
          <a:custGeom>
            <a:avLst/>
            <a:gdLst>
              <a:gd name="T0" fmla="*/ 1531 w 3402"/>
              <a:gd name="T1" fmla="*/ 2381 h 3402"/>
              <a:gd name="T2" fmla="*/ 1531 w 3402"/>
              <a:gd name="T3" fmla="*/ 1905 h 3402"/>
              <a:gd name="T4" fmla="*/ 1796 w 3402"/>
              <a:gd name="T5" fmla="*/ 3 h 3402"/>
              <a:gd name="T6" fmla="*/ 2076 w 3402"/>
              <a:gd name="T7" fmla="*/ 43 h 3402"/>
              <a:gd name="T8" fmla="*/ 2347 w 3402"/>
              <a:gd name="T9" fmla="*/ 119 h 3402"/>
              <a:gd name="T10" fmla="*/ 1931 w 3402"/>
              <a:gd name="T11" fmla="*/ 359 h 3402"/>
              <a:gd name="T12" fmla="*/ 1701 w 3402"/>
              <a:gd name="T13" fmla="*/ 340 h 3402"/>
              <a:gd name="T14" fmla="*/ 1428 w 3402"/>
              <a:gd name="T15" fmla="*/ 368 h 3402"/>
              <a:gd name="T16" fmla="*/ 1173 w 3402"/>
              <a:gd name="T17" fmla="*/ 448 h 3402"/>
              <a:gd name="T18" fmla="*/ 941 w 3402"/>
              <a:gd name="T19" fmla="*/ 574 h 3402"/>
              <a:gd name="T20" fmla="*/ 740 w 3402"/>
              <a:gd name="T21" fmla="*/ 740 h 3402"/>
              <a:gd name="T22" fmla="*/ 574 w 3402"/>
              <a:gd name="T23" fmla="*/ 941 h 3402"/>
              <a:gd name="T24" fmla="*/ 448 w 3402"/>
              <a:gd name="T25" fmla="*/ 1173 h 3402"/>
              <a:gd name="T26" fmla="*/ 368 w 3402"/>
              <a:gd name="T27" fmla="*/ 1428 h 3402"/>
              <a:gd name="T28" fmla="*/ 340 w 3402"/>
              <a:gd name="T29" fmla="*/ 1701 h 3402"/>
              <a:gd name="T30" fmla="*/ 368 w 3402"/>
              <a:gd name="T31" fmla="*/ 1974 h 3402"/>
              <a:gd name="T32" fmla="*/ 448 w 3402"/>
              <a:gd name="T33" fmla="*/ 2229 h 3402"/>
              <a:gd name="T34" fmla="*/ 574 w 3402"/>
              <a:gd name="T35" fmla="*/ 2461 h 3402"/>
              <a:gd name="T36" fmla="*/ 740 w 3402"/>
              <a:gd name="T37" fmla="*/ 2662 h 3402"/>
              <a:gd name="T38" fmla="*/ 941 w 3402"/>
              <a:gd name="T39" fmla="*/ 2828 h 3402"/>
              <a:gd name="T40" fmla="*/ 1173 w 3402"/>
              <a:gd name="T41" fmla="*/ 2954 h 3402"/>
              <a:gd name="T42" fmla="*/ 1428 w 3402"/>
              <a:gd name="T43" fmla="*/ 3034 h 3402"/>
              <a:gd name="T44" fmla="*/ 1701 w 3402"/>
              <a:gd name="T45" fmla="*/ 3062 h 3402"/>
              <a:gd name="T46" fmla="*/ 1974 w 3402"/>
              <a:gd name="T47" fmla="*/ 3034 h 3402"/>
              <a:gd name="T48" fmla="*/ 2229 w 3402"/>
              <a:gd name="T49" fmla="*/ 2954 h 3402"/>
              <a:gd name="T50" fmla="*/ 2461 w 3402"/>
              <a:gd name="T51" fmla="*/ 2828 h 3402"/>
              <a:gd name="T52" fmla="*/ 2662 w 3402"/>
              <a:gd name="T53" fmla="*/ 2662 h 3402"/>
              <a:gd name="T54" fmla="*/ 2828 w 3402"/>
              <a:gd name="T55" fmla="*/ 2461 h 3402"/>
              <a:gd name="T56" fmla="*/ 2954 w 3402"/>
              <a:gd name="T57" fmla="*/ 2229 h 3402"/>
              <a:gd name="T58" fmla="*/ 3034 w 3402"/>
              <a:gd name="T59" fmla="*/ 1974 h 3402"/>
              <a:gd name="T60" fmla="*/ 3062 w 3402"/>
              <a:gd name="T61" fmla="*/ 1701 h 3402"/>
              <a:gd name="T62" fmla="*/ 3390 w 3402"/>
              <a:gd name="T63" fmla="*/ 1906 h 3402"/>
              <a:gd name="T64" fmla="*/ 3327 w 3402"/>
              <a:gd name="T65" fmla="*/ 2199 h 3402"/>
              <a:gd name="T66" fmla="*/ 3215 w 3402"/>
              <a:gd name="T67" fmla="*/ 2472 h 3402"/>
              <a:gd name="T68" fmla="*/ 3061 w 3402"/>
              <a:gd name="T69" fmla="*/ 2720 h 3402"/>
              <a:gd name="T70" fmla="*/ 2867 w 3402"/>
              <a:gd name="T71" fmla="*/ 2936 h 3402"/>
              <a:gd name="T72" fmla="*/ 2640 w 3402"/>
              <a:gd name="T73" fmla="*/ 3117 h 3402"/>
              <a:gd name="T74" fmla="*/ 2383 w 3402"/>
              <a:gd name="T75" fmla="*/ 3258 h 3402"/>
              <a:gd name="T76" fmla="*/ 2103 w 3402"/>
              <a:gd name="T77" fmla="*/ 3354 h 3402"/>
              <a:gd name="T78" fmla="*/ 1804 w 3402"/>
              <a:gd name="T79" fmla="*/ 3399 h 3402"/>
              <a:gd name="T80" fmla="*/ 1496 w 3402"/>
              <a:gd name="T81" fmla="*/ 3390 h 3402"/>
              <a:gd name="T82" fmla="*/ 1203 w 3402"/>
              <a:gd name="T83" fmla="*/ 3327 h 3402"/>
              <a:gd name="T84" fmla="*/ 930 w 3402"/>
              <a:gd name="T85" fmla="*/ 3215 h 3402"/>
              <a:gd name="T86" fmla="*/ 682 w 3402"/>
              <a:gd name="T87" fmla="*/ 3061 h 3402"/>
              <a:gd name="T88" fmla="*/ 466 w 3402"/>
              <a:gd name="T89" fmla="*/ 2867 h 3402"/>
              <a:gd name="T90" fmla="*/ 285 w 3402"/>
              <a:gd name="T91" fmla="*/ 2640 h 3402"/>
              <a:gd name="T92" fmla="*/ 144 w 3402"/>
              <a:gd name="T93" fmla="*/ 2383 h 3402"/>
              <a:gd name="T94" fmla="*/ 48 w 3402"/>
              <a:gd name="T95" fmla="*/ 2103 h 3402"/>
              <a:gd name="T96" fmla="*/ 3 w 3402"/>
              <a:gd name="T97" fmla="*/ 1804 h 3402"/>
              <a:gd name="T98" fmla="*/ 12 w 3402"/>
              <a:gd name="T99" fmla="*/ 1496 h 3402"/>
              <a:gd name="T100" fmla="*/ 75 w 3402"/>
              <a:gd name="T101" fmla="*/ 1203 h 3402"/>
              <a:gd name="T102" fmla="*/ 187 w 3402"/>
              <a:gd name="T103" fmla="*/ 930 h 3402"/>
              <a:gd name="T104" fmla="*/ 341 w 3402"/>
              <a:gd name="T105" fmla="*/ 682 h 3402"/>
              <a:gd name="T106" fmla="*/ 535 w 3402"/>
              <a:gd name="T107" fmla="*/ 466 h 3402"/>
              <a:gd name="T108" fmla="*/ 762 w 3402"/>
              <a:gd name="T109" fmla="*/ 285 h 3402"/>
              <a:gd name="T110" fmla="*/ 1019 w 3402"/>
              <a:gd name="T111" fmla="*/ 144 h 3402"/>
              <a:gd name="T112" fmla="*/ 1299 w 3402"/>
              <a:gd name="T113" fmla="*/ 48 h 3402"/>
              <a:gd name="T114" fmla="*/ 1598 w 3402"/>
              <a:gd name="T115" fmla="*/ 3 h 3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02" h="3402">
                <a:moveTo>
                  <a:pt x="2994" y="442"/>
                </a:moveTo>
                <a:lnTo>
                  <a:pt x="3232" y="680"/>
                </a:lnTo>
                <a:lnTo>
                  <a:pt x="1531" y="2381"/>
                </a:lnTo>
                <a:lnTo>
                  <a:pt x="766" y="1616"/>
                </a:lnTo>
                <a:lnTo>
                  <a:pt x="1003" y="1377"/>
                </a:lnTo>
                <a:lnTo>
                  <a:pt x="1531" y="1905"/>
                </a:lnTo>
                <a:lnTo>
                  <a:pt x="2994" y="442"/>
                </a:lnTo>
                <a:close/>
                <a:moveTo>
                  <a:pt x="1701" y="0"/>
                </a:moveTo>
                <a:lnTo>
                  <a:pt x="1796" y="3"/>
                </a:lnTo>
                <a:lnTo>
                  <a:pt x="1890" y="11"/>
                </a:lnTo>
                <a:lnTo>
                  <a:pt x="1983" y="26"/>
                </a:lnTo>
                <a:lnTo>
                  <a:pt x="2076" y="43"/>
                </a:lnTo>
                <a:lnTo>
                  <a:pt x="2168" y="65"/>
                </a:lnTo>
                <a:lnTo>
                  <a:pt x="2259" y="91"/>
                </a:lnTo>
                <a:lnTo>
                  <a:pt x="2347" y="119"/>
                </a:lnTo>
                <a:lnTo>
                  <a:pt x="2075" y="391"/>
                </a:lnTo>
                <a:lnTo>
                  <a:pt x="2004" y="373"/>
                </a:lnTo>
                <a:lnTo>
                  <a:pt x="1931" y="359"/>
                </a:lnTo>
                <a:lnTo>
                  <a:pt x="1858" y="348"/>
                </a:lnTo>
                <a:lnTo>
                  <a:pt x="1780" y="342"/>
                </a:lnTo>
                <a:lnTo>
                  <a:pt x="1701" y="340"/>
                </a:lnTo>
                <a:lnTo>
                  <a:pt x="1608" y="343"/>
                </a:lnTo>
                <a:lnTo>
                  <a:pt x="1517" y="354"/>
                </a:lnTo>
                <a:lnTo>
                  <a:pt x="1428" y="368"/>
                </a:lnTo>
                <a:lnTo>
                  <a:pt x="1340" y="390"/>
                </a:lnTo>
                <a:lnTo>
                  <a:pt x="1256" y="416"/>
                </a:lnTo>
                <a:lnTo>
                  <a:pt x="1173" y="448"/>
                </a:lnTo>
                <a:lnTo>
                  <a:pt x="1093" y="485"/>
                </a:lnTo>
                <a:lnTo>
                  <a:pt x="1015" y="527"/>
                </a:lnTo>
                <a:lnTo>
                  <a:pt x="941" y="574"/>
                </a:lnTo>
                <a:lnTo>
                  <a:pt x="871" y="625"/>
                </a:lnTo>
                <a:lnTo>
                  <a:pt x="804" y="680"/>
                </a:lnTo>
                <a:lnTo>
                  <a:pt x="740" y="740"/>
                </a:lnTo>
                <a:lnTo>
                  <a:pt x="680" y="804"/>
                </a:lnTo>
                <a:lnTo>
                  <a:pt x="625" y="871"/>
                </a:lnTo>
                <a:lnTo>
                  <a:pt x="574" y="941"/>
                </a:lnTo>
                <a:lnTo>
                  <a:pt x="527" y="1015"/>
                </a:lnTo>
                <a:lnTo>
                  <a:pt x="485" y="1093"/>
                </a:lnTo>
                <a:lnTo>
                  <a:pt x="448" y="1173"/>
                </a:lnTo>
                <a:lnTo>
                  <a:pt x="416" y="1256"/>
                </a:lnTo>
                <a:lnTo>
                  <a:pt x="390" y="1340"/>
                </a:lnTo>
                <a:lnTo>
                  <a:pt x="368" y="1428"/>
                </a:lnTo>
                <a:lnTo>
                  <a:pt x="354" y="1517"/>
                </a:lnTo>
                <a:lnTo>
                  <a:pt x="343" y="1608"/>
                </a:lnTo>
                <a:lnTo>
                  <a:pt x="340" y="1701"/>
                </a:lnTo>
                <a:lnTo>
                  <a:pt x="343" y="1794"/>
                </a:lnTo>
                <a:lnTo>
                  <a:pt x="354" y="1885"/>
                </a:lnTo>
                <a:lnTo>
                  <a:pt x="368" y="1974"/>
                </a:lnTo>
                <a:lnTo>
                  <a:pt x="390" y="2062"/>
                </a:lnTo>
                <a:lnTo>
                  <a:pt x="416" y="2146"/>
                </a:lnTo>
                <a:lnTo>
                  <a:pt x="448" y="2229"/>
                </a:lnTo>
                <a:lnTo>
                  <a:pt x="485" y="2309"/>
                </a:lnTo>
                <a:lnTo>
                  <a:pt x="527" y="2387"/>
                </a:lnTo>
                <a:lnTo>
                  <a:pt x="574" y="2461"/>
                </a:lnTo>
                <a:lnTo>
                  <a:pt x="625" y="2531"/>
                </a:lnTo>
                <a:lnTo>
                  <a:pt x="680" y="2598"/>
                </a:lnTo>
                <a:lnTo>
                  <a:pt x="740" y="2662"/>
                </a:lnTo>
                <a:lnTo>
                  <a:pt x="804" y="2722"/>
                </a:lnTo>
                <a:lnTo>
                  <a:pt x="871" y="2777"/>
                </a:lnTo>
                <a:lnTo>
                  <a:pt x="941" y="2828"/>
                </a:lnTo>
                <a:lnTo>
                  <a:pt x="1015" y="2875"/>
                </a:lnTo>
                <a:lnTo>
                  <a:pt x="1093" y="2917"/>
                </a:lnTo>
                <a:lnTo>
                  <a:pt x="1173" y="2954"/>
                </a:lnTo>
                <a:lnTo>
                  <a:pt x="1256" y="2986"/>
                </a:lnTo>
                <a:lnTo>
                  <a:pt x="1340" y="3012"/>
                </a:lnTo>
                <a:lnTo>
                  <a:pt x="1428" y="3034"/>
                </a:lnTo>
                <a:lnTo>
                  <a:pt x="1517" y="3048"/>
                </a:lnTo>
                <a:lnTo>
                  <a:pt x="1608" y="3059"/>
                </a:lnTo>
                <a:lnTo>
                  <a:pt x="1701" y="3062"/>
                </a:lnTo>
                <a:lnTo>
                  <a:pt x="1794" y="3059"/>
                </a:lnTo>
                <a:lnTo>
                  <a:pt x="1885" y="3048"/>
                </a:lnTo>
                <a:lnTo>
                  <a:pt x="1974" y="3034"/>
                </a:lnTo>
                <a:lnTo>
                  <a:pt x="2062" y="3012"/>
                </a:lnTo>
                <a:lnTo>
                  <a:pt x="2146" y="2986"/>
                </a:lnTo>
                <a:lnTo>
                  <a:pt x="2229" y="2954"/>
                </a:lnTo>
                <a:lnTo>
                  <a:pt x="2309" y="2917"/>
                </a:lnTo>
                <a:lnTo>
                  <a:pt x="2387" y="2875"/>
                </a:lnTo>
                <a:lnTo>
                  <a:pt x="2461" y="2828"/>
                </a:lnTo>
                <a:lnTo>
                  <a:pt x="2531" y="2777"/>
                </a:lnTo>
                <a:lnTo>
                  <a:pt x="2598" y="2722"/>
                </a:lnTo>
                <a:lnTo>
                  <a:pt x="2662" y="2662"/>
                </a:lnTo>
                <a:lnTo>
                  <a:pt x="2722" y="2598"/>
                </a:lnTo>
                <a:lnTo>
                  <a:pt x="2777" y="2531"/>
                </a:lnTo>
                <a:lnTo>
                  <a:pt x="2828" y="2461"/>
                </a:lnTo>
                <a:lnTo>
                  <a:pt x="2875" y="2387"/>
                </a:lnTo>
                <a:lnTo>
                  <a:pt x="2917" y="2309"/>
                </a:lnTo>
                <a:lnTo>
                  <a:pt x="2954" y="2229"/>
                </a:lnTo>
                <a:lnTo>
                  <a:pt x="2986" y="2146"/>
                </a:lnTo>
                <a:lnTo>
                  <a:pt x="3012" y="2062"/>
                </a:lnTo>
                <a:lnTo>
                  <a:pt x="3034" y="1974"/>
                </a:lnTo>
                <a:lnTo>
                  <a:pt x="3048" y="1885"/>
                </a:lnTo>
                <a:lnTo>
                  <a:pt x="3059" y="1794"/>
                </a:lnTo>
                <a:lnTo>
                  <a:pt x="3062" y="1701"/>
                </a:lnTo>
                <a:lnTo>
                  <a:pt x="3402" y="1701"/>
                </a:lnTo>
                <a:lnTo>
                  <a:pt x="3399" y="1804"/>
                </a:lnTo>
                <a:lnTo>
                  <a:pt x="3390" y="1906"/>
                </a:lnTo>
                <a:lnTo>
                  <a:pt x="3374" y="2005"/>
                </a:lnTo>
                <a:lnTo>
                  <a:pt x="3354" y="2103"/>
                </a:lnTo>
                <a:lnTo>
                  <a:pt x="3327" y="2199"/>
                </a:lnTo>
                <a:lnTo>
                  <a:pt x="3295" y="2293"/>
                </a:lnTo>
                <a:lnTo>
                  <a:pt x="3258" y="2383"/>
                </a:lnTo>
                <a:lnTo>
                  <a:pt x="3215" y="2472"/>
                </a:lnTo>
                <a:lnTo>
                  <a:pt x="3169" y="2558"/>
                </a:lnTo>
                <a:lnTo>
                  <a:pt x="3117" y="2640"/>
                </a:lnTo>
                <a:lnTo>
                  <a:pt x="3061" y="2720"/>
                </a:lnTo>
                <a:lnTo>
                  <a:pt x="3001" y="2795"/>
                </a:lnTo>
                <a:lnTo>
                  <a:pt x="2936" y="2867"/>
                </a:lnTo>
                <a:lnTo>
                  <a:pt x="2867" y="2936"/>
                </a:lnTo>
                <a:lnTo>
                  <a:pt x="2795" y="3001"/>
                </a:lnTo>
                <a:lnTo>
                  <a:pt x="2720" y="3061"/>
                </a:lnTo>
                <a:lnTo>
                  <a:pt x="2640" y="3117"/>
                </a:lnTo>
                <a:lnTo>
                  <a:pt x="2558" y="3169"/>
                </a:lnTo>
                <a:lnTo>
                  <a:pt x="2472" y="3215"/>
                </a:lnTo>
                <a:lnTo>
                  <a:pt x="2383" y="3258"/>
                </a:lnTo>
                <a:lnTo>
                  <a:pt x="2293" y="3295"/>
                </a:lnTo>
                <a:lnTo>
                  <a:pt x="2199" y="3327"/>
                </a:lnTo>
                <a:lnTo>
                  <a:pt x="2103" y="3354"/>
                </a:lnTo>
                <a:lnTo>
                  <a:pt x="2005" y="3374"/>
                </a:lnTo>
                <a:lnTo>
                  <a:pt x="1906" y="3390"/>
                </a:lnTo>
                <a:lnTo>
                  <a:pt x="1804" y="3399"/>
                </a:lnTo>
                <a:lnTo>
                  <a:pt x="1701" y="3402"/>
                </a:lnTo>
                <a:lnTo>
                  <a:pt x="1598" y="3399"/>
                </a:lnTo>
                <a:lnTo>
                  <a:pt x="1496" y="3390"/>
                </a:lnTo>
                <a:lnTo>
                  <a:pt x="1397" y="3374"/>
                </a:lnTo>
                <a:lnTo>
                  <a:pt x="1299" y="3354"/>
                </a:lnTo>
                <a:lnTo>
                  <a:pt x="1203" y="3327"/>
                </a:lnTo>
                <a:lnTo>
                  <a:pt x="1109" y="3295"/>
                </a:lnTo>
                <a:lnTo>
                  <a:pt x="1019" y="3258"/>
                </a:lnTo>
                <a:lnTo>
                  <a:pt x="930" y="3215"/>
                </a:lnTo>
                <a:lnTo>
                  <a:pt x="844" y="3169"/>
                </a:lnTo>
                <a:lnTo>
                  <a:pt x="762" y="3117"/>
                </a:lnTo>
                <a:lnTo>
                  <a:pt x="682" y="3061"/>
                </a:lnTo>
                <a:lnTo>
                  <a:pt x="607" y="3001"/>
                </a:lnTo>
                <a:lnTo>
                  <a:pt x="535" y="2936"/>
                </a:lnTo>
                <a:lnTo>
                  <a:pt x="466" y="2867"/>
                </a:lnTo>
                <a:lnTo>
                  <a:pt x="401" y="2795"/>
                </a:lnTo>
                <a:lnTo>
                  <a:pt x="341" y="2720"/>
                </a:lnTo>
                <a:lnTo>
                  <a:pt x="285" y="2640"/>
                </a:lnTo>
                <a:lnTo>
                  <a:pt x="233" y="2558"/>
                </a:lnTo>
                <a:lnTo>
                  <a:pt x="187" y="2472"/>
                </a:lnTo>
                <a:lnTo>
                  <a:pt x="144" y="2383"/>
                </a:lnTo>
                <a:lnTo>
                  <a:pt x="107" y="2293"/>
                </a:lnTo>
                <a:lnTo>
                  <a:pt x="75" y="2199"/>
                </a:lnTo>
                <a:lnTo>
                  <a:pt x="48" y="2103"/>
                </a:lnTo>
                <a:lnTo>
                  <a:pt x="28" y="2005"/>
                </a:lnTo>
                <a:lnTo>
                  <a:pt x="12" y="1906"/>
                </a:lnTo>
                <a:lnTo>
                  <a:pt x="3" y="1804"/>
                </a:lnTo>
                <a:lnTo>
                  <a:pt x="0" y="1701"/>
                </a:lnTo>
                <a:lnTo>
                  <a:pt x="3" y="1598"/>
                </a:lnTo>
                <a:lnTo>
                  <a:pt x="12" y="1496"/>
                </a:lnTo>
                <a:lnTo>
                  <a:pt x="28" y="1397"/>
                </a:lnTo>
                <a:lnTo>
                  <a:pt x="48" y="1299"/>
                </a:lnTo>
                <a:lnTo>
                  <a:pt x="75" y="1203"/>
                </a:lnTo>
                <a:lnTo>
                  <a:pt x="107" y="1109"/>
                </a:lnTo>
                <a:lnTo>
                  <a:pt x="144" y="1019"/>
                </a:lnTo>
                <a:lnTo>
                  <a:pt x="187" y="930"/>
                </a:lnTo>
                <a:lnTo>
                  <a:pt x="233" y="844"/>
                </a:lnTo>
                <a:lnTo>
                  <a:pt x="285" y="762"/>
                </a:lnTo>
                <a:lnTo>
                  <a:pt x="341" y="682"/>
                </a:lnTo>
                <a:lnTo>
                  <a:pt x="401" y="607"/>
                </a:lnTo>
                <a:lnTo>
                  <a:pt x="466" y="535"/>
                </a:lnTo>
                <a:lnTo>
                  <a:pt x="535" y="466"/>
                </a:lnTo>
                <a:lnTo>
                  <a:pt x="607" y="401"/>
                </a:lnTo>
                <a:lnTo>
                  <a:pt x="682" y="341"/>
                </a:lnTo>
                <a:lnTo>
                  <a:pt x="762" y="285"/>
                </a:lnTo>
                <a:lnTo>
                  <a:pt x="844" y="233"/>
                </a:lnTo>
                <a:lnTo>
                  <a:pt x="930" y="187"/>
                </a:lnTo>
                <a:lnTo>
                  <a:pt x="1019" y="144"/>
                </a:lnTo>
                <a:lnTo>
                  <a:pt x="1109" y="107"/>
                </a:lnTo>
                <a:lnTo>
                  <a:pt x="1203" y="75"/>
                </a:lnTo>
                <a:lnTo>
                  <a:pt x="1299" y="48"/>
                </a:lnTo>
                <a:lnTo>
                  <a:pt x="1397" y="28"/>
                </a:lnTo>
                <a:lnTo>
                  <a:pt x="1496" y="12"/>
                </a:lnTo>
                <a:lnTo>
                  <a:pt x="1598" y="3"/>
                </a:lnTo>
                <a:lnTo>
                  <a:pt x="1701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2" name="Group 4"/>
          <p:cNvGrpSpPr>
            <a:grpSpLocks noChangeAspect="1"/>
          </p:cNvGrpSpPr>
          <p:nvPr/>
        </p:nvGrpSpPr>
        <p:grpSpPr bwMode="auto">
          <a:xfrm>
            <a:off x="10028200" y="1758222"/>
            <a:ext cx="540299" cy="540299"/>
            <a:chOff x="-1050" y="1280"/>
            <a:chExt cx="869" cy="869"/>
          </a:xfrm>
          <a:solidFill>
            <a:schemeClr val="bg1"/>
          </a:solidFill>
        </p:grpSpPr>
        <p:sp>
          <p:nvSpPr>
            <p:cNvPr id="25" name="Freeform 6"/>
            <p:cNvSpPr>
              <a:spLocks noEditPoints="1"/>
            </p:cNvSpPr>
            <p:nvPr/>
          </p:nvSpPr>
          <p:spPr bwMode="auto">
            <a:xfrm>
              <a:off x="-1050" y="1280"/>
              <a:ext cx="869" cy="869"/>
            </a:xfrm>
            <a:custGeom>
              <a:avLst/>
              <a:gdLst>
                <a:gd name="T0" fmla="*/ 1249 w 3477"/>
                <a:gd name="T1" fmla="*/ 560 h 3474"/>
                <a:gd name="T2" fmla="*/ 984 w 3477"/>
                <a:gd name="T3" fmla="*/ 669 h 3474"/>
                <a:gd name="T4" fmla="*/ 758 w 3477"/>
                <a:gd name="T5" fmla="*/ 866 h 3474"/>
                <a:gd name="T6" fmla="*/ 603 w 3477"/>
                <a:gd name="T7" fmla="*/ 1113 h 3474"/>
                <a:gd name="T8" fmla="*/ 538 w 3477"/>
                <a:gd name="T9" fmla="*/ 1394 h 3474"/>
                <a:gd name="T10" fmla="*/ 560 w 3477"/>
                <a:gd name="T11" fmla="*/ 1692 h 3474"/>
                <a:gd name="T12" fmla="*/ 670 w 3477"/>
                <a:gd name="T13" fmla="*/ 1956 h 3474"/>
                <a:gd name="T14" fmla="*/ 866 w 3477"/>
                <a:gd name="T15" fmla="*/ 2183 h 3474"/>
                <a:gd name="T16" fmla="*/ 1113 w 3477"/>
                <a:gd name="T17" fmla="*/ 2337 h 3474"/>
                <a:gd name="T18" fmla="*/ 1394 w 3477"/>
                <a:gd name="T19" fmla="*/ 2404 h 3474"/>
                <a:gd name="T20" fmla="*/ 1693 w 3477"/>
                <a:gd name="T21" fmla="*/ 2381 h 3474"/>
                <a:gd name="T22" fmla="*/ 1957 w 3477"/>
                <a:gd name="T23" fmla="*/ 2271 h 3474"/>
                <a:gd name="T24" fmla="*/ 2184 w 3477"/>
                <a:gd name="T25" fmla="*/ 2076 h 3474"/>
                <a:gd name="T26" fmla="*/ 2338 w 3477"/>
                <a:gd name="T27" fmla="*/ 1829 h 3474"/>
                <a:gd name="T28" fmla="*/ 2404 w 3477"/>
                <a:gd name="T29" fmla="*/ 1546 h 3474"/>
                <a:gd name="T30" fmla="*/ 2382 w 3477"/>
                <a:gd name="T31" fmla="*/ 1249 h 3474"/>
                <a:gd name="T32" fmla="*/ 2272 w 3477"/>
                <a:gd name="T33" fmla="*/ 985 h 3474"/>
                <a:gd name="T34" fmla="*/ 2076 w 3477"/>
                <a:gd name="T35" fmla="*/ 757 h 3474"/>
                <a:gd name="T36" fmla="*/ 1829 w 3477"/>
                <a:gd name="T37" fmla="*/ 604 h 3474"/>
                <a:gd name="T38" fmla="*/ 1547 w 3477"/>
                <a:gd name="T39" fmla="*/ 538 h 3474"/>
                <a:gd name="T40" fmla="*/ 1667 w 3477"/>
                <a:gd name="T41" fmla="*/ 13 h 3474"/>
                <a:gd name="T42" fmla="*/ 2042 w 3477"/>
                <a:gd name="T43" fmla="*/ 117 h 3474"/>
                <a:gd name="T44" fmla="*/ 2329 w 3477"/>
                <a:gd name="T45" fmla="*/ 276 h 3474"/>
                <a:gd name="T46" fmla="*/ 2567 w 3477"/>
                <a:gd name="T47" fmla="*/ 487 h 3474"/>
                <a:gd name="T48" fmla="*/ 2752 w 3477"/>
                <a:gd name="T49" fmla="*/ 750 h 3474"/>
                <a:gd name="T50" fmla="*/ 2890 w 3477"/>
                <a:gd name="T51" fmla="*/ 1084 h 3474"/>
                <a:gd name="T52" fmla="*/ 2942 w 3477"/>
                <a:gd name="T53" fmla="*/ 1470 h 3474"/>
                <a:gd name="T54" fmla="*/ 2900 w 3477"/>
                <a:gd name="T55" fmla="*/ 1825 h 3474"/>
                <a:gd name="T56" fmla="*/ 2776 w 3477"/>
                <a:gd name="T57" fmla="*/ 2151 h 3474"/>
                <a:gd name="T58" fmla="*/ 3423 w 3477"/>
                <a:gd name="T59" fmla="*/ 3046 h 3474"/>
                <a:gd name="T60" fmla="*/ 3474 w 3477"/>
                <a:gd name="T61" fmla="*/ 3172 h 3474"/>
                <a:gd name="T62" fmla="*/ 3456 w 3477"/>
                <a:gd name="T63" fmla="*/ 3310 h 3474"/>
                <a:gd name="T64" fmla="*/ 3371 w 3477"/>
                <a:gd name="T65" fmla="*/ 3421 h 3474"/>
                <a:gd name="T66" fmla="*/ 3245 w 3477"/>
                <a:gd name="T67" fmla="*/ 3472 h 3474"/>
                <a:gd name="T68" fmla="*/ 3105 w 3477"/>
                <a:gd name="T69" fmla="*/ 3455 h 3474"/>
                <a:gd name="T70" fmla="*/ 2305 w 3477"/>
                <a:gd name="T71" fmla="*/ 2682 h 3474"/>
                <a:gd name="T72" fmla="*/ 1991 w 3477"/>
                <a:gd name="T73" fmla="*/ 2847 h 3474"/>
                <a:gd name="T74" fmla="*/ 1651 w 3477"/>
                <a:gd name="T75" fmla="*/ 2930 h 3474"/>
                <a:gd name="T76" fmla="*/ 1275 w 3477"/>
                <a:gd name="T77" fmla="*/ 2927 h 3474"/>
                <a:gd name="T78" fmla="*/ 900 w 3477"/>
                <a:gd name="T79" fmla="*/ 2825 h 3474"/>
                <a:gd name="T80" fmla="*/ 613 w 3477"/>
                <a:gd name="T81" fmla="*/ 2665 h 3474"/>
                <a:gd name="T82" fmla="*/ 375 w 3477"/>
                <a:gd name="T83" fmla="*/ 2453 h 3474"/>
                <a:gd name="T84" fmla="*/ 189 w 3477"/>
                <a:gd name="T85" fmla="*/ 2191 h 3474"/>
                <a:gd name="T86" fmla="*/ 52 w 3477"/>
                <a:gd name="T87" fmla="*/ 1857 h 3474"/>
                <a:gd name="T88" fmla="*/ 0 w 3477"/>
                <a:gd name="T89" fmla="*/ 1470 h 3474"/>
                <a:gd name="T90" fmla="*/ 30 w 3477"/>
                <a:gd name="T91" fmla="*/ 1178 h 3474"/>
                <a:gd name="T92" fmla="*/ 151 w 3477"/>
                <a:gd name="T93" fmla="*/ 823 h 3474"/>
                <a:gd name="T94" fmla="*/ 324 w 3477"/>
                <a:gd name="T95" fmla="*/ 549 h 3474"/>
                <a:gd name="T96" fmla="*/ 548 w 3477"/>
                <a:gd name="T97" fmla="*/ 323 h 3474"/>
                <a:gd name="T98" fmla="*/ 824 w 3477"/>
                <a:gd name="T99" fmla="*/ 151 h 3474"/>
                <a:gd name="T100" fmla="*/ 1178 w 3477"/>
                <a:gd name="T101" fmla="*/ 29 h 34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77" h="3474">
                  <a:moveTo>
                    <a:pt x="1470" y="535"/>
                  </a:moveTo>
                  <a:lnTo>
                    <a:pt x="1394" y="538"/>
                  </a:lnTo>
                  <a:lnTo>
                    <a:pt x="1321" y="546"/>
                  </a:lnTo>
                  <a:lnTo>
                    <a:pt x="1249" y="560"/>
                  </a:lnTo>
                  <a:lnTo>
                    <a:pt x="1179" y="579"/>
                  </a:lnTo>
                  <a:lnTo>
                    <a:pt x="1113" y="604"/>
                  </a:lnTo>
                  <a:lnTo>
                    <a:pt x="1047" y="634"/>
                  </a:lnTo>
                  <a:lnTo>
                    <a:pt x="984" y="669"/>
                  </a:lnTo>
                  <a:lnTo>
                    <a:pt x="924" y="711"/>
                  </a:lnTo>
                  <a:lnTo>
                    <a:pt x="866" y="757"/>
                  </a:lnTo>
                  <a:lnTo>
                    <a:pt x="810" y="810"/>
                  </a:lnTo>
                  <a:lnTo>
                    <a:pt x="758" y="866"/>
                  </a:lnTo>
                  <a:lnTo>
                    <a:pt x="711" y="924"/>
                  </a:lnTo>
                  <a:lnTo>
                    <a:pt x="670" y="985"/>
                  </a:lnTo>
                  <a:lnTo>
                    <a:pt x="634" y="1047"/>
                  </a:lnTo>
                  <a:lnTo>
                    <a:pt x="603" y="1113"/>
                  </a:lnTo>
                  <a:lnTo>
                    <a:pt x="579" y="1179"/>
                  </a:lnTo>
                  <a:lnTo>
                    <a:pt x="560" y="1249"/>
                  </a:lnTo>
                  <a:lnTo>
                    <a:pt x="546" y="1320"/>
                  </a:lnTo>
                  <a:lnTo>
                    <a:pt x="538" y="1394"/>
                  </a:lnTo>
                  <a:lnTo>
                    <a:pt x="535" y="1470"/>
                  </a:lnTo>
                  <a:lnTo>
                    <a:pt x="538" y="1546"/>
                  </a:lnTo>
                  <a:lnTo>
                    <a:pt x="546" y="1621"/>
                  </a:lnTo>
                  <a:lnTo>
                    <a:pt x="560" y="1692"/>
                  </a:lnTo>
                  <a:lnTo>
                    <a:pt x="579" y="1761"/>
                  </a:lnTo>
                  <a:lnTo>
                    <a:pt x="603" y="1829"/>
                  </a:lnTo>
                  <a:lnTo>
                    <a:pt x="634" y="1894"/>
                  </a:lnTo>
                  <a:lnTo>
                    <a:pt x="670" y="1956"/>
                  </a:lnTo>
                  <a:lnTo>
                    <a:pt x="711" y="2017"/>
                  </a:lnTo>
                  <a:lnTo>
                    <a:pt x="758" y="2076"/>
                  </a:lnTo>
                  <a:lnTo>
                    <a:pt x="810" y="2132"/>
                  </a:lnTo>
                  <a:lnTo>
                    <a:pt x="866" y="2183"/>
                  </a:lnTo>
                  <a:lnTo>
                    <a:pt x="924" y="2230"/>
                  </a:lnTo>
                  <a:lnTo>
                    <a:pt x="984" y="2271"/>
                  </a:lnTo>
                  <a:lnTo>
                    <a:pt x="1047" y="2307"/>
                  </a:lnTo>
                  <a:lnTo>
                    <a:pt x="1113" y="2337"/>
                  </a:lnTo>
                  <a:lnTo>
                    <a:pt x="1179" y="2362"/>
                  </a:lnTo>
                  <a:lnTo>
                    <a:pt x="1249" y="2381"/>
                  </a:lnTo>
                  <a:lnTo>
                    <a:pt x="1321" y="2395"/>
                  </a:lnTo>
                  <a:lnTo>
                    <a:pt x="1394" y="2404"/>
                  </a:lnTo>
                  <a:lnTo>
                    <a:pt x="1470" y="2406"/>
                  </a:lnTo>
                  <a:lnTo>
                    <a:pt x="1547" y="2404"/>
                  </a:lnTo>
                  <a:lnTo>
                    <a:pt x="1621" y="2395"/>
                  </a:lnTo>
                  <a:lnTo>
                    <a:pt x="1693" y="2381"/>
                  </a:lnTo>
                  <a:lnTo>
                    <a:pt x="1763" y="2362"/>
                  </a:lnTo>
                  <a:lnTo>
                    <a:pt x="1829" y="2337"/>
                  </a:lnTo>
                  <a:lnTo>
                    <a:pt x="1894" y="2307"/>
                  </a:lnTo>
                  <a:lnTo>
                    <a:pt x="1957" y="2271"/>
                  </a:lnTo>
                  <a:lnTo>
                    <a:pt x="2018" y="2230"/>
                  </a:lnTo>
                  <a:lnTo>
                    <a:pt x="2076" y="2183"/>
                  </a:lnTo>
                  <a:lnTo>
                    <a:pt x="2132" y="2132"/>
                  </a:lnTo>
                  <a:lnTo>
                    <a:pt x="2184" y="2076"/>
                  </a:lnTo>
                  <a:lnTo>
                    <a:pt x="2231" y="2017"/>
                  </a:lnTo>
                  <a:lnTo>
                    <a:pt x="2272" y="1956"/>
                  </a:lnTo>
                  <a:lnTo>
                    <a:pt x="2308" y="1894"/>
                  </a:lnTo>
                  <a:lnTo>
                    <a:pt x="2338" y="1829"/>
                  </a:lnTo>
                  <a:lnTo>
                    <a:pt x="2363" y="1761"/>
                  </a:lnTo>
                  <a:lnTo>
                    <a:pt x="2382" y="1692"/>
                  </a:lnTo>
                  <a:lnTo>
                    <a:pt x="2396" y="1621"/>
                  </a:lnTo>
                  <a:lnTo>
                    <a:pt x="2404" y="1546"/>
                  </a:lnTo>
                  <a:lnTo>
                    <a:pt x="2406" y="1470"/>
                  </a:lnTo>
                  <a:lnTo>
                    <a:pt x="2404" y="1394"/>
                  </a:lnTo>
                  <a:lnTo>
                    <a:pt x="2396" y="1320"/>
                  </a:lnTo>
                  <a:lnTo>
                    <a:pt x="2382" y="1249"/>
                  </a:lnTo>
                  <a:lnTo>
                    <a:pt x="2363" y="1179"/>
                  </a:lnTo>
                  <a:lnTo>
                    <a:pt x="2338" y="1113"/>
                  </a:lnTo>
                  <a:lnTo>
                    <a:pt x="2308" y="1047"/>
                  </a:lnTo>
                  <a:lnTo>
                    <a:pt x="2272" y="985"/>
                  </a:lnTo>
                  <a:lnTo>
                    <a:pt x="2231" y="924"/>
                  </a:lnTo>
                  <a:lnTo>
                    <a:pt x="2184" y="866"/>
                  </a:lnTo>
                  <a:lnTo>
                    <a:pt x="2132" y="810"/>
                  </a:lnTo>
                  <a:lnTo>
                    <a:pt x="2076" y="757"/>
                  </a:lnTo>
                  <a:lnTo>
                    <a:pt x="2018" y="711"/>
                  </a:lnTo>
                  <a:lnTo>
                    <a:pt x="1957" y="669"/>
                  </a:lnTo>
                  <a:lnTo>
                    <a:pt x="1894" y="634"/>
                  </a:lnTo>
                  <a:lnTo>
                    <a:pt x="1829" y="604"/>
                  </a:lnTo>
                  <a:lnTo>
                    <a:pt x="1763" y="579"/>
                  </a:lnTo>
                  <a:lnTo>
                    <a:pt x="1693" y="560"/>
                  </a:lnTo>
                  <a:lnTo>
                    <a:pt x="1621" y="546"/>
                  </a:lnTo>
                  <a:lnTo>
                    <a:pt x="1547" y="538"/>
                  </a:lnTo>
                  <a:lnTo>
                    <a:pt x="1470" y="535"/>
                  </a:lnTo>
                  <a:close/>
                  <a:moveTo>
                    <a:pt x="1470" y="0"/>
                  </a:moveTo>
                  <a:lnTo>
                    <a:pt x="1570" y="4"/>
                  </a:lnTo>
                  <a:lnTo>
                    <a:pt x="1667" y="13"/>
                  </a:lnTo>
                  <a:lnTo>
                    <a:pt x="1763" y="29"/>
                  </a:lnTo>
                  <a:lnTo>
                    <a:pt x="1858" y="52"/>
                  </a:lnTo>
                  <a:lnTo>
                    <a:pt x="1951" y="81"/>
                  </a:lnTo>
                  <a:lnTo>
                    <a:pt x="2042" y="117"/>
                  </a:lnTo>
                  <a:lnTo>
                    <a:pt x="2118" y="151"/>
                  </a:lnTo>
                  <a:lnTo>
                    <a:pt x="2191" y="189"/>
                  </a:lnTo>
                  <a:lnTo>
                    <a:pt x="2262" y="231"/>
                  </a:lnTo>
                  <a:lnTo>
                    <a:pt x="2329" y="276"/>
                  </a:lnTo>
                  <a:lnTo>
                    <a:pt x="2394" y="323"/>
                  </a:lnTo>
                  <a:lnTo>
                    <a:pt x="2454" y="375"/>
                  </a:lnTo>
                  <a:lnTo>
                    <a:pt x="2512" y="430"/>
                  </a:lnTo>
                  <a:lnTo>
                    <a:pt x="2567" y="487"/>
                  </a:lnTo>
                  <a:lnTo>
                    <a:pt x="2618" y="549"/>
                  </a:lnTo>
                  <a:lnTo>
                    <a:pt x="2667" y="612"/>
                  </a:lnTo>
                  <a:lnTo>
                    <a:pt x="2711" y="680"/>
                  </a:lnTo>
                  <a:lnTo>
                    <a:pt x="2752" y="750"/>
                  </a:lnTo>
                  <a:lnTo>
                    <a:pt x="2791" y="823"/>
                  </a:lnTo>
                  <a:lnTo>
                    <a:pt x="2825" y="900"/>
                  </a:lnTo>
                  <a:lnTo>
                    <a:pt x="2860" y="991"/>
                  </a:lnTo>
                  <a:lnTo>
                    <a:pt x="2890" y="1084"/>
                  </a:lnTo>
                  <a:lnTo>
                    <a:pt x="2912" y="1178"/>
                  </a:lnTo>
                  <a:lnTo>
                    <a:pt x="2928" y="1275"/>
                  </a:lnTo>
                  <a:lnTo>
                    <a:pt x="2939" y="1372"/>
                  </a:lnTo>
                  <a:lnTo>
                    <a:pt x="2942" y="1470"/>
                  </a:lnTo>
                  <a:lnTo>
                    <a:pt x="2939" y="1561"/>
                  </a:lnTo>
                  <a:lnTo>
                    <a:pt x="2931" y="1651"/>
                  </a:lnTo>
                  <a:lnTo>
                    <a:pt x="2919" y="1738"/>
                  </a:lnTo>
                  <a:lnTo>
                    <a:pt x="2900" y="1825"/>
                  </a:lnTo>
                  <a:lnTo>
                    <a:pt x="2876" y="1908"/>
                  </a:lnTo>
                  <a:lnTo>
                    <a:pt x="2848" y="1991"/>
                  </a:lnTo>
                  <a:lnTo>
                    <a:pt x="2815" y="2071"/>
                  </a:lnTo>
                  <a:lnTo>
                    <a:pt x="2776" y="2151"/>
                  </a:lnTo>
                  <a:lnTo>
                    <a:pt x="2731" y="2228"/>
                  </a:lnTo>
                  <a:lnTo>
                    <a:pt x="2683" y="2303"/>
                  </a:lnTo>
                  <a:lnTo>
                    <a:pt x="3399" y="3019"/>
                  </a:lnTo>
                  <a:lnTo>
                    <a:pt x="3423" y="3046"/>
                  </a:lnTo>
                  <a:lnTo>
                    <a:pt x="3442" y="3074"/>
                  </a:lnTo>
                  <a:lnTo>
                    <a:pt x="3456" y="3105"/>
                  </a:lnTo>
                  <a:lnTo>
                    <a:pt x="3468" y="3138"/>
                  </a:lnTo>
                  <a:lnTo>
                    <a:pt x="3474" y="3172"/>
                  </a:lnTo>
                  <a:lnTo>
                    <a:pt x="3477" y="3208"/>
                  </a:lnTo>
                  <a:lnTo>
                    <a:pt x="3474" y="3244"/>
                  </a:lnTo>
                  <a:lnTo>
                    <a:pt x="3467" y="3278"/>
                  </a:lnTo>
                  <a:lnTo>
                    <a:pt x="3456" y="3310"/>
                  </a:lnTo>
                  <a:lnTo>
                    <a:pt x="3442" y="3341"/>
                  </a:lnTo>
                  <a:lnTo>
                    <a:pt x="3421" y="3370"/>
                  </a:lnTo>
                  <a:lnTo>
                    <a:pt x="3398" y="3396"/>
                  </a:lnTo>
                  <a:lnTo>
                    <a:pt x="3371" y="3421"/>
                  </a:lnTo>
                  <a:lnTo>
                    <a:pt x="3342" y="3440"/>
                  </a:lnTo>
                  <a:lnTo>
                    <a:pt x="3311" y="3455"/>
                  </a:lnTo>
                  <a:lnTo>
                    <a:pt x="3279" y="3466"/>
                  </a:lnTo>
                  <a:lnTo>
                    <a:pt x="3245" y="3472"/>
                  </a:lnTo>
                  <a:lnTo>
                    <a:pt x="3209" y="3474"/>
                  </a:lnTo>
                  <a:lnTo>
                    <a:pt x="3173" y="3472"/>
                  </a:lnTo>
                  <a:lnTo>
                    <a:pt x="3138" y="3466"/>
                  </a:lnTo>
                  <a:lnTo>
                    <a:pt x="3105" y="3455"/>
                  </a:lnTo>
                  <a:lnTo>
                    <a:pt x="3075" y="3440"/>
                  </a:lnTo>
                  <a:lnTo>
                    <a:pt x="3047" y="3419"/>
                  </a:lnTo>
                  <a:lnTo>
                    <a:pt x="3021" y="3395"/>
                  </a:lnTo>
                  <a:lnTo>
                    <a:pt x="2305" y="2682"/>
                  </a:lnTo>
                  <a:lnTo>
                    <a:pt x="2228" y="2731"/>
                  </a:lnTo>
                  <a:lnTo>
                    <a:pt x="2151" y="2775"/>
                  </a:lnTo>
                  <a:lnTo>
                    <a:pt x="2073" y="2813"/>
                  </a:lnTo>
                  <a:lnTo>
                    <a:pt x="1991" y="2847"/>
                  </a:lnTo>
                  <a:lnTo>
                    <a:pt x="1909" y="2876"/>
                  </a:lnTo>
                  <a:lnTo>
                    <a:pt x="1825" y="2899"/>
                  </a:lnTo>
                  <a:lnTo>
                    <a:pt x="1739" y="2917"/>
                  </a:lnTo>
                  <a:lnTo>
                    <a:pt x="1651" y="2930"/>
                  </a:lnTo>
                  <a:lnTo>
                    <a:pt x="1561" y="2938"/>
                  </a:lnTo>
                  <a:lnTo>
                    <a:pt x="1470" y="2940"/>
                  </a:lnTo>
                  <a:lnTo>
                    <a:pt x="1372" y="2937"/>
                  </a:lnTo>
                  <a:lnTo>
                    <a:pt x="1275" y="2927"/>
                  </a:lnTo>
                  <a:lnTo>
                    <a:pt x="1178" y="2912"/>
                  </a:lnTo>
                  <a:lnTo>
                    <a:pt x="1084" y="2889"/>
                  </a:lnTo>
                  <a:lnTo>
                    <a:pt x="991" y="2860"/>
                  </a:lnTo>
                  <a:lnTo>
                    <a:pt x="900" y="2825"/>
                  </a:lnTo>
                  <a:lnTo>
                    <a:pt x="824" y="2790"/>
                  </a:lnTo>
                  <a:lnTo>
                    <a:pt x="749" y="2752"/>
                  </a:lnTo>
                  <a:lnTo>
                    <a:pt x="680" y="2710"/>
                  </a:lnTo>
                  <a:lnTo>
                    <a:pt x="613" y="2665"/>
                  </a:lnTo>
                  <a:lnTo>
                    <a:pt x="548" y="2617"/>
                  </a:lnTo>
                  <a:lnTo>
                    <a:pt x="488" y="2567"/>
                  </a:lnTo>
                  <a:lnTo>
                    <a:pt x="430" y="2512"/>
                  </a:lnTo>
                  <a:lnTo>
                    <a:pt x="375" y="2453"/>
                  </a:lnTo>
                  <a:lnTo>
                    <a:pt x="324" y="2392"/>
                  </a:lnTo>
                  <a:lnTo>
                    <a:pt x="275" y="2328"/>
                  </a:lnTo>
                  <a:lnTo>
                    <a:pt x="231" y="2261"/>
                  </a:lnTo>
                  <a:lnTo>
                    <a:pt x="189" y="2191"/>
                  </a:lnTo>
                  <a:lnTo>
                    <a:pt x="151" y="2118"/>
                  </a:lnTo>
                  <a:lnTo>
                    <a:pt x="116" y="2042"/>
                  </a:lnTo>
                  <a:lnTo>
                    <a:pt x="80" y="1950"/>
                  </a:lnTo>
                  <a:lnTo>
                    <a:pt x="52" y="1857"/>
                  </a:lnTo>
                  <a:lnTo>
                    <a:pt x="30" y="1762"/>
                  </a:lnTo>
                  <a:lnTo>
                    <a:pt x="13" y="1667"/>
                  </a:lnTo>
                  <a:lnTo>
                    <a:pt x="3" y="1570"/>
                  </a:lnTo>
                  <a:lnTo>
                    <a:pt x="0" y="1470"/>
                  </a:lnTo>
                  <a:lnTo>
                    <a:pt x="0" y="1470"/>
                  </a:lnTo>
                  <a:lnTo>
                    <a:pt x="3" y="1372"/>
                  </a:lnTo>
                  <a:lnTo>
                    <a:pt x="13" y="1275"/>
                  </a:lnTo>
                  <a:lnTo>
                    <a:pt x="30" y="1178"/>
                  </a:lnTo>
                  <a:lnTo>
                    <a:pt x="52" y="1084"/>
                  </a:lnTo>
                  <a:lnTo>
                    <a:pt x="80" y="991"/>
                  </a:lnTo>
                  <a:lnTo>
                    <a:pt x="116" y="900"/>
                  </a:lnTo>
                  <a:lnTo>
                    <a:pt x="151" y="823"/>
                  </a:lnTo>
                  <a:lnTo>
                    <a:pt x="189" y="750"/>
                  </a:lnTo>
                  <a:lnTo>
                    <a:pt x="231" y="680"/>
                  </a:lnTo>
                  <a:lnTo>
                    <a:pt x="275" y="612"/>
                  </a:lnTo>
                  <a:lnTo>
                    <a:pt x="324" y="549"/>
                  </a:lnTo>
                  <a:lnTo>
                    <a:pt x="375" y="487"/>
                  </a:lnTo>
                  <a:lnTo>
                    <a:pt x="430" y="430"/>
                  </a:lnTo>
                  <a:lnTo>
                    <a:pt x="488" y="375"/>
                  </a:lnTo>
                  <a:lnTo>
                    <a:pt x="548" y="323"/>
                  </a:lnTo>
                  <a:lnTo>
                    <a:pt x="613" y="276"/>
                  </a:lnTo>
                  <a:lnTo>
                    <a:pt x="680" y="231"/>
                  </a:lnTo>
                  <a:lnTo>
                    <a:pt x="749" y="189"/>
                  </a:lnTo>
                  <a:lnTo>
                    <a:pt x="824" y="151"/>
                  </a:lnTo>
                  <a:lnTo>
                    <a:pt x="900" y="117"/>
                  </a:lnTo>
                  <a:lnTo>
                    <a:pt x="991" y="81"/>
                  </a:lnTo>
                  <a:lnTo>
                    <a:pt x="1084" y="52"/>
                  </a:lnTo>
                  <a:lnTo>
                    <a:pt x="1178" y="29"/>
                  </a:lnTo>
                  <a:lnTo>
                    <a:pt x="1275" y="13"/>
                  </a:lnTo>
                  <a:lnTo>
                    <a:pt x="1372" y="4"/>
                  </a:lnTo>
                  <a:lnTo>
                    <a:pt x="147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-850" y="1481"/>
              <a:ext cx="335" cy="334"/>
            </a:xfrm>
            <a:custGeom>
              <a:avLst/>
              <a:gdLst>
                <a:gd name="T0" fmla="*/ 602 w 1337"/>
                <a:gd name="T1" fmla="*/ 0 h 1336"/>
                <a:gd name="T2" fmla="*/ 736 w 1337"/>
                <a:gd name="T3" fmla="*/ 0 h 1336"/>
                <a:gd name="T4" fmla="*/ 753 w 1337"/>
                <a:gd name="T5" fmla="*/ 2 h 1336"/>
                <a:gd name="T6" fmla="*/ 769 w 1337"/>
                <a:gd name="T7" fmla="*/ 8 h 1336"/>
                <a:gd name="T8" fmla="*/ 783 w 1337"/>
                <a:gd name="T9" fmla="*/ 20 h 1336"/>
                <a:gd name="T10" fmla="*/ 793 w 1337"/>
                <a:gd name="T11" fmla="*/ 33 h 1336"/>
                <a:gd name="T12" fmla="*/ 801 w 1337"/>
                <a:gd name="T13" fmla="*/ 49 h 1336"/>
                <a:gd name="T14" fmla="*/ 803 w 1337"/>
                <a:gd name="T15" fmla="*/ 66 h 1336"/>
                <a:gd name="T16" fmla="*/ 803 w 1337"/>
                <a:gd name="T17" fmla="*/ 534 h 1336"/>
                <a:gd name="T18" fmla="*/ 1271 w 1337"/>
                <a:gd name="T19" fmla="*/ 534 h 1336"/>
                <a:gd name="T20" fmla="*/ 1288 w 1337"/>
                <a:gd name="T21" fmla="*/ 536 h 1336"/>
                <a:gd name="T22" fmla="*/ 1304 w 1337"/>
                <a:gd name="T23" fmla="*/ 542 h 1336"/>
                <a:gd name="T24" fmla="*/ 1317 w 1337"/>
                <a:gd name="T25" fmla="*/ 554 h 1336"/>
                <a:gd name="T26" fmla="*/ 1329 w 1337"/>
                <a:gd name="T27" fmla="*/ 568 h 1336"/>
                <a:gd name="T28" fmla="*/ 1335 w 1337"/>
                <a:gd name="T29" fmla="*/ 584 h 1336"/>
                <a:gd name="T30" fmla="*/ 1337 w 1337"/>
                <a:gd name="T31" fmla="*/ 601 h 1336"/>
                <a:gd name="T32" fmla="*/ 1337 w 1337"/>
                <a:gd name="T33" fmla="*/ 734 h 1336"/>
                <a:gd name="T34" fmla="*/ 1335 w 1337"/>
                <a:gd name="T35" fmla="*/ 752 h 1336"/>
                <a:gd name="T36" fmla="*/ 1329 w 1337"/>
                <a:gd name="T37" fmla="*/ 767 h 1336"/>
                <a:gd name="T38" fmla="*/ 1317 w 1337"/>
                <a:gd name="T39" fmla="*/ 782 h 1336"/>
                <a:gd name="T40" fmla="*/ 1304 w 1337"/>
                <a:gd name="T41" fmla="*/ 792 h 1336"/>
                <a:gd name="T42" fmla="*/ 1288 w 1337"/>
                <a:gd name="T43" fmla="*/ 798 h 1336"/>
                <a:gd name="T44" fmla="*/ 1271 w 1337"/>
                <a:gd name="T45" fmla="*/ 801 h 1336"/>
                <a:gd name="T46" fmla="*/ 803 w 1337"/>
                <a:gd name="T47" fmla="*/ 801 h 1336"/>
                <a:gd name="T48" fmla="*/ 803 w 1337"/>
                <a:gd name="T49" fmla="*/ 1268 h 1336"/>
                <a:gd name="T50" fmla="*/ 801 w 1337"/>
                <a:gd name="T51" fmla="*/ 1286 h 1336"/>
                <a:gd name="T52" fmla="*/ 793 w 1337"/>
                <a:gd name="T53" fmla="*/ 1302 h 1336"/>
                <a:gd name="T54" fmla="*/ 783 w 1337"/>
                <a:gd name="T55" fmla="*/ 1316 h 1336"/>
                <a:gd name="T56" fmla="*/ 769 w 1337"/>
                <a:gd name="T57" fmla="*/ 1327 h 1336"/>
                <a:gd name="T58" fmla="*/ 753 w 1337"/>
                <a:gd name="T59" fmla="*/ 1333 h 1336"/>
                <a:gd name="T60" fmla="*/ 736 w 1337"/>
                <a:gd name="T61" fmla="*/ 1336 h 1336"/>
                <a:gd name="T62" fmla="*/ 602 w 1337"/>
                <a:gd name="T63" fmla="*/ 1336 h 1336"/>
                <a:gd name="T64" fmla="*/ 585 w 1337"/>
                <a:gd name="T65" fmla="*/ 1333 h 1336"/>
                <a:gd name="T66" fmla="*/ 569 w 1337"/>
                <a:gd name="T67" fmla="*/ 1327 h 1336"/>
                <a:gd name="T68" fmla="*/ 555 w 1337"/>
                <a:gd name="T69" fmla="*/ 1316 h 1336"/>
                <a:gd name="T70" fmla="*/ 545 w 1337"/>
                <a:gd name="T71" fmla="*/ 1302 h 1336"/>
                <a:gd name="T72" fmla="*/ 537 w 1337"/>
                <a:gd name="T73" fmla="*/ 1286 h 1336"/>
                <a:gd name="T74" fmla="*/ 535 w 1337"/>
                <a:gd name="T75" fmla="*/ 1268 h 1336"/>
                <a:gd name="T76" fmla="*/ 535 w 1337"/>
                <a:gd name="T77" fmla="*/ 801 h 1336"/>
                <a:gd name="T78" fmla="*/ 67 w 1337"/>
                <a:gd name="T79" fmla="*/ 801 h 1336"/>
                <a:gd name="T80" fmla="*/ 50 w 1337"/>
                <a:gd name="T81" fmla="*/ 798 h 1336"/>
                <a:gd name="T82" fmla="*/ 34 w 1337"/>
                <a:gd name="T83" fmla="*/ 792 h 1336"/>
                <a:gd name="T84" fmla="*/ 21 w 1337"/>
                <a:gd name="T85" fmla="*/ 782 h 1336"/>
                <a:gd name="T86" fmla="*/ 9 w 1337"/>
                <a:gd name="T87" fmla="*/ 767 h 1336"/>
                <a:gd name="T88" fmla="*/ 3 w 1337"/>
                <a:gd name="T89" fmla="*/ 752 h 1336"/>
                <a:gd name="T90" fmla="*/ 0 w 1337"/>
                <a:gd name="T91" fmla="*/ 734 h 1336"/>
                <a:gd name="T92" fmla="*/ 0 w 1337"/>
                <a:gd name="T93" fmla="*/ 601 h 1336"/>
                <a:gd name="T94" fmla="*/ 3 w 1337"/>
                <a:gd name="T95" fmla="*/ 584 h 1336"/>
                <a:gd name="T96" fmla="*/ 9 w 1337"/>
                <a:gd name="T97" fmla="*/ 568 h 1336"/>
                <a:gd name="T98" fmla="*/ 21 w 1337"/>
                <a:gd name="T99" fmla="*/ 554 h 1336"/>
                <a:gd name="T100" fmla="*/ 34 w 1337"/>
                <a:gd name="T101" fmla="*/ 542 h 1336"/>
                <a:gd name="T102" fmla="*/ 50 w 1337"/>
                <a:gd name="T103" fmla="*/ 536 h 1336"/>
                <a:gd name="T104" fmla="*/ 67 w 1337"/>
                <a:gd name="T105" fmla="*/ 534 h 1336"/>
                <a:gd name="T106" fmla="*/ 535 w 1337"/>
                <a:gd name="T107" fmla="*/ 534 h 1336"/>
                <a:gd name="T108" fmla="*/ 535 w 1337"/>
                <a:gd name="T109" fmla="*/ 66 h 1336"/>
                <a:gd name="T110" fmla="*/ 537 w 1337"/>
                <a:gd name="T111" fmla="*/ 49 h 1336"/>
                <a:gd name="T112" fmla="*/ 545 w 1337"/>
                <a:gd name="T113" fmla="*/ 33 h 1336"/>
                <a:gd name="T114" fmla="*/ 555 w 1337"/>
                <a:gd name="T115" fmla="*/ 20 h 1336"/>
                <a:gd name="T116" fmla="*/ 569 w 1337"/>
                <a:gd name="T117" fmla="*/ 8 h 1336"/>
                <a:gd name="T118" fmla="*/ 585 w 1337"/>
                <a:gd name="T119" fmla="*/ 2 h 1336"/>
                <a:gd name="T120" fmla="*/ 602 w 1337"/>
                <a:gd name="T121" fmla="*/ 0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37" h="1336">
                  <a:moveTo>
                    <a:pt x="602" y="0"/>
                  </a:moveTo>
                  <a:lnTo>
                    <a:pt x="736" y="0"/>
                  </a:lnTo>
                  <a:lnTo>
                    <a:pt x="753" y="2"/>
                  </a:lnTo>
                  <a:lnTo>
                    <a:pt x="769" y="8"/>
                  </a:lnTo>
                  <a:lnTo>
                    <a:pt x="783" y="20"/>
                  </a:lnTo>
                  <a:lnTo>
                    <a:pt x="793" y="33"/>
                  </a:lnTo>
                  <a:lnTo>
                    <a:pt x="801" y="49"/>
                  </a:lnTo>
                  <a:lnTo>
                    <a:pt x="803" y="66"/>
                  </a:lnTo>
                  <a:lnTo>
                    <a:pt x="803" y="534"/>
                  </a:lnTo>
                  <a:lnTo>
                    <a:pt x="1271" y="534"/>
                  </a:lnTo>
                  <a:lnTo>
                    <a:pt x="1288" y="536"/>
                  </a:lnTo>
                  <a:lnTo>
                    <a:pt x="1304" y="542"/>
                  </a:lnTo>
                  <a:lnTo>
                    <a:pt x="1317" y="554"/>
                  </a:lnTo>
                  <a:lnTo>
                    <a:pt x="1329" y="568"/>
                  </a:lnTo>
                  <a:lnTo>
                    <a:pt x="1335" y="584"/>
                  </a:lnTo>
                  <a:lnTo>
                    <a:pt x="1337" y="601"/>
                  </a:lnTo>
                  <a:lnTo>
                    <a:pt x="1337" y="734"/>
                  </a:lnTo>
                  <a:lnTo>
                    <a:pt x="1335" y="752"/>
                  </a:lnTo>
                  <a:lnTo>
                    <a:pt x="1329" y="767"/>
                  </a:lnTo>
                  <a:lnTo>
                    <a:pt x="1317" y="782"/>
                  </a:lnTo>
                  <a:lnTo>
                    <a:pt x="1304" y="792"/>
                  </a:lnTo>
                  <a:lnTo>
                    <a:pt x="1288" y="798"/>
                  </a:lnTo>
                  <a:lnTo>
                    <a:pt x="1271" y="801"/>
                  </a:lnTo>
                  <a:lnTo>
                    <a:pt x="803" y="801"/>
                  </a:lnTo>
                  <a:lnTo>
                    <a:pt x="803" y="1268"/>
                  </a:lnTo>
                  <a:lnTo>
                    <a:pt x="801" y="1286"/>
                  </a:lnTo>
                  <a:lnTo>
                    <a:pt x="793" y="1302"/>
                  </a:lnTo>
                  <a:lnTo>
                    <a:pt x="783" y="1316"/>
                  </a:lnTo>
                  <a:lnTo>
                    <a:pt x="769" y="1327"/>
                  </a:lnTo>
                  <a:lnTo>
                    <a:pt x="753" y="1333"/>
                  </a:lnTo>
                  <a:lnTo>
                    <a:pt x="736" y="1336"/>
                  </a:lnTo>
                  <a:lnTo>
                    <a:pt x="602" y="1336"/>
                  </a:lnTo>
                  <a:lnTo>
                    <a:pt x="585" y="1333"/>
                  </a:lnTo>
                  <a:lnTo>
                    <a:pt x="569" y="1327"/>
                  </a:lnTo>
                  <a:lnTo>
                    <a:pt x="555" y="1316"/>
                  </a:lnTo>
                  <a:lnTo>
                    <a:pt x="545" y="1302"/>
                  </a:lnTo>
                  <a:lnTo>
                    <a:pt x="537" y="1286"/>
                  </a:lnTo>
                  <a:lnTo>
                    <a:pt x="535" y="1268"/>
                  </a:lnTo>
                  <a:lnTo>
                    <a:pt x="535" y="801"/>
                  </a:lnTo>
                  <a:lnTo>
                    <a:pt x="67" y="801"/>
                  </a:lnTo>
                  <a:lnTo>
                    <a:pt x="50" y="798"/>
                  </a:lnTo>
                  <a:lnTo>
                    <a:pt x="34" y="792"/>
                  </a:lnTo>
                  <a:lnTo>
                    <a:pt x="21" y="782"/>
                  </a:lnTo>
                  <a:lnTo>
                    <a:pt x="9" y="767"/>
                  </a:lnTo>
                  <a:lnTo>
                    <a:pt x="3" y="752"/>
                  </a:lnTo>
                  <a:lnTo>
                    <a:pt x="0" y="734"/>
                  </a:lnTo>
                  <a:lnTo>
                    <a:pt x="0" y="601"/>
                  </a:lnTo>
                  <a:lnTo>
                    <a:pt x="3" y="584"/>
                  </a:lnTo>
                  <a:lnTo>
                    <a:pt x="9" y="568"/>
                  </a:lnTo>
                  <a:lnTo>
                    <a:pt x="21" y="554"/>
                  </a:lnTo>
                  <a:lnTo>
                    <a:pt x="34" y="542"/>
                  </a:lnTo>
                  <a:lnTo>
                    <a:pt x="50" y="536"/>
                  </a:lnTo>
                  <a:lnTo>
                    <a:pt x="67" y="534"/>
                  </a:lnTo>
                  <a:lnTo>
                    <a:pt x="535" y="534"/>
                  </a:lnTo>
                  <a:lnTo>
                    <a:pt x="535" y="66"/>
                  </a:lnTo>
                  <a:lnTo>
                    <a:pt x="537" y="49"/>
                  </a:lnTo>
                  <a:lnTo>
                    <a:pt x="545" y="33"/>
                  </a:lnTo>
                  <a:lnTo>
                    <a:pt x="555" y="20"/>
                  </a:lnTo>
                  <a:lnTo>
                    <a:pt x="569" y="8"/>
                  </a:lnTo>
                  <a:lnTo>
                    <a:pt x="585" y="2"/>
                  </a:lnTo>
                  <a:lnTo>
                    <a:pt x="60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0" name="Freeform 12"/>
          <p:cNvSpPr>
            <a:spLocks noEditPoints="1"/>
          </p:cNvSpPr>
          <p:nvPr/>
        </p:nvSpPr>
        <p:spPr bwMode="auto">
          <a:xfrm>
            <a:off x="7212524" y="1701786"/>
            <a:ext cx="496256" cy="653170"/>
          </a:xfrm>
          <a:custGeom>
            <a:avLst/>
            <a:gdLst>
              <a:gd name="T0" fmla="*/ 1945 w 2569"/>
              <a:gd name="T1" fmla="*/ 2571 h 3379"/>
              <a:gd name="T2" fmla="*/ 1819 w 2569"/>
              <a:gd name="T3" fmla="*/ 2753 h 3379"/>
              <a:gd name="T4" fmla="*/ 1732 w 2569"/>
              <a:gd name="T5" fmla="*/ 2806 h 3379"/>
              <a:gd name="T6" fmla="*/ 1743 w 2569"/>
              <a:gd name="T7" fmla="*/ 2909 h 3379"/>
              <a:gd name="T8" fmla="*/ 1923 w 2569"/>
              <a:gd name="T9" fmla="*/ 2945 h 3379"/>
              <a:gd name="T10" fmla="*/ 1960 w 2569"/>
              <a:gd name="T11" fmla="*/ 3129 h 3379"/>
              <a:gd name="T12" fmla="*/ 2062 w 2569"/>
              <a:gd name="T13" fmla="*/ 3140 h 3379"/>
              <a:gd name="T14" fmla="*/ 2116 w 2569"/>
              <a:gd name="T15" fmla="*/ 3053 h 3379"/>
              <a:gd name="T16" fmla="*/ 2302 w 2569"/>
              <a:gd name="T17" fmla="*/ 2924 h 3379"/>
              <a:gd name="T18" fmla="*/ 2335 w 2569"/>
              <a:gd name="T19" fmla="*/ 2827 h 3379"/>
              <a:gd name="T20" fmla="*/ 2264 w 2569"/>
              <a:gd name="T21" fmla="*/ 2756 h 3379"/>
              <a:gd name="T22" fmla="*/ 2106 w 2569"/>
              <a:gd name="T23" fmla="*/ 2589 h 3379"/>
              <a:gd name="T24" fmla="*/ 2020 w 2569"/>
              <a:gd name="T25" fmla="*/ 2535 h 3379"/>
              <a:gd name="T26" fmla="*/ 2252 w 2569"/>
              <a:gd name="T27" fmla="*/ 2353 h 3379"/>
              <a:gd name="T28" fmla="*/ 2464 w 2569"/>
              <a:gd name="T29" fmla="*/ 2525 h 3379"/>
              <a:gd name="T30" fmla="*/ 2566 w 2569"/>
              <a:gd name="T31" fmla="*/ 2784 h 3379"/>
              <a:gd name="T32" fmla="*/ 2521 w 2569"/>
              <a:gd name="T33" fmla="*/ 3064 h 3379"/>
              <a:gd name="T34" fmla="*/ 2349 w 2569"/>
              <a:gd name="T35" fmla="*/ 3276 h 3379"/>
              <a:gd name="T36" fmla="*/ 2089 w 2569"/>
              <a:gd name="T37" fmla="*/ 3376 h 3379"/>
              <a:gd name="T38" fmla="*/ 1809 w 2569"/>
              <a:gd name="T39" fmla="*/ 3332 h 3379"/>
              <a:gd name="T40" fmla="*/ 1596 w 2569"/>
              <a:gd name="T41" fmla="*/ 3160 h 3379"/>
              <a:gd name="T42" fmla="*/ 1495 w 2569"/>
              <a:gd name="T43" fmla="*/ 2901 h 3379"/>
              <a:gd name="T44" fmla="*/ 1540 w 2569"/>
              <a:gd name="T45" fmla="*/ 2620 h 3379"/>
              <a:gd name="T46" fmla="*/ 1712 w 2569"/>
              <a:gd name="T47" fmla="*/ 2409 h 3379"/>
              <a:gd name="T48" fmla="*/ 1972 w 2569"/>
              <a:gd name="T49" fmla="*/ 2308 h 3379"/>
              <a:gd name="T50" fmla="*/ 444 w 2569"/>
              <a:gd name="T51" fmla="*/ 1724 h 3379"/>
              <a:gd name="T52" fmla="*/ 411 w 2569"/>
              <a:gd name="T53" fmla="*/ 1821 h 3379"/>
              <a:gd name="T54" fmla="*/ 482 w 2569"/>
              <a:gd name="T55" fmla="*/ 1892 h 3379"/>
              <a:gd name="T56" fmla="*/ 1834 w 2569"/>
              <a:gd name="T57" fmla="*/ 1874 h 3379"/>
              <a:gd name="T58" fmla="*/ 1867 w 2569"/>
              <a:gd name="T59" fmla="*/ 1777 h 3379"/>
              <a:gd name="T60" fmla="*/ 1796 w 2569"/>
              <a:gd name="T61" fmla="*/ 1705 h 3379"/>
              <a:gd name="T62" fmla="*/ 463 w 2569"/>
              <a:gd name="T63" fmla="*/ 1290 h 3379"/>
              <a:gd name="T64" fmla="*/ 409 w 2569"/>
              <a:gd name="T65" fmla="*/ 1377 h 3379"/>
              <a:gd name="T66" fmla="*/ 463 w 2569"/>
              <a:gd name="T67" fmla="*/ 1463 h 3379"/>
              <a:gd name="T68" fmla="*/ 1816 w 2569"/>
              <a:gd name="T69" fmla="*/ 1463 h 3379"/>
              <a:gd name="T70" fmla="*/ 1871 w 2569"/>
              <a:gd name="T71" fmla="*/ 1377 h 3379"/>
              <a:gd name="T72" fmla="*/ 1816 w 2569"/>
              <a:gd name="T73" fmla="*/ 1290 h 3379"/>
              <a:gd name="T74" fmla="*/ 482 w 2569"/>
              <a:gd name="T75" fmla="*/ 886 h 3379"/>
              <a:gd name="T76" fmla="*/ 411 w 2569"/>
              <a:gd name="T77" fmla="*/ 958 h 3379"/>
              <a:gd name="T78" fmla="*/ 444 w 2569"/>
              <a:gd name="T79" fmla="*/ 1055 h 3379"/>
              <a:gd name="T80" fmla="*/ 1796 w 2569"/>
              <a:gd name="T81" fmla="*/ 1073 h 3379"/>
              <a:gd name="T82" fmla="*/ 1867 w 2569"/>
              <a:gd name="T83" fmla="*/ 1002 h 3379"/>
              <a:gd name="T84" fmla="*/ 1834 w 2569"/>
              <a:gd name="T85" fmla="*/ 905 h 3379"/>
              <a:gd name="T86" fmla="*/ 1859 w 2569"/>
              <a:gd name="T87" fmla="*/ 31 h 3379"/>
              <a:gd name="T88" fmla="*/ 1667 w 2569"/>
              <a:gd name="T89" fmla="*/ 0 h 3379"/>
              <a:gd name="T90" fmla="*/ 1706 w 2569"/>
              <a:gd name="T91" fmla="*/ 594 h 3379"/>
              <a:gd name="T92" fmla="*/ 2308 w 2569"/>
              <a:gd name="T93" fmla="*/ 2169 h 3379"/>
              <a:gd name="T94" fmla="*/ 2079 w 2569"/>
              <a:gd name="T95" fmla="*/ 2114 h 3379"/>
              <a:gd name="T96" fmla="*/ 1773 w 2569"/>
              <a:gd name="T97" fmla="*/ 2159 h 3379"/>
              <a:gd name="T98" fmla="*/ 1513 w 2569"/>
              <a:gd name="T99" fmla="*/ 2327 h 3379"/>
              <a:gd name="T100" fmla="*/ 1344 w 2569"/>
              <a:gd name="T101" fmla="*/ 2588 h 3379"/>
              <a:gd name="T102" fmla="*/ 1302 w 2569"/>
              <a:gd name="T103" fmla="*/ 2910 h 3379"/>
              <a:gd name="T104" fmla="*/ 99 w 2569"/>
              <a:gd name="T105" fmla="*/ 3153 h 3379"/>
              <a:gd name="T106" fmla="*/ 11 w 2569"/>
              <a:gd name="T107" fmla="*/ 3097 h 3379"/>
              <a:gd name="T108" fmla="*/ 11 w 2569"/>
              <a:gd name="T109" fmla="*/ 54 h 3379"/>
              <a:gd name="T110" fmla="*/ 101 w 2569"/>
              <a:gd name="T111" fmla="*/ 0 h 33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569" h="3379">
                <a:moveTo>
                  <a:pt x="2020" y="2535"/>
                </a:moveTo>
                <a:lnTo>
                  <a:pt x="1998" y="2538"/>
                </a:lnTo>
                <a:lnTo>
                  <a:pt x="1977" y="2545"/>
                </a:lnTo>
                <a:lnTo>
                  <a:pt x="1960" y="2556"/>
                </a:lnTo>
                <a:lnTo>
                  <a:pt x="1945" y="2571"/>
                </a:lnTo>
                <a:lnTo>
                  <a:pt x="1934" y="2589"/>
                </a:lnTo>
                <a:lnTo>
                  <a:pt x="1926" y="2609"/>
                </a:lnTo>
                <a:lnTo>
                  <a:pt x="1923" y="2631"/>
                </a:lnTo>
                <a:lnTo>
                  <a:pt x="1923" y="2753"/>
                </a:lnTo>
                <a:lnTo>
                  <a:pt x="1819" y="2753"/>
                </a:lnTo>
                <a:lnTo>
                  <a:pt x="1797" y="2756"/>
                </a:lnTo>
                <a:lnTo>
                  <a:pt x="1776" y="2763"/>
                </a:lnTo>
                <a:lnTo>
                  <a:pt x="1759" y="2774"/>
                </a:lnTo>
                <a:lnTo>
                  <a:pt x="1743" y="2789"/>
                </a:lnTo>
                <a:lnTo>
                  <a:pt x="1732" y="2806"/>
                </a:lnTo>
                <a:lnTo>
                  <a:pt x="1725" y="2827"/>
                </a:lnTo>
                <a:lnTo>
                  <a:pt x="1723" y="2849"/>
                </a:lnTo>
                <a:lnTo>
                  <a:pt x="1725" y="2870"/>
                </a:lnTo>
                <a:lnTo>
                  <a:pt x="1732" y="2891"/>
                </a:lnTo>
                <a:lnTo>
                  <a:pt x="1743" y="2909"/>
                </a:lnTo>
                <a:lnTo>
                  <a:pt x="1759" y="2924"/>
                </a:lnTo>
                <a:lnTo>
                  <a:pt x="1776" y="2935"/>
                </a:lnTo>
                <a:lnTo>
                  <a:pt x="1797" y="2943"/>
                </a:lnTo>
                <a:lnTo>
                  <a:pt x="1819" y="2945"/>
                </a:lnTo>
                <a:lnTo>
                  <a:pt x="1923" y="2945"/>
                </a:lnTo>
                <a:lnTo>
                  <a:pt x="1923" y="3053"/>
                </a:lnTo>
                <a:lnTo>
                  <a:pt x="1926" y="3076"/>
                </a:lnTo>
                <a:lnTo>
                  <a:pt x="1934" y="3095"/>
                </a:lnTo>
                <a:lnTo>
                  <a:pt x="1945" y="3114"/>
                </a:lnTo>
                <a:lnTo>
                  <a:pt x="1960" y="3129"/>
                </a:lnTo>
                <a:lnTo>
                  <a:pt x="1977" y="3140"/>
                </a:lnTo>
                <a:lnTo>
                  <a:pt x="1998" y="3147"/>
                </a:lnTo>
                <a:lnTo>
                  <a:pt x="2020" y="3149"/>
                </a:lnTo>
                <a:lnTo>
                  <a:pt x="2041" y="3147"/>
                </a:lnTo>
                <a:lnTo>
                  <a:pt x="2062" y="3140"/>
                </a:lnTo>
                <a:lnTo>
                  <a:pt x="2080" y="3129"/>
                </a:lnTo>
                <a:lnTo>
                  <a:pt x="2095" y="3114"/>
                </a:lnTo>
                <a:lnTo>
                  <a:pt x="2106" y="3095"/>
                </a:lnTo>
                <a:lnTo>
                  <a:pt x="2114" y="3076"/>
                </a:lnTo>
                <a:lnTo>
                  <a:pt x="2116" y="3053"/>
                </a:lnTo>
                <a:lnTo>
                  <a:pt x="2116" y="2945"/>
                </a:lnTo>
                <a:lnTo>
                  <a:pt x="2242" y="2945"/>
                </a:lnTo>
                <a:lnTo>
                  <a:pt x="2264" y="2943"/>
                </a:lnTo>
                <a:lnTo>
                  <a:pt x="2284" y="2935"/>
                </a:lnTo>
                <a:lnTo>
                  <a:pt x="2302" y="2924"/>
                </a:lnTo>
                <a:lnTo>
                  <a:pt x="2317" y="2909"/>
                </a:lnTo>
                <a:lnTo>
                  <a:pt x="2328" y="2891"/>
                </a:lnTo>
                <a:lnTo>
                  <a:pt x="2335" y="2870"/>
                </a:lnTo>
                <a:lnTo>
                  <a:pt x="2338" y="2849"/>
                </a:lnTo>
                <a:lnTo>
                  <a:pt x="2335" y="2827"/>
                </a:lnTo>
                <a:lnTo>
                  <a:pt x="2328" y="2806"/>
                </a:lnTo>
                <a:lnTo>
                  <a:pt x="2317" y="2789"/>
                </a:lnTo>
                <a:lnTo>
                  <a:pt x="2302" y="2774"/>
                </a:lnTo>
                <a:lnTo>
                  <a:pt x="2284" y="2763"/>
                </a:lnTo>
                <a:lnTo>
                  <a:pt x="2264" y="2756"/>
                </a:lnTo>
                <a:lnTo>
                  <a:pt x="2242" y="2753"/>
                </a:lnTo>
                <a:lnTo>
                  <a:pt x="2116" y="2753"/>
                </a:lnTo>
                <a:lnTo>
                  <a:pt x="2116" y="2631"/>
                </a:lnTo>
                <a:lnTo>
                  <a:pt x="2114" y="2609"/>
                </a:lnTo>
                <a:lnTo>
                  <a:pt x="2106" y="2589"/>
                </a:lnTo>
                <a:lnTo>
                  <a:pt x="2095" y="2571"/>
                </a:lnTo>
                <a:lnTo>
                  <a:pt x="2080" y="2556"/>
                </a:lnTo>
                <a:lnTo>
                  <a:pt x="2062" y="2545"/>
                </a:lnTo>
                <a:lnTo>
                  <a:pt x="2041" y="2538"/>
                </a:lnTo>
                <a:lnTo>
                  <a:pt x="2020" y="2535"/>
                </a:lnTo>
                <a:close/>
                <a:moveTo>
                  <a:pt x="2030" y="2304"/>
                </a:moveTo>
                <a:lnTo>
                  <a:pt x="2089" y="2308"/>
                </a:lnTo>
                <a:lnTo>
                  <a:pt x="2146" y="2317"/>
                </a:lnTo>
                <a:lnTo>
                  <a:pt x="2201" y="2332"/>
                </a:lnTo>
                <a:lnTo>
                  <a:pt x="2252" y="2353"/>
                </a:lnTo>
                <a:lnTo>
                  <a:pt x="2302" y="2379"/>
                </a:lnTo>
                <a:lnTo>
                  <a:pt x="2349" y="2409"/>
                </a:lnTo>
                <a:lnTo>
                  <a:pt x="2391" y="2444"/>
                </a:lnTo>
                <a:lnTo>
                  <a:pt x="2430" y="2482"/>
                </a:lnTo>
                <a:lnTo>
                  <a:pt x="2464" y="2525"/>
                </a:lnTo>
                <a:lnTo>
                  <a:pt x="2495" y="2571"/>
                </a:lnTo>
                <a:lnTo>
                  <a:pt x="2521" y="2620"/>
                </a:lnTo>
                <a:lnTo>
                  <a:pt x="2541" y="2673"/>
                </a:lnTo>
                <a:lnTo>
                  <a:pt x="2556" y="2727"/>
                </a:lnTo>
                <a:lnTo>
                  <a:pt x="2566" y="2784"/>
                </a:lnTo>
                <a:lnTo>
                  <a:pt x="2569" y="2842"/>
                </a:lnTo>
                <a:lnTo>
                  <a:pt x="2566" y="2901"/>
                </a:lnTo>
                <a:lnTo>
                  <a:pt x="2556" y="2958"/>
                </a:lnTo>
                <a:lnTo>
                  <a:pt x="2541" y="3012"/>
                </a:lnTo>
                <a:lnTo>
                  <a:pt x="2521" y="3064"/>
                </a:lnTo>
                <a:lnTo>
                  <a:pt x="2495" y="3113"/>
                </a:lnTo>
                <a:lnTo>
                  <a:pt x="2464" y="3160"/>
                </a:lnTo>
                <a:lnTo>
                  <a:pt x="2430" y="3203"/>
                </a:lnTo>
                <a:lnTo>
                  <a:pt x="2391" y="3241"/>
                </a:lnTo>
                <a:lnTo>
                  <a:pt x="2349" y="3276"/>
                </a:lnTo>
                <a:lnTo>
                  <a:pt x="2302" y="3306"/>
                </a:lnTo>
                <a:lnTo>
                  <a:pt x="2252" y="3332"/>
                </a:lnTo>
                <a:lnTo>
                  <a:pt x="2201" y="3353"/>
                </a:lnTo>
                <a:lnTo>
                  <a:pt x="2146" y="3367"/>
                </a:lnTo>
                <a:lnTo>
                  <a:pt x="2089" y="3376"/>
                </a:lnTo>
                <a:lnTo>
                  <a:pt x="2030" y="3379"/>
                </a:lnTo>
                <a:lnTo>
                  <a:pt x="1972" y="3376"/>
                </a:lnTo>
                <a:lnTo>
                  <a:pt x="1915" y="3367"/>
                </a:lnTo>
                <a:lnTo>
                  <a:pt x="1860" y="3353"/>
                </a:lnTo>
                <a:lnTo>
                  <a:pt x="1809" y="3332"/>
                </a:lnTo>
                <a:lnTo>
                  <a:pt x="1759" y="3306"/>
                </a:lnTo>
                <a:lnTo>
                  <a:pt x="1712" y="3276"/>
                </a:lnTo>
                <a:lnTo>
                  <a:pt x="1670" y="3241"/>
                </a:lnTo>
                <a:lnTo>
                  <a:pt x="1631" y="3203"/>
                </a:lnTo>
                <a:lnTo>
                  <a:pt x="1596" y="3160"/>
                </a:lnTo>
                <a:lnTo>
                  <a:pt x="1565" y="3113"/>
                </a:lnTo>
                <a:lnTo>
                  <a:pt x="1540" y="3064"/>
                </a:lnTo>
                <a:lnTo>
                  <a:pt x="1520" y="3012"/>
                </a:lnTo>
                <a:lnTo>
                  <a:pt x="1504" y="2958"/>
                </a:lnTo>
                <a:lnTo>
                  <a:pt x="1495" y="2901"/>
                </a:lnTo>
                <a:lnTo>
                  <a:pt x="1492" y="2842"/>
                </a:lnTo>
                <a:lnTo>
                  <a:pt x="1495" y="2784"/>
                </a:lnTo>
                <a:lnTo>
                  <a:pt x="1504" y="2727"/>
                </a:lnTo>
                <a:lnTo>
                  <a:pt x="1520" y="2673"/>
                </a:lnTo>
                <a:lnTo>
                  <a:pt x="1540" y="2620"/>
                </a:lnTo>
                <a:lnTo>
                  <a:pt x="1565" y="2571"/>
                </a:lnTo>
                <a:lnTo>
                  <a:pt x="1596" y="2525"/>
                </a:lnTo>
                <a:lnTo>
                  <a:pt x="1631" y="2482"/>
                </a:lnTo>
                <a:lnTo>
                  <a:pt x="1670" y="2444"/>
                </a:lnTo>
                <a:lnTo>
                  <a:pt x="1712" y="2409"/>
                </a:lnTo>
                <a:lnTo>
                  <a:pt x="1759" y="2379"/>
                </a:lnTo>
                <a:lnTo>
                  <a:pt x="1809" y="2353"/>
                </a:lnTo>
                <a:lnTo>
                  <a:pt x="1860" y="2332"/>
                </a:lnTo>
                <a:lnTo>
                  <a:pt x="1915" y="2317"/>
                </a:lnTo>
                <a:lnTo>
                  <a:pt x="1972" y="2308"/>
                </a:lnTo>
                <a:lnTo>
                  <a:pt x="2030" y="2304"/>
                </a:lnTo>
                <a:close/>
                <a:moveTo>
                  <a:pt x="505" y="1703"/>
                </a:moveTo>
                <a:lnTo>
                  <a:pt x="482" y="1705"/>
                </a:lnTo>
                <a:lnTo>
                  <a:pt x="463" y="1713"/>
                </a:lnTo>
                <a:lnTo>
                  <a:pt x="444" y="1724"/>
                </a:lnTo>
                <a:lnTo>
                  <a:pt x="430" y="1740"/>
                </a:lnTo>
                <a:lnTo>
                  <a:pt x="418" y="1757"/>
                </a:lnTo>
                <a:lnTo>
                  <a:pt x="411" y="1777"/>
                </a:lnTo>
                <a:lnTo>
                  <a:pt x="409" y="1799"/>
                </a:lnTo>
                <a:lnTo>
                  <a:pt x="411" y="1821"/>
                </a:lnTo>
                <a:lnTo>
                  <a:pt x="418" y="1842"/>
                </a:lnTo>
                <a:lnTo>
                  <a:pt x="430" y="1859"/>
                </a:lnTo>
                <a:lnTo>
                  <a:pt x="444" y="1874"/>
                </a:lnTo>
                <a:lnTo>
                  <a:pt x="463" y="1885"/>
                </a:lnTo>
                <a:lnTo>
                  <a:pt x="482" y="1892"/>
                </a:lnTo>
                <a:lnTo>
                  <a:pt x="505" y="1895"/>
                </a:lnTo>
                <a:lnTo>
                  <a:pt x="1774" y="1895"/>
                </a:lnTo>
                <a:lnTo>
                  <a:pt x="1796" y="1892"/>
                </a:lnTo>
                <a:lnTo>
                  <a:pt x="1816" y="1885"/>
                </a:lnTo>
                <a:lnTo>
                  <a:pt x="1834" y="1874"/>
                </a:lnTo>
                <a:lnTo>
                  <a:pt x="1849" y="1859"/>
                </a:lnTo>
                <a:lnTo>
                  <a:pt x="1860" y="1842"/>
                </a:lnTo>
                <a:lnTo>
                  <a:pt x="1867" y="1821"/>
                </a:lnTo>
                <a:lnTo>
                  <a:pt x="1871" y="1799"/>
                </a:lnTo>
                <a:lnTo>
                  <a:pt x="1867" y="1777"/>
                </a:lnTo>
                <a:lnTo>
                  <a:pt x="1860" y="1757"/>
                </a:lnTo>
                <a:lnTo>
                  <a:pt x="1849" y="1740"/>
                </a:lnTo>
                <a:lnTo>
                  <a:pt x="1834" y="1724"/>
                </a:lnTo>
                <a:lnTo>
                  <a:pt x="1816" y="1713"/>
                </a:lnTo>
                <a:lnTo>
                  <a:pt x="1796" y="1705"/>
                </a:lnTo>
                <a:lnTo>
                  <a:pt x="1774" y="1703"/>
                </a:lnTo>
                <a:lnTo>
                  <a:pt x="505" y="1703"/>
                </a:lnTo>
                <a:close/>
                <a:moveTo>
                  <a:pt x="505" y="1281"/>
                </a:moveTo>
                <a:lnTo>
                  <a:pt x="482" y="1283"/>
                </a:lnTo>
                <a:lnTo>
                  <a:pt x="463" y="1290"/>
                </a:lnTo>
                <a:lnTo>
                  <a:pt x="444" y="1302"/>
                </a:lnTo>
                <a:lnTo>
                  <a:pt x="430" y="1317"/>
                </a:lnTo>
                <a:lnTo>
                  <a:pt x="418" y="1335"/>
                </a:lnTo>
                <a:lnTo>
                  <a:pt x="411" y="1354"/>
                </a:lnTo>
                <a:lnTo>
                  <a:pt x="409" y="1377"/>
                </a:lnTo>
                <a:lnTo>
                  <a:pt x="411" y="1399"/>
                </a:lnTo>
                <a:lnTo>
                  <a:pt x="418" y="1419"/>
                </a:lnTo>
                <a:lnTo>
                  <a:pt x="430" y="1437"/>
                </a:lnTo>
                <a:lnTo>
                  <a:pt x="444" y="1451"/>
                </a:lnTo>
                <a:lnTo>
                  <a:pt x="463" y="1463"/>
                </a:lnTo>
                <a:lnTo>
                  <a:pt x="482" y="1470"/>
                </a:lnTo>
                <a:lnTo>
                  <a:pt x="505" y="1473"/>
                </a:lnTo>
                <a:lnTo>
                  <a:pt x="1774" y="1473"/>
                </a:lnTo>
                <a:lnTo>
                  <a:pt x="1796" y="1470"/>
                </a:lnTo>
                <a:lnTo>
                  <a:pt x="1816" y="1463"/>
                </a:lnTo>
                <a:lnTo>
                  <a:pt x="1834" y="1451"/>
                </a:lnTo>
                <a:lnTo>
                  <a:pt x="1849" y="1437"/>
                </a:lnTo>
                <a:lnTo>
                  <a:pt x="1860" y="1419"/>
                </a:lnTo>
                <a:lnTo>
                  <a:pt x="1867" y="1399"/>
                </a:lnTo>
                <a:lnTo>
                  <a:pt x="1871" y="1377"/>
                </a:lnTo>
                <a:lnTo>
                  <a:pt x="1867" y="1354"/>
                </a:lnTo>
                <a:lnTo>
                  <a:pt x="1860" y="1335"/>
                </a:lnTo>
                <a:lnTo>
                  <a:pt x="1849" y="1317"/>
                </a:lnTo>
                <a:lnTo>
                  <a:pt x="1834" y="1302"/>
                </a:lnTo>
                <a:lnTo>
                  <a:pt x="1816" y="1290"/>
                </a:lnTo>
                <a:lnTo>
                  <a:pt x="1796" y="1283"/>
                </a:lnTo>
                <a:lnTo>
                  <a:pt x="1774" y="1281"/>
                </a:lnTo>
                <a:lnTo>
                  <a:pt x="505" y="1281"/>
                </a:lnTo>
                <a:close/>
                <a:moveTo>
                  <a:pt x="505" y="884"/>
                </a:moveTo>
                <a:lnTo>
                  <a:pt x="482" y="886"/>
                </a:lnTo>
                <a:lnTo>
                  <a:pt x="463" y="894"/>
                </a:lnTo>
                <a:lnTo>
                  <a:pt x="444" y="905"/>
                </a:lnTo>
                <a:lnTo>
                  <a:pt x="430" y="920"/>
                </a:lnTo>
                <a:lnTo>
                  <a:pt x="418" y="938"/>
                </a:lnTo>
                <a:lnTo>
                  <a:pt x="411" y="958"/>
                </a:lnTo>
                <a:lnTo>
                  <a:pt x="409" y="980"/>
                </a:lnTo>
                <a:lnTo>
                  <a:pt x="411" y="1002"/>
                </a:lnTo>
                <a:lnTo>
                  <a:pt x="418" y="1022"/>
                </a:lnTo>
                <a:lnTo>
                  <a:pt x="430" y="1040"/>
                </a:lnTo>
                <a:lnTo>
                  <a:pt x="444" y="1055"/>
                </a:lnTo>
                <a:lnTo>
                  <a:pt x="463" y="1066"/>
                </a:lnTo>
                <a:lnTo>
                  <a:pt x="482" y="1073"/>
                </a:lnTo>
                <a:lnTo>
                  <a:pt x="505" y="1076"/>
                </a:lnTo>
                <a:lnTo>
                  <a:pt x="1774" y="1076"/>
                </a:lnTo>
                <a:lnTo>
                  <a:pt x="1796" y="1073"/>
                </a:lnTo>
                <a:lnTo>
                  <a:pt x="1816" y="1066"/>
                </a:lnTo>
                <a:lnTo>
                  <a:pt x="1834" y="1055"/>
                </a:lnTo>
                <a:lnTo>
                  <a:pt x="1849" y="1040"/>
                </a:lnTo>
                <a:lnTo>
                  <a:pt x="1860" y="1022"/>
                </a:lnTo>
                <a:lnTo>
                  <a:pt x="1867" y="1002"/>
                </a:lnTo>
                <a:lnTo>
                  <a:pt x="1871" y="980"/>
                </a:lnTo>
                <a:lnTo>
                  <a:pt x="1867" y="958"/>
                </a:lnTo>
                <a:lnTo>
                  <a:pt x="1860" y="938"/>
                </a:lnTo>
                <a:lnTo>
                  <a:pt x="1849" y="920"/>
                </a:lnTo>
                <a:lnTo>
                  <a:pt x="1834" y="905"/>
                </a:lnTo>
                <a:lnTo>
                  <a:pt x="1816" y="894"/>
                </a:lnTo>
                <a:lnTo>
                  <a:pt x="1796" y="886"/>
                </a:lnTo>
                <a:lnTo>
                  <a:pt x="1774" y="884"/>
                </a:lnTo>
                <a:lnTo>
                  <a:pt x="505" y="884"/>
                </a:lnTo>
                <a:close/>
                <a:moveTo>
                  <a:pt x="1859" y="31"/>
                </a:moveTo>
                <a:lnTo>
                  <a:pt x="2273" y="423"/>
                </a:lnTo>
                <a:lnTo>
                  <a:pt x="1859" y="423"/>
                </a:lnTo>
                <a:lnTo>
                  <a:pt x="1859" y="31"/>
                </a:lnTo>
                <a:close/>
                <a:moveTo>
                  <a:pt x="101" y="0"/>
                </a:moveTo>
                <a:lnTo>
                  <a:pt x="1667" y="0"/>
                </a:lnTo>
                <a:lnTo>
                  <a:pt x="1667" y="519"/>
                </a:lnTo>
                <a:lnTo>
                  <a:pt x="1670" y="542"/>
                </a:lnTo>
                <a:lnTo>
                  <a:pt x="1678" y="561"/>
                </a:lnTo>
                <a:lnTo>
                  <a:pt x="1690" y="579"/>
                </a:lnTo>
                <a:lnTo>
                  <a:pt x="1706" y="594"/>
                </a:lnTo>
                <a:lnTo>
                  <a:pt x="1725" y="606"/>
                </a:lnTo>
                <a:lnTo>
                  <a:pt x="1745" y="613"/>
                </a:lnTo>
                <a:lnTo>
                  <a:pt x="1767" y="615"/>
                </a:lnTo>
                <a:lnTo>
                  <a:pt x="2308" y="615"/>
                </a:lnTo>
                <a:lnTo>
                  <a:pt x="2308" y="2169"/>
                </a:lnTo>
                <a:lnTo>
                  <a:pt x="2268" y="2153"/>
                </a:lnTo>
                <a:lnTo>
                  <a:pt x="2223" y="2138"/>
                </a:lnTo>
                <a:lnTo>
                  <a:pt x="2177" y="2128"/>
                </a:lnTo>
                <a:lnTo>
                  <a:pt x="2128" y="2120"/>
                </a:lnTo>
                <a:lnTo>
                  <a:pt x="2079" y="2114"/>
                </a:lnTo>
                <a:lnTo>
                  <a:pt x="2028" y="2112"/>
                </a:lnTo>
                <a:lnTo>
                  <a:pt x="1962" y="2115"/>
                </a:lnTo>
                <a:lnTo>
                  <a:pt x="1897" y="2125"/>
                </a:lnTo>
                <a:lnTo>
                  <a:pt x="1834" y="2139"/>
                </a:lnTo>
                <a:lnTo>
                  <a:pt x="1773" y="2159"/>
                </a:lnTo>
                <a:lnTo>
                  <a:pt x="1715" y="2184"/>
                </a:lnTo>
                <a:lnTo>
                  <a:pt x="1660" y="2212"/>
                </a:lnTo>
                <a:lnTo>
                  <a:pt x="1608" y="2247"/>
                </a:lnTo>
                <a:lnTo>
                  <a:pt x="1558" y="2285"/>
                </a:lnTo>
                <a:lnTo>
                  <a:pt x="1513" y="2327"/>
                </a:lnTo>
                <a:lnTo>
                  <a:pt x="1470" y="2373"/>
                </a:lnTo>
                <a:lnTo>
                  <a:pt x="1432" y="2422"/>
                </a:lnTo>
                <a:lnTo>
                  <a:pt x="1398" y="2475"/>
                </a:lnTo>
                <a:lnTo>
                  <a:pt x="1369" y="2530"/>
                </a:lnTo>
                <a:lnTo>
                  <a:pt x="1344" y="2588"/>
                </a:lnTo>
                <a:lnTo>
                  <a:pt x="1324" y="2648"/>
                </a:lnTo>
                <a:lnTo>
                  <a:pt x="1310" y="2711"/>
                </a:lnTo>
                <a:lnTo>
                  <a:pt x="1302" y="2776"/>
                </a:lnTo>
                <a:lnTo>
                  <a:pt x="1299" y="2842"/>
                </a:lnTo>
                <a:lnTo>
                  <a:pt x="1302" y="2910"/>
                </a:lnTo>
                <a:lnTo>
                  <a:pt x="1311" y="2975"/>
                </a:lnTo>
                <a:lnTo>
                  <a:pt x="1326" y="3039"/>
                </a:lnTo>
                <a:lnTo>
                  <a:pt x="1346" y="3100"/>
                </a:lnTo>
                <a:lnTo>
                  <a:pt x="1372" y="3158"/>
                </a:lnTo>
                <a:lnTo>
                  <a:pt x="99" y="3153"/>
                </a:lnTo>
                <a:lnTo>
                  <a:pt x="76" y="3150"/>
                </a:lnTo>
                <a:lnTo>
                  <a:pt x="56" y="3142"/>
                </a:lnTo>
                <a:lnTo>
                  <a:pt x="37" y="3131"/>
                </a:lnTo>
                <a:lnTo>
                  <a:pt x="22" y="3115"/>
                </a:lnTo>
                <a:lnTo>
                  <a:pt x="11" y="3097"/>
                </a:lnTo>
                <a:lnTo>
                  <a:pt x="3" y="3076"/>
                </a:lnTo>
                <a:lnTo>
                  <a:pt x="0" y="3053"/>
                </a:lnTo>
                <a:lnTo>
                  <a:pt x="0" y="96"/>
                </a:lnTo>
                <a:lnTo>
                  <a:pt x="3" y="75"/>
                </a:lnTo>
                <a:lnTo>
                  <a:pt x="11" y="54"/>
                </a:lnTo>
                <a:lnTo>
                  <a:pt x="23" y="37"/>
                </a:lnTo>
                <a:lnTo>
                  <a:pt x="39" y="22"/>
                </a:lnTo>
                <a:lnTo>
                  <a:pt x="57" y="11"/>
                </a:lnTo>
                <a:lnTo>
                  <a:pt x="79" y="3"/>
                </a:lnTo>
                <a:lnTo>
                  <a:pt x="101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1" name="Group 15"/>
          <p:cNvGrpSpPr>
            <a:grpSpLocks noChangeAspect="1"/>
          </p:cNvGrpSpPr>
          <p:nvPr/>
        </p:nvGrpSpPr>
        <p:grpSpPr bwMode="auto">
          <a:xfrm>
            <a:off x="4332443" y="1740240"/>
            <a:ext cx="581025" cy="576262"/>
            <a:chOff x="2727" y="1093"/>
            <a:chExt cx="366" cy="363"/>
          </a:xfrm>
          <a:solidFill>
            <a:schemeClr val="bg1"/>
          </a:solidFill>
        </p:grpSpPr>
        <p:sp>
          <p:nvSpPr>
            <p:cNvPr id="34" name="Freeform 17"/>
            <p:cNvSpPr>
              <a:spLocks/>
            </p:cNvSpPr>
            <p:nvPr/>
          </p:nvSpPr>
          <p:spPr bwMode="auto">
            <a:xfrm>
              <a:off x="2727" y="1423"/>
              <a:ext cx="366" cy="33"/>
            </a:xfrm>
            <a:custGeom>
              <a:avLst/>
              <a:gdLst>
                <a:gd name="T0" fmla="*/ 150 w 3295"/>
                <a:gd name="T1" fmla="*/ 0 h 298"/>
                <a:gd name="T2" fmla="*/ 3145 w 3295"/>
                <a:gd name="T3" fmla="*/ 0 h 298"/>
                <a:gd name="T4" fmla="*/ 3175 w 3295"/>
                <a:gd name="T5" fmla="*/ 4 h 298"/>
                <a:gd name="T6" fmla="*/ 3203 w 3295"/>
                <a:gd name="T7" fmla="*/ 12 h 298"/>
                <a:gd name="T8" fmla="*/ 3228 w 3295"/>
                <a:gd name="T9" fmla="*/ 25 h 298"/>
                <a:gd name="T10" fmla="*/ 3250 w 3295"/>
                <a:gd name="T11" fmla="*/ 44 h 298"/>
                <a:gd name="T12" fmla="*/ 3269 w 3295"/>
                <a:gd name="T13" fmla="*/ 65 h 298"/>
                <a:gd name="T14" fmla="*/ 3282 w 3295"/>
                <a:gd name="T15" fmla="*/ 91 h 298"/>
                <a:gd name="T16" fmla="*/ 3292 w 3295"/>
                <a:gd name="T17" fmla="*/ 119 h 298"/>
                <a:gd name="T18" fmla="*/ 3295 w 3295"/>
                <a:gd name="T19" fmla="*/ 149 h 298"/>
                <a:gd name="T20" fmla="*/ 3292 w 3295"/>
                <a:gd name="T21" fmla="*/ 178 h 298"/>
                <a:gd name="T22" fmla="*/ 3282 w 3295"/>
                <a:gd name="T23" fmla="*/ 206 h 298"/>
                <a:gd name="T24" fmla="*/ 3269 w 3295"/>
                <a:gd name="T25" fmla="*/ 232 h 298"/>
                <a:gd name="T26" fmla="*/ 3250 w 3295"/>
                <a:gd name="T27" fmla="*/ 253 h 298"/>
                <a:gd name="T28" fmla="*/ 3228 w 3295"/>
                <a:gd name="T29" fmla="*/ 272 h 298"/>
                <a:gd name="T30" fmla="*/ 3203 w 3295"/>
                <a:gd name="T31" fmla="*/ 285 h 298"/>
                <a:gd name="T32" fmla="*/ 3175 w 3295"/>
                <a:gd name="T33" fmla="*/ 295 h 298"/>
                <a:gd name="T34" fmla="*/ 3145 w 3295"/>
                <a:gd name="T35" fmla="*/ 298 h 298"/>
                <a:gd name="T36" fmla="*/ 150 w 3295"/>
                <a:gd name="T37" fmla="*/ 298 h 298"/>
                <a:gd name="T38" fmla="*/ 120 w 3295"/>
                <a:gd name="T39" fmla="*/ 295 h 298"/>
                <a:gd name="T40" fmla="*/ 92 w 3295"/>
                <a:gd name="T41" fmla="*/ 285 h 298"/>
                <a:gd name="T42" fmla="*/ 66 w 3295"/>
                <a:gd name="T43" fmla="*/ 272 h 298"/>
                <a:gd name="T44" fmla="*/ 45 w 3295"/>
                <a:gd name="T45" fmla="*/ 253 h 298"/>
                <a:gd name="T46" fmla="*/ 26 w 3295"/>
                <a:gd name="T47" fmla="*/ 232 h 298"/>
                <a:gd name="T48" fmla="*/ 12 w 3295"/>
                <a:gd name="T49" fmla="*/ 206 h 298"/>
                <a:gd name="T50" fmla="*/ 3 w 3295"/>
                <a:gd name="T51" fmla="*/ 178 h 298"/>
                <a:gd name="T52" fmla="*/ 0 w 3295"/>
                <a:gd name="T53" fmla="*/ 149 h 298"/>
                <a:gd name="T54" fmla="*/ 3 w 3295"/>
                <a:gd name="T55" fmla="*/ 119 h 298"/>
                <a:gd name="T56" fmla="*/ 12 w 3295"/>
                <a:gd name="T57" fmla="*/ 91 h 298"/>
                <a:gd name="T58" fmla="*/ 26 w 3295"/>
                <a:gd name="T59" fmla="*/ 65 h 298"/>
                <a:gd name="T60" fmla="*/ 45 w 3295"/>
                <a:gd name="T61" fmla="*/ 44 h 298"/>
                <a:gd name="T62" fmla="*/ 66 w 3295"/>
                <a:gd name="T63" fmla="*/ 25 h 298"/>
                <a:gd name="T64" fmla="*/ 92 w 3295"/>
                <a:gd name="T65" fmla="*/ 12 h 298"/>
                <a:gd name="T66" fmla="*/ 120 w 3295"/>
                <a:gd name="T67" fmla="*/ 4 h 298"/>
                <a:gd name="T68" fmla="*/ 150 w 3295"/>
                <a:gd name="T69" fmla="*/ 0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295" h="298">
                  <a:moveTo>
                    <a:pt x="150" y="0"/>
                  </a:moveTo>
                  <a:lnTo>
                    <a:pt x="3145" y="0"/>
                  </a:lnTo>
                  <a:lnTo>
                    <a:pt x="3175" y="4"/>
                  </a:lnTo>
                  <a:lnTo>
                    <a:pt x="3203" y="12"/>
                  </a:lnTo>
                  <a:lnTo>
                    <a:pt x="3228" y="25"/>
                  </a:lnTo>
                  <a:lnTo>
                    <a:pt x="3250" y="44"/>
                  </a:lnTo>
                  <a:lnTo>
                    <a:pt x="3269" y="65"/>
                  </a:lnTo>
                  <a:lnTo>
                    <a:pt x="3282" y="91"/>
                  </a:lnTo>
                  <a:lnTo>
                    <a:pt x="3292" y="119"/>
                  </a:lnTo>
                  <a:lnTo>
                    <a:pt x="3295" y="149"/>
                  </a:lnTo>
                  <a:lnTo>
                    <a:pt x="3292" y="178"/>
                  </a:lnTo>
                  <a:lnTo>
                    <a:pt x="3282" y="206"/>
                  </a:lnTo>
                  <a:lnTo>
                    <a:pt x="3269" y="232"/>
                  </a:lnTo>
                  <a:lnTo>
                    <a:pt x="3250" y="253"/>
                  </a:lnTo>
                  <a:lnTo>
                    <a:pt x="3228" y="272"/>
                  </a:lnTo>
                  <a:lnTo>
                    <a:pt x="3203" y="285"/>
                  </a:lnTo>
                  <a:lnTo>
                    <a:pt x="3175" y="295"/>
                  </a:lnTo>
                  <a:lnTo>
                    <a:pt x="3145" y="298"/>
                  </a:lnTo>
                  <a:lnTo>
                    <a:pt x="150" y="298"/>
                  </a:lnTo>
                  <a:lnTo>
                    <a:pt x="120" y="295"/>
                  </a:lnTo>
                  <a:lnTo>
                    <a:pt x="92" y="285"/>
                  </a:lnTo>
                  <a:lnTo>
                    <a:pt x="66" y="272"/>
                  </a:lnTo>
                  <a:lnTo>
                    <a:pt x="45" y="253"/>
                  </a:lnTo>
                  <a:lnTo>
                    <a:pt x="26" y="232"/>
                  </a:lnTo>
                  <a:lnTo>
                    <a:pt x="12" y="206"/>
                  </a:lnTo>
                  <a:lnTo>
                    <a:pt x="3" y="178"/>
                  </a:lnTo>
                  <a:lnTo>
                    <a:pt x="0" y="149"/>
                  </a:lnTo>
                  <a:lnTo>
                    <a:pt x="3" y="119"/>
                  </a:lnTo>
                  <a:lnTo>
                    <a:pt x="12" y="91"/>
                  </a:lnTo>
                  <a:lnTo>
                    <a:pt x="26" y="65"/>
                  </a:lnTo>
                  <a:lnTo>
                    <a:pt x="45" y="44"/>
                  </a:lnTo>
                  <a:lnTo>
                    <a:pt x="66" y="25"/>
                  </a:lnTo>
                  <a:lnTo>
                    <a:pt x="92" y="12"/>
                  </a:lnTo>
                  <a:lnTo>
                    <a:pt x="120" y="4"/>
                  </a:lnTo>
                  <a:lnTo>
                    <a:pt x="15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18"/>
            <p:cNvSpPr>
              <a:spLocks noEditPoints="1"/>
            </p:cNvSpPr>
            <p:nvPr/>
          </p:nvSpPr>
          <p:spPr bwMode="auto">
            <a:xfrm>
              <a:off x="2748" y="1215"/>
              <a:ext cx="324" cy="198"/>
            </a:xfrm>
            <a:custGeom>
              <a:avLst/>
              <a:gdLst>
                <a:gd name="T0" fmla="*/ 1984 w 2920"/>
                <a:gd name="T1" fmla="*/ 1486 h 1784"/>
                <a:gd name="T2" fmla="*/ 2433 w 2920"/>
                <a:gd name="T3" fmla="*/ 148 h 1784"/>
                <a:gd name="T4" fmla="*/ 1236 w 2920"/>
                <a:gd name="T5" fmla="*/ 148 h 1784"/>
                <a:gd name="T6" fmla="*/ 1685 w 2920"/>
                <a:gd name="T7" fmla="*/ 1486 h 1784"/>
                <a:gd name="T8" fmla="*/ 1236 w 2920"/>
                <a:gd name="T9" fmla="*/ 148 h 1784"/>
                <a:gd name="T10" fmla="*/ 487 w 2920"/>
                <a:gd name="T11" fmla="*/ 1486 h 1784"/>
                <a:gd name="T12" fmla="*/ 936 w 2920"/>
                <a:gd name="T13" fmla="*/ 148 h 1784"/>
                <a:gd name="T14" fmla="*/ 151 w 2920"/>
                <a:gd name="T15" fmla="*/ 0 h 1784"/>
                <a:gd name="T16" fmla="*/ 2790 w 2920"/>
                <a:gd name="T17" fmla="*/ 3 h 1784"/>
                <a:gd name="T18" fmla="*/ 2823 w 2920"/>
                <a:gd name="T19" fmla="*/ 22 h 1784"/>
                <a:gd name="T20" fmla="*/ 2843 w 2920"/>
                <a:gd name="T21" fmla="*/ 55 h 1784"/>
                <a:gd name="T22" fmla="*/ 2843 w 2920"/>
                <a:gd name="T23" fmla="*/ 95 h 1784"/>
                <a:gd name="T24" fmla="*/ 2823 w 2920"/>
                <a:gd name="T25" fmla="*/ 127 h 1784"/>
                <a:gd name="T26" fmla="*/ 2790 w 2920"/>
                <a:gd name="T27" fmla="*/ 146 h 1784"/>
                <a:gd name="T28" fmla="*/ 2733 w 2920"/>
                <a:gd name="T29" fmla="*/ 148 h 1784"/>
                <a:gd name="T30" fmla="*/ 2770 w 2920"/>
                <a:gd name="T31" fmla="*/ 1486 h 1784"/>
                <a:gd name="T32" fmla="*/ 2828 w 2920"/>
                <a:gd name="T33" fmla="*/ 1498 h 1784"/>
                <a:gd name="T34" fmla="*/ 2876 w 2920"/>
                <a:gd name="T35" fmla="*/ 1530 h 1784"/>
                <a:gd name="T36" fmla="*/ 2908 w 2920"/>
                <a:gd name="T37" fmla="*/ 1577 h 1784"/>
                <a:gd name="T38" fmla="*/ 2920 w 2920"/>
                <a:gd name="T39" fmla="*/ 1635 h 1784"/>
                <a:gd name="T40" fmla="*/ 2908 w 2920"/>
                <a:gd name="T41" fmla="*/ 1694 h 1784"/>
                <a:gd name="T42" fmla="*/ 2876 w 2920"/>
                <a:gd name="T43" fmla="*/ 1741 h 1784"/>
                <a:gd name="T44" fmla="*/ 2828 w 2920"/>
                <a:gd name="T45" fmla="*/ 1773 h 1784"/>
                <a:gd name="T46" fmla="*/ 2770 w 2920"/>
                <a:gd name="T47" fmla="*/ 1784 h 1784"/>
                <a:gd name="T48" fmla="*/ 120 w 2920"/>
                <a:gd name="T49" fmla="*/ 1781 h 1784"/>
                <a:gd name="T50" fmla="*/ 67 w 2920"/>
                <a:gd name="T51" fmla="*/ 1758 h 1784"/>
                <a:gd name="T52" fmla="*/ 26 w 2920"/>
                <a:gd name="T53" fmla="*/ 1718 h 1784"/>
                <a:gd name="T54" fmla="*/ 4 w 2920"/>
                <a:gd name="T55" fmla="*/ 1665 h 1784"/>
                <a:gd name="T56" fmla="*/ 4 w 2920"/>
                <a:gd name="T57" fmla="*/ 1605 h 1784"/>
                <a:gd name="T58" fmla="*/ 26 w 2920"/>
                <a:gd name="T59" fmla="*/ 1552 h 1784"/>
                <a:gd name="T60" fmla="*/ 67 w 2920"/>
                <a:gd name="T61" fmla="*/ 1512 h 1784"/>
                <a:gd name="T62" fmla="*/ 120 w 2920"/>
                <a:gd name="T63" fmla="*/ 1489 h 1784"/>
                <a:gd name="T64" fmla="*/ 188 w 2920"/>
                <a:gd name="T65" fmla="*/ 1486 h 1784"/>
                <a:gd name="T66" fmla="*/ 151 w 2920"/>
                <a:gd name="T67" fmla="*/ 148 h 1784"/>
                <a:gd name="T68" fmla="*/ 112 w 2920"/>
                <a:gd name="T69" fmla="*/ 139 h 1784"/>
                <a:gd name="T70" fmla="*/ 85 w 2920"/>
                <a:gd name="T71" fmla="*/ 112 h 1784"/>
                <a:gd name="T72" fmla="*/ 75 w 2920"/>
                <a:gd name="T73" fmla="*/ 74 h 1784"/>
                <a:gd name="T74" fmla="*/ 85 w 2920"/>
                <a:gd name="T75" fmla="*/ 37 h 1784"/>
                <a:gd name="T76" fmla="*/ 112 w 2920"/>
                <a:gd name="T77" fmla="*/ 10 h 1784"/>
                <a:gd name="T78" fmla="*/ 151 w 2920"/>
                <a:gd name="T79" fmla="*/ 0 h 17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920" h="1784">
                  <a:moveTo>
                    <a:pt x="1984" y="148"/>
                  </a:moveTo>
                  <a:lnTo>
                    <a:pt x="1984" y="1486"/>
                  </a:lnTo>
                  <a:lnTo>
                    <a:pt x="2433" y="1486"/>
                  </a:lnTo>
                  <a:lnTo>
                    <a:pt x="2433" y="148"/>
                  </a:lnTo>
                  <a:lnTo>
                    <a:pt x="1984" y="148"/>
                  </a:lnTo>
                  <a:close/>
                  <a:moveTo>
                    <a:pt x="1236" y="148"/>
                  </a:moveTo>
                  <a:lnTo>
                    <a:pt x="1236" y="1486"/>
                  </a:lnTo>
                  <a:lnTo>
                    <a:pt x="1685" y="1486"/>
                  </a:lnTo>
                  <a:lnTo>
                    <a:pt x="1685" y="148"/>
                  </a:lnTo>
                  <a:lnTo>
                    <a:pt x="1236" y="148"/>
                  </a:lnTo>
                  <a:close/>
                  <a:moveTo>
                    <a:pt x="487" y="148"/>
                  </a:moveTo>
                  <a:lnTo>
                    <a:pt x="487" y="1486"/>
                  </a:lnTo>
                  <a:lnTo>
                    <a:pt x="936" y="1486"/>
                  </a:lnTo>
                  <a:lnTo>
                    <a:pt x="936" y="148"/>
                  </a:lnTo>
                  <a:lnTo>
                    <a:pt x="487" y="148"/>
                  </a:lnTo>
                  <a:close/>
                  <a:moveTo>
                    <a:pt x="151" y="0"/>
                  </a:moveTo>
                  <a:lnTo>
                    <a:pt x="2770" y="0"/>
                  </a:lnTo>
                  <a:lnTo>
                    <a:pt x="2790" y="3"/>
                  </a:lnTo>
                  <a:lnTo>
                    <a:pt x="2808" y="10"/>
                  </a:lnTo>
                  <a:lnTo>
                    <a:pt x="2823" y="22"/>
                  </a:lnTo>
                  <a:lnTo>
                    <a:pt x="2835" y="37"/>
                  </a:lnTo>
                  <a:lnTo>
                    <a:pt x="2843" y="55"/>
                  </a:lnTo>
                  <a:lnTo>
                    <a:pt x="2845" y="74"/>
                  </a:lnTo>
                  <a:lnTo>
                    <a:pt x="2843" y="95"/>
                  </a:lnTo>
                  <a:lnTo>
                    <a:pt x="2835" y="112"/>
                  </a:lnTo>
                  <a:lnTo>
                    <a:pt x="2823" y="127"/>
                  </a:lnTo>
                  <a:lnTo>
                    <a:pt x="2808" y="139"/>
                  </a:lnTo>
                  <a:lnTo>
                    <a:pt x="2790" y="146"/>
                  </a:lnTo>
                  <a:lnTo>
                    <a:pt x="2770" y="148"/>
                  </a:lnTo>
                  <a:lnTo>
                    <a:pt x="2733" y="148"/>
                  </a:lnTo>
                  <a:lnTo>
                    <a:pt x="2733" y="1486"/>
                  </a:lnTo>
                  <a:lnTo>
                    <a:pt x="2770" y="1486"/>
                  </a:lnTo>
                  <a:lnTo>
                    <a:pt x="2800" y="1489"/>
                  </a:lnTo>
                  <a:lnTo>
                    <a:pt x="2828" y="1498"/>
                  </a:lnTo>
                  <a:lnTo>
                    <a:pt x="2854" y="1512"/>
                  </a:lnTo>
                  <a:lnTo>
                    <a:pt x="2876" y="1530"/>
                  </a:lnTo>
                  <a:lnTo>
                    <a:pt x="2894" y="1552"/>
                  </a:lnTo>
                  <a:lnTo>
                    <a:pt x="2908" y="1577"/>
                  </a:lnTo>
                  <a:lnTo>
                    <a:pt x="2917" y="1605"/>
                  </a:lnTo>
                  <a:lnTo>
                    <a:pt x="2920" y="1635"/>
                  </a:lnTo>
                  <a:lnTo>
                    <a:pt x="2917" y="1665"/>
                  </a:lnTo>
                  <a:lnTo>
                    <a:pt x="2908" y="1694"/>
                  </a:lnTo>
                  <a:lnTo>
                    <a:pt x="2894" y="1718"/>
                  </a:lnTo>
                  <a:lnTo>
                    <a:pt x="2876" y="1741"/>
                  </a:lnTo>
                  <a:lnTo>
                    <a:pt x="2854" y="1758"/>
                  </a:lnTo>
                  <a:lnTo>
                    <a:pt x="2828" y="1773"/>
                  </a:lnTo>
                  <a:lnTo>
                    <a:pt x="2800" y="1781"/>
                  </a:lnTo>
                  <a:lnTo>
                    <a:pt x="2770" y="1784"/>
                  </a:lnTo>
                  <a:lnTo>
                    <a:pt x="151" y="1784"/>
                  </a:lnTo>
                  <a:lnTo>
                    <a:pt x="120" y="1781"/>
                  </a:lnTo>
                  <a:lnTo>
                    <a:pt x="92" y="1773"/>
                  </a:lnTo>
                  <a:lnTo>
                    <a:pt x="67" y="1758"/>
                  </a:lnTo>
                  <a:lnTo>
                    <a:pt x="44" y="1741"/>
                  </a:lnTo>
                  <a:lnTo>
                    <a:pt x="26" y="1718"/>
                  </a:lnTo>
                  <a:lnTo>
                    <a:pt x="12" y="1694"/>
                  </a:lnTo>
                  <a:lnTo>
                    <a:pt x="4" y="1665"/>
                  </a:lnTo>
                  <a:lnTo>
                    <a:pt x="0" y="1635"/>
                  </a:lnTo>
                  <a:lnTo>
                    <a:pt x="4" y="1605"/>
                  </a:lnTo>
                  <a:lnTo>
                    <a:pt x="12" y="1577"/>
                  </a:lnTo>
                  <a:lnTo>
                    <a:pt x="26" y="1552"/>
                  </a:lnTo>
                  <a:lnTo>
                    <a:pt x="44" y="1530"/>
                  </a:lnTo>
                  <a:lnTo>
                    <a:pt x="67" y="1512"/>
                  </a:lnTo>
                  <a:lnTo>
                    <a:pt x="92" y="1498"/>
                  </a:lnTo>
                  <a:lnTo>
                    <a:pt x="120" y="1489"/>
                  </a:lnTo>
                  <a:lnTo>
                    <a:pt x="151" y="1486"/>
                  </a:lnTo>
                  <a:lnTo>
                    <a:pt x="188" y="1486"/>
                  </a:lnTo>
                  <a:lnTo>
                    <a:pt x="188" y="148"/>
                  </a:lnTo>
                  <a:lnTo>
                    <a:pt x="151" y="148"/>
                  </a:lnTo>
                  <a:lnTo>
                    <a:pt x="130" y="146"/>
                  </a:lnTo>
                  <a:lnTo>
                    <a:pt x="112" y="139"/>
                  </a:lnTo>
                  <a:lnTo>
                    <a:pt x="98" y="127"/>
                  </a:lnTo>
                  <a:lnTo>
                    <a:pt x="85" y="112"/>
                  </a:lnTo>
                  <a:lnTo>
                    <a:pt x="78" y="95"/>
                  </a:lnTo>
                  <a:lnTo>
                    <a:pt x="75" y="74"/>
                  </a:lnTo>
                  <a:lnTo>
                    <a:pt x="78" y="55"/>
                  </a:lnTo>
                  <a:lnTo>
                    <a:pt x="85" y="37"/>
                  </a:lnTo>
                  <a:lnTo>
                    <a:pt x="98" y="22"/>
                  </a:lnTo>
                  <a:lnTo>
                    <a:pt x="112" y="10"/>
                  </a:lnTo>
                  <a:lnTo>
                    <a:pt x="130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19"/>
            <p:cNvSpPr>
              <a:spLocks/>
            </p:cNvSpPr>
            <p:nvPr/>
          </p:nvSpPr>
          <p:spPr bwMode="auto">
            <a:xfrm>
              <a:off x="2727" y="1093"/>
              <a:ext cx="366" cy="107"/>
            </a:xfrm>
            <a:custGeom>
              <a:avLst/>
              <a:gdLst>
                <a:gd name="T0" fmla="*/ 1660 w 3296"/>
                <a:gd name="T1" fmla="*/ 0 h 965"/>
                <a:gd name="T2" fmla="*/ 1685 w 3296"/>
                <a:gd name="T3" fmla="*/ 4 h 965"/>
                <a:gd name="T4" fmla="*/ 1709 w 3296"/>
                <a:gd name="T5" fmla="*/ 12 h 965"/>
                <a:gd name="T6" fmla="*/ 3194 w 3296"/>
                <a:gd name="T7" fmla="*/ 677 h 965"/>
                <a:gd name="T8" fmla="*/ 3218 w 3296"/>
                <a:gd name="T9" fmla="*/ 687 h 965"/>
                <a:gd name="T10" fmla="*/ 3240 w 3296"/>
                <a:gd name="T11" fmla="*/ 701 h 965"/>
                <a:gd name="T12" fmla="*/ 3260 w 3296"/>
                <a:gd name="T13" fmla="*/ 720 h 965"/>
                <a:gd name="T14" fmla="*/ 3274 w 3296"/>
                <a:gd name="T15" fmla="*/ 740 h 965"/>
                <a:gd name="T16" fmla="*/ 3286 w 3296"/>
                <a:gd name="T17" fmla="*/ 764 h 965"/>
                <a:gd name="T18" fmla="*/ 3294 w 3296"/>
                <a:gd name="T19" fmla="*/ 790 h 965"/>
                <a:gd name="T20" fmla="*/ 3296 w 3296"/>
                <a:gd name="T21" fmla="*/ 816 h 965"/>
                <a:gd name="T22" fmla="*/ 3293 w 3296"/>
                <a:gd name="T23" fmla="*/ 847 h 965"/>
                <a:gd name="T24" fmla="*/ 3284 w 3296"/>
                <a:gd name="T25" fmla="*/ 875 h 965"/>
                <a:gd name="T26" fmla="*/ 3270 w 3296"/>
                <a:gd name="T27" fmla="*/ 900 h 965"/>
                <a:gd name="T28" fmla="*/ 3252 w 3296"/>
                <a:gd name="T29" fmla="*/ 922 h 965"/>
                <a:gd name="T30" fmla="*/ 3229 w 3296"/>
                <a:gd name="T31" fmla="*/ 940 h 965"/>
                <a:gd name="T32" fmla="*/ 3205 w 3296"/>
                <a:gd name="T33" fmla="*/ 954 h 965"/>
                <a:gd name="T34" fmla="*/ 3176 w 3296"/>
                <a:gd name="T35" fmla="*/ 962 h 965"/>
                <a:gd name="T36" fmla="*/ 3146 w 3296"/>
                <a:gd name="T37" fmla="*/ 965 h 965"/>
                <a:gd name="T38" fmla="*/ 150 w 3296"/>
                <a:gd name="T39" fmla="*/ 965 h 965"/>
                <a:gd name="T40" fmla="*/ 120 w 3296"/>
                <a:gd name="T41" fmla="*/ 962 h 965"/>
                <a:gd name="T42" fmla="*/ 92 w 3296"/>
                <a:gd name="T43" fmla="*/ 954 h 965"/>
                <a:gd name="T44" fmla="*/ 67 w 3296"/>
                <a:gd name="T45" fmla="*/ 941 h 965"/>
                <a:gd name="T46" fmla="*/ 46 w 3296"/>
                <a:gd name="T47" fmla="*/ 923 h 965"/>
                <a:gd name="T48" fmla="*/ 27 w 3296"/>
                <a:gd name="T49" fmla="*/ 902 h 965"/>
                <a:gd name="T50" fmla="*/ 12 w 3296"/>
                <a:gd name="T51" fmla="*/ 876 h 965"/>
                <a:gd name="T52" fmla="*/ 4 w 3296"/>
                <a:gd name="T53" fmla="*/ 848 h 965"/>
                <a:gd name="T54" fmla="*/ 0 w 3296"/>
                <a:gd name="T55" fmla="*/ 823 h 965"/>
                <a:gd name="T56" fmla="*/ 2 w 3296"/>
                <a:gd name="T57" fmla="*/ 797 h 965"/>
                <a:gd name="T58" fmla="*/ 7 w 3296"/>
                <a:gd name="T59" fmla="*/ 773 h 965"/>
                <a:gd name="T60" fmla="*/ 17 w 3296"/>
                <a:gd name="T61" fmla="*/ 750 h 965"/>
                <a:gd name="T62" fmla="*/ 29 w 3296"/>
                <a:gd name="T63" fmla="*/ 729 h 965"/>
                <a:gd name="T64" fmla="*/ 47 w 3296"/>
                <a:gd name="T65" fmla="*/ 709 h 965"/>
                <a:gd name="T66" fmla="*/ 66 w 3296"/>
                <a:gd name="T67" fmla="*/ 694 h 965"/>
                <a:gd name="T68" fmla="*/ 89 w 3296"/>
                <a:gd name="T69" fmla="*/ 682 h 965"/>
                <a:gd name="T70" fmla="*/ 1586 w 3296"/>
                <a:gd name="T71" fmla="*/ 12 h 965"/>
                <a:gd name="T72" fmla="*/ 1610 w 3296"/>
                <a:gd name="T73" fmla="*/ 4 h 965"/>
                <a:gd name="T74" fmla="*/ 1634 w 3296"/>
                <a:gd name="T75" fmla="*/ 0 h 965"/>
                <a:gd name="T76" fmla="*/ 1660 w 3296"/>
                <a:gd name="T77" fmla="*/ 0 h 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3296" h="965">
                  <a:moveTo>
                    <a:pt x="1660" y="0"/>
                  </a:moveTo>
                  <a:lnTo>
                    <a:pt x="1685" y="4"/>
                  </a:lnTo>
                  <a:lnTo>
                    <a:pt x="1709" y="12"/>
                  </a:lnTo>
                  <a:lnTo>
                    <a:pt x="3194" y="677"/>
                  </a:lnTo>
                  <a:lnTo>
                    <a:pt x="3218" y="687"/>
                  </a:lnTo>
                  <a:lnTo>
                    <a:pt x="3240" y="701"/>
                  </a:lnTo>
                  <a:lnTo>
                    <a:pt x="3260" y="720"/>
                  </a:lnTo>
                  <a:lnTo>
                    <a:pt x="3274" y="740"/>
                  </a:lnTo>
                  <a:lnTo>
                    <a:pt x="3286" y="764"/>
                  </a:lnTo>
                  <a:lnTo>
                    <a:pt x="3294" y="790"/>
                  </a:lnTo>
                  <a:lnTo>
                    <a:pt x="3296" y="816"/>
                  </a:lnTo>
                  <a:lnTo>
                    <a:pt x="3293" y="847"/>
                  </a:lnTo>
                  <a:lnTo>
                    <a:pt x="3284" y="875"/>
                  </a:lnTo>
                  <a:lnTo>
                    <a:pt x="3270" y="900"/>
                  </a:lnTo>
                  <a:lnTo>
                    <a:pt x="3252" y="922"/>
                  </a:lnTo>
                  <a:lnTo>
                    <a:pt x="3229" y="940"/>
                  </a:lnTo>
                  <a:lnTo>
                    <a:pt x="3205" y="954"/>
                  </a:lnTo>
                  <a:lnTo>
                    <a:pt x="3176" y="962"/>
                  </a:lnTo>
                  <a:lnTo>
                    <a:pt x="3146" y="965"/>
                  </a:lnTo>
                  <a:lnTo>
                    <a:pt x="150" y="965"/>
                  </a:lnTo>
                  <a:lnTo>
                    <a:pt x="120" y="962"/>
                  </a:lnTo>
                  <a:lnTo>
                    <a:pt x="92" y="954"/>
                  </a:lnTo>
                  <a:lnTo>
                    <a:pt x="67" y="941"/>
                  </a:lnTo>
                  <a:lnTo>
                    <a:pt x="46" y="923"/>
                  </a:lnTo>
                  <a:lnTo>
                    <a:pt x="27" y="902"/>
                  </a:lnTo>
                  <a:lnTo>
                    <a:pt x="12" y="876"/>
                  </a:lnTo>
                  <a:lnTo>
                    <a:pt x="4" y="848"/>
                  </a:lnTo>
                  <a:lnTo>
                    <a:pt x="0" y="823"/>
                  </a:lnTo>
                  <a:lnTo>
                    <a:pt x="2" y="797"/>
                  </a:lnTo>
                  <a:lnTo>
                    <a:pt x="7" y="773"/>
                  </a:lnTo>
                  <a:lnTo>
                    <a:pt x="17" y="750"/>
                  </a:lnTo>
                  <a:lnTo>
                    <a:pt x="29" y="729"/>
                  </a:lnTo>
                  <a:lnTo>
                    <a:pt x="47" y="709"/>
                  </a:lnTo>
                  <a:lnTo>
                    <a:pt x="66" y="694"/>
                  </a:lnTo>
                  <a:lnTo>
                    <a:pt x="89" y="682"/>
                  </a:lnTo>
                  <a:lnTo>
                    <a:pt x="1586" y="12"/>
                  </a:lnTo>
                  <a:lnTo>
                    <a:pt x="1610" y="4"/>
                  </a:lnTo>
                  <a:lnTo>
                    <a:pt x="1634" y="0"/>
                  </a:lnTo>
                  <a:lnTo>
                    <a:pt x="16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258584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RREVOCABLE TRUST &amp; FAMILY LL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25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1683554" y="1447800"/>
            <a:ext cx="9898845" cy="82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Condition any trust distribution on being subject to the discretion of an independent trustee.</a:t>
            </a:r>
          </a:p>
        </p:txBody>
      </p:sp>
      <p:sp>
        <p:nvSpPr>
          <p:cNvPr id="6" name="Rectangle 5"/>
          <p:cNvSpPr/>
          <p:nvPr/>
        </p:nvSpPr>
        <p:spPr>
          <a:xfrm>
            <a:off x="1683554" y="2423160"/>
            <a:ext cx="9898845" cy="82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Be certain the trust distributions do not follow a pattern that could give rise to the expectation of entitlement with respect to the income or distribution.</a:t>
            </a:r>
          </a:p>
        </p:txBody>
      </p:sp>
      <p:sp>
        <p:nvSpPr>
          <p:cNvPr id="7" name="Rectangle 6"/>
          <p:cNvSpPr/>
          <p:nvPr/>
        </p:nvSpPr>
        <p:spPr>
          <a:xfrm>
            <a:off x="1683554" y="3398520"/>
            <a:ext cx="9898845" cy="82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Partnership:  Family LLC, Partnership, Buy-Sell Agreement</a:t>
            </a:r>
          </a:p>
        </p:txBody>
      </p:sp>
      <p:sp>
        <p:nvSpPr>
          <p:cNvPr id="8" name="Rectangle 7"/>
          <p:cNvSpPr/>
          <p:nvPr/>
        </p:nvSpPr>
        <p:spPr>
          <a:xfrm>
            <a:off x="1683554" y="4373880"/>
            <a:ext cx="9898845" cy="82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Eliminate 3</a:t>
            </a:r>
            <a:r>
              <a:rPr lang="en-US" baseline="30000" dirty="0">
                <a:solidFill>
                  <a:schemeClr val="tx1"/>
                </a:solidFill>
              </a:rPr>
              <a:t>rd</a:t>
            </a:r>
            <a:r>
              <a:rPr lang="en-US" dirty="0">
                <a:solidFill>
                  <a:schemeClr val="tx1"/>
                </a:solidFill>
              </a:rPr>
              <a:t> party involvement without family consent.</a:t>
            </a:r>
          </a:p>
        </p:txBody>
      </p:sp>
      <p:sp>
        <p:nvSpPr>
          <p:cNvPr id="9" name="Rectangle 8"/>
          <p:cNvSpPr/>
          <p:nvPr/>
        </p:nvSpPr>
        <p:spPr>
          <a:xfrm>
            <a:off x="1683554" y="5349240"/>
            <a:ext cx="9898845" cy="82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Misbehavior in handling life insurance may result in a loss of protection</a:t>
            </a:r>
          </a:p>
        </p:txBody>
      </p:sp>
      <p:sp>
        <p:nvSpPr>
          <p:cNvPr id="10" name="Rectangle 9"/>
          <p:cNvSpPr/>
          <p:nvPr/>
        </p:nvSpPr>
        <p:spPr>
          <a:xfrm>
            <a:off x="781050" y="1447800"/>
            <a:ext cx="822960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781050" y="2423160"/>
            <a:ext cx="822960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781050" y="3398520"/>
            <a:ext cx="822960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781050" y="4373880"/>
            <a:ext cx="822960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781050" y="5349240"/>
            <a:ext cx="822960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09600" y="1447800"/>
            <a:ext cx="91905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609600" y="2423160"/>
            <a:ext cx="91905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609600" y="3398520"/>
            <a:ext cx="91905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609600" y="4373880"/>
            <a:ext cx="91905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609600" y="5349240"/>
            <a:ext cx="91905" cy="822960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0" name="Group 19"/>
          <p:cNvGrpSpPr/>
          <p:nvPr/>
        </p:nvGrpSpPr>
        <p:grpSpPr>
          <a:xfrm>
            <a:off x="910546" y="3620666"/>
            <a:ext cx="563968" cy="378668"/>
            <a:chOff x="1721801" y="2853410"/>
            <a:chExt cx="2101707" cy="1411170"/>
          </a:xfrm>
          <a:solidFill>
            <a:schemeClr val="bg1"/>
          </a:solidFill>
        </p:grpSpPr>
        <p:sp>
          <p:nvSpPr>
            <p:cNvPr id="21" name="Freeform 20"/>
            <p:cNvSpPr/>
            <p:nvPr/>
          </p:nvSpPr>
          <p:spPr>
            <a:xfrm rot="18045015">
              <a:off x="2182878" y="3021177"/>
              <a:ext cx="911102" cy="1297454"/>
            </a:xfrm>
            <a:custGeom>
              <a:avLst/>
              <a:gdLst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745536 w 911102"/>
                <a:gd name="connsiteY3" fmla="*/ 8370 h 1297454"/>
                <a:gd name="connsiteX4" fmla="*/ 824005 w 911102"/>
                <a:gd name="connsiteY4" fmla="*/ 195660 h 1297454"/>
                <a:gd name="connsiteX5" fmla="*/ 911102 w 911102"/>
                <a:gd name="connsiteY5" fmla="*/ 379668 h 1297454"/>
                <a:gd name="connsiteX6" fmla="*/ 907221 w 911102"/>
                <a:gd name="connsiteY6" fmla="*/ 382118 h 1297454"/>
                <a:gd name="connsiteX7" fmla="*/ 876660 w 911102"/>
                <a:gd name="connsiteY7" fmla="*/ 399710 h 1297454"/>
                <a:gd name="connsiteX8" fmla="*/ 490066 w 911102"/>
                <a:gd name="connsiteY8" fmla="*/ 297988 h 1297454"/>
                <a:gd name="connsiteX9" fmla="*/ 716083 w 911102"/>
                <a:gd name="connsiteY9" fmla="*/ 598865 h 1297454"/>
                <a:gd name="connsiteX10" fmla="*/ 777233 w 911102"/>
                <a:gd name="connsiteY10" fmla="*/ 615788 h 1297454"/>
                <a:gd name="connsiteX11" fmla="*/ 770153 w 911102"/>
                <a:gd name="connsiteY11" fmla="*/ 639019 h 1297454"/>
                <a:gd name="connsiteX12" fmla="*/ 753784 w 911102"/>
                <a:gd name="connsiteY12" fmla="*/ 665322 h 1297454"/>
                <a:gd name="connsiteX13" fmla="*/ 710088 w 911102"/>
                <a:gd name="connsiteY13" fmla="*/ 1078153 h 1297454"/>
                <a:gd name="connsiteX14" fmla="*/ 710501 w 911102"/>
                <a:gd name="connsiteY14" fmla="*/ 1086412 h 1297454"/>
                <a:gd name="connsiteX15" fmla="*/ 710454 w 911102"/>
                <a:gd name="connsiteY15" fmla="*/ 1087719 h 1297454"/>
                <a:gd name="connsiteX16" fmla="*/ 714164 w 911102"/>
                <a:gd name="connsiteY16" fmla="*/ 1201144 h 1297454"/>
                <a:gd name="connsiteX17" fmla="*/ 723293 w 911102"/>
                <a:gd name="connsiteY17" fmla="*/ 1277540 h 1297454"/>
                <a:gd name="connsiteX18" fmla="*/ 723407 w 911102"/>
                <a:gd name="connsiteY18" fmla="*/ 1278872 h 1297454"/>
                <a:gd name="connsiteX19" fmla="*/ 724025 w 911102"/>
                <a:gd name="connsiteY19" fmla="*/ 1283671 h 1297454"/>
                <a:gd name="connsiteX20" fmla="*/ 724876 w 911102"/>
                <a:gd name="connsiteY20" fmla="*/ 1290789 h 1297454"/>
                <a:gd name="connsiteX21" fmla="*/ 568039 w 911102"/>
                <a:gd name="connsiteY21" fmla="*/ 1230080 h 1297454"/>
                <a:gd name="connsiteX22" fmla="*/ 364868 w 911102"/>
                <a:gd name="connsiteY22" fmla="*/ 1184795 h 1297454"/>
                <a:gd name="connsiteX23" fmla="*/ 178811 w 911102"/>
                <a:gd name="connsiteY23" fmla="*/ 1123147 h 1297454"/>
                <a:gd name="connsiteX24" fmla="*/ 28040 w 911102"/>
                <a:gd name="connsiteY24" fmla="*/ 1036282 h 1297454"/>
                <a:gd name="connsiteX25" fmla="*/ 26077 w 911102"/>
                <a:gd name="connsiteY25" fmla="*/ 1027345 h 1297454"/>
                <a:gd name="connsiteX26" fmla="*/ 152633 w 911102"/>
                <a:gd name="connsiteY26" fmla="*/ 1035076 h 1297454"/>
                <a:gd name="connsiteX27" fmla="*/ 255738 w 911102"/>
                <a:gd name="connsiteY27" fmla="*/ 943843 h 1297454"/>
                <a:gd name="connsiteX28" fmla="*/ 231475 w 911102"/>
                <a:gd name="connsiteY28" fmla="*/ 873395 h 1297454"/>
                <a:gd name="connsiteX29" fmla="*/ 213502 w 911102"/>
                <a:gd name="connsiteY29" fmla="*/ 859613 h 1297454"/>
                <a:gd name="connsiteX30" fmla="*/ 216878 w 911102"/>
                <a:gd name="connsiteY30" fmla="*/ 859143 h 1297454"/>
                <a:gd name="connsiteX31" fmla="*/ 281693 w 911102"/>
                <a:gd name="connsiteY31" fmla="*/ 773235 h 1297454"/>
                <a:gd name="connsiteX32" fmla="*/ 227816 w 911102"/>
                <a:gd name="connsiteY32" fmla="*/ 680077 h 1297454"/>
                <a:gd name="connsiteX33" fmla="*/ 217008 w 911102"/>
                <a:gd name="connsiteY33" fmla="*/ 677199 h 1297454"/>
                <a:gd name="connsiteX34" fmla="*/ 226953 w 911102"/>
                <a:gd name="connsiteY34" fmla="*/ 675817 h 1297454"/>
                <a:gd name="connsiteX35" fmla="*/ 291768 w 911102"/>
                <a:gd name="connsiteY35" fmla="*/ 589909 h 1297454"/>
                <a:gd name="connsiteX36" fmla="*/ 237891 w 911102"/>
                <a:gd name="connsiteY36" fmla="*/ 496751 h 1297454"/>
                <a:gd name="connsiteX37" fmla="*/ 221568 w 911102"/>
                <a:gd name="connsiteY37" fmla="*/ 492404 h 1297454"/>
                <a:gd name="connsiteX38" fmla="*/ 249567 w 911102"/>
                <a:gd name="connsiteY38" fmla="*/ 475916 h 1297454"/>
                <a:gd name="connsiteX39" fmla="*/ 281129 w 911102"/>
                <a:gd name="connsiteY39" fmla="*/ 411193 h 1297454"/>
                <a:gd name="connsiteX40" fmla="*/ 281130 w 911102"/>
                <a:gd name="connsiteY40" fmla="*/ 411193 h 1297454"/>
                <a:gd name="connsiteX41" fmla="*/ 257681 w 911102"/>
                <a:gd name="connsiteY41" fmla="*/ 343108 h 1297454"/>
                <a:gd name="connsiteX42" fmla="*/ 192957 w 911102"/>
                <a:gd name="connsiteY42" fmla="*/ 311547 h 1297454"/>
                <a:gd name="connsiteX43" fmla="*/ 65424 w 911102"/>
                <a:gd name="connsiteY43" fmla="*/ 303757 h 1297454"/>
                <a:gd name="connsiteX44" fmla="*/ 41901 w 911102"/>
                <a:gd name="connsiteY44" fmla="*/ 309400 h 1297454"/>
                <a:gd name="connsiteX45" fmla="*/ 56412 w 911102"/>
                <a:gd name="connsiteY45" fmla="*/ 232310 h 1297454"/>
                <a:gd name="connsiteX46" fmla="*/ 127609 w 911102"/>
                <a:gd name="connsiteY46" fmla="*/ 8370 h 1297454"/>
                <a:gd name="connsiteX47" fmla="*/ 135979 w 911102"/>
                <a:gd name="connsiteY47" fmla="*/ 0 h 1297454"/>
                <a:gd name="connsiteX48" fmla="*/ 737166 w 911102"/>
                <a:gd name="connsiteY48" fmla="*/ 0 h 1297454"/>
                <a:gd name="connsiteX49" fmla="*/ 745536 w 911102"/>
                <a:gd name="connsiteY4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824005 w 911102"/>
                <a:gd name="connsiteY5" fmla="*/ 195660 h 1297454"/>
                <a:gd name="connsiteX6" fmla="*/ 911102 w 911102"/>
                <a:gd name="connsiteY6" fmla="*/ 379668 h 1297454"/>
                <a:gd name="connsiteX7" fmla="*/ 876660 w 911102"/>
                <a:gd name="connsiteY7" fmla="*/ 399710 h 1297454"/>
                <a:gd name="connsiteX8" fmla="*/ 490066 w 911102"/>
                <a:gd name="connsiteY8" fmla="*/ 297988 h 1297454"/>
                <a:gd name="connsiteX9" fmla="*/ 716083 w 911102"/>
                <a:gd name="connsiteY9" fmla="*/ 598865 h 1297454"/>
                <a:gd name="connsiteX10" fmla="*/ 777233 w 911102"/>
                <a:gd name="connsiteY10" fmla="*/ 615788 h 1297454"/>
                <a:gd name="connsiteX11" fmla="*/ 770153 w 911102"/>
                <a:gd name="connsiteY11" fmla="*/ 639019 h 1297454"/>
                <a:gd name="connsiteX12" fmla="*/ 753784 w 911102"/>
                <a:gd name="connsiteY12" fmla="*/ 665322 h 1297454"/>
                <a:gd name="connsiteX13" fmla="*/ 710088 w 911102"/>
                <a:gd name="connsiteY13" fmla="*/ 1078153 h 1297454"/>
                <a:gd name="connsiteX14" fmla="*/ 710501 w 911102"/>
                <a:gd name="connsiteY14" fmla="*/ 1086412 h 1297454"/>
                <a:gd name="connsiteX15" fmla="*/ 710454 w 911102"/>
                <a:gd name="connsiteY15" fmla="*/ 1087719 h 1297454"/>
                <a:gd name="connsiteX16" fmla="*/ 714164 w 911102"/>
                <a:gd name="connsiteY16" fmla="*/ 1201144 h 1297454"/>
                <a:gd name="connsiteX17" fmla="*/ 723293 w 911102"/>
                <a:gd name="connsiteY17" fmla="*/ 1277540 h 1297454"/>
                <a:gd name="connsiteX18" fmla="*/ 723407 w 911102"/>
                <a:gd name="connsiteY18" fmla="*/ 1278872 h 1297454"/>
                <a:gd name="connsiteX19" fmla="*/ 724025 w 911102"/>
                <a:gd name="connsiteY19" fmla="*/ 1283671 h 1297454"/>
                <a:gd name="connsiteX20" fmla="*/ 724876 w 911102"/>
                <a:gd name="connsiteY20" fmla="*/ 1290789 h 1297454"/>
                <a:gd name="connsiteX21" fmla="*/ 568039 w 911102"/>
                <a:gd name="connsiteY21" fmla="*/ 1230080 h 1297454"/>
                <a:gd name="connsiteX22" fmla="*/ 364868 w 911102"/>
                <a:gd name="connsiteY22" fmla="*/ 1184795 h 1297454"/>
                <a:gd name="connsiteX23" fmla="*/ 178811 w 911102"/>
                <a:gd name="connsiteY23" fmla="*/ 1123147 h 1297454"/>
                <a:gd name="connsiteX24" fmla="*/ 28040 w 911102"/>
                <a:gd name="connsiteY24" fmla="*/ 1036282 h 1297454"/>
                <a:gd name="connsiteX25" fmla="*/ 26077 w 911102"/>
                <a:gd name="connsiteY25" fmla="*/ 1027345 h 1297454"/>
                <a:gd name="connsiteX26" fmla="*/ 152633 w 911102"/>
                <a:gd name="connsiteY26" fmla="*/ 1035076 h 1297454"/>
                <a:gd name="connsiteX27" fmla="*/ 255738 w 911102"/>
                <a:gd name="connsiteY27" fmla="*/ 943843 h 1297454"/>
                <a:gd name="connsiteX28" fmla="*/ 231475 w 911102"/>
                <a:gd name="connsiteY28" fmla="*/ 873395 h 1297454"/>
                <a:gd name="connsiteX29" fmla="*/ 213502 w 911102"/>
                <a:gd name="connsiteY29" fmla="*/ 859613 h 1297454"/>
                <a:gd name="connsiteX30" fmla="*/ 216878 w 911102"/>
                <a:gd name="connsiteY30" fmla="*/ 859143 h 1297454"/>
                <a:gd name="connsiteX31" fmla="*/ 281693 w 911102"/>
                <a:gd name="connsiteY31" fmla="*/ 773235 h 1297454"/>
                <a:gd name="connsiteX32" fmla="*/ 227816 w 911102"/>
                <a:gd name="connsiteY32" fmla="*/ 680077 h 1297454"/>
                <a:gd name="connsiteX33" fmla="*/ 217008 w 911102"/>
                <a:gd name="connsiteY33" fmla="*/ 677199 h 1297454"/>
                <a:gd name="connsiteX34" fmla="*/ 226953 w 911102"/>
                <a:gd name="connsiteY34" fmla="*/ 675817 h 1297454"/>
                <a:gd name="connsiteX35" fmla="*/ 291768 w 911102"/>
                <a:gd name="connsiteY35" fmla="*/ 589909 h 1297454"/>
                <a:gd name="connsiteX36" fmla="*/ 237891 w 911102"/>
                <a:gd name="connsiteY36" fmla="*/ 496751 h 1297454"/>
                <a:gd name="connsiteX37" fmla="*/ 221568 w 911102"/>
                <a:gd name="connsiteY37" fmla="*/ 492404 h 1297454"/>
                <a:gd name="connsiteX38" fmla="*/ 249567 w 911102"/>
                <a:gd name="connsiteY38" fmla="*/ 475916 h 1297454"/>
                <a:gd name="connsiteX39" fmla="*/ 281129 w 911102"/>
                <a:gd name="connsiteY39" fmla="*/ 411193 h 1297454"/>
                <a:gd name="connsiteX40" fmla="*/ 281130 w 911102"/>
                <a:gd name="connsiteY40" fmla="*/ 411193 h 1297454"/>
                <a:gd name="connsiteX41" fmla="*/ 257681 w 911102"/>
                <a:gd name="connsiteY41" fmla="*/ 343108 h 1297454"/>
                <a:gd name="connsiteX42" fmla="*/ 192957 w 911102"/>
                <a:gd name="connsiteY42" fmla="*/ 311547 h 1297454"/>
                <a:gd name="connsiteX43" fmla="*/ 65424 w 911102"/>
                <a:gd name="connsiteY43" fmla="*/ 303757 h 1297454"/>
                <a:gd name="connsiteX44" fmla="*/ 41901 w 911102"/>
                <a:gd name="connsiteY44" fmla="*/ 309400 h 1297454"/>
                <a:gd name="connsiteX45" fmla="*/ 56412 w 911102"/>
                <a:gd name="connsiteY45" fmla="*/ 232310 h 1297454"/>
                <a:gd name="connsiteX46" fmla="*/ 127609 w 911102"/>
                <a:gd name="connsiteY46" fmla="*/ 8370 h 1297454"/>
                <a:gd name="connsiteX47" fmla="*/ 135979 w 911102"/>
                <a:gd name="connsiteY47" fmla="*/ 0 h 1297454"/>
                <a:gd name="connsiteX48" fmla="*/ 737166 w 911102"/>
                <a:gd name="connsiteY48" fmla="*/ 0 h 1297454"/>
                <a:gd name="connsiteX49" fmla="*/ 745536 w 911102"/>
                <a:gd name="connsiteY4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5765 w 911102"/>
                <a:gd name="connsiteY7" fmla="*/ 302911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53784 w 911102"/>
                <a:gd name="connsiteY10" fmla="*/ 665322 h 1297454"/>
                <a:gd name="connsiteX11" fmla="*/ 710088 w 911102"/>
                <a:gd name="connsiteY11" fmla="*/ 1078153 h 1297454"/>
                <a:gd name="connsiteX12" fmla="*/ 710501 w 911102"/>
                <a:gd name="connsiteY12" fmla="*/ 1086412 h 1297454"/>
                <a:gd name="connsiteX13" fmla="*/ 710454 w 911102"/>
                <a:gd name="connsiteY13" fmla="*/ 1087719 h 1297454"/>
                <a:gd name="connsiteX14" fmla="*/ 714164 w 911102"/>
                <a:gd name="connsiteY14" fmla="*/ 1201144 h 1297454"/>
                <a:gd name="connsiteX15" fmla="*/ 723293 w 911102"/>
                <a:gd name="connsiteY15" fmla="*/ 1277540 h 1297454"/>
                <a:gd name="connsiteX16" fmla="*/ 723407 w 911102"/>
                <a:gd name="connsiteY16" fmla="*/ 1278872 h 1297454"/>
                <a:gd name="connsiteX17" fmla="*/ 724025 w 911102"/>
                <a:gd name="connsiteY17" fmla="*/ 1283671 h 1297454"/>
                <a:gd name="connsiteX18" fmla="*/ 724876 w 911102"/>
                <a:gd name="connsiteY18" fmla="*/ 1290789 h 1297454"/>
                <a:gd name="connsiteX19" fmla="*/ 568039 w 911102"/>
                <a:gd name="connsiteY19" fmla="*/ 1230080 h 1297454"/>
                <a:gd name="connsiteX20" fmla="*/ 364868 w 911102"/>
                <a:gd name="connsiteY20" fmla="*/ 1184795 h 1297454"/>
                <a:gd name="connsiteX21" fmla="*/ 178811 w 911102"/>
                <a:gd name="connsiteY21" fmla="*/ 1123147 h 1297454"/>
                <a:gd name="connsiteX22" fmla="*/ 28040 w 911102"/>
                <a:gd name="connsiteY22" fmla="*/ 1036282 h 1297454"/>
                <a:gd name="connsiteX23" fmla="*/ 26077 w 911102"/>
                <a:gd name="connsiteY23" fmla="*/ 1027345 h 1297454"/>
                <a:gd name="connsiteX24" fmla="*/ 152633 w 911102"/>
                <a:gd name="connsiteY24" fmla="*/ 1035076 h 1297454"/>
                <a:gd name="connsiteX25" fmla="*/ 255738 w 911102"/>
                <a:gd name="connsiteY25" fmla="*/ 943843 h 1297454"/>
                <a:gd name="connsiteX26" fmla="*/ 231475 w 911102"/>
                <a:gd name="connsiteY26" fmla="*/ 873395 h 1297454"/>
                <a:gd name="connsiteX27" fmla="*/ 213502 w 911102"/>
                <a:gd name="connsiteY27" fmla="*/ 859613 h 1297454"/>
                <a:gd name="connsiteX28" fmla="*/ 216878 w 911102"/>
                <a:gd name="connsiteY28" fmla="*/ 859143 h 1297454"/>
                <a:gd name="connsiteX29" fmla="*/ 281693 w 911102"/>
                <a:gd name="connsiteY29" fmla="*/ 773235 h 1297454"/>
                <a:gd name="connsiteX30" fmla="*/ 227816 w 911102"/>
                <a:gd name="connsiteY30" fmla="*/ 680077 h 1297454"/>
                <a:gd name="connsiteX31" fmla="*/ 217008 w 911102"/>
                <a:gd name="connsiteY31" fmla="*/ 677199 h 1297454"/>
                <a:gd name="connsiteX32" fmla="*/ 226953 w 911102"/>
                <a:gd name="connsiteY32" fmla="*/ 675817 h 1297454"/>
                <a:gd name="connsiteX33" fmla="*/ 291768 w 911102"/>
                <a:gd name="connsiteY33" fmla="*/ 589909 h 1297454"/>
                <a:gd name="connsiteX34" fmla="*/ 237891 w 911102"/>
                <a:gd name="connsiteY34" fmla="*/ 496751 h 1297454"/>
                <a:gd name="connsiteX35" fmla="*/ 221568 w 911102"/>
                <a:gd name="connsiteY35" fmla="*/ 492404 h 1297454"/>
                <a:gd name="connsiteX36" fmla="*/ 249567 w 911102"/>
                <a:gd name="connsiteY36" fmla="*/ 475916 h 1297454"/>
                <a:gd name="connsiteX37" fmla="*/ 281129 w 911102"/>
                <a:gd name="connsiteY37" fmla="*/ 411193 h 1297454"/>
                <a:gd name="connsiteX38" fmla="*/ 281130 w 911102"/>
                <a:gd name="connsiteY38" fmla="*/ 411193 h 1297454"/>
                <a:gd name="connsiteX39" fmla="*/ 257681 w 911102"/>
                <a:gd name="connsiteY39" fmla="*/ 343108 h 1297454"/>
                <a:gd name="connsiteX40" fmla="*/ 192957 w 911102"/>
                <a:gd name="connsiteY40" fmla="*/ 311547 h 1297454"/>
                <a:gd name="connsiteX41" fmla="*/ 65424 w 911102"/>
                <a:gd name="connsiteY41" fmla="*/ 303757 h 1297454"/>
                <a:gd name="connsiteX42" fmla="*/ 41901 w 911102"/>
                <a:gd name="connsiteY42" fmla="*/ 309400 h 1297454"/>
                <a:gd name="connsiteX43" fmla="*/ 56412 w 911102"/>
                <a:gd name="connsiteY43" fmla="*/ 232310 h 1297454"/>
                <a:gd name="connsiteX44" fmla="*/ 127609 w 911102"/>
                <a:gd name="connsiteY44" fmla="*/ 8370 h 1297454"/>
                <a:gd name="connsiteX45" fmla="*/ 135979 w 911102"/>
                <a:gd name="connsiteY45" fmla="*/ 0 h 1297454"/>
                <a:gd name="connsiteX46" fmla="*/ 737166 w 911102"/>
                <a:gd name="connsiteY46" fmla="*/ 0 h 1297454"/>
                <a:gd name="connsiteX47" fmla="*/ 745536 w 911102"/>
                <a:gd name="connsiteY47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4164 w 911102"/>
                <a:gd name="connsiteY12" fmla="*/ 1201144 h 1297454"/>
                <a:gd name="connsiteX13" fmla="*/ 723293 w 911102"/>
                <a:gd name="connsiteY13" fmla="*/ 1277540 h 1297454"/>
                <a:gd name="connsiteX14" fmla="*/ 723407 w 911102"/>
                <a:gd name="connsiteY14" fmla="*/ 1278872 h 1297454"/>
                <a:gd name="connsiteX15" fmla="*/ 724025 w 911102"/>
                <a:gd name="connsiteY15" fmla="*/ 1283671 h 1297454"/>
                <a:gd name="connsiteX16" fmla="*/ 724876 w 911102"/>
                <a:gd name="connsiteY16" fmla="*/ 1290789 h 1297454"/>
                <a:gd name="connsiteX17" fmla="*/ 568039 w 911102"/>
                <a:gd name="connsiteY17" fmla="*/ 1230080 h 1297454"/>
                <a:gd name="connsiteX18" fmla="*/ 364868 w 911102"/>
                <a:gd name="connsiteY18" fmla="*/ 1184795 h 1297454"/>
                <a:gd name="connsiteX19" fmla="*/ 178811 w 911102"/>
                <a:gd name="connsiteY19" fmla="*/ 1123147 h 1297454"/>
                <a:gd name="connsiteX20" fmla="*/ 28040 w 911102"/>
                <a:gd name="connsiteY20" fmla="*/ 1036282 h 1297454"/>
                <a:gd name="connsiteX21" fmla="*/ 26077 w 911102"/>
                <a:gd name="connsiteY21" fmla="*/ 1027345 h 1297454"/>
                <a:gd name="connsiteX22" fmla="*/ 152633 w 911102"/>
                <a:gd name="connsiteY22" fmla="*/ 1035076 h 1297454"/>
                <a:gd name="connsiteX23" fmla="*/ 255738 w 911102"/>
                <a:gd name="connsiteY23" fmla="*/ 943843 h 1297454"/>
                <a:gd name="connsiteX24" fmla="*/ 231475 w 911102"/>
                <a:gd name="connsiteY24" fmla="*/ 873395 h 1297454"/>
                <a:gd name="connsiteX25" fmla="*/ 213502 w 911102"/>
                <a:gd name="connsiteY25" fmla="*/ 859613 h 1297454"/>
                <a:gd name="connsiteX26" fmla="*/ 216878 w 911102"/>
                <a:gd name="connsiteY26" fmla="*/ 859143 h 1297454"/>
                <a:gd name="connsiteX27" fmla="*/ 281693 w 911102"/>
                <a:gd name="connsiteY27" fmla="*/ 773235 h 1297454"/>
                <a:gd name="connsiteX28" fmla="*/ 227816 w 911102"/>
                <a:gd name="connsiteY28" fmla="*/ 680077 h 1297454"/>
                <a:gd name="connsiteX29" fmla="*/ 217008 w 911102"/>
                <a:gd name="connsiteY29" fmla="*/ 677199 h 1297454"/>
                <a:gd name="connsiteX30" fmla="*/ 226953 w 911102"/>
                <a:gd name="connsiteY30" fmla="*/ 675817 h 1297454"/>
                <a:gd name="connsiteX31" fmla="*/ 291768 w 911102"/>
                <a:gd name="connsiteY31" fmla="*/ 589909 h 1297454"/>
                <a:gd name="connsiteX32" fmla="*/ 237891 w 911102"/>
                <a:gd name="connsiteY32" fmla="*/ 496751 h 1297454"/>
                <a:gd name="connsiteX33" fmla="*/ 221568 w 911102"/>
                <a:gd name="connsiteY33" fmla="*/ 492404 h 1297454"/>
                <a:gd name="connsiteX34" fmla="*/ 249567 w 911102"/>
                <a:gd name="connsiteY34" fmla="*/ 475916 h 1297454"/>
                <a:gd name="connsiteX35" fmla="*/ 281129 w 911102"/>
                <a:gd name="connsiteY35" fmla="*/ 411193 h 1297454"/>
                <a:gd name="connsiteX36" fmla="*/ 281130 w 911102"/>
                <a:gd name="connsiteY36" fmla="*/ 411193 h 1297454"/>
                <a:gd name="connsiteX37" fmla="*/ 257681 w 911102"/>
                <a:gd name="connsiteY37" fmla="*/ 343108 h 1297454"/>
                <a:gd name="connsiteX38" fmla="*/ 192957 w 911102"/>
                <a:gd name="connsiteY38" fmla="*/ 311547 h 1297454"/>
                <a:gd name="connsiteX39" fmla="*/ 65424 w 911102"/>
                <a:gd name="connsiteY39" fmla="*/ 303757 h 1297454"/>
                <a:gd name="connsiteX40" fmla="*/ 41901 w 911102"/>
                <a:gd name="connsiteY40" fmla="*/ 309400 h 1297454"/>
                <a:gd name="connsiteX41" fmla="*/ 56412 w 911102"/>
                <a:gd name="connsiteY41" fmla="*/ 232310 h 1297454"/>
                <a:gd name="connsiteX42" fmla="*/ 127609 w 911102"/>
                <a:gd name="connsiteY42" fmla="*/ 8370 h 1297454"/>
                <a:gd name="connsiteX43" fmla="*/ 135979 w 911102"/>
                <a:gd name="connsiteY43" fmla="*/ 0 h 1297454"/>
                <a:gd name="connsiteX44" fmla="*/ 737166 w 911102"/>
                <a:gd name="connsiteY44" fmla="*/ 0 h 1297454"/>
                <a:gd name="connsiteX45" fmla="*/ 745536 w 911102"/>
                <a:gd name="connsiteY45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4164 w 911102"/>
                <a:gd name="connsiteY11" fmla="*/ 1201144 h 1297454"/>
                <a:gd name="connsiteX12" fmla="*/ 723293 w 911102"/>
                <a:gd name="connsiteY12" fmla="*/ 1277540 h 1297454"/>
                <a:gd name="connsiteX13" fmla="*/ 723407 w 911102"/>
                <a:gd name="connsiteY13" fmla="*/ 1278872 h 1297454"/>
                <a:gd name="connsiteX14" fmla="*/ 724025 w 911102"/>
                <a:gd name="connsiteY14" fmla="*/ 1283671 h 1297454"/>
                <a:gd name="connsiteX15" fmla="*/ 724876 w 911102"/>
                <a:gd name="connsiteY15" fmla="*/ 1290789 h 1297454"/>
                <a:gd name="connsiteX16" fmla="*/ 568039 w 911102"/>
                <a:gd name="connsiteY16" fmla="*/ 1230080 h 1297454"/>
                <a:gd name="connsiteX17" fmla="*/ 364868 w 911102"/>
                <a:gd name="connsiteY17" fmla="*/ 1184795 h 1297454"/>
                <a:gd name="connsiteX18" fmla="*/ 178811 w 911102"/>
                <a:gd name="connsiteY18" fmla="*/ 1123147 h 1297454"/>
                <a:gd name="connsiteX19" fmla="*/ 28040 w 911102"/>
                <a:gd name="connsiteY19" fmla="*/ 1036282 h 1297454"/>
                <a:gd name="connsiteX20" fmla="*/ 26077 w 911102"/>
                <a:gd name="connsiteY20" fmla="*/ 1027345 h 1297454"/>
                <a:gd name="connsiteX21" fmla="*/ 152633 w 911102"/>
                <a:gd name="connsiteY21" fmla="*/ 1035076 h 1297454"/>
                <a:gd name="connsiteX22" fmla="*/ 255738 w 911102"/>
                <a:gd name="connsiteY22" fmla="*/ 943843 h 1297454"/>
                <a:gd name="connsiteX23" fmla="*/ 231475 w 911102"/>
                <a:gd name="connsiteY23" fmla="*/ 873395 h 1297454"/>
                <a:gd name="connsiteX24" fmla="*/ 213502 w 911102"/>
                <a:gd name="connsiteY24" fmla="*/ 859613 h 1297454"/>
                <a:gd name="connsiteX25" fmla="*/ 216878 w 911102"/>
                <a:gd name="connsiteY25" fmla="*/ 859143 h 1297454"/>
                <a:gd name="connsiteX26" fmla="*/ 281693 w 911102"/>
                <a:gd name="connsiteY26" fmla="*/ 773235 h 1297454"/>
                <a:gd name="connsiteX27" fmla="*/ 227816 w 911102"/>
                <a:gd name="connsiteY27" fmla="*/ 680077 h 1297454"/>
                <a:gd name="connsiteX28" fmla="*/ 217008 w 911102"/>
                <a:gd name="connsiteY28" fmla="*/ 677199 h 1297454"/>
                <a:gd name="connsiteX29" fmla="*/ 226953 w 911102"/>
                <a:gd name="connsiteY29" fmla="*/ 675817 h 1297454"/>
                <a:gd name="connsiteX30" fmla="*/ 291768 w 911102"/>
                <a:gd name="connsiteY30" fmla="*/ 589909 h 1297454"/>
                <a:gd name="connsiteX31" fmla="*/ 237891 w 911102"/>
                <a:gd name="connsiteY31" fmla="*/ 496751 h 1297454"/>
                <a:gd name="connsiteX32" fmla="*/ 221568 w 911102"/>
                <a:gd name="connsiteY32" fmla="*/ 492404 h 1297454"/>
                <a:gd name="connsiteX33" fmla="*/ 249567 w 911102"/>
                <a:gd name="connsiteY33" fmla="*/ 475916 h 1297454"/>
                <a:gd name="connsiteX34" fmla="*/ 281129 w 911102"/>
                <a:gd name="connsiteY34" fmla="*/ 411193 h 1297454"/>
                <a:gd name="connsiteX35" fmla="*/ 281130 w 911102"/>
                <a:gd name="connsiteY35" fmla="*/ 411193 h 1297454"/>
                <a:gd name="connsiteX36" fmla="*/ 257681 w 911102"/>
                <a:gd name="connsiteY36" fmla="*/ 343108 h 1297454"/>
                <a:gd name="connsiteX37" fmla="*/ 192957 w 911102"/>
                <a:gd name="connsiteY37" fmla="*/ 311547 h 1297454"/>
                <a:gd name="connsiteX38" fmla="*/ 65424 w 911102"/>
                <a:gd name="connsiteY38" fmla="*/ 303757 h 1297454"/>
                <a:gd name="connsiteX39" fmla="*/ 41901 w 911102"/>
                <a:gd name="connsiteY39" fmla="*/ 309400 h 1297454"/>
                <a:gd name="connsiteX40" fmla="*/ 56412 w 911102"/>
                <a:gd name="connsiteY40" fmla="*/ 232310 h 1297454"/>
                <a:gd name="connsiteX41" fmla="*/ 127609 w 911102"/>
                <a:gd name="connsiteY41" fmla="*/ 8370 h 1297454"/>
                <a:gd name="connsiteX42" fmla="*/ 135979 w 911102"/>
                <a:gd name="connsiteY42" fmla="*/ 0 h 1297454"/>
                <a:gd name="connsiteX43" fmla="*/ 737166 w 911102"/>
                <a:gd name="connsiteY43" fmla="*/ 0 h 1297454"/>
                <a:gd name="connsiteX44" fmla="*/ 745536 w 911102"/>
                <a:gd name="connsiteY44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4164 w 911102"/>
                <a:gd name="connsiteY10" fmla="*/ 1201144 h 1297454"/>
                <a:gd name="connsiteX11" fmla="*/ 723293 w 911102"/>
                <a:gd name="connsiteY11" fmla="*/ 1277540 h 1297454"/>
                <a:gd name="connsiteX12" fmla="*/ 723407 w 911102"/>
                <a:gd name="connsiteY12" fmla="*/ 1278872 h 1297454"/>
                <a:gd name="connsiteX13" fmla="*/ 724025 w 911102"/>
                <a:gd name="connsiteY13" fmla="*/ 1283671 h 1297454"/>
                <a:gd name="connsiteX14" fmla="*/ 724876 w 911102"/>
                <a:gd name="connsiteY14" fmla="*/ 1290789 h 1297454"/>
                <a:gd name="connsiteX15" fmla="*/ 568039 w 911102"/>
                <a:gd name="connsiteY15" fmla="*/ 1230080 h 1297454"/>
                <a:gd name="connsiteX16" fmla="*/ 364868 w 911102"/>
                <a:gd name="connsiteY16" fmla="*/ 1184795 h 1297454"/>
                <a:gd name="connsiteX17" fmla="*/ 178811 w 911102"/>
                <a:gd name="connsiteY17" fmla="*/ 1123147 h 1297454"/>
                <a:gd name="connsiteX18" fmla="*/ 28040 w 911102"/>
                <a:gd name="connsiteY18" fmla="*/ 1036282 h 1297454"/>
                <a:gd name="connsiteX19" fmla="*/ 26077 w 911102"/>
                <a:gd name="connsiteY19" fmla="*/ 1027345 h 1297454"/>
                <a:gd name="connsiteX20" fmla="*/ 152633 w 911102"/>
                <a:gd name="connsiteY20" fmla="*/ 1035076 h 1297454"/>
                <a:gd name="connsiteX21" fmla="*/ 255738 w 911102"/>
                <a:gd name="connsiteY21" fmla="*/ 943843 h 1297454"/>
                <a:gd name="connsiteX22" fmla="*/ 231475 w 911102"/>
                <a:gd name="connsiteY22" fmla="*/ 873395 h 1297454"/>
                <a:gd name="connsiteX23" fmla="*/ 213502 w 911102"/>
                <a:gd name="connsiteY23" fmla="*/ 859613 h 1297454"/>
                <a:gd name="connsiteX24" fmla="*/ 216878 w 911102"/>
                <a:gd name="connsiteY24" fmla="*/ 859143 h 1297454"/>
                <a:gd name="connsiteX25" fmla="*/ 281693 w 911102"/>
                <a:gd name="connsiteY25" fmla="*/ 773235 h 1297454"/>
                <a:gd name="connsiteX26" fmla="*/ 227816 w 911102"/>
                <a:gd name="connsiteY26" fmla="*/ 680077 h 1297454"/>
                <a:gd name="connsiteX27" fmla="*/ 217008 w 911102"/>
                <a:gd name="connsiteY27" fmla="*/ 677199 h 1297454"/>
                <a:gd name="connsiteX28" fmla="*/ 226953 w 911102"/>
                <a:gd name="connsiteY28" fmla="*/ 675817 h 1297454"/>
                <a:gd name="connsiteX29" fmla="*/ 291768 w 911102"/>
                <a:gd name="connsiteY29" fmla="*/ 589909 h 1297454"/>
                <a:gd name="connsiteX30" fmla="*/ 237891 w 911102"/>
                <a:gd name="connsiteY30" fmla="*/ 496751 h 1297454"/>
                <a:gd name="connsiteX31" fmla="*/ 221568 w 911102"/>
                <a:gd name="connsiteY31" fmla="*/ 492404 h 1297454"/>
                <a:gd name="connsiteX32" fmla="*/ 249567 w 911102"/>
                <a:gd name="connsiteY32" fmla="*/ 475916 h 1297454"/>
                <a:gd name="connsiteX33" fmla="*/ 281129 w 911102"/>
                <a:gd name="connsiteY33" fmla="*/ 411193 h 1297454"/>
                <a:gd name="connsiteX34" fmla="*/ 281130 w 911102"/>
                <a:gd name="connsiteY34" fmla="*/ 411193 h 1297454"/>
                <a:gd name="connsiteX35" fmla="*/ 257681 w 911102"/>
                <a:gd name="connsiteY35" fmla="*/ 343108 h 1297454"/>
                <a:gd name="connsiteX36" fmla="*/ 192957 w 911102"/>
                <a:gd name="connsiteY36" fmla="*/ 311547 h 1297454"/>
                <a:gd name="connsiteX37" fmla="*/ 65424 w 911102"/>
                <a:gd name="connsiteY37" fmla="*/ 303757 h 1297454"/>
                <a:gd name="connsiteX38" fmla="*/ 41901 w 911102"/>
                <a:gd name="connsiteY38" fmla="*/ 309400 h 1297454"/>
                <a:gd name="connsiteX39" fmla="*/ 56412 w 911102"/>
                <a:gd name="connsiteY39" fmla="*/ 232310 h 1297454"/>
                <a:gd name="connsiteX40" fmla="*/ 127609 w 911102"/>
                <a:gd name="connsiteY40" fmla="*/ 8370 h 1297454"/>
                <a:gd name="connsiteX41" fmla="*/ 135979 w 911102"/>
                <a:gd name="connsiteY41" fmla="*/ 0 h 1297454"/>
                <a:gd name="connsiteX42" fmla="*/ 737166 w 911102"/>
                <a:gd name="connsiteY42" fmla="*/ 0 h 1297454"/>
                <a:gd name="connsiteX43" fmla="*/ 745536 w 911102"/>
                <a:gd name="connsiteY43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3407 w 911102"/>
                <a:gd name="connsiteY11" fmla="*/ 1278872 h 1297454"/>
                <a:gd name="connsiteX12" fmla="*/ 724025 w 911102"/>
                <a:gd name="connsiteY12" fmla="*/ 1283671 h 1297454"/>
                <a:gd name="connsiteX13" fmla="*/ 724876 w 911102"/>
                <a:gd name="connsiteY13" fmla="*/ 1290789 h 1297454"/>
                <a:gd name="connsiteX14" fmla="*/ 568039 w 911102"/>
                <a:gd name="connsiteY14" fmla="*/ 1230080 h 1297454"/>
                <a:gd name="connsiteX15" fmla="*/ 364868 w 911102"/>
                <a:gd name="connsiteY15" fmla="*/ 1184795 h 1297454"/>
                <a:gd name="connsiteX16" fmla="*/ 178811 w 911102"/>
                <a:gd name="connsiteY16" fmla="*/ 1123147 h 1297454"/>
                <a:gd name="connsiteX17" fmla="*/ 28040 w 911102"/>
                <a:gd name="connsiteY17" fmla="*/ 1036282 h 1297454"/>
                <a:gd name="connsiteX18" fmla="*/ 26077 w 911102"/>
                <a:gd name="connsiteY18" fmla="*/ 1027345 h 1297454"/>
                <a:gd name="connsiteX19" fmla="*/ 152633 w 911102"/>
                <a:gd name="connsiteY19" fmla="*/ 1035076 h 1297454"/>
                <a:gd name="connsiteX20" fmla="*/ 255738 w 911102"/>
                <a:gd name="connsiteY20" fmla="*/ 943843 h 1297454"/>
                <a:gd name="connsiteX21" fmla="*/ 231475 w 911102"/>
                <a:gd name="connsiteY21" fmla="*/ 873395 h 1297454"/>
                <a:gd name="connsiteX22" fmla="*/ 213502 w 911102"/>
                <a:gd name="connsiteY22" fmla="*/ 859613 h 1297454"/>
                <a:gd name="connsiteX23" fmla="*/ 216878 w 911102"/>
                <a:gd name="connsiteY23" fmla="*/ 859143 h 1297454"/>
                <a:gd name="connsiteX24" fmla="*/ 281693 w 911102"/>
                <a:gd name="connsiteY24" fmla="*/ 773235 h 1297454"/>
                <a:gd name="connsiteX25" fmla="*/ 227816 w 911102"/>
                <a:gd name="connsiteY25" fmla="*/ 680077 h 1297454"/>
                <a:gd name="connsiteX26" fmla="*/ 217008 w 911102"/>
                <a:gd name="connsiteY26" fmla="*/ 677199 h 1297454"/>
                <a:gd name="connsiteX27" fmla="*/ 226953 w 911102"/>
                <a:gd name="connsiteY27" fmla="*/ 675817 h 1297454"/>
                <a:gd name="connsiteX28" fmla="*/ 291768 w 911102"/>
                <a:gd name="connsiteY28" fmla="*/ 589909 h 1297454"/>
                <a:gd name="connsiteX29" fmla="*/ 237891 w 911102"/>
                <a:gd name="connsiteY29" fmla="*/ 496751 h 1297454"/>
                <a:gd name="connsiteX30" fmla="*/ 221568 w 911102"/>
                <a:gd name="connsiteY30" fmla="*/ 492404 h 1297454"/>
                <a:gd name="connsiteX31" fmla="*/ 249567 w 911102"/>
                <a:gd name="connsiteY31" fmla="*/ 475916 h 1297454"/>
                <a:gd name="connsiteX32" fmla="*/ 281129 w 911102"/>
                <a:gd name="connsiteY32" fmla="*/ 411193 h 1297454"/>
                <a:gd name="connsiteX33" fmla="*/ 281130 w 911102"/>
                <a:gd name="connsiteY33" fmla="*/ 411193 h 1297454"/>
                <a:gd name="connsiteX34" fmla="*/ 257681 w 911102"/>
                <a:gd name="connsiteY34" fmla="*/ 343108 h 1297454"/>
                <a:gd name="connsiteX35" fmla="*/ 192957 w 911102"/>
                <a:gd name="connsiteY35" fmla="*/ 311547 h 1297454"/>
                <a:gd name="connsiteX36" fmla="*/ 65424 w 911102"/>
                <a:gd name="connsiteY36" fmla="*/ 303757 h 1297454"/>
                <a:gd name="connsiteX37" fmla="*/ 41901 w 911102"/>
                <a:gd name="connsiteY37" fmla="*/ 309400 h 1297454"/>
                <a:gd name="connsiteX38" fmla="*/ 56412 w 911102"/>
                <a:gd name="connsiteY38" fmla="*/ 232310 h 1297454"/>
                <a:gd name="connsiteX39" fmla="*/ 127609 w 911102"/>
                <a:gd name="connsiteY39" fmla="*/ 8370 h 1297454"/>
                <a:gd name="connsiteX40" fmla="*/ 135979 w 911102"/>
                <a:gd name="connsiteY40" fmla="*/ 0 h 1297454"/>
                <a:gd name="connsiteX41" fmla="*/ 737166 w 911102"/>
                <a:gd name="connsiteY41" fmla="*/ 0 h 1297454"/>
                <a:gd name="connsiteX42" fmla="*/ 745536 w 911102"/>
                <a:gd name="connsiteY42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3407 w 911102"/>
                <a:gd name="connsiteY11" fmla="*/ 1278872 h 1297454"/>
                <a:gd name="connsiteX12" fmla="*/ 724876 w 911102"/>
                <a:gd name="connsiteY12" fmla="*/ 1290789 h 1297454"/>
                <a:gd name="connsiteX13" fmla="*/ 568039 w 911102"/>
                <a:gd name="connsiteY13" fmla="*/ 1230080 h 1297454"/>
                <a:gd name="connsiteX14" fmla="*/ 364868 w 911102"/>
                <a:gd name="connsiteY14" fmla="*/ 1184795 h 1297454"/>
                <a:gd name="connsiteX15" fmla="*/ 178811 w 911102"/>
                <a:gd name="connsiteY15" fmla="*/ 1123147 h 1297454"/>
                <a:gd name="connsiteX16" fmla="*/ 28040 w 911102"/>
                <a:gd name="connsiteY16" fmla="*/ 1036282 h 1297454"/>
                <a:gd name="connsiteX17" fmla="*/ 26077 w 911102"/>
                <a:gd name="connsiteY17" fmla="*/ 1027345 h 1297454"/>
                <a:gd name="connsiteX18" fmla="*/ 152633 w 911102"/>
                <a:gd name="connsiteY18" fmla="*/ 1035076 h 1297454"/>
                <a:gd name="connsiteX19" fmla="*/ 255738 w 911102"/>
                <a:gd name="connsiteY19" fmla="*/ 943843 h 1297454"/>
                <a:gd name="connsiteX20" fmla="*/ 231475 w 911102"/>
                <a:gd name="connsiteY20" fmla="*/ 873395 h 1297454"/>
                <a:gd name="connsiteX21" fmla="*/ 213502 w 911102"/>
                <a:gd name="connsiteY21" fmla="*/ 859613 h 1297454"/>
                <a:gd name="connsiteX22" fmla="*/ 216878 w 911102"/>
                <a:gd name="connsiteY22" fmla="*/ 859143 h 1297454"/>
                <a:gd name="connsiteX23" fmla="*/ 281693 w 911102"/>
                <a:gd name="connsiteY23" fmla="*/ 773235 h 1297454"/>
                <a:gd name="connsiteX24" fmla="*/ 227816 w 911102"/>
                <a:gd name="connsiteY24" fmla="*/ 680077 h 1297454"/>
                <a:gd name="connsiteX25" fmla="*/ 217008 w 911102"/>
                <a:gd name="connsiteY25" fmla="*/ 677199 h 1297454"/>
                <a:gd name="connsiteX26" fmla="*/ 226953 w 911102"/>
                <a:gd name="connsiteY26" fmla="*/ 675817 h 1297454"/>
                <a:gd name="connsiteX27" fmla="*/ 291768 w 911102"/>
                <a:gd name="connsiteY27" fmla="*/ 589909 h 1297454"/>
                <a:gd name="connsiteX28" fmla="*/ 237891 w 911102"/>
                <a:gd name="connsiteY28" fmla="*/ 496751 h 1297454"/>
                <a:gd name="connsiteX29" fmla="*/ 221568 w 911102"/>
                <a:gd name="connsiteY29" fmla="*/ 492404 h 1297454"/>
                <a:gd name="connsiteX30" fmla="*/ 249567 w 911102"/>
                <a:gd name="connsiteY30" fmla="*/ 475916 h 1297454"/>
                <a:gd name="connsiteX31" fmla="*/ 281129 w 911102"/>
                <a:gd name="connsiteY31" fmla="*/ 411193 h 1297454"/>
                <a:gd name="connsiteX32" fmla="*/ 281130 w 911102"/>
                <a:gd name="connsiteY32" fmla="*/ 411193 h 1297454"/>
                <a:gd name="connsiteX33" fmla="*/ 257681 w 911102"/>
                <a:gd name="connsiteY33" fmla="*/ 343108 h 1297454"/>
                <a:gd name="connsiteX34" fmla="*/ 192957 w 911102"/>
                <a:gd name="connsiteY34" fmla="*/ 311547 h 1297454"/>
                <a:gd name="connsiteX35" fmla="*/ 65424 w 911102"/>
                <a:gd name="connsiteY35" fmla="*/ 303757 h 1297454"/>
                <a:gd name="connsiteX36" fmla="*/ 41901 w 911102"/>
                <a:gd name="connsiteY36" fmla="*/ 309400 h 1297454"/>
                <a:gd name="connsiteX37" fmla="*/ 56412 w 911102"/>
                <a:gd name="connsiteY37" fmla="*/ 232310 h 1297454"/>
                <a:gd name="connsiteX38" fmla="*/ 127609 w 911102"/>
                <a:gd name="connsiteY38" fmla="*/ 8370 h 1297454"/>
                <a:gd name="connsiteX39" fmla="*/ 135979 w 911102"/>
                <a:gd name="connsiteY39" fmla="*/ 0 h 1297454"/>
                <a:gd name="connsiteX40" fmla="*/ 737166 w 911102"/>
                <a:gd name="connsiteY40" fmla="*/ 0 h 1297454"/>
                <a:gd name="connsiteX41" fmla="*/ 745536 w 911102"/>
                <a:gd name="connsiteY41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4876 w 911102"/>
                <a:gd name="connsiteY11" fmla="*/ 1290789 h 1297454"/>
                <a:gd name="connsiteX12" fmla="*/ 568039 w 911102"/>
                <a:gd name="connsiteY12" fmla="*/ 1230080 h 1297454"/>
                <a:gd name="connsiteX13" fmla="*/ 364868 w 911102"/>
                <a:gd name="connsiteY13" fmla="*/ 1184795 h 1297454"/>
                <a:gd name="connsiteX14" fmla="*/ 178811 w 911102"/>
                <a:gd name="connsiteY14" fmla="*/ 1123147 h 1297454"/>
                <a:gd name="connsiteX15" fmla="*/ 28040 w 911102"/>
                <a:gd name="connsiteY15" fmla="*/ 1036282 h 1297454"/>
                <a:gd name="connsiteX16" fmla="*/ 26077 w 911102"/>
                <a:gd name="connsiteY16" fmla="*/ 1027345 h 1297454"/>
                <a:gd name="connsiteX17" fmla="*/ 152633 w 911102"/>
                <a:gd name="connsiteY17" fmla="*/ 1035076 h 1297454"/>
                <a:gd name="connsiteX18" fmla="*/ 255738 w 911102"/>
                <a:gd name="connsiteY18" fmla="*/ 943843 h 1297454"/>
                <a:gd name="connsiteX19" fmla="*/ 231475 w 911102"/>
                <a:gd name="connsiteY19" fmla="*/ 873395 h 1297454"/>
                <a:gd name="connsiteX20" fmla="*/ 213502 w 911102"/>
                <a:gd name="connsiteY20" fmla="*/ 859613 h 1297454"/>
                <a:gd name="connsiteX21" fmla="*/ 216878 w 911102"/>
                <a:gd name="connsiteY21" fmla="*/ 859143 h 1297454"/>
                <a:gd name="connsiteX22" fmla="*/ 281693 w 911102"/>
                <a:gd name="connsiteY22" fmla="*/ 773235 h 1297454"/>
                <a:gd name="connsiteX23" fmla="*/ 227816 w 911102"/>
                <a:gd name="connsiteY23" fmla="*/ 680077 h 1297454"/>
                <a:gd name="connsiteX24" fmla="*/ 217008 w 911102"/>
                <a:gd name="connsiteY24" fmla="*/ 677199 h 1297454"/>
                <a:gd name="connsiteX25" fmla="*/ 226953 w 911102"/>
                <a:gd name="connsiteY25" fmla="*/ 675817 h 1297454"/>
                <a:gd name="connsiteX26" fmla="*/ 291768 w 911102"/>
                <a:gd name="connsiteY26" fmla="*/ 589909 h 1297454"/>
                <a:gd name="connsiteX27" fmla="*/ 237891 w 911102"/>
                <a:gd name="connsiteY27" fmla="*/ 496751 h 1297454"/>
                <a:gd name="connsiteX28" fmla="*/ 221568 w 911102"/>
                <a:gd name="connsiteY28" fmla="*/ 492404 h 1297454"/>
                <a:gd name="connsiteX29" fmla="*/ 249567 w 911102"/>
                <a:gd name="connsiteY29" fmla="*/ 475916 h 1297454"/>
                <a:gd name="connsiteX30" fmla="*/ 281129 w 911102"/>
                <a:gd name="connsiteY30" fmla="*/ 411193 h 1297454"/>
                <a:gd name="connsiteX31" fmla="*/ 281130 w 911102"/>
                <a:gd name="connsiteY31" fmla="*/ 411193 h 1297454"/>
                <a:gd name="connsiteX32" fmla="*/ 257681 w 911102"/>
                <a:gd name="connsiteY32" fmla="*/ 343108 h 1297454"/>
                <a:gd name="connsiteX33" fmla="*/ 192957 w 911102"/>
                <a:gd name="connsiteY33" fmla="*/ 311547 h 1297454"/>
                <a:gd name="connsiteX34" fmla="*/ 65424 w 911102"/>
                <a:gd name="connsiteY34" fmla="*/ 303757 h 1297454"/>
                <a:gd name="connsiteX35" fmla="*/ 41901 w 911102"/>
                <a:gd name="connsiteY35" fmla="*/ 309400 h 1297454"/>
                <a:gd name="connsiteX36" fmla="*/ 56412 w 911102"/>
                <a:gd name="connsiteY36" fmla="*/ 232310 h 1297454"/>
                <a:gd name="connsiteX37" fmla="*/ 127609 w 911102"/>
                <a:gd name="connsiteY37" fmla="*/ 8370 h 1297454"/>
                <a:gd name="connsiteX38" fmla="*/ 135979 w 911102"/>
                <a:gd name="connsiteY38" fmla="*/ 0 h 1297454"/>
                <a:gd name="connsiteX39" fmla="*/ 737166 w 911102"/>
                <a:gd name="connsiteY39" fmla="*/ 0 h 1297454"/>
                <a:gd name="connsiteX40" fmla="*/ 745536 w 911102"/>
                <a:gd name="connsiteY40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11102" h="1297454">
                  <a:moveTo>
                    <a:pt x="554" y="664205"/>
                  </a:moveTo>
                  <a:lnTo>
                    <a:pt x="0" y="664282"/>
                  </a:lnTo>
                  <a:cubicBezTo>
                    <a:pt x="5" y="664208"/>
                    <a:pt x="11" y="664135"/>
                    <a:pt x="16" y="664061"/>
                  </a:cubicBezTo>
                  <a:lnTo>
                    <a:pt x="554" y="664205"/>
                  </a:lnTo>
                  <a:close/>
                  <a:moveTo>
                    <a:pt x="745536" y="8370"/>
                  </a:moveTo>
                  <a:cubicBezTo>
                    <a:pt x="777296" y="94936"/>
                    <a:pt x="879455" y="311958"/>
                    <a:pt x="911102" y="379668"/>
                  </a:cubicBezTo>
                  <a:lnTo>
                    <a:pt x="876710" y="385825"/>
                  </a:lnTo>
                  <a:cubicBezTo>
                    <a:pt x="868621" y="377323"/>
                    <a:pt x="500563" y="302568"/>
                    <a:pt x="492061" y="310657"/>
                  </a:cubicBezTo>
                  <a:cubicBezTo>
                    <a:pt x="467650" y="368421"/>
                    <a:pt x="552876" y="601616"/>
                    <a:pt x="783320" y="626020"/>
                  </a:cubicBezTo>
                  <a:cubicBezTo>
                    <a:pt x="707017" y="751589"/>
                    <a:pt x="678492" y="1146233"/>
                    <a:pt x="724876" y="1290789"/>
                  </a:cubicBezTo>
                  <a:cubicBezTo>
                    <a:pt x="686289" y="1299923"/>
                    <a:pt x="599232" y="1312604"/>
                    <a:pt x="568039" y="1230080"/>
                  </a:cubicBezTo>
                  <a:cubicBezTo>
                    <a:pt x="505142" y="1271224"/>
                    <a:pt x="421109" y="1286153"/>
                    <a:pt x="364868" y="1184795"/>
                  </a:cubicBezTo>
                  <a:cubicBezTo>
                    <a:pt x="275380" y="1265558"/>
                    <a:pt x="187295" y="1190323"/>
                    <a:pt x="178811" y="1123147"/>
                  </a:cubicBezTo>
                  <a:cubicBezTo>
                    <a:pt x="136082" y="1156900"/>
                    <a:pt x="67183" y="1167242"/>
                    <a:pt x="28040" y="1036282"/>
                  </a:cubicBezTo>
                  <a:lnTo>
                    <a:pt x="26077" y="1027345"/>
                  </a:lnTo>
                  <a:lnTo>
                    <a:pt x="152633" y="1035076"/>
                  </a:lnTo>
                  <a:cubicBezTo>
                    <a:pt x="206298" y="1038354"/>
                    <a:pt x="252460" y="997507"/>
                    <a:pt x="255738" y="943843"/>
                  </a:cubicBezTo>
                  <a:cubicBezTo>
                    <a:pt x="257377" y="917011"/>
                    <a:pt x="247985" y="892054"/>
                    <a:pt x="231475" y="873395"/>
                  </a:cubicBezTo>
                  <a:lnTo>
                    <a:pt x="213502" y="859613"/>
                  </a:lnTo>
                  <a:lnTo>
                    <a:pt x="216878" y="859143"/>
                  </a:lnTo>
                  <a:cubicBezTo>
                    <a:pt x="252654" y="846522"/>
                    <a:pt x="279235" y="813484"/>
                    <a:pt x="281693" y="773235"/>
                  </a:cubicBezTo>
                  <a:cubicBezTo>
                    <a:pt x="284152" y="732987"/>
                    <a:pt x="261790" y="696958"/>
                    <a:pt x="227816" y="680077"/>
                  </a:cubicBezTo>
                  <a:lnTo>
                    <a:pt x="217008" y="677199"/>
                  </a:lnTo>
                  <a:lnTo>
                    <a:pt x="226953" y="675817"/>
                  </a:lnTo>
                  <a:cubicBezTo>
                    <a:pt x="262729" y="663196"/>
                    <a:pt x="289310" y="630158"/>
                    <a:pt x="291768" y="589909"/>
                  </a:cubicBezTo>
                  <a:cubicBezTo>
                    <a:pt x="294227" y="549660"/>
                    <a:pt x="271865" y="513632"/>
                    <a:pt x="237891" y="496751"/>
                  </a:cubicBezTo>
                  <a:lnTo>
                    <a:pt x="221568" y="492404"/>
                  </a:lnTo>
                  <a:lnTo>
                    <a:pt x="249567" y="475916"/>
                  </a:lnTo>
                  <a:cubicBezTo>
                    <a:pt x="267599" y="459959"/>
                    <a:pt x="279545" y="437125"/>
                    <a:pt x="281129" y="411193"/>
                  </a:cubicBezTo>
                  <a:lnTo>
                    <a:pt x="281130" y="411193"/>
                  </a:lnTo>
                  <a:cubicBezTo>
                    <a:pt x="282714" y="385260"/>
                    <a:pt x="273637" y="361142"/>
                    <a:pt x="257681" y="343108"/>
                  </a:cubicBezTo>
                  <a:cubicBezTo>
                    <a:pt x="241725" y="325077"/>
                    <a:pt x="218889" y="313132"/>
                    <a:pt x="192957" y="311547"/>
                  </a:cubicBezTo>
                  <a:lnTo>
                    <a:pt x="65424" y="303757"/>
                  </a:lnTo>
                  <a:lnTo>
                    <a:pt x="41901" y="309400"/>
                  </a:lnTo>
                  <a:lnTo>
                    <a:pt x="56412" y="232310"/>
                  </a:lnTo>
                  <a:cubicBezTo>
                    <a:pt x="76486" y="142148"/>
                    <a:pt x="100714" y="63554"/>
                    <a:pt x="127609" y="8370"/>
                  </a:cubicBezTo>
                  <a:cubicBezTo>
                    <a:pt x="127609" y="3747"/>
                    <a:pt x="131356" y="0"/>
                    <a:pt x="135979" y="0"/>
                  </a:cubicBezTo>
                  <a:lnTo>
                    <a:pt x="737166" y="0"/>
                  </a:lnTo>
                  <a:cubicBezTo>
                    <a:pt x="741789" y="0"/>
                    <a:pt x="745536" y="3747"/>
                    <a:pt x="745536" y="837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2" name="Rounded Rectangle 21"/>
            <p:cNvSpPr/>
            <p:nvPr/>
          </p:nvSpPr>
          <p:spPr>
            <a:xfrm rot="18254747">
              <a:off x="2121920" y="3773287"/>
              <a:ext cx="268275" cy="128977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3" name="Rounded Rectangle 22"/>
            <p:cNvSpPr/>
            <p:nvPr/>
          </p:nvSpPr>
          <p:spPr>
            <a:xfrm rot="18254747">
              <a:off x="2237781" y="3867949"/>
              <a:ext cx="311038" cy="143896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4" name="Rounded Rectangle 23"/>
            <p:cNvSpPr/>
            <p:nvPr/>
          </p:nvSpPr>
          <p:spPr>
            <a:xfrm rot="18254747">
              <a:off x="2396653" y="3967672"/>
              <a:ext cx="302453" cy="142014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5" name="Rounded Rectangle 24"/>
            <p:cNvSpPr/>
            <p:nvPr/>
          </p:nvSpPr>
          <p:spPr>
            <a:xfrm rot="18191826">
              <a:off x="2567056" y="4069412"/>
              <a:ext cx="257644" cy="132691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6" name="Rounded Rectangle 25"/>
            <p:cNvSpPr/>
            <p:nvPr/>
          </p:nvSpPr>
          <p:spPr>
            <a:xfrm rot="18170923">
              <a:off x="1446042" y="3129169"/>
              <a:ext cx="793564" cy="242045"/>
            </a:xfrm>
            <a:prstGeom prst="roundRect">
              <a:avLst>
                <a:gd name="adj" fmla="val 3458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7" name="Rounded Rectangle 26"/>
            <p:cNvSpPr/>
            <p:nvPr/>
          </p:nvSpPr>
          <p:spPr>
            <a:xfrm rot="18139869">
              <a:off x="1650404" y="3310198"/>
              <a:ext cx="701700" cy="59118"/>
            </a:xfrm>
            <a:prstGeom prst="roundRect">
              <a:avLst>
                <a:gd name="adj" fmla="val 5000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8" name="Rounded Rectangle 27"/>
            <p:cNvSpPr/>
            <p:nvPr/>
          </p:nvSpPr>
          <p:spPr>
            <a:xfrm rot="4209802">
              <a:off x="3305704" y="3176290"/>
              <a:ext cx="793564" cy="242045"/>
            </a:xfrm>
            <a:prstGeom prst="roundRect">
              <a:avLst>
                <a:gd name="adj" fmla="val 3458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29" name="Rounded Rectangle 28"/>
            <p:cNvSpPr/>
            <p:nvPr/>
          </p:nvSpPr>
          <p:spPr>
            <a:xfrm rot="4234155">
              <a:off x="3180849" y="3331995"/>
              <a:ext cx="701700" cy="59118"/>
            </a:xfrm>
            <a:prstGeom prst="roundRect">
              <a:avLst>
                <a:gd name="adj" fmla="val 5000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30" name="Freeform 29"/>
            <p:cNvSpPr/>
            <p:nvPr/>
          </p:nvSpPr>
          <p:spPr>
            <a:xfrm rot="20830502">
              <a:off x="2416807" y="3065880"/>
              <a:ext cx="1092446" cy="753122"/>
            </a:xfrm>
            <a:custGeom>
              <a:avLst/>
              <a:gdLst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1523 w 1092446"/>
                <a:gd name="connsiteY8" fmla="*/ 493267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99633 w 1092446"/>
                <a:gd name="connsiteY6" fmla="*/ 522004 h 741956"/>
                <a:gd name="connsiteX7" fmla="*/ 691523 w 1092446"/>
                <a:gd name="connsiteY7" fmla="*/ 493267 h 741956"/>
                <a:gd name="connsiteX8" fmla="*/ 576784 w 1092446"/>
                <a:gd name="connsiteY8" fmla="*/ 489842 h 741956"/>
                <a:gd name="connsiteX9" fmla="*/ 571648 w 1092446"/>
                <a:gd name="connsiteY9" fmla="*/ 489724 h 741956"/>
                <a:gd name="connsiteX10" fmla="*/ 481793 w 1092446"/>
                <a:gd name="connsiteY10" fmla="*/ 377963 h 741956"/>
                <a:gd name="connsiteX11" fmla="*/ 408161 w 1092446"/>
                <a:gd name="connsiteY11" fmla="*/ 225516 h 741956"/>
                <a:gd name="connsiteX12" fmla="*/ 0 w 1092446"/>
                <a:gd name="connsiteY12" fmla="*/ 271157 h 741956"/>
                <a:gd name="connsiteX13" fmla="*/ 393182 w 1092446"/>
                <a:gd name="connsiteY13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81793 w 1092446"/>
                <a:gd name="connsiteY8" fmla="*/ 377963 h 741956"/>
                <a:gd name="connsiteX9" fmla="*/ 408161 w 1092446"/>
                <a:gd name="connsiteY9" fmla="*/ 225516 h 741956"/>
                <a:gd name="connsiteX10" fmla="*/ 0 w 1092446"/>
                <a:gd name="connsiteY10" fmla="*/ 271157 h 741956"/>
                <a:gd name="connsiteX11" fmla="*/ 393182 w 1092446"/>
                <a:gd name="connsiteY11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53122"/>
                <a:gd name="connsiteX1" fmla="*/ 1030378 w 1092446"/>
                <a:gd name="connsiteY1" fmla="*/ 159143 h 753122"/>
                <a:gd name="connsiteX2" fmla="*/ 1092446 w 1092446"/>
                <a:gd name="connsiteY2" fmla="*/ 711193 h 753122"/>
                <a:gd name="connsiteX3" fmla="*/ 848296 w 1092446"/>
                <a:gd name="connsiteY3" fmla="*/ 752170 h 753122"/>
                <a:gd name="connsiteX4" fmla="*/ 600457 w 1092446"/>
                <a:gd name="connsiteY4" fmla="*/ 520096 h 753122"/>
                <a:gd name="connsiteX5" fmla="*/ 699633 w 1092446"/>
                <a:gd name="connsiteY5" fmla="*/ 522004 h 753122"/>
                <a:gd name="connsiteX6" fmla="*/ 689937 w 1092446"/>
                <a:gd name="connsiteY6" fmla="*/ 500232 h 753122"/>
                <a:gd name="connsiteX7" fmla="*/ 576784 w 1092446"/>
                <a:gd name="connsiteY7" fmla="*/ 489842 h 753122"/>
                <a:gd name="connsiteX8" fmla="*/ 408161 w 1092446"/>
                <a:gd name="connsiteY8" fmla="*/ 225516 h 753122"/>
                <a:gd name="connsiteX9" fmla="*/ 0 w 1092446"/>
                <a:gd name="connsiteY9" fmla="*/ 271157 h 753122"/>
                <a:gd name="connsiteX10" fmla="*/ 393182 w 1092446"/>
                <a:gd name="connsiteY10" fmla="*/ 0 h 753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92446" h="753122">
                  <a:moveTo>
                    <a:pt x="393182" y="0"/>
                  </a:moveTo>
                  <a:cubicBezTo>
                    <a:pt x="603014" y="50021"/>
                    <a:pt x="721952" y="145288"/>
                    <a:pt x="1030378" y="159143"/>
                  </a:cubicBezTo>
                  <a:cubicBezTo>
                    <a:pt x="1030378" y="348219"/>
                    <a:pt x="1061205" y="519889"/>
                    <a:pt x="1092446" y="711193"/>
                  </a:cubicBezTo>
                  <a:cubicBezTo>
                    <a:pt x="1032790" y="742751"/>
                    <a:pt x="923476" y="757108"/>
                    <a:pt x="848296" y="752170"/>
                  </a:cubicBezTo>
                  <a:cubicBezTo>
                    <a:pt x="798266" y="726242"/>
                    <a:pt x="684202" y="631576"/>
                    <a:pt x="600457" y="520096"/>
                  </a:cubicBezTo>
                  <a:cubicBezTo>
                    <a:pt x="633516" y="520732"/>
                    <a:pt x="684720" y="525315"/>
                    <a:pt x="699633" y="522004"/>
                  </a:cubicBezTo>
                  <a:cubicBezTo>
                    <a:pt x="714546" y="518693"/>
                    <a:pt x="725252" y="504787"/>
                    <a:pt x="689937" y="500232"/>
                  </a:cubicBezTo>
                  <a:cubicBezTo>
                    <a:pt x="654621" y="501428"/>
                    <a:pt x="614772" y="497298"/>
                    <a:pt x="576784" y="489842"/>
                  </a:cubicBezTo>
                  <a:cubicBezTo>
                    <a:pt x="507475" y="437824"/>
                    <a:pt x="432486" y="335672"/>
                    <a:pt x="408161" y="225516"/>
                  </a:cubicBezTo>
                  <a:cubicBezTo>
                    <a:pt x="253916" y="345672"/>
                    <a:pt x="75753" y="345602"/>
                    <a:pt x="0" y="271157"/>
                  </a:cubicBezTo>
                  <a:cubicBezTo>
                    <a:pt x="0" y="259422"/>
                    <a:pt x="381447" y="0"/>
                    <a:pt x="393182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31" name="Group 4"/>
          <p:cNvGrpSpPr>
            <a:grpSpLocks noChangeAspect="1"/>
          </p:cNvGrpSpPr>
          <p:nvPr/>
        </p:nvGrpSpPr>
        <p:grpSpPr bwMode="auto">
          <a:xfrm>
            <a:off x="935355" y="4528185"/>
            <a:ext cx="514350" cy="514350"/>
            <a:chOff x="592" y="2862"/>
            <a:chExt cx="324" cy="324"/>
          </a:xfrm>
          <a:solidFill>
            <a:schemeClr val="bg1"/>
          </a:solidFill>
        </p:grpSpPr>
        <p:sp>
          <p:nvSpPr>
            <p:cNvPr id="34" name="Freeform 6"/>
            <p:cNvSpPr>
              <a:spLocks noEditPoints="1"/>
            </p:cNvSpPr>
            <p:nvPr/>
          </p:nvSpPr>
          <p:spPr bwMode="auto">
            <a:xfrm>
              <a:off x="785" y="3061"/>
              <a:ext cx="131" cy="125"/>
            </a:xfrm>
            <a:custGeom>
              <a:avLst/>
              <a:gdLst>
                <a:gd name="T0" fmla="*/ 648 w 1432"/>
                <a:gd name="T1" fmla="*/ 3 h 1377"/>
                <a:gd name="T2" fmla="*/ 515 w 1432"/>
                <a:gd name="T3" fmla="*/ 27 h 1377"/>
                <a:gd name="T4" fmla="*/ 393 w 1432"/>
                <a:gd name="T5" fmla="*/ 73 h 1377"/>
                <a:gd name="T6" fmla="*/ 283 w 1432"/>
                <a:gd name="T7" fmla="*/ 140 h 1377"/>
                <a:gd name="T8" fmla="*/ 188 w 1432"/>
                <a:gd name="T9" fmla="*/ 224 h 1377"/>
                <a:gd name="T10" fmla="*/ 109 w 1432"/>
                <a:gd name="T11" fmla="*/ 323 h 1377"/>
                <a:gd name="T12" fmla="*/ 50 w 1432"/>
                <a:gd name="T13" fmla="*/ 435 h 1377"/>
                <a:gd name="T14" fmla="*/ 13 w 1432"/>
                <a:gd name="T15" fmla="*/ 558 h 1377"/>
                <a:gd name="T16" fmla="*/ 0 w 1432"/>
                <a:gd name="T17" fmla="*/ 688 h 1377"/>
                <a:gd name="T18" fmla="*/ 13 w 1432"/>
                <a:gd name="T19" fmla="*/ 819 h 1377"/>
                <a:gd name="T20" fmla="*/ 50 w 1432"/>
                <a:gd name="T21" fmla="*/ 942 h 1377"/>
                <a:gd name="T22" fmla="*/ 109 w 1432"/>
                <a:gd name="T23" fmla="*/ 1053 h 1377"/>
                <a:gd name="T24" fmla="*/ 188 w 1432"/>
                <a:gd name="T25" fmla="*/ 1153 h 1377"/>
                <a:gd name="T26" fmla="*/ 283 w 1432"/>
                <a:gd name="T27" fmla="*/ 1236 h 1377"/>
                <a:gd name="T28" fmla="*/ 393 w 1432"/>
                <a:gd name="T29" fmla="*/ 1303 h 1377"/>
                <a:gd name="T30" fmla="*/ 515 w 1432"/>
                <a:gd name="T31" fmla="*/ 1350 h 1377"/>
                <a:gd name="T32" fmla="*/ 648 w 1432"/>
                <a:gd name="T33" fmla="*/ 1374 h 1377"/>
                <a:gd name="T34" fmla="*/ 785 w 1432"/>
                <a:gd name="T35" fmla="*/ 1374 h 1377"/>
                <a:gd name="T36" fmla="*/ 917 w 1432"/>
                <a:gd name="T37" fmla="*/ 1350 h 1377"/>
                <a:gd name="T38" fmla="*/ 1039 w 1432"/>
                <a:gd name="T39" fmla="*/ 1303 h 1377"/>
                <a:gd name="T40" fmla="*/ 1149 w 1432"/>
                <a:gd name="T41" fmla="*/ 1236 h 1377"/>
                <a:gd name="T42" fmla="*/ 1245 w 1432"/>
                <a:gd name="T43" fmla="*/ 1153 h 1377"/>
                <a:gd name="T44" fmla="*/ 1323 w 1432"/>
                <a:gd name="T45" fmla="*/ 1053 h 1377"/>
                <a:gd name="T46" fmla="*/ 1382 w 1432"/>
                <a:gd name="T47" fmla="*/ 942 h 1377"/>
                <a:gd name="T48" fmla="*/ 1419 w 1432"/>
                <a:gd name="T49" fmla="*/ 819 h 1377"/>
                <a:gd name="T50" fmla="*/ 1432 w 1432"/>
                <a:gd name="T51" fmla="*/ 689 h 1377"/>
                <a:gd name="T52" fmla="*/ 1419 w 1432"/>
                <a:gd name="T53" fmla="*/ 558 h 1377"/>
                <a:gd name="T54" fmla="*/ 1382 w 1432"/>
                <a:gd name="T55" fmla="*/ 436 h 1377"/>
                <a:gd name="T56" fmla="*/ 1323 w 1432"/>
                <a:gd name="T57" fmla="*/ 323 h 1377"/>
                <a:gd name="T58" fmla="*/ 1245 w 1432"/>
                <a:gd name="T59" fmla="*/ 224 h 1377"/>
                <a:gd name="T60" fmla="*/ 1149 w 1432"/>
                <a:gd name="T61" fmla="*/ 140 h 1377"/>
                <a:gd name="T62" fmla="*/ 1039 w 1432"/>
                <a:gd name="T63" fmla="*/ 73 h 1377"/>
                <a:gd name="T64" fmla="*/ 917 w 1432"/>
                <a:gd name="T65" fmla="*/ 27 h 1377"/>
                <a:gd name="T66" fmla="*/ 785 w 1432"/>
                <a:gd name="T67" fmla="*/ 3 h 1377"/>
                <a:gd name="T68" fmla="*/ 1013 w 1432"/>
                <a:gd name="T69" fmla="*/ 877 h 1377"/>
                <a:gd name="T70" fmla="*/ 1033 w 1432"/>
                <a:gd name="T71" fmla="*/ 912 h 1377"/>
                <a:gd name="T72" fmla="*/ 1033 w 1432"/>
                <a:gd name="T73" fmla="*/ 950 h 1377"/>
                <a:gd name="T74" fmla="*/ 1014 w 1432"/>
                <a:gd name="T75" fmla="*/ 984 h 1377"/>
                <a:gd name="T76" fmla="*/ 979 w 1432"/>
                <a:gd name="T77" fmla="*/ 1004 h 1377"/>
                <a:gd name="T78" fmla="*/ 940 w 1432"/>
                <a:gd name="T79" fmla="*/ 1004 h 1377"/>
                <a:gd name="T80" fmla="*/ 906 w 1432"/>
                <a:gd name="T81" fmla="*/ 984 h 1377"/>
                <a:gd name="T82" fmla="*/ 526 w 1432"/>
                <a:gd name="T83" fmla="*/ 984 h 1377"/>
                <a:gd name="T84" fmla="*/ 492 w 1432"/>
                <a:gd name="T85" fmla="*/ 1004 h 1377"/>
                <a:gd name="T86" fmla="*/ 453 w 1432"/>
                <a:gd name="T87" fmla="*/ 1004 h 1377"/>
                <a:gd name="T88" fmla="*/ 419 w 1432"/>
                <a:gd name="T89" fmla="*/ 984 h 1377"/>
                <a:gd name="T90" fmla="*/ 399 w 1432"/>
                <a:gd name="T91" fmla="*/ 950 h 1377"/>
                <a:gd name="T92" fmla="*/ 399 w 1432"/>
                <a:gd name="T93" fmla="*/ 912 h 1377"/>
                <a:gd name="T94" fmla="*/ 419 w 1432"/>
                <a:gd name="T95" fmla="*/ 877 h 1377"/>
                <a:gd name="T96" fmla="*/ 419 w 1432"/>
                <a:gd name="T97" fmla="*/ 500 h 1377"/>
                <a:gd name="T98" fmla="*/ 399 w 1432"/>
                <a:gd name="T99" fmla="*/ 466 h 1377"/>
                <a:gd name="T100" fmla="*/ 399 w 1432"/>
                <a:gd name="T101" fmla="*/ 427 h 1377"/>
                <a:gd name="T102" fmla="*/ 419 w 1432"/>
                <a:gd name="T103" fmla="*/ 392 h 1377"/>
                <a:gd name="T104" fmla="*/ 453 w 1432"/>
                <a:gd name="T105" fmla="*/ 373 h 1377"/>
                <a:gd name="T106" fmla="*/ 491 w 1432"/>
                <a:gd name="T107" fmla="*/ 373 h 1377"/>
                <a:gd name="T108" fmla="*/ 526 w 1432"/>
                <a:gd name="T109" fmla="*/ 392 h 1377"/>
                <a:gd name="T110" fmla="*/ 906 w 1432"/>
                <a:gd name="T111" fmla="*/ 392 h 1377"/>
                <a:gd name="T112" fmla="*/ 940 w 1432"/>
                <a:gd name="T113" fmla="*/ 373 h 1377"/>
                <a:gd name="T114" fmla="*/ 979 w 1432"/>
                <a:gd name="T115" fmla="*/ 373 h 1377"/>
                <a:gd name="T116" fmla="*/ 1013 w 1432"/>
                <a:gd name="T117" fmla="*/ 392 h 1377"/>
                <a:gd name="T118" fmla="*/ 1033 w 1432"/>
                <a:gd name="T119" fmla="*/ 427 h 1377"/>
                <a:gd name="T120" fmla="*/ 1032 w 1432"/>
                <a:gd name="T121" fmla="*/ 466 h 1377"/>
                <a:gd name="T122" fmla="*/ 1013 w 1432"/>
                <a:gd name="T123" fmla="*/ 500 h 1377"/>
                <a:gd name="T124" fmla="*/ 1013 w 1432"/>
                <a:gd name="T125" fmla="*/ 877 h 1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32" h="1377">
                  <a:moveTo>
                    <a:pt x="716" y="0"/>
                  </a:moveTo>
                  <a:lnTo>
                    <a:pt x="648" y="3"/>
                  </a:lnTo>
                  <a:lnTo>
                    <a:pt x="581" y="12"/>
                  </a:lnTo>
                  <a:lnTo>
                    <a:pt x="515" y="27"/>
                  </a:lnTo>
                  <a:lnTo>
                    <a:pt x="453" y="48"/>
                  </a:lnTo>
                  <a:lnTo>
                    <a:pt x="393" y="73"/>
                  </a:lnTo>
                  <a:lnTo>
                    <a:pt x="337" y="105"/>
                  </a:lnTo>
                  <a:lnTo>
                    <a:pt x="283" y="140"/>
                  </a:lnTo>
                  <a:lnTo>
                    <a:pt x="233" y="180"/>
                  </a:lnTo>
                  <a:lnTo>
                    <a:pt x="188" y="224"/>
                  </a:lnTo>
                  <a:lnTo>
                    <a:pt x="146" y="272"/>
                  </a:lnTo>
                  <a:lnTo>
                    <a:pt x="109" y="323"/>
                  </a:lnTo>
                  <a:lnTo>
                    <a:pt x="77" y="377"/>
                  </a:lnTo>
                  <a:lnTo>
                    <a:pt x="50" y="435"/>
                  </a:lnTo>
                  <a:lnTo>
                    <a:pt x="29" y="495"/>
                  </a:lnTo>
                  <a:lnTo>
                    <a:pt x="13" y="558"/>
                  </a:lnTo>
                  <a:lnTo>
                    <a:pt x="3" y="622"/>
                  </a:lnTo>
                  <a:lnTo>
                    <a:pt x="0" y="688"/>
                  </a:lnTo>
                  <a:lnTo>
                    <a:pt x="3" y="755"/>
                  </a:lnTo>
                  <a:lnTo>
                    <a:pt x="13" y="819"/>
                  </a:lnTo>
                  <a:lnTo>
                    <a:pt x="29" y="881"/>
                  </a:lnTo>
                  <a:lnTo>
                    <a:pt x="50" y="942"/>
                  </a:lnTo>
                  <a:lnTo>
                    <a:pt x="77" y="999"/>
                  </a:lnTo>
                  <a:lnTo>
                    <a:pt x="109" y="1053"/>
                  </a:lnTo>
                  <a:lnTo>
                    <a:pt x="146" y="1105"/>
                  </a:lnTo>
                  <a:lnTo>
                    <a:pt x="188" y="1153"/>
                  </a:lnTo>
                  <a:lnTo>
                    <a:pt x="233" y="1196"/>
                  </a:lnTo>
                  <a:lnTo>
                    <a:pt x="283" y="1236"/>
                  </a:lnTo>
                  <a:lnTo>
                    <a:pt x="337" y="1272"/>
                  </a:lnTo>
                  <a:lnTo>
                    <a:pt x="393" y="1303"/>
                  </a:lnTo>
                  <a:lnTo>
                    <a:pt x="453" y="1329"/>
                  </a:lnTo>
                  <a:lnTo>
                    <a:pt x="515" y="1350"/>
                  </a:lnTo>
                  <a:lnTo>
                    <a:pt x="581" y="1365"/>
                  </a:lnTo>
                  <a:lnTo>
                    <a:pt x="648" y="1374"/>
                  </a:lnTo>
                  <a:lnTo>
                    <a:pt x="716" y="1377"/>
                  </a:lnTo>
                  <a:lnTo>
                    <a:pt x="785" y="1374"/>
                  </a:lnTo>
                  <a:lnTo>
                    <a:pt x="852" y="1365"/>
                  </a:lnTo>
                  <a:lnTo>
                    <a:pt x="917" y="1350"/>
                  </a:lnTo>
                  <a:lnTo>
                    <a:pt x="979" y="1329"/>
                  </a:lnTo>
                  <a:lnTo>
                    <a:pt x="1039" y="1303"/>
                  </a:lnTo>
                  <a:lnTo>
                    <a:pt x="1096" y="1272"/>
                  </a:lnTo>
                  <a:lnTo>
                    <a:pt x="1149" y="1236"/>
                  </a:lnTo>
                  <a:lnTo>
                    <a:pt x="1198" y="1196"/>
                  </a:lnTo>
                  <a:lnTo>
                    <a:pt x="1245" y="1153"/>
                  </a:lnTo>
                  <a:lnTo>
                    <a:pt x="1286" y="1105"/>
                  </a:lnTo>
                  <a:lnTo>
                    <a:pt x="1323" y="1053"/>
                  </a:lnTo>
                  <a:lnTo>
                    <a:pt x="1355" y="999"/>
                  </a:lnTo>
                  <a:lnTo>
                    <a:pt x="1382" y="942"/>
                  </a:lnTo>
                  <a:lnTo>
                    <a:pt x="1404" y="881"/>
                  </a:lnTo>
                  <a:lnTo>
                    <a:pt x="1419" y="819"/>
                  </a:lnTo>
                  <a:lnTo>
                    <a:pt x="1428" y="755"/>
                  </a:lnTo>
                  <a:lnTo>
                    <a:pt x="1432" y="689"/>
                  </a:lnTo>
                  <a:lnTo>
                    <a:pt x="1428" y="622"/>
                  </a:lnTo>
                  <a:lnTo>
                    <a:pt x="1419" y="558"/>
                  </a:lnTo>
                  <a:lnTo>
                    <a:pt x="1404" y="495"/>
                  </a:lnTo>
                  <a:lnTo>
                    <a:pt x="1382" y="436"/>
                  </a:lnTo>
                  <a:lnTo>
                    <a:pt x="1355" y="377"/>
                  </a:lnTo>
                  <a:lnTo>
                    <a:pt x="1323" y="323"/>
                  </a:lnTo>
                  <a:lnTo>
                    <a:pt x="1286" y="272"/>
                  </a:lnTo>
                  <a:lnTo>
                    <a:pt x="1245" y="224"/>
                  </a:lnTo>
                  <a:lnTo>
                    <a:pt x="1198" y="180"/>
                  </a:lnTo>
                  <a:lnTo>
                    <a:pt x="1149" y="140"/>
                  </a:lnTo>
                  <a:lnTo>
                    <a:pt x="1096" y="105"/>
                  </a:lnTo>
                  <a:lnTo>
                    <a:pt x="1039" y="73"/>
                  </a:lnTo>
                  <a:lnTo>
                    <a:pt x="979" y="48"/>
                  </a:lnTo>
                  <a:lnTo>
                    <a:pt x="917" y="27"/>
                  </a:lnTo>
                  <a:lnTo>
                    <a:pt x="852" y="12"/>
                  </a:lnTo>
                  <a:lnTo>
                    <a:pt x="785" y="3"/>
                  </a:lnTo>
                  <a:lnTo>
                    <a:pt x="716" y="0"/>
                  </a:lnTo>
                  <a:close/>
                  <a:moveTo>
                    <a:pt x="1013" y="877"/>
                  </a:moveTo>
                  <a:lnTo>
                    <a:pt x="1026" y="893"/>
                  </a:lnTo>
                  <a:lnTo>
                    <a:pt x="1033" y="912"/>
                  </a:lnTo>
                  <a:lnTo>
                    <a:pt x="1035" y="930"/>
                  </a:lnTo>
                  <a:lnTo>
                    <a:pt x="1033" y="950"/>
                  </a:lnTo>
                  <a:lnTo>
                    <a:pt x="1026" y="968"/>
                  </a:lnTo>
                  <a:lnTo>
                    <a:pt x="1014" y="984"/>
                  </a:lnTo>
                  <a:lnTo>
                    <a:pt x="998" y="996"/>
                  </a:lnTo>
                  <a:lnTo>
                    <a:pt x="979" y="1004"/>
                  </a:lnTo>
                  <a:lnTo>
                    <a:pt x="960" y="1007"/>
                  </a:lnTo>
                  <a:lnTo>
                    <a:pt x="940" y="1004"/>
                  </a:lnTo>
                  <a:lnTo>
                    <a:pt x="922" y="997"/>
                  </a:lnTo>
                  <a:lnTo>
                    <a:pt x="906" y="984"/>
                  </a:lnTo>
                  <a:lnTo>
                    <a:pt x="716" y="795"/>
                  </a:lnTo>
                  <a:lnTo>
                    <a:pt x="526" y="984"/>
                  </a:lnTo>
                  <a:lnTo>
                    <a:pt x="509" y="997"/>
                  </a:lnTo>
                  <a:lnTo>
                    <a:pt x="492" y="1004"/>
                  </a:lnTo>
                  <a:lnTo>
                    <a:pt x="473" y="1007"/>
                  </a:lnTo>
                  <a:lnTo>
                    <a:pt x="453" y="1004"/>
                  </a:lnTo>
                  <a:lnTo>
                    <a:pt x="435" y="996"/>
                  </a:lnTo>
                  <a:lnTo>
                    <a:pt x="419" y="984"/>
                  </a:lnTo>
                  <a:lnTo>
                    <a:pt x="407" y="968"/>
                  </a:lnTo>
                  <a:lnTo>
                    <a:pt x="399" y="950"/>
                  </a:lnTo>
                  <a:lnTo>
                    <a:pt x="397" y="930"/>
                  </a:lnTo>
                  <a:lnTo>
                    <a:pt x="399" y="912"/>
                  </a:lnTo>
                  <a:lnTo>
                    <a:pt x="407" y="893"/>
                  </a:lnTo>
                  <a:lnTo>
                    <a:pt x="419" y="877"/>
                  </a:lnTo>
                  <a:lnTo>
                    <a:pt x="609" y="689"/>
                  </a:lnTo>
                  <a:lnTo>
                    <a:pt x="419" y="500"/>
                  </a:lnTo>
                  <a:lnTo>
                    <a:pt x="407" y="483"/>
                  </a:lnTo>
                  <a:lnTo>
                    <a:pt x="399" y="466"/>
                  </a:lnTo>
                  <a:lnTo>
                    <a:pt x="397" y="447"/>
                  </a:lnTo>
                  <a:lnTo>
                    <a:pt x="399" y="427"/>
                  </a:lnTo>
                  <a:lnTo>
                    <a:pt x="407" y="409"/>
                  </a:lnTo>
                  <a:lnTo>
                    <a:pt x="419" y="392"/>
                  </a:lnTo>
                  <a:lnTo>
                    <a:pt x="435" y="381"/>
                  </a:lnTo>
                  <a:lnTo>
                    <a:pt x="453" y="373"/>
                  </a:lnTo>
                  <a:lnTo>
                    <a:pt x="473" y="371"/>
                  </a:lnTo>
                  <a:lnTo>
                    <a:pt x="491" y="373"/>
                  </a:lnTo>
                  <a:lnTo>
                    <a:pt x="509" y="381"/>
                  </a:lnTo>
                  <a:lnTo>
                    <a:pt x="526" y="392"/>
                  </a:lnTo>
                  <a:lnTo>
                    <a:pt x="716" y="582"/>
                  </a:lnTo>
                  <a:lnTo>
                    <a:pt x="906" y="392"/>
                  </a:lnTo>
                  <a:lnTo>
                    <a:pt x="922" y="381"/>
                  </a:lnTo>
                  <a:lnTo>
                    <a:pt x="940" y="373"/>
                  </a:lnTo>
                  <a:lnTo>
                    <a:pt x="960" y="371"/>
                  </a:lnTo>
                  <a:lnTo>
                    <a:pt x="979" y="373"/>
                  </a:lnTo>
                  <a:lnTo>
                    <a:pt x="996" y="381"/>
                  </a:lnTo>
                  <a:lnTo>
                    <a:pt x="1013" y="392"/>
                  </a:lnTo>
                  <a:lnTo>
                    <a:pt x="1026" y="409"/>
                  </a:lnTo>
                  <a:lnTo>
                    <a:pt x="1033" y="427"/>
                  </a:lnTo>
                  <a:lnTo>
                    <a:pt x="1035" y="447"/>
                  </a:lnTo>
                  <a:lnTo>
                    <a:pt x="1032" y="466"/>
                  </a:lnTo>
                  <a:lnTo>
                    <a:pt x="1026" y="483"/>
                  </a:lnTo>
                  <a:lnTo>
                    <a:pt x="1013" y="500"/>
                  </a:lnTo>
                  <a:lnTo>
                    <a:pt x="824" y="689"/>
                  </a:lnTo>
                  <a:lnTo>
                    <a:pt x="1013" y="87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7"/>
            <p:cNvSpPr>
              <a:spLocks noEditPoints="1"/>
            </p:cNvSpPr>
            <p:nvPr/>
          </p:nvSpPr>
          <p:spPr bwMode="auto">
            <a:xfrm>
              <a:off x="592" y="2862"/>
              <a:ext cx="225" cy="291"/>
            </a:xfrm>
            <a:custGeom>
              <a:avLst/>
              <a:gdLst>
                <a:gd name="T0" fmla="*/ 1987 w 2473"/>
                <a:gd name="T1" fmla="*/ 2735 h 3197"/>
                <a:gd name="T2" fmla="*/ 2048 w 2473"/>
                <a:gd name="T3" fmla="*/ 2538 h 3197"/>
                <a:gd name="T4" fmla="*/ 2154 w 2473"/>
                <a:gd name="T5" fmla="*/ 2366 h 3197"/>
                <a:gd name="T6" fmla="*/ 2297 w 2473"/>
                <a:gd name="T7" fmla="*/ 2222 h 3197"/>
                <a:gd name="T8" fmla="*/ 2473 w 2473"/>
                <a:gd name="T9" fmla="*/ 2116 h 3197"/>
                <a:gd name="T10" fmla="*/ 2464 w 2473"/>
                <a:gd name="T11" fmla="*/ 2 h 3197"/>
                <a:gd name="T12" fmla="*/ 9 w 2473"/>
                <a:gd name="T13" fmla="*/ 2 h 3197"/>
                <a:gd name="T14" fmla="*/ 0 w 2473"/>
                <a:gd name="T15" fmla="*/ 3179 h 3197"/>
                <a:gd name="T16" fmla="*/ 19 w 2473"/>
                <a:gd name="T17" fmla="*/ 3197 h 3197"/>
                <a:gd name="T18" fmla="*/ 1999 w 2473"/>
                <a:gd name="T19" fmla="*/ 3074 h 3197"/>
                <a:gd name="T20" fmla="*/ 1974 w 2473"/>
                <a:gd name="T21" fmla="*/ 2876 h 3197"/>
                <a:gd name="T22" fmla="*/ 1933 w 2473"/>
                <a:gd name="T23" fmla="*/ 526 h 3197"/>
                <a:gd name="T24" fmla="*/ 1979 w 2473"/>
                <a:gd name="T25" fmla="*/ 562 h 3197"/>
                <a:gd name="T26" fmla="*/ 1986 w 2473"/>
                <a:gd name="T27" fmla="*/ 620 h 3197"/>
                <a:gd name="T28" fmla="*/ 1951 w 2473"/>
                <a:gd name="T29" fmla="*/ 665 h 3197"/>
                <a:gd name="T30" fmla="*/ 560 w 2473"/>
                <a:gd name="T31" fmla="*/ 675 h 3197"/>
                <a:gd name="T32" fmla="*/ 507 w 2473"/>
                <a:gd name="T33" fmla="*/ 654 h 3197"/>
                <a:gd name="T34" fmla="*/ 484 w 2473"/>
                <a:gd name="T35" fmla="*/ 599 h 3197"/>
                <a:gd name="T36" fmla="*/ 507 w 2473"/>
                <a:gd name="T37" fmla="*/ 546 h 3197"/>
                <a:gd name="T38" fmla="*/ 560 w 2473"/>
                <a:gd name="T39" fmla="*/ 524 h 3197"/>
                <a:gd name="T40" fmla="*/ 1933 w 2473"/>
                <a:gd name="T41" fmla="*/ 1026 h 3197"/>
                <a:gd name="T42" fmla="*/ 1979 w 2473"/>
                <a:gd name="T43" fmla="*/ 1060 h 3197"/>
                <a:gd name="T44" fmla="*/ 1986 w 2473"/>
                <a:gd name="T45" fmla="*/ 1119 h 3197"/>
                <a:gd name="T46" fmla="*/ 1951 w 2473"/>
                <a:gd name="T47" fmla="*/ 1164 h 3197"/>
                <a:gd name="T48" fmla="*/ 560 w 2473"/>
                <a:gd name="T49" fmla="*/ 1175 h 3197"/>
                <a:gd name="T50" fmla="*/ 507 w 2473"/>
                <a:gd name="T51" fmla="*/ 1152 h 3197"/>
                <a:gd name="T52" fmla="*/ 484 w 2473"/>
                <a:gd name="T53" fmla="*/ 1099 h 3197"/>
                <a:gd name="T54" fmla="*/ 507 w 2473"/>
                <a:gd name="T55" fmla="*/ 1045 h 3197"/>
                <a:gd name="T56" fmla="*/ 560 w 2473"/>
                <a:gd name="T57" fmla="*/ 1024 h 3197"/>
                <a:gd name="T58" fmla="*/ 1933 w 2473"/>
                <a:gd name="T59" fmla="*/ 1526 h 3197"/>
                <a:gd name="T60" fmla="*/ 1979 w 2473"/>
                <a:gd name="T61" fmla="*/ 1560 h 3197"/>
                <a:gd name="T62" fmla="*/ 1986 w 2473"/>
                <a:gd name="T63" fmla="*/ 1619 h 3197"/>
                <a:gd name="T64" fmla="*/ 1951 w 2473"/>
                <a:gd name="T65" fmla="*/ 1664 h 3197"/>
                <a:gd name="T66" fmla="*/ 560 w 2473"/>
                <a:gd name="T67" fmla="*/ 1675 h 3197"/>
                <a:gd name="T68" fmla="*/ 507 w 2473"/>
                <a:gd name="T69" fmla="*/ 1652 h 3197"/>
                <a:gd name="T70" fmla="*/ 484 w 2473"/>
                <a:gd name="T71" fmla="*/ 1598 h 3197"/>
                <a:gd name="T72" fmla="*/ 507 w 2473"/>
                <a:gd name="T73" fmla="*/ 1545 h 3197"/>
                <a:gd name="T74" fmla="*/ 560 w 2473"/>
                <a:gd name="T75" fmla="*/ 1522 h 3197"/>
                <a:gd name="T76" fmla="*/ 1933 w 2473"/>
                <a:gd name="T77" fmla="*/ 2025 h 3197"/>
                <a:gd name="T78" fmla="*/ 1979 w 2473"/>
                <a:gd name="T79" fmla="*/ 2060 h 3197"/>
                <a:gd name="T80" fmla="*/ 1986 w 2473"/>
                <a:gd name="T81" fmla="*/ 2118 h 3197"/>
                <a:gd name="T82" fmla="*/ 1951 w 2473"/>
                <a:gd name="T83" fmla="*/ 2164 h 3197"/>
                <a:gd name="T84" fmla="*/ 560 w 2473"/>
                <a:gd name="T85" fmla="*/ 2174 h 3197"/>
                <a:gd name="T86" fmla="*/ 507 w 2473"/>
                <a:gd name="T87" fmla="*/ 2152 h 3197"/>
                <a:gd name="T88" fmla="*/ 484 w 2473"/>
                <a:gd name="T89" fmla="*/ 2098 h 3197"/>
                <a:gd name="T90" fmla="*/ 507 w 2473"/>
                <a:gd name="T91" fmla="*/ 2045 h 3197"/>
                <a:gd name="T92" fmla="*/ 560 w 2473"/>
                <a:gd name="T93" fmla="*/ 2022 h 3197"/>
                <a:gd name="T94" fmla="*/ 540 w 2473"/>
                <a:gd name="T95" fmla="*/ 2670 h 3197"/>
                <a:gd name="T96" fmla="*/ 495 w 2473"/>
                <a:gd name="T97" fmla="*/ 2636 h 3197"/>
                <a:gd name="T98" fmla="*/ 487 w 2473"/>
                <a:gd name="T99" fmla="*/ 2577 h 3197"/>
                <a:gd name="T100" fmla="*/ 522 w 2473"/>
                <a:gd name="T101" fmla="*/ 2532 h 3197"/>
                <a:gd name="T102" fmla="*/ 1913 w 2473"/>
                <a:gd name="T103" fmla="*/ 2522 h 3197"/>
                <a:gd name="T104" fmla="*/ 1967 w 2473"/>
                <a:gd name="T105" fmla="*/ 2544 h 3197"/>
                <a:gd name="T106" fmla="*/ 1988 w 2473"/>
                <a:gd name="T107" fmla="*/ 2598 h 3197"/>
                <a:gd name="T108" fmla="*/ 1967 w 2473"/>
                <a:gd name="T109" fmla="*/ 2651 h 3197"/>
                <a:gd name="T110" fmla="*/ 1913 w 2473"/>
                <a:gd name="T111" fmla="*/ 2674 h 3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73" h="3197">
                  <a:moveTo>
                    <a:pt x="1974" y="2876"/>
                  </a:moveTo>
                  <a:lnTo>
                    <a:pt x="1978" y="2804"/>
                  </a:lnTo>
                  <a:lnTo>
                    <a:pt x="1987" y="2735"/>
                  </a:lnTo>
                  <a:lnTo>
                    <a:pt x="2001" y="2667"/>
                  </a:lnTo>
                  <a:lnTo>
                    <a:pt x="2022" y="2602"/>
                  </a:lnTo>
                  <a:lnTo>
                    <a:pt x="2048" y="2538"/>
                  </a:lnTo>
                  <a:lnTo>
                    <a:pt x="2078" y="2478"/>
                  </a:lnTo>
                  <a:lnTo>
                    <a:pt x="2114" y="2420"/>
                  </a:lnTo>
                  <a:lnTo>
                    <a:pt x="2154" y="2366"/>
                  </a:lnTo>
                  <a:lnTo>
                    <a:pt x="2198" y="2314"/>
                  </a:lnTo>
                  <a:lnTo>
                    <a:pt x="2245" y="2267"/>
                  </a:lnTo>
                  <a:lnTo>
                    <a:pt x="2297" y="2222"/>
                  </a:lnTo>
                  <a:lnTo>
                    <a:pt x="2352" y="2182"/>
                  </a:lnTo>
                  <a:lnTo>
                    <a:pt x="2412" y="2147"/>
                  </a:lnTo>
                  <a:lnTo>
                    <a:pt x="2473" y="2116"/>
                  </a:lnTo>
                  <a:lnTo>
                    <a:pt x="2473" y="18"/>
                  </a:lnTo>
                  <a:lnTo>
                    <a:pt x="2470" y="9"/>
                  </a:lnTo>
                  <a:lnTo>
                    <a:pt x="2464" y="2"/>
                  </a:lnTo>
                  <a:lnTo>
                    <a:pt x="2454" y="0"/>
                  </a:lnTo>
                  <a:lnTo>
                    <a:pt x="19" y="0"/>
                  </a:lnTo>
                  <a:lnTo>
                    <a:pt x="9" y="2"/>
                  </a:lnTo>
                  <a:lnTo>
                    <a:pt x="2" y="9"/>
                  </a:lnTo>
                  <a:lnTo>
                    <a:pt x="0" y="18"/>
                  </a:lnTo>
                  <a:lnTo>
                    <a:pt x="0" y="3179"/>
                  </a:lnTo>
                  <a:lnTo>
                    <a:pt x="2" y="3189"/>
                  </a:lnTo>
                  <a:lnTo>
                    <a:pt x="9" y="3195"/>
                  </a:lnTo>
                  <a:lnTo>
                    <a:pt x="19" y="3197"/>
                  </a:lnTo>
                  <a:lnTo>
                    <a:pt x="2041" y="3197"/>
                  </a:lnTo>
                  <a:lnTo>
                    <a:pt x="2018" y="3137"/>
                  </a:lnTo>
                  <a:lnTo>
                    <a:pt x="1999" y="3074"/>
                  </a:lnTo>
                  <a:lnTo>
                    <a:pt x="1986" y="3010"/>
                  </a:lnTo>
                  <a:lnTo>
                    <a:pt x="1978" y="2943"/>
                  </a:lnTo>
                  <a:lnTo>
                    <a:pt x="1974" y="2876"/>
                  </a:lnTo>
                  <a:close/>
                  <a:moveTo>
                    <a:pt x="560" y="524"/>
                  </a:moveTo>
                  <a:lnTo>
                    <a:pt x="1913" y="524"/>
                  </a:lnTo>
                  <a:lnTo>
                    <a:pt x="1933" y="526"/>
                  </a:lnTo>
                  <a:lnTo>
                    <a:pt x="1951" y="534"/>
                  </a:lnTo>
                  <a:lnTo>
                    <a:pt x="1967" y="545"/>
                  </a:lnTo>
                  <a:lnTo>
                    <a:pt x="1979" y="562"/>
                  </a:lnTo>
                  <a:lnTo>
                    <a:pt x="1986" y="579"/>
                  </a:lnTo>
                  <a:lnTo>
                    <a:pt x="1988" y="599"/>
                  </a:lnTo>
                  <a:lnTo>
                    <a:pt x="1986" y="620"/>
                  </a:lnTo>
                  <a:lnTo>
                    <a:pt x="1979" y="637"/>
                  </a:lnTo>
                  <a:lnTo>
                    <a:pt x="1967" y="654"/>
                  </a:lnTo>
                  <a:lnTo>
                    <a:pt x="1951" y="665"/>
                  </a:lnTo>
                  <a:lnTo>
                    <a:pt x="1933" y="673"/>
                  </a:lnTo>
                  <a:lnTo>
                    <a:pt x="1913" y="675"/>
                  </a:lnTo>
                  <a:lnTo>
                    <a:pt x="560" y="675"/>
                  </a:lnTo>
                  <a:lnTo>
                    <a:pt x="540" y="673"/>
                  </a:lnTo>
                  <a:lnTo>
                    <a:pt x="522" y="665"/>
                  </a:lnTo>
                  <a:lnTo>
                    <a:pt x="507" y="654"/>
                  </a:lnTo>
                  <a:lnTo>
                    <a:pt x="495" y="637"/>
                  </a:lnTo>
                  <a:lnTo>
                    <a:pt x="487" y="620"/>
                  </a:lnTo>
                  <a:lnTo>
                    <a:pt x="484" y="599"/>
                  </a:lnTo>
                  <a:lnTo>
                    <a:pt x="487" y="579"/>
                  </a:lnTo>
                  <a:lnTo>
                    <a:pt x="495" y="562"/>
                  </a:lnTo>
                  <a:lnTo>
                    <a:pt x="507" y="546"/>
                  </a:lnTo>
                  <a:lnTo>
                    <a:pt x="522" y="534"/>
                  </a:lnTo>
                  <a:lnTo>
                    <a:pt x="540" y="527"/>
                  </a:lnTo>
                  <a:lnTo>
                    <a:pt x="560" y="524"/>
                  </a:lnTo>
                  <a:close/>
                  <a:moveTo>
                    <a:pt x="560" y="1024"/>
                  </a:moveTo>
                  <a:lnTo>
                    <a:pt x="1913" y="1024"/>
                  </a:lnTo>
                  <a:lnTo>
                    <a:pt x="1933" y="1026"/>
                  </a:lnTo>
                  <a:lnTo>
                    <a:pt x="1951" y="1033"/>
                  </a:lnTo>
                  <a:lnTo>
                    <a:pt x="1967" y="1045"/>
                  </a:lnTo>
                  <a:lnTo>
                    <a:pt x="1979" y="1060"/>
                  </a:lnTo>
                  <a:lnTo>
                    <a:pt x="1986" y="1079"/>
                  </a:lnTo>
                  <a:lnTo>
                    <a:pt x="1988" y="1099"/>
                  </a:lnTo>
                  <a:lnTo>
                    <a:pt x="1986" y="1119"/>
                  </a:lnTo>
                  <a:lnTo>
                    <a:pt x="1979" y="1137"/>
                  </a:lnTo>
                  <a:lnTo>
                    <a:pt x="1967" y="1152"/>
                  </a:lnTo>
                  <a:lnTo>
                    <a:pt x="1951" y="1164"/>
                  </a:lnTo>
                  <a:lnTo>
                    <a:pt x="1933" y="1172"/>
                  </a:lnTo>
                  <a:lnTo>
                    <a:pt x="1913" y="1175"/>
                  </a:lnTo>
                  <a:lnTo>
                    <a:pt x="560" y="1175"/>
                  </a:lnTo>
                  <a:lnTo>
                    <a:pt x="540" y="1172"/>
                  </a:lnTo>
                  <a:lnTo>
                    <a:pt x="522" y="1164"/>
                  </a:lnTo>
                  <a:lnTo>
                    <a:pt x="507" y="1152"/>
                  </a:lnTo>
                  <a:lnTo>
                    <a:pt x="495" y="1137"/>
                  </a:lnTo>
                  <a:lnTo>
                    <a:pt x="487" y="1119"/>
                  </a:lnTo>
                  <a:lnTo>
                    <a:pt x="484" y="1099"/>
                  </a:lnTo>
                  <a:lnTo>
                    <a:pt x="487" y="1079"/>
                  </a:lnTo>
                  <a:lnTo>
                    <a:pt x="495" y="1060"/>
                  </a:lnTo>
                  <a:lnTo>
                    <a:pt x="507" y="1045"/>
                  </a:lnTo>
                  <a:lnTo>
                    <a:pt x="522" y="1033"/>
                  </a:lnTo>
                  <a:lnTo>
                    <a:pt x="540" y="1026"/>
                  </a:lnTo>
                  <a:lnTo>
                    <a:pt x="560" y="1024"/>
                  </a:lnTo>
                  <a:close/>
                  <a:moveTo>
                    <a:pt x="560" y="1522"/>
                  </a:moveTo>
                  <a:lnTo>
                    <a:pt x="1913" y="1522"/>
                  </a:lnTo>
                  <a:lnTo>
                    <a:pt x="1933" y="1526"/>
                  </a:lnTo>
                  <a:lnTo>
                    <a:pt x="1951" y="1533"/>
                  </a:lnTo>
                  <a:lnTo>
                    <a:pt x="1967" y="1545"/>
                  </a:lnTo>
                  <a:lnTo>
                    <a:pt x="1979" y="1560"/>
                  </a:lnTo>
                  <a:lnTo>
                    <a:pt x="1986" y="1579"/>
                  </a:lnTo>
                  <a:lnTo>
                    <a:pt x="1988" y="1598"/>
                  </a:lnTo>
                  <a:lnTo>
                    <a:pt x="1986" y="1619"/>
                  </a:lnTo>
                  <a:lnTo>
                    <a:pt x="1979" y="1637"/>
                  </a:lnTo>
                  <a:lnTo>
                    <a:pt x="1967" y="1652"/>
                  </a:lnTo>
                  <a:lnTo>
                    <a:pt x="1951" y="1664"/>
                  </a:lnTo>
                  <a:lnTo>
                    <a:pt x="1933" y="1672"/>
                  </a:lnTo>
                  <a:lnTo>
                    <a:pt x="1913" y="1675"/>
                  </a:lnTo>
                  <a:lnTo>
                    <a:pt x="560" y="1675"/>
                  </a:lnTo>
                  <a:lnTo>
                    <a:pt x="540" y="1672"/>
                  </a:lnTo>
                  <a:lnTo>
                    <a:pt x="522" y="1664"/>
                  </a:lnTo>
                  <a:lnTo>
                    <a:pt x="507" y="1652"/>
                  </a:lnTo>
                  <a:lnTo>
                    <a:pt x="495" y="1637"/>
                  </a:lnTo>
                  <a:lnTo>
                    <a:pt x="487" y="1619"/>
                  </a:lnTo>
                  <a:lnTo>
                    <a:pt x="484" y="1598"/>
                  </a:lnTo>
                  <a:lnTo>
                    <a:pt x="487" y="1579"/>
                  </a:lnTo>
                  <a:lnTo>
                    <a:pt x="495" y="1560"/>
                  </a:lnTo>
                  <a:lnTo>
                    <a:pt x="507" y="1545"/>
                  </a:lnTo>
                  <a:lnTo>
                    <a:pt x="522" y="1533"/>
                  </a:lnTo>
                  <a:lnTo>
                    <a:pt x="540" y="1526"/>
                  </a:lnTo>
                  <a:lnTo>
                    <a:pt x="560" y="1522"/>
                  </a:lnTo>
                  <a:close/>
                  <a:moveTo>
                    <a:pt x="560" y="2022"/>
                  </a:moveTo>
                  <a:lnTo>
                    <a:pt x="1913" y="2022"/>
                  </a:lnTo>
                  <a:lnTo>
                    <a:pt x="1933" y="2025"/>
                  </a:lnTo>
                  <a:lnTo>
                    <a:pt x="1951" y="2033"/>
                  </a:lnTo>
                  <a:lnTo>
                    <a:pt x="1967" y="2045"/>
                  </a:lnTo>
                  <a:lnTo>
                    <a:pt x="1979" y="2060"/>
                  </a:lnTo>
                  <a:lnTo>
                    <a:pt x="1986" y="2077"/>
                  </a:lnTo>
                  <a:lnTo>
                    <a:pt x="1988" y="2098"/>
                  </a:lnTo>
                  <a:lnTo>
                    <a:pt x="1986" y="2118"/>
                  </a:lnTo>
                  <a:lnTo>
                    <a:pt x="1979" y="2136"/>
                  </a:lnTo>
                  <a:lnTo>
                    <a:pt x="1967" y="2152"/>
                  </a:lnTo>
                  <a:lnTo>
                    <a:pt x="1951" y="2164"/>
                  </a:lnTo>
                  <a:lnTo>
                    <a:pt x="1933" y="2172"/>
                  </a:lnTo>
                  <a:lnTo>
                    <a:pt x="1913" y="2174"/>
                  </a:lnTo>
                  <a:lnTo>
                    <a:pt x="560" y="2174"/>
                  </a:lnTo>
                  <a:lnTo>
                    <a:pt x="540" y="2172"/>
                  </a:lnTo>
                  <a:lnTo>
                    <a:pt x="522" y="2164"/>
                  </a:lnTo>
                  <a:lnTo>
                    <a:pt x="507" y="2152"/>
                  </a:lnTo>
                  <a:lnTo>
                    <a:pt x="495" y="2136"/>
                  </a:lnTo>
                  <a:lnTo>
                    <a:pt x="487" y="2118"/>
                  </a:lnTo>
                  <a:lnTo>
                    <a:pt x="484" y="2098"/>
                  </a:lnTo>
                  <a:lnTo>
                    <a:pt x="487" y="2077"/>
                  </a:lnTo>
                  <a:lnTo>
                    <a:pt x="495" y="2060"/>
                  </a:lnTo>
                  <a:lnTo>
                    <a:pt x="507" y="2045"/>
                  </a:lnTo>
                  <a:lnTo>
                    <a:pt x="522" y="2033"/>
                  </a:lnTo>
                  <a:lnTo>
                    <a:pt x="540" y="2025"/>
                  </a:lnTo>
                  <a:lnTo>
                    <a:pt x="560" y="2022"/>
                  </a:lnTo>
                  <a:close/>
                  <a:moveTo>
                    <a:pt x="1913" y="2674"/>
                  </a:moveTo>
                  <a:lnTo>
                    <a:pt x="560" y="2674"/>
                  </a:lnTo>
                  <a:lnTo>
                    <a:pt x="540" y="2670"/>
                  </a:lnTo>
                  <a:lnTo>
                    <a:pt x="522" y="2663"/>
                  </a:lnTo>
                  <a:lnTo>
                    <a:pt x="507" y="2651"/>
                  </a:lnTo>
                  <a:lnTo>
                    <a:pt x="495" y="2636"/>
                  </a:lnTo>
                  <a:lnTo>
                    <a:pt x="487" y="2618"/>
                  </a:lnTo>
                  <a:lnTo>
                    <a:pt x="484" y="2598"/>
                  </a:lnTo>
                  <a:lnTo>
                    <a:pt x="487" y="2577"/>
                  </a:lnTo>
                  <a:lnTo>
                    <a:pt x="495" y="2560"/>
                  </a:lnTo>
                  <a:lnTo>
                    <a:pt x="507" y="2544"/>
                  </a:lnTo>
                  <a:lnTo>
                    <a:pt x="522" y="2532"/>
                  </a:lnTo>
                  <a:lnTo>
                    <a:pt x="540" y="2524"/>
                  </a:lnTo>
                  <a:lnTo>
                    <a:pt x="560" y="2522"/>
                  </a:lnTo>
                  <a:lnTo>
                    <a:pt x="1913" y="2522"/>
                  </a:lnTo>
                  <a:lnTo>
                    <a:pt x="1933" y="2524"/>
                  </a:lnTo>
                  <a:lnTo>
                    <a:pt x="1951" y="2532"/>
                  </a:lnTo>
                  <a:lnTo>
                    <a:pt x="1967" y="2544"/>
                  </a:lnTo>
                  <a:lnTo>
                    <a:pt x="1979" y="2560"/>
                  </a:lnTo>
                  <a:lnTo>
                    <a:pt x="1986" y="2577"/>
                  </a:lnTo>
                  <a:lnTo>
                    <a:pt x="1988" y="2598"/>
                  </a:lnTo>
                  <a:lnTo>
                    <a:pt x="1986" y="2618"/>
                  </a:lnTo>
                  <a:lnTo>
                    <a:pt x="1979" y="2636"/>
                  </a:lnTo>
                  <a:lnTo>
                    <a:pt x="1967" y="2651"/>
                  </a:lnTo>
                  <a:lnTo>
                    <a:pt x="1951" y="2663"/>
                  </a:lnTo>
                  <a:lnTo>
                    <a:pt x="1933" y="2670"/>
                  </a:lnTo>
                  <a:lnTo>
                    <a:pt x="1913" y="267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6" name="Freeform 6"/>
          <p:cNvSpPr>
            <a:spLocks noEditPoints="1"/>
          </p:cNvSpPr>
          <p:nvPr/>
        </p:nvSpPr>
        <p:spPr bwMode="auto">
          <a:xfrm>
            <a:off x="1000324" y="1606723"/>
            <a:ext cx="384412" cy="505114"/>
          </a:xfrm>
          <a:custGeom>
            <a:avLst/>
            <a:gdLst>
              <a:gd name="T0" fmla="*/ 43 w 2633"/>
              <a:gd name="T1" fmla="*/ 25 h 3459"/>
              <a:gd name="T2" fmla="*/ 0 w 2633"/>
              <a:gd name="T3" fmla="*/ 113 h 3459"/>
              <a:gd name="T4" fmla="*/ 18 w 2633"/>
              <a:gd name="T5" fmla="*/ 3405 h 3459"/>
              <a:gd name="T6" fmla="*/ 87 w 2633"/>
              <a:gd name="T7" fmla="*/ 3457 h 3459"/>
              <a:gd name="T8" fmla="*/ 2569 w 2633"/>
              <a:gd name="T9" fmla="*/ 3447 h 3459"/>
              <a:gd name="T10" fmla="*/ 2630 w 2633"/>
              <a:gd name="T11" fmla="*/ 3371 h 3459"/>
              <a:gd name="T12" fmla="*/ 2624 w 2633"/>
              <a:gd name="T13" fmla="*/ 597 h 3459"/>
              <a:gd name="T14" fmla="*/ 2056 w 2633"/>
              <a:gd name="T15" fmla="*/ 20 h 3459"/>
              <a:gd name="T16" fmla="*/ 113 w 2633"/>
              <a:gd name="T17" fmla="*/ 0 h 3459"/>
              <a:gd name="T18" fmla="*/ 1883 w 2633"/>
              <a:gd name="T19" fmla="*/ 660 h 3459"/>
              <a:gd name="T20" fmla="*/ 1930 w 2633"/>
              <a:gd name="T21" fmla="*/ 731 h 3459"/>
              <a:gd name="T22" fmla="*/ 2407 w 2633"/>
              <a:gd name="T23" fmla="*/ 752 h 3459"/>
              <a:gd name="T24" fmla="*/ 2107 w 2633"/>
              <a:gd name="T25" fmla="*/ 386 h 3459"/>
              <a:gd name="T26" fmla="*/ 414 w 2633"/>
              <a:gd name="T27" fmla="*/ 828 h 3459"/>
              <a:gd name="T28" fmla="*/ 414 w 2633"/>
              <a:gd name="T29" fmla="*/ 828 h 3459"/>
              <a:gd name="T30" fmla="*/ 1020 w 2633"/>
              <a:gd name="T31" fmla="*/ 927 h 3459"/>
              <a:gd name="T32" fmla="*/ 978 w 2633"/>
              <a:gd name="T33" fmla="*/ 1016 h 3459"/>
              <a:gd name="T34" fmla="*/ 1020 w 2633"/>
              <a:gd name="T35" fmla="*/ 1103 h 3459"/>
              <a:gd name="T36" fmla="*/ 2107 w 2633"/>
              <a:gd name="T37" fmla="*/ 1128 h 3459"/>
              <a:gd name="T38" fmla="*/ 2195 w 2633"/>
              <a:gd name="T39" fmla="*/ 1086 h 3459"/>
              <a:gd name="T40" fmla="*/ 2217 w 2633"/>
              <a:gd name="T41" fmla="*/ 989 h 3459"/>
              <a:gd name="T42" fmla="*/ 2156 w 2633"/>
              <a:gd name="T43" fmla="*/ 914 h 3459"/>
              <a:gd name="T44" fmla="*/ 414 w 2633"/>
              <a:gd name="T45" fmla="*/ 1429 h 3459"/>
              <a:gd name="T46" fmla="*/ 414 w 2633"/>
              <a:gd name="T47" fmla="*/ 1429 h 3459"/>
              <a:gd name="T48" fmla="*/ 1020 w 2633"/>
              <a:gd name="T49" fmla="*/ 1529 h 3459"/>
              <a:gd name="T50" fmla="*/ 978 w 2633"/>
              <a:gd name="T51" fmla="*/ 1617 h 3459"/>
              <a:gd name="T52" fmla="*/ 1020 w 2633"/>
              <a:gd name="T53" fmla="*/ 1704 h 3459"/>
              <a:gd name="T54" fmla="*/ 2107 w 2633"/>
              <a:gd name="T55" fmla="*/ 1730 h 3459"/>
              <a:gd name="T56" fmla="*/ 2195 w 2633"/>
              <a:gd name="T57" fmla="*/ 1688 h 3459"/>
              <a:gd name="T58" fmla="*/ 2217 w 2633"/>
              <a:gd name="T59" fmla="*/ 1591 h 3459"/>
              <a:gd name="T60" fmla="*/ 2156 w 2633"/>
              <a:gd name="T61" fmla="*/ 1515 h 3459"/>
              <a:gd name="T62" fmla="*/ 414 w 2633"/>
              <a:gd name="T63" fmla="*/ 2030 h 3459"/>
              <a:gd name="T64" fmla="*/ 414 w 2633"/>
              <a:gd name="T65" fmla="*/ 2030 h 3459"/>
              <a:gd name="T66" fmla="*/ 1020 w 2633"/>
              <a:gd name="T67" fmla="*/ 2131 h 3459"/>
              <a:gd name="T68" fmla="*/ 978 w 2633"/>
              <a:gd name="T69" fmla="*/ 2219 h 3459"/>
              <a:gd name="T70" fmla="*/ 1020 w 2633"/>
              <a:gd name="T71" fmla="*/ 2306 h 3459"/>
              <a:gd name="T72" fmla="*/ 2107 w 2633"/>
              <a:gd name="T73" fmla="*/ 2331 h 3459"/>
              <a:gd name="T74" fmla="*/ 2195 w 2633"/>
              <a:gd name="T75" fmla="*/ 2289 h 3459"/>
              <a:gd name="T76" fmla="*/ 2217 w 2633"/>
              <a:gd name="T77" fmla="*/ 2193 h 3459"/>
              <a:gd name="T78" fmla="*/ 2156 w 2633"/>
              <a:gd name="T79" fmla="*/ 2117 h 3459"/>
              <a:gd name="T80" fmla="*/ 414 w 2633"/>
              <a:gd name="T81" fmla="*/ 2631 h 3459"/>
              <a:gd name="T82" fmla="*/ 414 w 2633"/>
              <a:gd name="T83" fmla="*/ 2631 h 3459"/>
              <a:gd name="T84" fmla="*/ 1020 w 2633"/>
              <a:gd name="T85" fmla="*/ 2732 h 3459"/>
              <a:gd name="T86" fmla="*/ 978 w 2633"/>
              <a:gd name="T87" fmla="*/ 2819 h 3459"/>
              <a:gd name="T88" fmla="*/ 1020 w 2633"/>
              <a:gd name="T89" fmla="*/ 2908 h 3459"/>
              <a:gd name="T90" fmla="*/ 2107 w 2633"/>
              <a:gd name="T91" fmla="*/ 2933 h 3459"/>
              <a:gd name="T92" fmla="*/ 2195 w 2633"/>
              <a:gd name="T93" fmla="*/ 2891 h 3459"/>
              <a:gd name="T94" fmla="*/ 2217 w 2633"/>
              <a:gd name="T95" fmla="*/ 2794 h 3459"/>
              <a:gd name="T96" fmla="*/ 2156 w 2633"/>
              <a:gd name="T97" fmla="*/ 2719 h 3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633" h="3459">
                <a:moveTo>
                  <a:pt x="113" y="0"/>
                </a:moveTo>
                <a:lnTo>
                  <a:pt x="87" y="3"/>
                </a:lnTo>
                <a:lnTo>
                  <a:pt x="64" y="12"/>
                </a:lnTo>
                <a:lnTo>
                  <a:pt x="43" y="25"/>
                </a:lnTo>
                <a:lnTo>
                  <a:pt x="25" y="43"/>
                </a:lnTo>
                <a:lnTo>
                  <a:pt x="12" y="64"/>
                </a:lnTo>
                <a:lnTo>
                  <a:pt x="3" y="88"/>
                </a:lnTo>
                <a:lnTo>
                  <a:pt x="0" y="113"/>
                </a:lnTo>
                <a:lnTo>
                  <a:pt x="0" y="3347"/>
                </a:lnTo>
                <a:lnTo>
                  <a:pt x="2" y="3366"/>
                </a:lnTo>
                <a:lnTo>
                  <a:pt x="9" y="3386"/>
                </a:lnTo>
                <a:lnTo>
                  <a:pt x="18" y="3405"/>
                </a:lnTo>
                <a:lnTo>
                  <a:pt x="31" y="3422"/>
                </a:lnTo>
                <a:lnTo>
                  <a:pt x="46" y="3438"/>
                </a:lnTo>
                <a:lnTo>
                  <a:pt x="65" y="3449"/>
                </a:lnTo>
                <a:lnTo>
                  <a:pt x="87" y="3457"/>
                </a:lnTo>
                <a:lnTo>
                  <a:pt x="113" y="3459"/>
                </a:lnTo>
                <a:lnTo>
                  <a:pt x="2520" y="3459"/>
                </a:lnTo>
                <a:lnTo>
                  <a:pt x="2546" y="3456"/>
                </a:lnTo>
                <a:lnTo>
                  <a:pt x="2569" y="3447"/>
                </a:lnTo>
                <a:lnTo>
                  <a:pt x="2590" y="3434"/>
                </a:lnTo>
                <a:lnTo>
                  <a:pt x="2608" y="3416"/>
                </a:lnTo>
                <a:lnTo>
                  <a:pt x="2621" y="3395"/>
                </a:lnTo>
                <a:lnTo>
                  <a:pt x="2630" y="3371"/>
                </a:lnTo>
                <a:lnTo>
                  <a:pt x="2633" y="3347"/>
                </a:lnTo>
                <a:lnTo>
                  <a:pt x="2633" y="640"/>
                </a:lnTo>
                <a:lnTo>
                  <a:pt x="2631" y="618"/>
                </a:lnTo>
                <a:lnTo>
                  <a:pt x="2624" y="597"/>
                </a:lnTo>
                <a:lnTo>
                  <a:pt x="2614" y="578"/>
                </a:lnTo>
                <a:lnTo>
                  <a:pt x="2600" y="561"/>
                </a:lnTo>
                <a:lnTo>
                  <a:pt x="2074" y="34"/>
                </a:lnTo>
                <a:lnTo>
                  <a:pt x="2056" y="20"/>
                </a:lnTo>
                <a:lnTo>
                  <a:pt x="2037" y="10"/>
                </a:lnTo>
                <a:lnTo>
                  <a:pt x="2016" y="2"/>
                </a:lnTo>
                <a:lnTo>
                  <a:pt x="1994" y="0"/>
                </a:lnTo>
                <a:lnTo>
                  <a:pt x="113" y="0"/>
                </a:lnTo>
                <a:close/>
                <a:moveTo>
                  <a:pt x="226" y="226"/>
                </a:moveTo>
                <a:lnTo>
                  <a:pt x="1881" y="226"/>
                </a:lnTo>
                <a:lnTo>
                  <a:pt x="1881" y="640"/>
                </a:lnTo>
                <a:lnTo>
                  <a:pt x="1883" y="660"/>
                </a:lnTo>
                <a:lnTo>
                  <a:pt x="1889" y="681"/>
                </a:lnTo>
                <a:lnTo>
                  <a:pt x="1900" y="699"/>
                </a:lnTo>
                <a:lnTo>
                  <a:pt x="1913" y="716"/>
                </a:lnTo>
                <a:lnTo>
                  <a:pt x="1930" y="731"/>
                </a:lnTo>
                <a:lnTo>
                  <a:pt x="1949" y="743"/>
                </a:lnTo>
                <a:lnTo>
                  <a:pt x="1971" y="750"/>
                </a:lnTo>
                <a:lnTo>
                  <a:pt x="1994" y="752"/>
                </a:lnTo>
                <a:lnTo>
                  <a:pt x="2407" y="752"/>
                </a:lnTo>
                <a:lnTo>
                  <a:pt x="2407" y="3233"/>
                </a:lnTo>
                <a:lnTo>
                  <a:pt x="226" y="3233"/>
                </a:lnTo>
                <a:lnTo>
                  <a:pt x="226" y="226"/>
                </a:lnTo>
                <a:close/>
                <a:moveTo>
                  <a:pt x="2107" y="386"/>
                </a:moveTo>
                <a:lnTo>
                  <a:pt x="2247" y="526"/>
                </a:lnTo>
                <a:lnTo>
                  <a:pt x="2107" y="526"/>
                </a:lnTo>
                <a:lnTo>
                  <a:pt x="2107" y="386"/>
                </a:lnTo>
                <a:close/>
                <a:moveTo>
                  <a:pt x="414" y="828"/>
                </a:moveTo>
                <a:lnTo>
                  <a:pt x="414" y="1203"/>
                </a:lnTo>
                <a:lnTo>
                  <a:pt x="790" y="1203"/>
                </a:lnTo>
                <a:lnTo>
                  <a:pt x="790" y="828"/>
                </a:lnTo>
                <a:lnTo>
                  <a:pt x="414" y="828"/>
                </a:lnTo>
                <a:close/>
                <a:moveTo>
                  <a:pt x="1091" y="902"/>
                </a:moveTo>
                <a:lnTo>
                  <a:pt x="1065" y="905"/>
                </a:lnTo>
                <a:lnTo>
                  <a:pt x="1041" y="914"/>
                </a:lnTo>
                <a:lnTo>
                  <a:pt x="1020" y="927"/>
                </a:lnTo>
                <a:lnTo>
                  <a:pt x="1002" y="944"/>
                </a:lnTo>
                <a:lnTo>
                  <a:pt x="990" y="965"/>
                </a:lnTo>
                <a:lnTo>
                  <a:pt x="981" y="989"/>
                </a:lnTo>
                <a:lnTo>
                  <a:pt x="978" y="1016"/>
                </a:lnTo>
                <a:lnTo>
                  <a:pt x="981" y="1041"/>
                </a:lnTo>
                <a:lnTo>
                  <a:pt x="990" y="1065"/>
                </a:lnTo>
                <a:lnTo>
                  <a:pt x="1002" y="1086"/>
                </a:lnTo>
                <a:lnTo>
                  <a:pt x="1020" y="1103"/>
                </a:lnTo>
                <a:lnTo>
                  <a:pt x="1041" y="1116"/>
                </a:lnTo>
                <a:lnTo>
                  <a:pt x="1065" y="1125"/>
                </a:lnTo>
                <a:lnTo>
                  <a:pt x="1091" y="1128"/>
                </a:lnTo>
                <a:lnTo>
                  <a:pt x="2107" y="1128"/>
                </a:lnTo>
                <a:lnTo>
                  <a:pt x="2133" y="1125"/>
                </a:lnTo>
                <a:lnTo>
                  <a:pt x="2156" y="1116"/>
                </a:lnTo>
                <a:lnTo>
                  <a:pt x="2177" y="1103"/>
                </a:lnTo>
                <a:lnTo>
                  <a:pt x="2195" y="1086"/>
                </a:lnTo>
                <a:lnTo>
                  <a:pt x="2207" y="1065"/>
                </a:lnTo>
                <a:lnTo>
                  <a:pt x="2217" y="1041"/>
                </a:lnTo>
                <a:lnTo>
                  <a:pt x="2219" y="1016"/>
                </a:lnTo>
                <a:lnTo>
                  <a:pt x="2217" y="989"/>
                </a:lnTo>
                <a:lnTo>
                  <a:pt x="2207" y="965"/>
                </a:lnTo>
                <a:lnTo>
                  <a:pt x="2195" y="944"/>
                </a:lnTo>
                <a:lnTo>
                  <a:pt x="2177" y="927"/>
                </a:lnTo>
                <a:lnTo>
                  <a:pt x="2156" y="914"/>
                </a:lnTo>
                <a:lnTo>
                  <a:pt x="2133" y="905"/>
                </a:lnTo>
                <a:lnTo>
                  <a:pt x="2107" y="902"/>
                </a:lnTo>
                <a:lnTo>
                  <a:pt x="1091" y="902"/>
                </a:lnTo>
                <a:close/>
                <a:moveTo>
                  <a:pt x="414" y="1429"/>
                </a:moveTo>
                <a:lnTo>
                  <a:pt x="414" y="1805"/>
                </a:lnTo>
                <a:lnTo>
                  <a:pt x="790" y="1805"/>
                </a:lnTo>
                <a:lnTo>
                  <a:pt x="790" y="1429"/>
                </a:lnTo>
                <a:lnTo>
                  <a:pt x="414" y="1429"/>
                </a:lnTo>
                <a:close/>
                <a:moveTo>
                  <a:pt x="1091" y="1504"/>
                </a:moveTo>
                <a:lnTo>
                  <a:pt x="1065" y="1507"/>
                </a:lnTo>
                <a:lnTo>
                  <a:pt x="1041" y="1515"/>
                </a:lnTo>
                <a:lnTo>
                  <a:pt x="1020" y="1529"/>
                </a:lnTo>
                <a:lnTo>
                  <a:pt x="1002" y="1546"/>
                </a:lnTo>
                <a:lnTo>
                  <a:pt x="990" y="1567"/>
                </a:lnTo>
                <a:lnTo>
                  <a:pt x="981" y="1591"/>
                </a:lnTo>
                <a:lnTo>
                  <a:pt x="978" y="1617"/>
                </a:lnTo>
                <a:lnTo>
                  <a:pt x="981" y="1642"/>
                </a:lnTo>
                <a:lnTo>
                  <a:pt x="990" y="1667"/>
                </a:lnTo>
                <a:lnTo>
                  <a:pt x="1002" y="1688"/>
                </a:lnTo>
                <a:lnTo>
                  <a:pt x="1020" y="1704"/>
                </a:lnTo>
                <a:lnTo>
                  <a:pt x="1041" y="1718"/>
                </a:lnTo>
                <a:lnTo>
                  <a:pt x="1065" y="1726"/>
                </a:lnTo>
                <a:lnTo>
                  <a:pt x="1091" y="1730"/>
                </a:lnTo>
                <a:lnTo>
                  <a:pt x="2107" y="1730"/>
                </a:lnTo>
                <a:lnTo>
                  <a:pt x="2133" y="1726"/>
                </a:lnTo>
                <a:lnTo>
                  <a:pt x="2156" y="1718"/>
                </a:lnTo>
                <a:lnTo>
                  <a:pt x="2177" y="1704"/>
                </a:lnTo>
                <a:lnTo>
                  <a:pt x="2195" y="1688"/>
                </a:lnTo>
                <a:lnTo>
                  <a:pt x="2207" y="1667"/>
                </a:lnTo>
                <a:lnTo>
                  <a:pt x="2217" y="1642"/>
                </a:lnTo>
                <a:lnTo>
                  <a:pt x="2219" y="1617"/>
                </a:lnTo>
                <a:lnTo>
                  <a:pt x="2217" y="1591"/>
                </a:lnTo>
                <a:lnTo>
                  <a:pt x="2207" y="1567"/>
                </a:lnTo>
                <a:lnTo>
                  <a:pt x="2195" y="1546"/>
                </a:lnTo>
                <a:lnTo>
                  <a:pt x="2177" y="1529"/>
                </a:lnTo>
                <a:lnTo>
                  <a:pt x="2156" y="1515"/>
                </a:lnTo>
                <a:lnTo>
                  <a:pt x="2133" y="1507"/>
                </a:lnTo>
                <a:lnTo>
                  <a:pt x="2107" y="1504"/>
                </a:lnTo>
                <a:lnTo>
                  <a:pt x="1091" y="1504"/>
                </a:lnTo>
                <a:close/>
                <a:moveTo>
                  <a:pt x="414" y="2030"/>
                </a:moveTo>
                <a:lnTo>
                  <a:pt x="414" y="2407"/>
                </a:lnTo>
                <a:lnTo>
                  <a:pt x="790" y="2407"/>
                </a:lnTo>
                <a:lnTo>
                  <a:pt x="790" y="2030"/>
                </a:lnTo>
                <a:lnTo>
                  <a:pt x="414" y="2030"/>
                </a:lnTo>
                <a:close/>
                <a:moveTo>
                  <a:pt x="1091" y="2105"/>
                </a:moveTo>
                <a:lnTo>
                  <a:pt x="1065" y="2109"/>
                </a:lnTo>
                <a:lnTo>
                  <a:pt x="1041" y="2117"/>
                </a:lnTo>
                <a:lnTo>
                  <a:pt x="1020" y="2131"/>
                </a:lnTo>
                <a:lnTo>
                  <a:pt x="1002" y="2147"/>
                </a:lnTo>
                <a:lnTo>
                  <a:pt x="990" y="2168"/>
                </a:lnTo>
                <a:lnTo>
                  <a:pt x="981" y="2193"/>
                </a:lnTo>
                <a:lnTo>
                  <a:pt x="978" y="2219"/>
                </a:lnTo>
                <a:lnTo>
                  <a:pt x="981" y="2244"/>
                </a:lnTo>
                <a:lnTo>
                  <a:pt x="990" y="2268"/>
                </a:lnTo>
                <a:lnTo>
                  <a:pt x="1002" y="2289"/>
                </a:lnTo>
                <a:lnTo>
                  <a:pt x="1020" y="2306"/>
                </a:lnTo>
                <a:lnTo>
                  <a:pt x="1041" y="2320"/>
                </a:lnTo>
                <a:lnTo>
                  <a:pt x="1065" y="2328"/>
                </a:lnTo>
                <a:lnTo>
                  <a:pt x="1091" y="2331"/>
                </a:lnTo>
                <a:lnTo>
                  <a:pt x="2107" y="2331"/>
                </a:lnTo>
                <a:lnTo>
                  <a:pt x="2133" y="2328"/>
                </a:lnTo>
                <a:lnTo>
                  <a:pt x="2156" y="2320"/>
                </a:lnTo>
                <a:lnTo>
                  <a:pt x="2177" y="2306"/>
                </a:lnTo>
                <a:lnTo>
                  <a:pt x="2195" y="2289"/>
                </a:lnTo>
                <a:lnTo>
                  <a:pt x="2207" y="2268"/>
                </a:lnTo>
                <a:lnTo>
                  <a:pt x="2217" y="2244"/>
                </a:lnTo>
                <a:lnTo>
                  <a:pt x="2219" y="2219"/>
                </a:lnTo>
                <a:lnTo>
                  <a:pt x="2217" y="2193"/>
                </a:lnTo>
                <a:lnTo>
                  <a:pt x="2207" y="2168"/>
                </a:lnTo>
                <a:lnTo>
                  <a:pt x="2195" y="2147"/>
                </a:lnTo>
                <a:lnTo>
                  <a:pt x="2177" y="2131"/>
                </a:lnTo>
                <a:lnTo>
                  <a:pt x="2156" y="2117"/>
                </a:lnTo>
                <a:lnTo>
                  <a:pt x="2133" y="2109"/>
                </a:lnTo>
                <a:lnTo>
                  <a:pt x="2107" y="2105"/>
                </a:lnTo>
                <a:lnTo>
                  <a:pt x="1091" y="2105"/>
                </a:lnTo>
                <a:close/>
                <a:moveTo>
                  <a:pt x="414" y="2631"/>
                </a:moveTo>
                <a:lnTo>
                  <a:pt x="414" y="3007"/>
                </a:lnTo>
                <a:lnTo>
                  <a:pt x="790" y="3007"/>
                </a:lnTo>
                <a:lnTo>
                  <a:pt x="790" y="2631"/>
                </a:lnTo>
                <a:lnTo>
                  <a:pt x="414" y="2631"/>
                </a:lnTo>
                <a:close/>
                <a:moveTo>
                  <a:pt x="1091" y="2707"/>
                </a:moveTo>
                <a:lnTo>
                  <a:pt x="1065" y="2710"/>
                </a:lnTo>
                <a:lnTo>
                  <a:pt x="1041" y="2719"/>
                </a:lnTo>
                <a:lnTo>
                  <a:pt x="1020" y="2732"/>
                </a:lnTo>
                <a:lnTo>
                  <a:pt x="1002" y="2749"/>
                </a:lnTo>
                <a:lnTo>
                  <a:pt x="990" y="2770"/>
                </a:lnTo>
                <a:lnTo>
                  <a:pt x="981" y="2794"/>
                </a:lnTo>
                <a:lnTo>
                  <a:pt x="978" y="2819"/>
                </a:lnTo>
                <a:lnTo>
                  <a:pt x="981" y="2846"/>
                </a:lnTo>
                <a:lnTo>
                  <a:pt x="990" y="2870"/>
                </a:lnTo>
                <a:lnTo>
                  <a:pt x="1002" y="2891"/>
                </a:lnTo>
                <a:lnTo>
                  <a:pt x="1020" y="2908"/>
                </a:lnTo>
                <a:lnTo>
                  <a:pt x="1041" y="2921"/>
                </a:lnTo>
                <a:lnTo>
                  <a:pt x="1065" y="2930"/>
                </a:lnTo>
                <a:lnTo>
                  <a:pt x="1091" y="2933"/>
                </a:lnTo>
                <a:lnTo>
                  <a:pt x="2107" y="2933"/>
                </a:lnTo>
                <a:lnTo>
                  <a:pt x="2133" y="2930"/>
                </a:lnTo>
                <a:lnTo>
                  <a:pt x="2156" y="2921"/>
                </a:lnTo>
                <a:lnTo>
                  <a:pt x="2177" y="2908"/>
                </a:lnTo>
                <a:lnTo>
                  <a:pt x="2195" y="2891"/>
                </a:lnTo>
                <a:lnTo>
                  <a:pt x="2207" y="2870"/>
                </a:lnTo>
                <a:lnTo>
                  <a:pt x="2217" y="2846"/>
                </a:lnTo>
                <a:lnTo>
                  <a:pt x="2219" y="2819"/>
                </a:lnTo>
                <a:lnTo>
                  <a:pt x="2217" y="2794"/>
                </a:lnTo>
                <a:lnTo>
                  <a:pt x="2207" y="2770"/>
                </a:lnTo>
                <a:lnTo>
                  <a:pt x="2195" y="2749"/>
                </a:lnTo>
                <a:lnTo>
                  <a:pt x="2177" y="2732"/>
                </a:lnTo>
                <a:lnTo>
                  <a:pt x="2156" y="2719"/>
                </a:lnTo>
                <a:lnTo>
                  <a:pt x="2133" y="2710"/>
                </a:lnTo>
                <a:lnTo>
                  <a:pt x="2107" y="2707"/>
                </a:lnTo>
                <a:lnTo>
                  <a:pt x="1091" y="2707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8" name="Group 10"/>
          <p:cNvGrpSpPr>
            <a:grpSpLocks noChangeAspect="1"/>
          </p:cNvGrpSpPr>
          <p:nvPr/>
        </p:nvGrpSpPr>
        <p:grpSpPr bwMode="auto">
          <a:xfrm>
            <a:off x="980983" y="5558993"/>
            <a:ext cx="422459" cy="404091"/>
            <a:chOff x="590" y="3475"/>
            <a:chExt cx="322" cy="308"/>
          </a:xfrm>
          <a:solidFill>
            <a:schemeClr val="bg1"/>
          </a:solidFill>
        </p:grpSpPr>
        <p:sp>
          <p:nvSpPr>
            <p:cNvPr id="41" name="Freeform 12"/>
            <p:cNvSpPr>
              <a:spLocks/>
            </p:cNvSpPr>
            <p:nvPr/>
          </p:nvSpPr>
          <p:spPr bwMode="auto">
            <a:xfrm>
              <a:off x="772" y="3560"/>
              <a:ext cx="14" cy="25"/>
            </a:xfrm>
            <a:custGeom>
              <a:avLst/>
              <a:gdLst>
                <a:gd name="T0" fmla="*/ 153 w 153"/>
                <a:gd name="T1" fmla="*/ 0 h 276"/>
                <a:gd name="T2" fmla="*/ 153 w 153"/>
                <a:gd name="T3" fmla="*/ 276 h 276"/>
                <a:gd name="T4" fmla="*/ 112 w 153"/>
                <a:gd name="T5" fmla="*/ 262 h 276"/>
                <a:gd name="T6" fmla="*/ 78 w 153"/>
                <a:gd name="T7" fmla="*/ 247 h 276"/>
                <a:gd name="T8" fmla="*/ 50 w 153"/>
                <a:gd name="T9" fmla="*/ 230 h 276"/>
                <a:gd name="T10" fmla="*/ 28 w 153"/>
                <a:gd name="T11" fmla="*/ 212 h 276"/>
                <a:gd name="T12" fmla="*/ 13 w 153"/>
                <a:gd name="T13" fmla="*/ 191 h 276"/>
                <a:gd name="T14" fmla="*/ 3 w 153"/>
                <a:gd name="T15" fmla="*/ 168 h 276"/>
                <a:gd name="T16" fmla="*/ 0 w 153"/>
                <a:gd name="T17" fmla="*/ 143 h 276"/>
                <a:gd name="T18" fmla="*/ 3 w 153"/>
                <a:gd name="T19" fmla="*/ 119 h 276"/>
                <a:gd name="T20" fmla="*/ 12 w 153"/>
                <a:gd name="T21" fmla="*/ 96 h 276"/>
                <a:gd name="T22" fmla="*/ 24 w 153"/>
                <a:gd name="T23" fmla="*/ 75 h 276"/>
                <a:gd name="T24" fmla="*/ 44 w 153"/>
                <a:gd name="T25" fmla="*/ 54 h 276"/>
                <a:gd name="T26" fmla="*/ 66 w 153"/>
                <a:gd name="T27" fmla="*/ 37 h 276"/>
                <a:gd name="T28" fmla="*/ 92 w 153"/>
                <a:gd name="T29" fmla="*/ 21 h 276"/>
                <a:gd name="T30" fmla="*/ 121 w 153"/>
                <a:gd name="T31" fmla="*/ 9 h 276"/>
                <a:gd name="T32" fmla="*/ 153 w 153"/>
                <a:gd name="T33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3" h="276">
                  <a:moveTo>
                    <a:pt x="153" y="0"/>
                  </a:moveTo>
                  <a:lnTo>
                    <a:pt x="153" y="276"/>
                  </a:lnTo>
                  <a:lnTo>
                    <a:pt x="112" y="262"/>
                  </a:lnTo>
                  <a:lnTo>
                    <a:pt x="78" y="247"/>
                  </a:lnTo>
                  <a:lnTo>
                    <a:pt x="50" y="230"/>
                  </a:lnTo>
                  <a:lnTo>
                    <a:pt x="28" y="212"/>
                  </a:lnTo>
                  <a:lnTo>
                    <a:pt x="13" y="191"/>
                  </a:lnTo>
                  <a:lnTo>
                    <a:pt x="3" y="168"/>
                  </a:lnTo>
                  <a:lnTo>
                    <a:pt x="0" y="143"/>
                  </a:lnTo>
                  <a:lnTo>
                    <a:pt x="3" y="119"/>
                  </a:lnTo>
                  <a:lnTo>
                    <a:pt x="12" y="96"/>
                  </a:lnTo>
                  <a:lnTo>
                    <a:pt x="24" y="75"/>
                  </a:lnTo>
                  <a:lnTo>
                    <a:pt x="44" y="54"/>
                  </a:lnTo>
                  <a:lnTo>
                    <a:pt x="66" y="37"/>
                  </a:lnTo>
                  <a:lnTo>
                    <a:pt x="92" y="21"/>
                  </a:lnTo>
                  <a:lnTo>
                    <a:pt x="121" y="9"/>
                  </a:lnTo>
                  <a:lnTo>
                    <a:pt x="1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3"/>
            <p:cNvSpPr>
              <a:spLocks/>
            </p:cNvSpPr>
            <p:nvPr/>
          </p:nvSpPr>
          <p:spPr bwMode="auto">
            <a:xfrm>
              <a:off x="800" y="3603"/>
              <a:ext cx="14" cy="25"/>
            </a:xfrm>
            <a:custGeom>
              <a:avLst/>
              <a:gdLst>
                <a:gd name="T0" fmla="*/ 0 w 153"/>
                <a:gd name="T1" fmla="*/ 0 h 276"/>
                <a:gd name="T2" fmla="*/ 41 w 153"/>
                <a:gd name="T3" fmla="*/ 13 h 276"/>
                <a:gd name="T4" fmla="*/ 75 w 153"/>
                <a:gd name="T5" fmla="*/ 28 h 276"/>
                <a:gd name="T6" fmla="*/ 103 w 153"/>
                <a:gd name="T7" fmla="*/ 45 h 276"/>
                <a:gd name="T8" fmla="*/ 125 w 153"/>
                <a:gd name="T9" fmla="*/ 64 h 276"/>
                <a:gd name="T10" fmla="*/ 140 w 153"/>
                <a:gd name="T11" fmla="*/ 84 h 276"/>
                <a:gd name="T12" fmla="*/ 150 w 153"/>
                <a:gd name="T13" fmla="*/ 107 h 276"/>
                <a:gd name="T14" fmla="*/ 153 w 153"/>
                <a:gd name="T15" fmla="*/ 133 h 276"/>
                <a:gd name="T16" fmla="*/ 150 w 153"/>
                <a:gd name="T17" fmla="*/ 156 h 276"/>
                <a:gd name="T18" fmla="*/ 141 w 153"/>
                <a:gd name="T19" fmla="*/ 180 h 276"/>
                <a:gd name="T20" fmla="*/ 127 w 153"/>
                <a:gd name="T21" fmla="*/ 201 h 276"/>
                <a:gd name="T22" fmla="*/ 109 w 153"/>
                <a:gd name="T23" fmla="*/ 221 h 276"/>
                <a:gd name="T24" fmla="*/ 87 w 153"/>
                <a:gd name="T25" fmla="*/ 239 h 276"/>
                <a:gd name="T26" fmla="*/ 61 w 153"/>
                <a:gd name="T27" fmla="*/ 254 h 276"/>
                <a:gd name="T28" fmla="*/ 31 w 153"/>
                <a:gd name="T29" fmla="*/ 267 h 276"/>
                <a:gd name="T30" fmla="*/ 0 w 153"/>
                <a:gd name="T31" fmla="*/ 276 h 276"/>
                <a:gd name="T32" fmla="*/ 0 w 153"/>
                <a:gd name="T33" fmla="*/ 0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3" h="276">
                  <a:moveTo>
                    <a:pt x="0" y="0"/>
                  </a:moveTo>
                  <a:lnTo>
                    <a:pt x="41" y="13"/>
                  </a:lnTo>
                  <a:lnTo>
                    <a:pt x="75" y="28"/>
                  </a:lnTo>
                  <a:lnTo>
                    <a:pt x="103" y="45"/>
                  </a:lnTo>
                  <a:lnTo>
                    <a:pt x="125" y="64"/>
                  </a:lnTo>
                  <a:lnTo>
                    <a:pt x="140" y="84"/>
                  </a:lnTo>
                  <a:lnTo>
                    <a:pt x="150" y="107"/>
                  </a:lnTo>
                  <a:lnTo>
                    <a:pt x="153" y="133"/>
                  </a:lnTo>
                  <a:lnTo>
                    <a:pt x="150" y="156"/>
                  </a:lnTo>
                  <a:lnTo>
                    <a:pt x="141" y="180"/>
                  </a:lnTo>
                  <a:lnTo>
                    <a:pt x="127" y="201"/>
                  </a:lnTo>
                  <a:lnTo>
                    <a:pt x="109" y="221"/>
                  </a:lnTo>
                  <a:lnTo>
                    <a:pt x="87" y="239"/>
                  </a:lnTo>
                  <a:lnTo>
                    <a:pt x="61" y="254"/>
                  </a:lnTo>
                  <a:lnTo>
                    <a:pt x="31" y="267"/>
                  </a:lnTo>
                  <a:lnTo>
                    <a:pt x="0" y="276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4"/>
            <p:cNvSpPr>
              <a:spLocks noEditPoints="1"/>
            </p:cNvSpPr>
            <p:nvPr/>
          </p:nvSpPr>
          <p:spPr bwMode="auto">
            <a:xfrm>
              <a:off x="674" y="3475"/>
              <a:ext cx="238" cy="230"/>
            </a:xfrm>
            <a:custGeom>
              <a:avLst/>
              <a:gdLst>
                <a:gd name="T0" fmla="*/ 1254 w 2617"/>
                <a:gd name="T1" fmla="*/ 639 h 2527"/>
                <a:gd name="T2" fmla="*/ 1231 w 2617"/>
                <a:gd name="T3" fmla="*/ 776 h 2527"/>
                <a:gd name="T4" fmla="*/ 1062 w 2617"/>
                <a:gd name="T5" fmla="*/ 841 h 2527"/>
                <a:gd name="T6" fmla="*/ 951 w 2617"/>
                <a:gd name="T7" fmla="*/ 963 h 2527"/>
                <a:gd name="T8" fmla="*/ 926 w 2617"/>
                <a:gd name="T9" fmla="*/ 1115 h 2527"/>
                <a:gd name="T10" fmla="*/ 986 w 2617"/>
                <a:gd name="T11" fmla="*/ 1245 h 2527"/>
                <a:gd name="T12" fmla="*/ 1129 w 2617"/>
                <a:gd name="T13" fmla="*/ 1337 h 2527"/>
                <a:gd name="T14" fmla="*/ 1197 w 2617"/>
                <a:gd name="T15" fmla="*/ 1672 h 2527"/>
                <a:gd name="T16" fmla="*/ 1095 w 2617"/>
                <a:gd name="T17" fmla="*/ 1598 h 2527"/>
                <a:gd name="T18" fmla="*/ 1064 w 2617"/>
                <a:gd name="T19" fmla="*/ 1509 h 2527"/>
                <a:gd name="T20" fmla="*/ 994 w 2617"/>
                <a:gd name="T21" fmla="*/ 1477 h 2527"/>
                <a:gd name="T22" fmla="*/ 931 w 2617"/>
                <a:gd name="T23" fmla="*/ 1520 h 2527"/>
                <a:gd name="T24" fmla="*/ 941 w 2617"/>
                <a:gd name="T25" fmla="*/ 1634 h 2527"/>
                <a:gd name="T26" fmla="*/ 1035 w 2617"/>
                <a:gd name="T27" fmla="*/ 1757 h 2527"/>
                <a:gd name="T28" fmla="*/ 1186 w 2617"/>
                <a:gd name="T29" fmla="*/ 1831 h 2527"/>
                <a:gd name="T30" fmla="*/ 1242 w 2617"/>
                <a:gd name="T31" fmla="*/ 1961 h 2527"/>
                <a:gd name="T32" fmla="*/ 1308 w 2617"/>
                <a:gd name="T33" fmla="*/ 2000 h 2527"/>
                <a:gd name="T34" fmla="*/ 1375 w 2617"/>
                <a:gd name="T35" fmla="*/ 1961 h 2527"/>
                <a:gd name="T36" fmla="*/ 1432 w 2617"/>
                <a:gd name="T37" fmla="*/ 1829 h 2527"/>
                <a:gd name="T38" fmla="*/ 1590 w 2617"/>
                <a:gd name="T39" fmla="*/ 1748 h 2527"/>
                <a:gd name="T40" fmla="*/ 1681 w 2617"/>
                <a:gd name="T41" fmla="*/ 1617 h 2527"/>
                <a:gd name="T42" fmla="*/ 1683 w 2617"/>
                <a:gd name="T43" fmla="*/ 1465 h 2527"/>
                <a:gd name="T44" fmla="*/ 1603 w 2617"/>
                <a:gd name="T45" fmla="*/ 1345 h 2527"/>
                <a:gd name="T46" fmla="*/ 1439 w 2617"/>
                <a:gd name="T47" fmla="*/ 1262 h 2527"/>
                <a:gd name="T48" fmla="*/ 1452 w 2617"/>
                <a:gd name="T49" fmla="*/ 958 h 2527"/>
                <a:gd name="T50" fmla="*/ 1534 w 2617"/>
                <a:gd name="T51" fmla="*/ 1043 h 2527"/>
                <a:gd name="T52" fmla="*/ 1567 w 2617"/>
                <a:gd name="T53" fmla="*/ 1121 h 2527"/>
                <a:gd name="T54" fmla="*/ 1642 w 2617"/>
                <a:gd name="T55" fmla="*/ 1134 h 2527"/>
                <a:gd name="T56" fmla="*/ 1692 w 2617"/>
                <a:gd name="T57" fmla="*/ 1076 h 2527"/>
                <a:gd name="T58" fmla="*/ 1658 w 2617"/>
                <a:gd name="T59" fmla="*/ 948 h 2527"/>
                <a:gd name="T60" fmla="*/ 1549 w 2617"/>
                <a:gd name="T61" fmla="*/ 835 h 2527"/>
                <a:gd name="T62" fmla="*/ 1386 w 2617"/>
                <a:gd name="T63" fmla="*/ 776 h 2527"/>
                <a:gd name="T64" fmla="*/ 1363 w 2617"/>
                <a:gd name="T65" fmla="*/ 639 h 2527"/>
                <a:gd name="T66" fmla="*/ 1308 w 2617"/>
                <a:gd name="T67" fmla="*/ 0 h 2527"/>
                <a:gd name="T68" fmla="*/ 1670 w 2617"/>
                <a:gd name="T69" fmla="*/ 51 h 2527"/>
                <a:gd name="T70" fmla="*/ 1993 w 2617"/>
                <a:gd name="T71" fmla="*/ 194 h 2527"/>
                <a:gd name="T72" fmla="*/ 2264 w 2617"/>
                <a:gd name="T73" fmla="*/ 415 h 2527"/>
                <a:gd name="T74" fmla="*/ 2467 w 2617"/>
                <a:gd name="T75" fmla="*/ 700 h 2527"/>
                <a:gd name="T76" fmla="*/ 2588 w 2617"/>
                <a:gd name="T77" fmla="*/ 1033 h 2527"/>
                <a:gd name="T78" fmla="*/ 2614 w 2617"/>
                <a:gd name="T79" fmla="*/ 1399 h 2527"/>
                <a:gd name="T80" fmla="*/ 2541 w 2617"/>
                <a:gd name="T81" fmla="*/ 1748 h 2527"/>
                <a:gd name="T82" fmla="*/ 2381 w 2617"/>
                <a:gd name="T83" fmla="*/ 2055 h 2527"/>
                <a:gd name="T84" fmla="*/ 2149 w 2617"/>
                <a:gd name="T85" fmla="*/ 2308 h 2527"/>
                <a:gd name="T86" fmla="*/ 1858 w 2617"/>
                <a:gd name="T87" fmla="*/ 2492 h 2527"/>
                <a:gd name="T88" fmla="*/ 1413 w 2617"/>
                <a:gd name="T89" fmla="*/ 2179 h 2527"/>
                <a:gd name="T90" fmla="*/ 1272 w 2617"/>
                <a:gd name="T91" fmla="*/ 2157 h 2527"/>
                <a:gd name="T92" fmla="*/ 1145 w 2617"/>
                <a:gd name="T93" fmla="*/ 2221 h 2527"/>
                <a:gd name="T94" fmla="*/ 608 w 2617"/>
                <a:gd name="T95" fmla="*/ 2410 h 2527"/>
                <a:gd name="T96" fmla="*/ 344 w 2617"/>
                <a:gd name="T97" fmla="*/ 2189 h 2527"/>
                <a:gd name="T98" fmla="*/ 146 w 2617"/>
                <a:gd name="T99" fmla="*/ 1908 h 2527"/>
                <a:gd name="T100" fmla="*/ 28 w 2617"/>
                <a:gd name="T101" fmla="*/ 1578 h 2527"/>
                <a:gd name="T102" fmla="*/ 3 w 2617"/>
                <a:gd name="T103" fmla="*/ 1215 h 2527"/>
                <a:gd name="T104" fmla="*/ 78 w 2617"/>
                <a:gd name="T105" fmla="*/ 862 h 2527"/>
                <a:gd name="T106" fmla="*/ 243 w 2617"/>
                <a:gd name="T107" fmla="*/ 551 h 2527"/>
                <a:gd name="T108" fmla="*/ 481 w 2617"/>
                <a:gd name="T109" fmla="*/ 295 h 2527"/>
                <a:gd name="T110" fmla="*/ 779 w 2617"/>
                <a:gd name="T111" fmla="*/ 112 h 2527"/>
                <a:gd name="T112" fmla="*/ 1124 w 2617"/>
                <a:gd name="T113" fmla="*/ 13 h 2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17" h="2527">
                  <a:moveTo>
                    <a:pt x="1308" y="616"/>
                  </a:moveTo>
                  <a:lnTo>
                    <a:pt x="1288" y="618"/>
                  </a:lnTo>
                  <a:lnTo>
                    <a:pt x="1270" y="626"/>
                  </a:lnTo>
                  <a:lnTo>
                    <a:pt x="1254" y="639"/>
                  </a:lnTo>
                  <a:lnTo>
                    <a:pt x="1242" y="654"/>
                  </a:lnTo>
                  <a:lnTo>
                    <a:pt x="1234" y="672"/>
                  </a:lnTo>
                  <a:lnTo>
                    <a:pt x="1231" y="692"/>
                  </a:lnTo>
                  <a:lnTo>
                    <a:pt x="1231" y="776"/>
                  </a:lnTo>
                  <a:lnTo>
                    <a:pt x="1185" y="786"/>
                  </a:lnTo>
                  <a:lnTo>
                    <a:pt x="1141" y="801"/>
                  </a:lnTo>
                  <a:lnTo>
                    <a:pt x="1099" y="819"/>
                  </a:lnTo>
                  <a:lnTo>
                    <a:pt x="1062" y="841"/>
                  </a:lnTo>
                  <a:lnTo>
                    <a:pt x="1027" y="867"/>
                  </a:lnTo>
                  <a:lnTo>
                    <a:pt x="997" y="896"/>
                  </a:lnTo>
                  <a:lnTo>
                    <a:pt x="971" y="928"/>
                  </a:lnTo>
                  <a:lnTo>
                    <a:pt x="951" y="963"/>
                  </a:lnTo>
                  <a:lnTo>
                    <a:pt x="936" y="999"/>
                  </a:lnTo>
                  <a:lnTo>
                    <a:pt x="926" y="1038"/>
                  </a:lnTo>
                  <a:lnTo>
                    <a:pt x="923" y="1077"/>
                  </a:lnTo>
                  <a:lnTo>
                    <a:pt x="926" y="1115"/>
                  </a:lnTo>
                  <a:lnTo>
                    <a:pt x="934" y="1151"/>
                  </a:lnTo>
                  <a:lnTo>
                    <a:pt x="947" y="1185"/>
                  </a:lnTo>
                  <a:lnTo>
                    <a:pt x="964" y="1216"/>
                  </a:lnTo>
                  <a:lnTo>
                    <a:pt x="986" y="1245"/>
                  </a:lnTo>
                  <a:lnTo>
                    <a:pt x="1014" y="1271"/>
                  </a:lnTo>
                  <a:lnTo>
                    <a:pt x="1048" y="1295"/>
                  </a:lnTo>
                  <a:lnTo>
                    <a:pt x="1085" y="1318"/>
                  </a:lnTo>
                  <a:lnTo>
                    <a:pt x="1129" y="1337"/>
                  </a:lnTo>
                  <a:lnTo>
                    <a:pt x="1178" y="1354"/>
                  </a:lnTo>
                  <a:lnTo>
                    <a:pt x="1231" y="1369"/>
                  </a:lnTo>
                  <a:lnTo>
                    <a:pt x="1231" y="1682"/>
                  </a:lnTo>
                  <a:lnTo>
                    <a:pt x="1197" y="1672"/>
                  </a:lnTo>
                  <a:lnTo>
                    <a:pt x="1165" y="1658"/>
                  </a:lnTo>
                  <a:lnTo>
                    <a:pt x="1137" y="1641"/>
                  </a:lnTo>
                  <a:lnTo>
                    <a:pt x="1113" y="1620"/>
                  </a:lnTo>
                  <a:lnTo>
                    <a:pt x="1095" y="1598"/>
                  </a:lnTo>
                  <a:lnTo>
                    <a:pt x="1083" y="1573"/>
                  </a:lnTo>
                  <a:lnTo>
                    <a:pt x="1078" y="1547"/>
                  </a:lnTo>
                  <a:lnTo>
                    <a:pt x="1072" y="1527"/>
                  </a:lnTo>
                  <a:lnTo>
                    <a:pt x="1064" y="1509"/>
                  </a:lnTo>
                  <a:lnTo>
                    <a:pt x="1050" y="1495"/>
                  </a:lnTo>
                  <a:lnTo>
                    <a:pt x="1034" y="1484"/>
                  </a:lnTo>
                  <a:lnTo>
                    <a:pt x="1014" y="1478"/>
                  </a:lnTo>
                  <a:lnTo>
                    <a:pt x="994" y="1477"/>
                  </a:lnTo>
                  <a:lnTo>
                    <a:pt x="974" y="1481"/>
                  </a:lnTo>
                  <a:lnTo>
                    <a:pt x="956" y="1490"/>
                  </a:lnTo>
                  <a:lnTo>
                    <a:pt x="941" y="1503"/>
                  </a:lnTo>
                  <a:lnTo>
                    <a:pt x="931" y="1520"/>
                  </a:lnTo>
                  <a:lnTo>
                    <a:pt x="925" y="1539"/>
                  </a:lnTo>
                  <a:lnTo>
                    <a:pt x="924" y="1560"/>
                  </a:lnTo>
                  <a:lnTo>
                    <a:pt x="930" y="1598"/>
                  </a:lnTo>
                  <a:lnTo>
                    <a:pt x="941" y="1634"/>
                  </a:lnTo>
                  <a:lnTo>
                    <a:pt x="957" y="1669"/>
                  </a:lnTo>
                  <a:lnTo>
                    <a:pt x="979" y="1701"/>
                  </a:lnTo>
                  <a:lnTo>
                    <a:pt x="1005" y="1730"/>
                  </a:lnTo>
                  <a:lnTo>
                    <a:pt x="1035" y="1757"/>
                  </a:lnTo>
                  <a:lnTo>
                    <a:pt x="1068" y="1780"/>
                  </a:lnTo>
                  <a:lnTo>
                    <a:pt x="1105" y="1801"/>
                  </a:lnTo>
                  <a:lnTo>
                    <a:pt x="1144" y="1818"/>
                  </a:lnTo>
                  <a:lnTo>
                    <a:pt x="1186" y="1831"/>
                  </a:lnTo>
                  <a:lnTo>
                    <a:pt x="1231" y="1840"/>
                  </a:lnTo>
                  <a:lnTo>
                    <a:pt x="1231" y="1923"/>
                  </a:lnTo>
                  <a:lnTo>
                    <a:pt x="1234" y="1943"/>
                  </a:lnTo>
                  <a:lnTo>
                    <a:pt x="1242" y="1961"/>
                  </a:lnTo>
                  <a:lnTo>
                    <a:pt x="1254" y="1978"/>
                  </a:lnTo>
                  <a:lnTo>
                    <a:pt x="1270" y="1989"/>
                  </a:lnTo>
                  <a:lnTo>
                    <a:pt x="1288" y="1997"/>
                  </a:lnTo>
                  <a:lnTo>
                    <a:pt x="1308" y="2000"/>
                  </a:lnTo>
                  <a:lnTo>
                    <a:pt x="1329" y="1997"/>
                  </a:lnTo>
                  <a:lnTo>
                    <a:pt x="1347" y="1989"/>
                  </a:lnTo>
                  <a:lnTo>
                    <a:pt x="1363" y="1978"/>
                  </a:lnTo>
                  <a:lnTo>
                    <a:pt x="1375" y="1961"/>
                  </a:lnTo>
                  <a:lnTo>
                    <a:pt x="1383" y="1943"/>
                  </a:lnTo>
                  <a:lnTo>
                    <a:pt x="1386" y="1923"/>
                  </a:lnTo>
                  <a:lnTo>
                    <a:pt x="1386" y="1840"/>
                  </a:lnTo>
                  <a:lnTo>
                    <a:pt x="1432" y="1829"/>
                  </a:lnTo>
                  <a:lnTo>
                    <a:pt x="1476" y="1816"/>
                  </a:lnTo>
                  <a:lnTo>
                    <a:pt x="1518" y="1796"/>
                  </a:lnTo>
                  <a:lnTo>
                    <a:pt x="1555" y="1775"/>
                  </a:lnTo>
                  <a:lnTo>
                    <a:pt x="1590" y="1748"/>
                  </a:lnTo>
                  <a:lnTo>
                    <a:pt x="1620" y="1719"/>
                  </a:lnTo>
                  <a:lnTo>
                    <a:pt x="1644" y="1688"/>
                  </a:lnTo>
                  <a:lnTo>
                    <a:pt x="1666" y="1654"/>
                  </a:lnTo>
                  <a:lnTo>
                    <a:pt x="1681" y="1617"/>
                  </a:lnTo>
                  <a:lnTo>
                    <a:pt x="1689" y="1578"/>
                  </a:lnTo>
                  <a:lnTo>
                    <a:pt x="1693" y="1539"/>
                  </a:lnTo>
                  <a:lnTo>
                    <a:pt x="1691" y="1500"/>
                  </a:lnTo>
                  <a:lnTo>
                    <a:pt x="1683" y="1465"/>
                  </a:lnTo>
                  <a:lnTo>
                    <a:pt x="1670" y="1431"/>
                  </a:lnTo>
                  <a:lnTo>
                    <a:pt x="1653" y="1400"/>
                  </a:lnTo>
                  <a:lnTo>
                    <a:pt x="1630" y="1371"/>
                  </a:lnTo>
                  <a:lnTo>
                    <a:pt x="1603" y="1345"/>
                  </a:lnTo>
                  <a:lnTo>
                    <a:pt x="1569" y="1320"/>
                  </a:lnTo>
                  <a:lnTo>
                    <a:pt x="1531" y="1298"/>
                  </a:lnTo>
                  <a:lnTo>
                    <a:pt x="1488" y="1279"/>
                  </a:lnTo>
                  <a:lnTo>
                    <a:pt x="1439" y="1262"/>
                  </a:lnTo>
                  <a:lnTo>
                    <a:pt x="1386" y="1247"/>
                  </a:lnTo>
                  <a:lnTo>
                    <a:pt x="1386" y="933"/>
                  </a:lnTo>
                  <a:lnTo>
                    <a:pt x="1420" y="943"/>
                  </a:lnTo>
                  <a:lnTo>
                    <a:pt x="1452" y="958"/>
                  </a:lnTo>
                  <a:lnTo>
                    <a:pt x="1480" y="975"/>
                  </a:lnTo>
                  <a:lnTo>
                    <a:pt x="1504" y="996"/>
                  </a:lnTo>
                  <a:lnTo>
                    <a:pt x="1521" y="1018"/>
                  </a:lnTo>
                  <a:lnTo>
                    <a:pt x="1534" y="1043"/>
                  </a:lnTo>
                  <a:lnTo>
                    <a:pt x="1539" y="1069"/>
                  </a:lnTo>
                  <a:lnTo>
                    <a:pt x="1544" y="1089"/>
                  </a:lnTo>
                  <a:lnTo>
                    <a:pt x="1553" y="1106"/>
                  </a:lnTo>
                  <a:lnTo>
                    <a:pt x="1567" y="1121"/>
                  </a:lnTo>
                  <a:lnTo>
                    <a:pt x="1583" y="1132"/>
                  </a:lnTo>
                  <a:lnTo>
                    <a:pt x="1603" y="1139"/>
                  </a:lnTo>
                  <a:lnTo>
                    <a:pt x="1623" y="1139"/>
                  </a:lnTo>
                  <a:lnTo>
                    <a:pt x="1642" y="1134"/>
                  </a:lnTo>
                  <a:lnTo>
                    <a:pt x="1661" y="1126"/>
                  </a:lnTo>
                  <a:lnTo>
                    <a:pt x="1674" y="1112"/>
                  </a:lnTo>
                  <a:lnTo>
                    <a:pt x="1685" y="1096"/>
                  </a:lnTo>
                  <a:lnTo>
                    <a:pt x="1692" y="1076"/>
                  </a:lnTo>
                  <a:lnTo>
                    <a:pt x="1693" y="1056"/>
                  </a:lnTo>
                  <a:lnTo>
                    <a:pt x="1686" y="1017"/>
                  </a:lnTo>
                  <a:lnTo>
                    <a:pt x="1676" y="982"/>
                  </a:lnTo>
                  <a:lnTo>
                    <a:pt x="1658" y="948"/>
                  </a:lnTo>
                  <a:lnTo>
                    <a:pt x="1638" y="915"/>
                  </a:lnTo>
                  <a:lnTo>
                    <a:pt x="1612" y="885"/>
                  </a:lnTo>
                  <a:lnTo>
                    <a:pt x="1582" y="860"/>
                  </a:lnTo>
                  <a:lnTo>
                    <a:pt x="1549" y="835"/>
                  </a:lnTo>
                  <a:lnTo>
                    <a:pt x="1512" y="815"/>
                  </a:lnTo>
                  <a:lnTo>
                    <a:pt x="1473" y="798"/>
                  </a:lnTo>
                  <a:lnTo>
                    <a:pt x="1430" y="785"/>
                  </a:lnTo>
                  <a:lnTo>
                    <a:pt x="1386" y="776"/>
                  </a:lnTo>
                  <a:lnTo>
                    <a:pt x="1386" y="692"/>
                  </a:lnTo>
                  <a:lnTo>
                    <a:pt x="1383" y="672"/>
                  </a:lnTo>
                  <a:lnTo>
                    <a:pt x="1375" y="654"/>
                  </a:lnTo>
                  <a:lnTo>
                    <a:pt x="1363" y="639"/>
                  </a:lnTo>
                  <a:lnTo>
                    <a:pt x="1347" y="626"/>
                  </a:lnTo>
                  <a:lnTo>
                    <a:pt x="1329" y="618"/>
                  </a:lnTo>
                  <a:lnTo>
                    <a:pt x="1308" y="616"/>
                  </a:lnTo>
                  <a:close/>
                  <a:moveTo>
                    <a:pt x="1308" y="0"/>
                  </a:moveTo>
                  <a:lnTo>
                    <a:pt x="1402" y="4"/>
                  </a:lnTo>
                  <a:lnTo>
                    <a:pt x="1493" y="13"/>
                  </a:lnTo>
                  <a:lnTo>
                    <a:pt x="1583" y="29"/>
                  </a:lnTo>
                  <a:lnTo>
                    <a:pt x="1670" y="51"/>
                  </a:lnTo>
                  <a:lnTo>
                    <a:pt x="1755" y="79"/>
                  </a:lnTo>
                  <a:lnTo>
                    <a:pt x="1838" y="112"/>
                  </a:lnTo>
                  <a:lnTo>
                    <a:pt x="1917" y="150"/>
                  </a:lnTo>
                  <a:lnTo>
                    <a:pt x="1993" y="194"/>
                  </a:lnTo>
                  <a:lnTo>
                    <a:pt x="2066" y="243"/>
                  </a:lnTo>
                  <a:lnTo>
                    <a:pt x="2136" y="295"/>
                  </a:lnTo>
                  <a:lnTo>
                    <a:pt x="2201" y="353"/>
                  </a:lnTo>
                  <a:lnTo>
                    <a:pt x="2264" y="415"/>
                  </a:lnTo>
                  <a:lnTo>
                    <a:pt x="2321" y="481"/>
                  </a:lnTo>
                  <a:lnTo>
                    <a:pt x="2374" y="551"/>
                  </a:lnTo>
                  <a:lnTo>
                    <a:pt x="2423" y="624"/>
                  </a:lnTo>
                  <a:lnTo>
                    <a:pt x="2467" y="700"/>
                  </a:lnTo>
                  <a:lnTo>
                    <a:pt x="2505" y="779"/>
                  </a:lnTo>
                  <a:lnTo>
                    <a:pt x="2537" y="862"/>
                  </a:lnTo>
                  <a:lnTo>
                    <a:pt x="2565" y="947"/>
                  </a:lnTo>
                  <a:lnTo>
                    <a:pt x="2588" y="1033"/>
                  </a:lnTo>
                  <a:lnTo>
                    <a:pt x="2604" y="1124"/>
                  </a:lnTo>
                  <a:lnTo>
                    <a:pt x="2614" y="1215"/>
                  </a:lnTo>
                  <a:lnTo>
                    <a:pt x="2617" y="1308"/>
                  </a:lnTo>
                  <a:lnTo>
                    <a:pt x="2614" y="1399"/>
                  </a:lnTo>
                  <a:lnTo>
                    <a:pt x="2604" y="1489"/>
                  </a:lnTo>
                  <a:lnTo>
                    <a:pt x="2588" y="1578"/>
                  </a:lnTo>
                  <a:lnTo>
                    <a:pt x="2567" y="1664"/>
                  </a:lnTo>
                  <a:lnTo>
                    <a:pt x="2541" y="1748"/>
                  </a:lnTo>
                  <a:lnTo>
                    <a:pt x="2507" y="1828"/>
                  </a:lnTo>
                  <a:lnTo>
                    <a:pt x="2470" y="1908"/>
                  </a:lnTo>
                  <a:lnTo>
                    <a:pt x="2428" y="1983"/>
                  </a:lnTo>
                  <a:lnTo>
                    <a:pt x="2381" y="2055"/>
                  </a:lnTo>
                  <a:lnTo>
                    <a:pt x="2329" y="2123"/>
                  </a:lnTo>
                  <a:lnTo>
                    <a:pt x="2272" y="2189"/>
                  </a:lnTo>
                  <a:lnTo>
                    <a:pt x="2212" y="2250"/>
                  </a:lnTo>
                  <a:lnTo>
                    <a:pt x="2149" y="2308"/>
                  </a:lnTo>
                  <a:lnTo>
                    <a:pt x="2081" y="2361"/>
                  </a:lnTo>
                  <a:lnTo>
                    <a:pt x="2009" y="2410"/>
                  </a:lnTo>
                  <a:lnTo>
                    <a:pt x="1935" y="2454"/>
                  </a:lnTo>
                  <a:lnTo>
                    <a:pt x="1858" y="2492"/>
                  </a:lnTo>
                  <a:lnTo>
                    <a:pt x="1778" y="2527"/>
                  </a:lnTo>
                  <a:lnTo>
                    <a:pt x="1472" y="2221"/>
                  </a:lnTo>
                  <a:lnTo>
                    <a:pt x="1444" y="2197"/>
                  </a:lnTo>
                  <a:lnTo>
                    <a:pt x="1413" y="2179"/>
                  </a:lnTo>
                  <a:lnTo>
                    <a:pt x="1380" y="2165"/>
                  </a:lnTo>
                  <a:lnTo>
                    <a:pt x="1345" y="2157"/>
                  </a:lnTo>
                  <a:lnTo>
                    <a:pt x="1308" y="2155"/>
                  </a:lnTo>
                  <a:lnTo>
                    <a:pt x="1272" y="2157"/>
                  </a:lnTo>
                  <a:lnTo>
                    <a:pt x="1237" y="2165"/>
                  </a:lnTo>
                  <a:lnTo>
                    <a:pt x="1203" y="2179"/>
                  </a:lnTo>
                  <a:lnTo>
                    <a:pt x="1173" y="2197"/>
                  </a:lnTo>
                  <a:lnTo>
                    <a:pt x="1145" y="2221"/>
                  </a:lnTo>
                  <a:lnTo>
                    <a:pt x="839" y="2527"/>
                  </a:lnTo>
                  <a:lnTo>
                    <a:pt x="759" y="2492"/>
                  </a:lnTo>
                  <a:lnTo>
                    <a:pt x="682" y="2454"/>
                  </a:lnTo>
                  <a:lnTo>
                    <a:pt x="608" y="2410"/>
                  </a:lnTo>
                  <a:lnTo>
                    <a:pt x="536" y="2361"/>
                  </a:lnTo>
                  <a:lnTo>
                    <a:pt x="468" y="2308"/>
                  </a:lnTo>
                  <a:lnTo>
                    <a:pt x="404" y="2250"/>
                  </a:lnTo>
                  <a:lnTo>
                    <a:pt x="344" y="2189"/>
                  </a:lnTo>
                  <a:lnTo>
                    <a:pt x="288" y="2123"/>
                  </a:lnTo>
                  <a:lnTo>
                    <a:pt x="236" y="2055"/>
                  </a:lnTo>
                  <a:lnTo>
                    <a:pt x="189" y="1983"/>
                  </a:lnTo>
                  <a:lnTo>
                    <a:pt x="146" y="1908"/>
                  </a:lnTo>
                  <a:lnTo>
                    <a:pt x="108" y="1828"/>
                  </a:lnTo>
                  <a:lnTo>
                    <a:pt x="76" y="1748"/>
                  </a:lnTo>
                  <a:lnTo>
                    <a:pt x="49" y="1664"/>
                  </a:lnTo>
                  <a:lnTo>
                    <a:pt x="28" y="1578"/>
                  </a:lnTo>
                  <a:lnTo>
                    <a:pt x="13" y="1489"/>
                  </a:lnTo>
                  <a:lnTo>
                    <a:pt x="3" y="1399"/>
                  </a:lnTo>
                  <a:lnTo>
                    <a:pt x="0" y="1308"/>
                  </a:lnTo>
                  <a:lnTo>
                    <a:pt x="3" y="1215"/>
                  </a:lnTo>
                  <a:lnTo>
                    <a:pt x="13" y="1124"/>
                  </a:lnTo>
                  <a:lnTo>
                    <a:pt x="29" y="1033"/>
                  </a:lnTo>
                  <a:lnTo>
                    <a:pt x="52" y="947"/>
                  </a:lnTo>
                  <a:lnTo>
                    <a:pt x="78" y="862"/>
                  </a:lnTo>
                  <a:lnTo>
                    <a:pt x="112" y="779"/>
                  </a:lnTo>
                  <a:lnTo>
                    <a:pt x="150" y="700"/>
                  </a:lnTo>
                  <a:lnTo>
                    <a:pt x="194" y="624"/>
                  </a:lnTo>
                  <a:lnTo>
                    <a:pt x="243" y="551"/>
                  </a:lnTo>
                  <a:lnTo>
                    <a:pt x="296" y="481"/>
                  </a:lnTo>
                  <a:lnTo>
                    <a:pt x="353" y="415"/>
                  </a:lnTo>
                  <a:lnTo>
                    <a:pt x="415" y="353"/>
                  </a:lnTo>
                  <a:lnTo>
                    <a:pt x="481" y="295"/>
                  </a:lnTo>
                  <a:lnTo>
                    <a:pt x="551" y="243"/>
                  </a:lnTo>
                  <a:lnTo>
                    <a:pt x="624" y="194"/>
                  </a:lnTo>
                  <a:lnTo>
                    <a:pt x="700" y="150"/>
                  </a:lnTo>
                  <a:lnTo>
                    <a:pt x="779" y="112"/>
                  </a:lnTo>
                  <a:lnTo>
                    <a:pt x="862" y="79"/>
                  </a:lnTo>
                  <a:lnTo>
                    <a:pt x="947" y="51"/>
                  </a:lnTo>
                  <a:lnTo>
                    <a:pt x="1034" y="29"/>
                  </a:lnTo>
                  <a:lnTo>
                    <a:pt x="1124" y="13"/>
                  </a:lnTo>
                  <a:lnTo>
                    <a:pt x="1215" y="4"/>
                  </a:lnTo>
                  <a:lnTo>
                    <a:pt x="130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5"/>
            <p:cNvSpPr>
              <a:spLocks/>
            </p:cNvSpPr>
            <p:nvPr/>
          </p:nvSpPr>
          <p:spPr bwMode="auto">
            <a:xfrm>
              <a:off x="590" y="3601"/>
              <a:ext cx="294" cy="182"/>
            </a:xfrm>
            <a:custGeom>
              <a:avLst/>
              <a:gdLst>
                <a:gd name="T0" fmla="*/ 77 w 3232"/>
                <a:gd name="T1" fmla="*/ 0 h 2000"/>
                <a:gd name="T2" fmla="*/ 97 w 3232"/>
                <a:gd name="T3" fmla="*/ 3 h 2000"/>
                <a:gd name="T4" fmla="*/ 115 w 3232"/>
                <a:gd name="T5" fmla="*/ 11 h 2000"/>
                <a:gd name="T6" fmla="*/ 131 w 3232"/>
                <a:gd name="T7" fmla="*/ 23 h 2000"/>
                <a:gd name="T8" fmla="*/ 1616 w 3232"/>
                <a:gd name="T9" fmla="*/ 1506 h 2000"/>
                <a:gd name="T10" fmla="*/ 2177 w 3232"/>
                <a:gd name="T11" fmla="*/ 946 h 2000"/>
                <a:gd name="T12" fmla="*/ 2194 w 3232"/>
                <a:gd name="T13" fmla="*/ 934 h 2000"/>
                <a:gd name="T14" fmla="*/ 2212 w 3232"/>
                <a:gd name="T15" fmla="*/ 926 h 2000"/>
                <a:gd name="T16" fmla="*/ 2231 w 3232"/>
                <a:gd name="T17" fmla="*/ 924 h 2000"/>
                <a:gd name="T18" fmla="*/ 2251 w 3232"/>
                <a:gd name="T19" fmla="*/ 926 h 2000"/>
                <a:gd name="T20" fmla="*/ 2270 w 3232"/>
                <a:gd name="T21" fmla="*/ 934 h 2000"/>
                <a:gd name="T22" fmla="*/ 2286 w 3232"/>
                <a:gd name="T23" fmla="*/ 946 h 2000"/>
                <a:gd name="T24" fmla="*/ 2770 w 3232"/>
                <a:gd name="T25" fmla="*/ 1430 h 2000"/>
                <a:gd name="T26" fmla="*/ 3101 w 3232"/>
                <a:gd name="T27" fmla="*/ 1100 h 2000"/>
                <a:gd name="T28" fmla="*/ 3115 w 3232"/>
                <a:gd name="T29" fmla="*/ 1089 h 2000"/>
                <a:gd name="T30" fmla="*/ 3131 w 3232"/>
                <a:gd name="T31" fmla="*/ 1082 h 2000"/>
                <a:gd name="T32" fmla="*/ 3149 w 3232"/>
                <a:gd name="T33" fmla="*/ 1077 h 2000"/>
                <a:gd name="T34" fmla="*/ 3166 w 3232"/>
                <a:gd name="T35" fmla="*/ 1078 h 2000"/>
                <a:gd name="T36" fmla="*/ 3185 w 3232"/>
                <a:gd name="T37" fmla="*/ 1084 h 2000"/>
                <a:gd name="T38" fmla="*/ 3201 w 3232"/>
                <a:gd name="T39" fmla="*/ 1092 h 2000"/>
                <a:gd name="T40" fmla="*/ 3214 w 3232"/>
                <a:gd name="T41" fmla="*/ 1104 h 2000"/>
                <a:gd name="T42" fmla="*/ 3223 w 3232"/>
                <a:gd name="T43" fmla="*/ 1119 h 2000"/>
                <a:gd name="T44" fmla="*/ 3230 w 3232"/>
                <a:gd name="T45" fmla="*/ 1136 h 2000"/>
                <a:gd name="T46" fmla="*/ 3232 w 3232"/>
                <a:gd name="T47" fmla="*/ 1155 h 2000"/>
                <a:gd name="T48" fmla="*/ 3232 w 3232"/>
                <a:gd name="T49" fmla="*/ 1924 h 2000"/>
                <a:gd name="T50" fmla="*/ 3230 w 3232"/>
                <a:gd name="T51" fmla="*/ 1944 h 2000"/>
                <a:gd name="T52" fmla="*/ 3221 w 3232"/>
                <a:gd name="T53" fmla="*/ 1962 h 2000"/>
                <a:gd name="T54" fmla="*/ 3209 w 3232"/>
                <a:gd name="T55" fmla="*/ 1977 h 2000"/>
                <a:gd name="T56" fmla="*/ 3194 w 3232"/>
                <a:gd name="T57" fmla="*/ 1990 h 2000"/>
                <a:gd name="T58" fmla="*/ 3176 w 3232"/>
                <a:gd name="T59" fmla="*/ 1998 h 2000"/>
                <a:gd name="T60" fmla="*/ 3155 w 3232"/>
                <a:gd name="T61" fmla="*/ 2000 h 2000"/>
                <a:gd name="T62" fmla="*/ 2386 w 3232"/>
                <a:gd name="T63" fmla="*/ 2000 h 2000"/>
                <a:gd name="T64" fmla="*/ 2368 w 3232"/>
                <a:gd name="T65" fmla="*/ 1998 h 2000"/>
                <a:gd name="T66" fmla="*/ 2351 w 3232"/>
                <a:gd name="T67" fmla="*/ 1992 h 2000"/>
                <a:gd name="T68" fmla="*/ 2336 w 3232"/>
                <a:gd name="T69" fmla="*/ 1982 h 2000"/>
                <a:gd name="T70" fmla="*/ 2324 w 3232"/>
                <a:gd name="T71" fmla="*/ 1969 h 2000"/>
                <a:gd name="T72" fmla="*/ 2314 w 3232"/>
                <a:gd name="T73" fmla="*/ 1953 h 2000"/>
                <a:gd name="T74" fmla="*/ 2310 w 3232"/>
                <a:gd name="T75" fmla="*/ 1936 h 2000"/>
                <a:gd name="T76" fmla="*/ 2309 w 3232"/>
                <a:gd name="T77" fmla="*/ 1917 h 2000"/>
                <a:gd name="T78" fmla="*/ 2312 w 3232"/>
                <a:gd name="T79" fmla="*/ 1900 h 2000"/>
                <a:gd name="T80" fmla="*/ 2319 w 3232"/>
                <a:gd name="T81" fmla="*/ 1883 h 2000"/>
                <a:gd name="T82" fmla="*/ 2331 w 3232"/>
                <a:gd name="T83" fmla="*/ 1869 h 2000"/>
                <a:gd name="T84" fmla="*/ 2662 w 3232"/>
                <a:gd name="T85" fmla="*/ 1539 h 2000"/>
                <a:gd name="T86" fmla="*/ 2231 w 3232"/>
                <a:gd name="T87" fmla="*/ 1110 h 2000"/>
                <a:gd name="T88" fmla="*/ 1670 w 3232"/>
                <a:gd name="T89" fmla="*/ 1671 h 2000"/>
                <a:gd name="T90" fmla="*/ 1654 w 3232"/>
                <a:gd name="T91" fmla="*/ 1682 h 2000"/>
                <a:gd name="T92" fmla="*/ 1636 w 3232"/>
                <a:gd name="T93" fmla="*/ 1690 h 2000"/>
                <a:gd name="T94" fmla="*/ 1616 w 3232"/>
                <a:gd name="T95" fmla="*/ 1693 h 2000"/>
                <a:gd name="T96" fmla="*/ 1596 w 3232"/>
                <a:gd name="T97" fmla="*/ 1690 h 2000"/>
                <a:gd name="T98" fmla="*/ 1578 w 3232"/>
                <a:gd name="T99" fmla="*/ 1682 h 2000"/>
                <a:gd name="T100" fmla="*/ 1562 w 3232"/>
                <a:gd name="T101" fmla="*/ 1671 h 2000"/>
                <a:gd name="T102" fmla="*/ 23 w 3232"/>
                <a:gd name="T103" fmla="*/ 132 h 2000"/>
                <a:gd name="T104" fmla="*/ 10 w 3232"/>
                <a:gd name="T105" fmla="*/ 116 h 2000"/>
                <a:gd name="T106" fmla="*/ 2 w 3232"/>
                <a:gd name="T107" fmla="*/ 97 h 2000"/>
                <a:gd name="T108" fmla="*/ 0 w 3232"/>
                <a:gd name="T109" fmla="*/ 77 h 2000"/>
                <a:gd name="T110" fmla="*/ 2 w 3232"/>
                <a:gd name="T111" fmla="*/ 58 h 2000"/>
                <a:gd name="T112" fmla="*/ 10 w 3232"/>
                <a:gd name="T113" fmla="*/ 40 h 2000"/>
                <a:gd name="T114" fmla="*/ 23 w 3232"/>
                <a:gd name="T115" fmla="*/ 23 h 2000"/>
                <a:gd name="T116" fmla="*/ 39 w 3232"/>
                <a:gd name="T117" fmla="*/ 11 h 2000"/>
                <a:gd name="T118" fmla="*/ 57 w 3232"/>
                <a:gd name="T119" fmla="*/ 3 h 2000"/>
                <a:gd name="T120" fmla="*/ 77 w 3232"/>
                <a:gd name="T121" fmla="*/ 0 h 2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3232" h="2000">
                  <a:moveTo>
                    <a:pt x="77" y="0"/>
                  </a:moveTo>
                  <a:lnTo>
                    <a:pt x="97" y="3"/>
                  </a:lnTo>
                  <a:lnTo>
                    <a:pt x="115" y="11"/>
                  </a:lnTo>
                  <a:lnTo>
                    <a:pt x="131" y="23"/>
                  </a:lnTo>
                  <a:lnTo>
                    <a:pt x="1616" y="1506"/>
                  </a:lnTo>
                  <a:lnTo>
                    <a:pt x="2177" y="946"/>
                  </a:lnTo>
                  <a:lnTo>
                    <a:pt x="2194" y="934"/>
                  </a:lnTo>
                  <a:lnTo>
                    <a:pt x="2212" y="926"/>
                  </a:lnTo>
                  <a:lnTo>
                    <a:pt x="2231" y="924"/>
                  </a:lnTo>
                  <a:lnTo>
                    <a:pt x="2251" y="926"/>
                  </a:lnTo>
                  <a:lnTo>
                    <a:pt x="2270" y="934"/>
                  </a:lnTo>
                  <a:lnTo>
                    <a:pt x="2286" y="946"/>
                  </a:lnTo>
                  <a:lnTo>
                    <a:pt x="2770" y="1430"/>
                  </a:lnTo>
                  <a:lnTo>
                    <a:pt x="3101" y="1100"/>
                  </a:lnTo>
                  <a:lnTo>
                    <a:pt x="3115" y="1089"/>
                  </a:lnTo>
                  <a:lnTo>
                    <a:pt x="3131" y="1082"/>
                  </a:lnTo>
                  <a:lnTo>
                    <a:pt x="3149" y="1077"/>
                  </a:lnTo>
                  <a:lnTo>
                    <a:pt x="3166" y="1078"/>
                  </a:lnTo>
                  <a:lnTo>
                    <a:pt x="3185" y="1084"/>
                  </a:lnTo>
                  <a:lnTo>
                    <a:pt x="3201" y="1092"/>
                  </a:lnTo>
                  <a:lnTo>
                    <a:pt x="3214" y="1104"/>
                  </a:lnTo>
                  <a:lnTo>
                    <a:pt x="3223" y="1119"/>
                  </a:lnTo>
                  <a:lnTo>
                    <a:pt x="3230" y="1136"/>
                  </a:lnTo>
                  <a:lnTo>
                    <a:pt x="3232" y="1155"/>
                  </a:lnTo>
                  <a:lnTo>
                    <a:pt x="3232" y="1924"/>
                  </a:lnTo>
                  <a:lnTo>
                    <a:pt x="3230" y="1944"/>
                  </a:lnTo>
                  <a:lnTo>
                    <a:pt x="3221" y="1962"/>
                  </a:lnTo>
                  <a:lnTo>
                    <a:pt x="3209" y="1977"/>
                  </a:lnTo>
                  <a:lnTo>
                    <a:pt x="3194" y="1990"/>
                  </a:lnTo>
                  <a:lnTo>
                    <a:pt x="3176" y="1998"/>
                  </a:lnTo>
                  <a:lnTo>
                    <a:pt x="3155" y="2000"/>
                  </a:lnTo>
                  <a:lnTo>
                    <a:pt x="2386" y="2000"/>
                  </a:lnTo>
                  <a:lnTo>
                    <a:pt x="2368" y="1998"/>
                  </a:lnTo>
                  <a:lnTo>
                    <a:pt x="2351" y="1992"/>
                  </a:lnTo>
                  <a:lnTo>
                    <a:pt x="2336" y="1982"/>
                  </a:lnTo>
                  <a:lnTo>
                    <a:pt x="2324" y="1969"/>
                  </a:lnTo>
                  <a:lnTo>
                    <a:pt x="2314" y="1953"/>
                  </a:lnTo>
                  <a:lnTo>
                    <a:pt x="2310" y="1936"/>
                  </a:lnTo>
                  <a:lnTo>
                    <a:pt x="2309" y="1917"/>
                  </a:lnTo>
                  <a:lnTo>
                    <a:pt x="2312" y="1900"/>
                  </a:lnTo>
                  <a:lnTo>
                    <a:pt x="2319" y="1883"/>
                  </a:lnTo>
                  <a:lnTo>
                    <a:pt x="2331" y="1869"/>
                  </a:lnTo>
                  <a:lnTo>
                    <a:pt x="2662" y="1539"/>
                  </a:lnTo>
                  <a:lnTo>
                    <a:pt x="2231" y="1110"/>
                  </a:lnTo>
                  <a:lnTo>
                    <a:pt x="1670" y="1671"/>
                  </a:lnTo>
                  <a:lnTo>
                    <a:pt x="1654" y="1682"/>
                  </a:lnTo>
                  <a:lnTo>
                    <a:pt x="1636" y="1690"/>
                  </a:lnTo>
                  <a:lnTo>
                    <a:pt x="1616" y="1693"/>
                  </a:lnTo>
                  <a:lnTo>
                    <a:pt x="1596" y="1690"/>
                  </a:lnTo>
                  <a:lnTo>
                    <a:pt x="1578" y="1682"/>
                  </a:lnTo>
                  <a:lnTo>
                    <a:pt x="1562" y="1671"/>
                  </a:lnTo>
                  <a:lnTo>
                    <a:pt x="23" y="132"/>
                  </a:lnTo>
                  <a:lnTo>
                    <a:pt x="10" y="116"/>
                  </a:lnTo>
                  <a:lnTo>
                    <a:pt x="2" y="97"/>
                  </a:lnTo>
                  <a:lnTo>
                    <a:pt x="0" y="77"/>
                  </a:lnTo>
                  <a:lnTo>
                    <a:pt x="2" y="58"/>
                  </a:lnTo>
                  <a:lnTo>
                    <a:pt x="10" y="40"/>
                  </a:lnTo>
                  <a:lnTo>
                    <a:pt x="23" y="23"/>
                  </a:lnTo>
                  <a:lnTo>
                    <a:pt x="39" y="11"/>
                  </a:lnTo>
                  <a:lnTo>
                    <a:pt x="57" y="3"/>
                  </a:lnTo>
                  <a:lnTo>
                    <a:pt x="7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9" name="Freeform 20"/>
          <p:cNvSpPr>
            <a:spLocks noEditPoints="1"/>
          </p:cNvSpPr>
          <p:nvPr/>
        </p:nvSpPr>
        <p:spPr bwMode="auto">
          <a:xfrm>
            <a:off x="972151" y="2614263"/>
            <a:ext cx="440759" cy="440755"/>
          </a:xfrm>
          <a:custGeom>
            <a:avLst/>
            <a:gdLst>
              <a:gd name="T0" fmla="*/ 1531 w 3402"/>
              <a:gd name="T1" fmla="*/ 2381 h 3402"/>
              <a:gd name="T2" fmla="*/ 1531 w 3402"/>
              <a:gd name="T3" fmla="*/ 1905 h 3402"/>
              <a:gd name="T4" fmla="*/ 1796 w 3402"/>
              <a:gd name="T5" fmla="*/ 3 h 3402"/>
              <a:gd name="T6" fmla="*/ 2076 w 3402"/>
              <a:gd name="T7" fmla="*/ 43 h 3402"/>
              <a:gd name="T8" fmla="*/ 2347 w 3402"/>
              <a:gd name="T9" fmla="*/ 119 h 3402"/>
              <a:gd name="T10" fmla="*/ 1931 w 3402"/>
              <a:gd name="T11" fmla="*/ 359 h 3402"/>
              <a:gd name="T12" fmla="*/ 1701 w 3402"/>
              <a:gd name="T13" fmla="*/ 340 h 3402"/>
              <a:gd name="T14" fmla="*/ 1428 w 3402"/>
              <a:gd name="T15" fmla="*/ 368 h 3402"/>
              <a:gd name="T16" fmla="*/ 1173 w 3402"/>
              <a:gd name="T17" fmla="*/ 448 h 3402"/>
              <a:gd name="T18" fmla="*/ 941 w 3402"/>
              <a:gd name="T19" fmla="*/ 574 h 3402"/>
              <a:gd name="T20" fmla="*/ 740 w 3402"/>
              <a:gd name="T21" fmla="*/ 740 h 3402"/>
              <a:gd name="T22" fmla="*/ 574 w 3402"/>
              <a:gd name="T23" fmla="*/ 941 h 3402"/>
              <a:gd name="T24" fmla="*/ 448 w 3402"/>
              <a:gd name="T25" fmla="*/ 1173 h 3402"/>
              <a:gd name="T26" fmla="*/ 368 w 3402"/>
              <a:gd name="T27" fmla="*/ 1428 h 3402"/>
              <a:gd name="T28" fmla="*/ 340 w 3402"/>
              <a:gd name="T29" fmla="*/ 1701 h 3402"/>
              <a:gd name="T30" fmla="*/ 368 w 3402"/>
              <a:gd name="T31" fmla="*/ 1974 h 3402"/>
              <a:gd name="T32" fmla="*/ 448 w 3402"/>
              <a:gd name="T33" fmla="*/ 2229 h 3402"/>
              <a:gd name="T34" fmla="*/ 574 w 3402"/>
              <a:gd name="T35" fmla="*/ 2461 h 3402"/>
              <a:gd name="T36" fmla="*/ 740 w 3402"/>
              <a:gd name="T37" fmla="*/ 2662 h 3402"/>
              <a:gd name="T38" fmla="*/ 941 w 3402"/>
              <a:gd name="T39" fmla="*/ 2828 h 3402"/>
              <a:gd name="T40" fmla="*/ 1173 w 3402"/>
              <a:gd name="T41" fmla="*/ 2954 h 3402"/>
              <a:gd name="T42" fmla="*/ 1428 w 3402"/>
              <a:gd name="T43" fmla="*/ 3034 h 3402"/>
              <a:gd name="T44" fmla="*/ 1701 w 3402"/>
              <a:gd name="T45" fmla="*/ 3062 h 3402"/>
              <a:gd name="T46" fmla="*/ 1974 w 3402"/>
              <a:gd name="T47" fmla="*/ 3034 h 3402"/>
              <a:gd name="T48" fmla="*/ 2229 w 3402"/>
              <a:gd name="T49" fmla="*/ 2954 h 3402"/>
              <a:gd name="T50" fmla="*/ 2461 w 3402"/>
              <a:gd name="T51" fmla="*/ 2828 h 3402"/>
              <a:gd name="T52" fmla="*/ 2662 w 3402"/>
              <a:gd name="T53" fmla="*/ 2662 h 3402"/>
              <a:gd name="T54" fmla="*/ 2828 w 3402"/>
              <a:gd name="T55" fmla="*/ 2461 h 3402"/>
              <a:gd name="T56" fmla="*/ 2954 w 3402"/>
              <a:gd name="T57" fmla="*/ 2229 h 3402"/>
              <a:gd name="T58" fmla="*/ 3034 w 3402"/>
              <a:gd name="T59" fmla="*/ 1974 h 3402"/>
              <a:gd name="T60" fmla="*/ 3062 w 3402"/>
              <a:gd name="T61" fmla="*/ 1701 h 3402"/>
              <a:gd name="T62" fmla="*/ 3390 w 3402"/>
              <a:gd name="T63" fmla="*/ 1906 h 3402"/>
              <a:gd name="T64" fmla="*/ 3327 w 3402"/>
              <a:gd name="T65" fmla="*/ 2199 h 3402"/>
              <a:gd name="T66" fmla="*/ 3215 w 3402"/>
              <a:gd name="T67" fmla="*/ 2472 h 3402"/>
              <a:gd name="T68" fmla="*/ 3061 w 3402"/>
              <a:gd name="T69" fmla="*/ 2720 h 3402"/>
              <a:gd name="T70" fmla="*/ 2867 w 3402"/>
              <a:gd name="T71" fmla="*/ 2936 h 3402"/>
              <a:gd name="T72" fmla="*/ 2640 w 3402"/>
              <a:gd name="T73" fmla="*/ 3117 h 3402"/>
              <a:gd name="T74" fmla="*/ 2383 w 3402"/>
              <a:gd name="T75" fmla="*/ 3258 h 3402"/>
              <a:gd name="T76" fmla="*/ 2103 w 3402"/>
              <a:gd name="T77" fmla="*/ 3354 h 3402"/>
              <a:gd name="T78" fmla="*/ 1804 w 3402"/>
              <a:gd name="T79" fmla="*/ 3399 h 3402"/>
              <a:gd name="T80" fmla="*/ 1496 w 3402"/>
              <a:gd name="T81" fmla="*/ 3390 h 3402"/>
              <a:gd name="T82" fmla="*/ 1203 w 3402"/>
              <a:gd name="T83" fmla="*/ 3327 h 3402"/>
              <a:gd name="T84" fmla="*/ 930 w 3402"/>
              <a:gd name="T85" fmla="*/ 3215 h 3402"/>
              <a:gd name="T86" fmla="*/ 682 w 3402"/>
              <a:gd name="T87" fmla="*/ 3061 h 3402"/>
              <a:gd name="T88" fmla="*/ 466 w 3402"/>
              <a:gd name="T89" fmla="*/ 2867 h 3402"/>
              <a:gd name="T90" fmla="*/ 285 w 3402"/>
              <a:gd name="T91" fmla="*/ 2640 h 3402"/>
              <a:gd name="T92" fmla="*/ 144 w 3402"/>
              <a:gd name="T93" fmla="*/ 2383 h 3402"/>
              <a:gd name="T94" fmla="*/ 48 w 3402"/>
              <a:gd name="T95" fmla="*/ 2103 h 3402"/>
              <a:gd name="T96" fmla="*/ 3 w 3402"/>
              <a:gd name="T97" fmla="*/ 1804 h 3402"/>
              <a:gd name="T98" fmla="*/ 12 w 3402"/>
              <a:gd name="T99" fmla="*/ 1496 h 3402"/>
              <a:gd name="T100" fmla="*/ 75 w 3402"/>
              <a:gd name="T101" fmla="*/ 1203 h 3402"/>
              <a:gd name="T102" fmla="*/ 187 w 3402"/>
              <a:gd name="T103" fmla="*/ 930 h 3402"/>
              <a:gd name="T104" fmla="*/ 341 w 3402"/>
              <a:gd name="T105" fmla="*/ 682 h 3402"/>
              <a:gd name="T106" fmla="*/ 535 w 3402"/>
              <a:gd name="T107" fmla="*/ 466 h 3402"/>
              <a:gd name="T108" fmla="*/ 762 w 3402"/>
              <a:gd name="T109" fmla="*/ 285 h 3402"/>
              <a:gd name="T110" fmla="*/ 1019 w 3402"/>
              <a:gd name="T111" fmla="*/ 144 h 3402"/>
              <a:gd name="T112" fmla="*/ 1299 w 3402"/>
              <a:gd name="T113" fmla="*/ 48 h 3402"/>
              <a:gd name="T114" fmla="*/ 1598 w 3402"/>
              <a:gd name="T115" fmla="*/ 3 h 34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402" h="3402">
                <a:moveTo>
                  <a:pt x="2994" y="442"/>
                </a:moveTo>
                <a:lnTo>
                  <a:pt x="3232" y="680"/>
                </a:lnTo>
                <a:lnTo>
                  <a:pt x="1531" y="2381"/>
                </a:lnTo>
                <a:lnTo>
                  <a:pt x="766" y="1616"/>
                </a:lnTo>
                <a:lnTo>
                  <a:pt x="1003" y="1377"/>
                </a:lnTo>
                <a:lnTo>
                  <a:pt x="1531" y="1905"/>
                </a:lnTo>
                <a:lnTo>
                  <a:pt x="2994" y="442"/>
                </a:lnTo>
                <a:close/>
                <a:moveTo>
                  <a:pt x="1701" y="0"/>
                </a:moveTo>
                <a:lnTo>
                  <a:pt x="1796" y="3"/>
                </a:lnTo>
                <a:lnTo>
                  <a:pt x="1890" y="11"/>
                </a:lnTo>
                <a:lnTo>
                  <a:pt x="1983" y="26"/>
                </a:lnTo>
                <a:lnTo>
                  <a:pt x="2076" y="43"/>
                </a:lnTo>
                <a:lnTo>
                  <a:pt x="2168" y="65"/>
                </a:lnTo>
                <a:lnTo>
                  <a:pt x="2259" y="91"/>
                </a:lnTo>
                <a:lnTo>
                  <a:pt x="2347" y="119"/>
                </a:lnTo>
                <a:lnTo>
                  <a:pt x="2075" y="391"/>
                </a:lnTo>
                <a:lnTo>
                  <a:pt x="2004" y="373"/>
                </a:lnTo>
                <a:lnTo>
                  <a:pt x="1931" y="359"/>
                </a:lnTo>
                <a:lnTo>
                  <a:pt x="1858" y="348"/>
                </a:lnTo>
                <a:lnTo>
                  <a:pt x="1780" y="342"/>
                </a:lnTo>
                <a:lnTo>
                  <a:pt x="1701" y="340"/>
                </a:lnTo>
                <a:lnTo>
                  <a:pt x="1608" y="343"/>
                </a:lnTo>
                <a:lnTo>
                  <a:pt x="1517" y="354"/>
                </a:lnTo>
                <a:lnTo>
                  <a:pt x="1428" y="368"/>
                </a:lnTo>
                <a:lnTo>
                  <a:pt x="1340" y="390"/>
                </a:lnTo>
                <a:lnTo>
                  <a:pt x="1256" y="416"/>
                </a:lnTo>
                <a:lnTo>
                  <a:pt x="1173" y="448"/>
                </a:lnTo>
                <a:lnTo>
                  <a:pt x="1093" y="485"/>
                </a:lnTo>
                <a:lnTo>
                  <a:pt x="1015" y="527"/>
                </a:lnTo>
                <a:lnTo>
                  <a:pt x="941" y="574"/>
                </a:lnTo>
                <a:lnTo>
                  <a:pt x="871" y="625"/>
                </a:lnTo>
                <a:lnTo>
                  <a:pt x="804" y="680"/>
                </a:lnTo>
                <a:lnTo>
                  <a:pt x="740" y="740"/>
                </a:lnTo>
                <a:lnTo>
                  <a:pt x="680" y="804"/>
                </a:lnTo>
                <a:lnTo>
                  <a:pt x="625" y="871"/>
                </a:lnTo>
                <a:lnTo>
                  <a:pt x="574" y="941"/>
                </a:lnTo>
                <a:lnTo>
                  <a:pt x="527" y="1015"/>
                </a:lnTo>
                <a:lnTo>
                  <a:pt x="485" y="1093"/>
                </a:lnTo>
                <a:lnTo>
                  <a:pt x="448" y="1173"/>
                </a:lnTo>
                <a:lnTo>
                  <a:pt x="416" y="1256"/>
                </a:lnTo>
                <a:lnTo>
                  <a:pt x="390" y="1340"/>
                </a:lnTo>
                <a:lnTo>
                  <a:pt x="368" y="1428"/>
                </a:lnTo>
                <a:lnTo>
                  <a:pt x="354" y="1517"/>
                </a:lnTo>
                <a:lnTo>
                  <a:pt x="343" y="1608"/>
                </a:lnTo>
                <a:lnTo>
                  <a:pt x="340" y="1701"/>
                </a:lnTo>
                <a:lnTo>
                  <a:pt x="343" y="1794"/>
                </a:lnTo>
                <a:lnTo>
                  <a:pt x="354" y="1885"/>
                </a:lnTo>
                <a:lnTo>
                  <a:pt x="368" y="1974"/>
                </a:lnTo>
                <a:lnTo>
                  <a:pt x="390" y="2062"/>
                </a:lnTo>
                <a:lnTo>
                  <a:pt x="416" y="2146"/>
                </a:lnTo>
                <a:lnTo>
                  <a:pt x="448" y="2229"/>
                </a:lnTo>
                <a:lnTo>
                  <a:pt x="485" y="2309"/>
                </a:lnTo>
                <a:lnTo>
                  <a:pt x="527" y="2387"/>
                </a:lnTo>
                <a:lnTo>
                  <a:pt x="574" y="2461"/>
                </a:lnTo>
                <a:lnTo>
                  <a:pt x="625" y="2531"/>
                </a:lnTo>
                <a:lnTo>
                  <a:pt x="680" y="2598"/>
                </a:lnTo>
                <a:lnTo>
                  <a:pt x="740" y="2662"/>
                </a:lnTo>
                <a:lnTo>
                  <a:pt x="804" y="2722"/>
                </a:lnTo>
                <a:lnTo>
                  <a:pt x="871" y="2777"/>
                </a:lnTo>
                <a:lnTo>
                  <a:pt x="941" y="2828"/>
                </a:lnTo>
                <a:lnTo>
                  <a:pt x="1015" y="2875"/>
                </a:lnTo>
                <a:lnTo>
                  <a:pt x="1093" y="2917"/>
                </a:lnTo>
                <a:lnTo>
                  <a:pt x="1173" y="2954"/>
                </a:lnTo>
                <a:lnTo>
                  <a:pt x="1256" y="2986"/>
                </a:lnTo>
                <a:lnTo>
                  <a:pt x="1340" y="3012"/>
                </a:lnTo>
                <a:lnTo>
                  <a:pt x="1428" y="3034"/>
                </a:lnTo>
                <a:lnTo>
                  <a:pt x="1517" y="3048"/>
                </a:lnTo>
                <a:lnTo>
                  <a:pt x="1608" y="3059"/>
                </a:lnTo>
                <a:lnTo>
                  <a:pt x="1701" y="3062"/>
                </a:lnTo>
                <a:lnTo>
                  <a:pt x="1794" y="3059"/>
                </a:lnTo>
                <a:lnTo>
                  <a:pt x="1885" y="3048"/>
                </a:lnTo>
                <a:lnTo>
                  <a:pt x="1974" y="3034"/>
                </a:lnTo>
                <a:lnTo>
                  <a:pt x="2062" y="3012"/>
                </a:lnTo>
                <a:lnTo>
                  <a:pt x="2146" y="2986"/>
                </a:lnTo>
                <a:lnTo>
                  <a:pt x="2229" y="2954"/>
                </a:lnTo>
                <a:lnTo>
                  <a:pt x="2309" y="2917"/>
                </a:lnTo>
                <a:lnTo>
                  <a:pt x="2387" y="2875"/>
                </a:lnTo>
                <a:lnTo>
                  <a:pt x="2461" y="2828"/>
                </a:lnTo>
                <a:lnTo>
                  <a:pt x="2531" y="2777"/>
                </a:lnTo>
                <a:lnTo>
                  <a:pt x="2598" y="2722"/>
                </a:lnTo>
                <a:lnTo>
                  <a:pt x="2662" y="2662"/>
                </a:lnTo>
                <a:lnTo>
                  <a:pt x="2722" y="2598"/>
                </a:lnTo>
                <a:lnTo>
                  <a:pt x="2777" y="2531"/>
                </a:lnTo>
                <a:lnTo>
                  <a:pt x="2828" y="2461"/>
                </a:lnTo>
                <a:lnTo>
                  <a:pt x="2875" y="2387"/>
                </a:lnTo>
                <a:lnTo>
                  <a:pt x="2917" y="2309"/>
                </a:lnTo>
                <a:lnTo>
                  <a:pt x="2954" y="2229"/>
                </a:lnTo>
                <a:lnTo>
                  <a:pt x="2986" y="2146"/>
                </a:lnTo>
                <a:lnTo>
                  <a:pt x="3012" y="2062"/>
                </a:lnTo>
                <a:lnTo>
                  <a:pt x="3034" y="1974"/>
                </a:lnTo>
                <a:lnTo>
                  <a:pt x="3048" y="1885"/>
                </a:lnTo>
                <a:lnTo>
                  <a:pt x="3059" y="1794"/>
                </a:lnTo>
                <a:lnTo>
                  <a:pt x="3062" y="1701"/>
                </a:lnTo>
                <a:lnTo>
                  <a:pt x="3402" y="1701"/>
                </a:lnTo>
                <a:lnTo>
                  <a:pt x="3399" y="1804"/>
                </a:lnTo>
                <a:lnTo>
                  <a:pt x="3390" y="1906"/>
                </a:lnTo>
                <a:lnTo>
                  <a:pt x="3374" y="2005"/>
                </a:lnTo>
                <a:lnTo>
                  <a:pt x="3354" y="2103"/>
                </a:lnTo>
                <a:lnTo>
                  <a:pt x="3327" y="2199"/>
                </a:lnTo>
                <a:lnTo>
                  <a:pt x="3295" y="2293"/>
                </a:lnTo>
                <a:lnTo>
                  <a:pt x="3258" y="2383"/>
                </a:lnTo>
                <a:lnTo>
                  <a:pt x="3215" y="2472"/>
                </a:lnTo>
                <a:lnTo>
                  <a:pt x="3169" y="2558"/>
                </a:lnTo>
                <a:lnTo>
                  <a:pt x="3117" y="2640"/>
                </a:lnTo>
                <a:lnTo>
                  <a:pt x="3061" y="2720"/>
                </a:lnTo>
                <a:lnTo>
                  <a:pt x="3001" y="2795"/>
                </a:lnTo>
                <a:lnTo>
                  <a:pt x="2936" y="2867"/>
                </a:lnTo>
                <a:lnTo>
                  <a:pt x="2867" y="2936"/>
                </a:lnTo>
                <a:lnTo>
                  <a:pt x="2795" y="3001"/>
                </a:lnTo>
                <a:lnTo>
                  <a:pt x="2720" y="3061"/>
                </a:lnTo>
                <a:lnTo>
                  <a:pt x="2640" y="3117"/>
                </a:lnTo>
                <a:lnTo>
                  <a:pt x="2558" y="3169"/>
                </a:lnTo>
                <a:lnTo>
                  <a:pt x="2472" y="3215"/>
                </a:lnTo>
                <a:lnTo>
                  <a:pt x="2383" y="3258"/>
                </a:lnTo>
                <a:lnTo>
                  <a:pt x="2293" y="3295"/>
                </a:lnTo>
                <a:lnTo>
                  <a:pt x="2199" y="3327"/>
                </a:lnTo>
                <a:lnTo>
                  <a:pt x="2103" y="3354"/>
                </a:lnTo>
                <a:lnTo>
                  <a:pt x="2005" y="3374"/>
                </a:lnTo>
                <a:lnTo>
                  <a:pt x="1906" y="3390"/>
                </a:lnTo>
                <a:lnTo>
                  <a:pt x="1804" y="3399"/>
                </a:lnTo>
                <a:lnTo>
                  <a:pt x="1701" y="3402"/>
                </a:lnTo>
                <a:lnTo>
                  <a:pt x="1598" y="3399"/>
                </a:lnTo>
                <a:lnTo>
                  <a:pt x="1496" y="3390"/>
                </a:lnTo>
                <a:lnTo>
                  <a:pt x="1397" y="3374"/>
                </a:lnTo>
                <a:lnTo>
                  <a:pt x="1299" y="3354"/>
                </a:lnTo>
                <a:lnTo>
                  <a:pt x="1203" y="3327"/>
                </a:lnTo>
                <a:lnTo>
                  <a:pt x="1109" y="3295"/>
                </a:lnTo>
                <a:lnTo>
                  <a:pt x="1019" y="3258"/>
                </a:lnTo>
                <a:lnTo>
                  <a:pt x="930" y="3215"/>
                </a:lnTo>
                <a:lnTo>
                  <a:pt x="844" y="3169"/>
                </a:lnTo>
                <a:lnTo>
                  <a:pt x="762" y="3117"/>
                </a:lnTo>
                <a:lnTo>
                  <a:pt x="682" y="3061"/>
                </a:lnTo>
                <a:lnTo>
                  <a:pt x="607" y="3001"/>
                </a:lnTo>
                <a:lnTo>
                  <a:pt x="535" y="2936"/>
                </a:lnTo>
                <a:lnTo>
                  <a:pt x="466" y="2867"/>
                </a:lnTo>
                <a:lnTo>
                  <a:pt x="401" y="2795"/>
                </a:lnTo>
                <a:lnTo>
                  <a:pt x="341" y="2720"/>
                </a:lnTo>
                <a:lnTo>
                  <a:pt x="285" y="2640"/>
                </a:lnTo>
                <a:lnTo>
                  <a:pt x="233" y="2558"/>
                </a:lnTo>
                <a:lnTo>
                  <a:pt x="187" y="2472"/>
                </a:lnTo>
                <a:lnTo>
                  <a:pt x="144" y="2383"/>
                </a:lnTo>
                <a:lnTo>
                  <a:pt x="107" y="2293"/>
                </a:lnTo>
                <a:lnTo>
                  <a:pt x="75" y="2199"/>
                </a:lnTo>
                <a:lnTo>
                  <a:pt x="48" y="2103"/>
                </a:lnTo>
                <a:lnTo>
                  <a:pt x="28" y="2005"/>
                </a:lnTo>
                <a:lnTo>
                  <a:pt x="12" y="1906"/>
                </a:lnTo>
                <a:lnTo>
                  <a:pt x="3" y="1804"/>
                </a:lnTo>
                <a:lnTo>
                  <a:pt x="0" y="1701"/>
                </a:lnTo>
                <a:lnTo>
                  <a:pt x="3" y="1598"/>
                </a:lnTo>
                <a:lnTo>
                  <a:pt x="12" y="1496"/>
                </a:lnTo>
                <a:lnTo>
                  <a:pt x="28" y="1397"/>
                </a:lnTo>
                <a:lnTo>
                  <a:pt x="48" y="1299"/>
                </a:lnTo>
                <a:lnTo>
                  <a:pt x="75" y="1203"/>
                </a:lnTo>
                <a:lnTo>
                  <a:pt x="107" y="1109"/>
                </a:lnTo>
                <a:lnTo>
                  <a:pt x="144" y="1019"/>
                </a:lnTo>
                <a:lnTo>
                  <a:pt x="187" y="930"/>
                </a:lnTo>
                <a:lnTo>
                  <a:pt x="233" y="844"/>
                </a:lnTo>
                <a:lnTo>
                  <a:pt x="285" y="762"/>
                </a:lnTo>
                <a:lnTo>
                  <a:pt x="341" y="682"/>
                </a:lnTo>
                <a:lnTo>
                  <a:pt x="401" y="607"/>
                </a:lnTo>
                <a:lnTo>
                  <a:pt x="466" y="535"/>
                </a:lnTo>
                <a:lnTo>
                  <a:pt x="535" y="466"/>
                </a:lnTo>
                <a:lnTo>
                  <a:pt x="607" y="401"/>
                </a:lnTo>
                <a:lnTo>
                  <a:pt x="682" y="341"/>
                </a:lnTo>
                <a:lnTo>
                  <a:pt x="762" y="285"/>
                </a:lnTo>
                <a:lnTo>
                  <a:pt x="844" y="233"/>
                </a:lnTo>
                <a:lnTo>
                  <a:pt x="930" y="187"/>
                </a:lnTo>
                <a:lnTo>
                  <a:pt x="1019" y="144"/>
                </a:lnTo>
                <a:lnTo>
                  <a:pt x="1109" y="107"/>
                </a:lnTo>
                <a:lnTo>
                  <a:pt x="1203" y="75"/>
                </a:lnTo>
                <a:lnTo>
                  <a:pt x="1299" y="48"/>
                </a:lnTo>
                <a:lnTo>
                  <a:pt x="1397" y="28"/>
                </a:lnTo>
                <a:lnTo>
                  <a:pt x="1496" y="12"/>
                </a:lnTo>
                <a:lnTo>
                  <a:pt x="1598" y="3"/>
                </a:lnTo>
                <a:lnTo>
                  <a:pt x="1701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90455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ENTS ON MARITAL AGREEMENT BENEFI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26</a:t>
            </a:fld>
            <a:endParaRPr lang="en-US"/>
          </a:p>
        </p:txBody>
      </p:sp>
      <p:sp>
        <p:nvSpPr>
          <p:cNvPr id="62" name="Rectangle 61"/>
          <p:cNvSpPr/>
          <p:nvPr/>
        </p:nvSpPr>
        <p:spPr bwMode="gray">
          <a:xfrm>
            <a:off x="737958" y="2249366"/>
            <a:ext cx="10479675" cy="7165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Couple wishes to separate but not get divorced.</a:t>
            </a:r>
          </a:p>
        </p:txBody>
      </p:sp>
      <p:sp>
        <p:nvSpPr>
          <p:cNvPr id="63" name="Rectangle 62"/>
          <p:cNvSpPr/>
          <p:nvPr/>
        </p:nvSpPr>
        <p:spPr bwMode="gray">
          <a:xfrm>
            <a:off x="609600" y="2249366"/>
            <a:ext cx="91503" cy="716569"/>
          </a:xfrm>
          <a:prstGeom prst="rect">
            <a:avLst/>
          </a:prstGeom>
          <a:solidFill>
            <a:srgbClr val="00569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7315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64" name="Rectangle 63"/>
          <p:cNvSpPr/>
          <p:nvPr/>
        </p:nvSpPr>
        <p:spPr bwMode="gray">
          <a:xfrm>
            <a:off x="737958" y="3050932"/>
            <a:ext cx="10479675" cy="7165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Preserve assets for children after death.</a:t>
            </a:r>
          </a:p>
        </p:txBody>
      </p:sp>
      <p:sp>
        <p:nvSpPr>
          <p:cNvPr id="65" name="Rectangle 64"/>
          <p:cNvSpPr/>
          <p:nvPr/>
        </p:nvSpPr>
        <p:spPr bwMode="gray">
          <a:xfrm>
            <a:off x="609600" y="3050932"/>
            <a:ext cx="91503" cy="716569"/>
          </a:xfrm>
          <a:prstGeom prst="rect">
            <a:avLst/>
          </a:prstGeom>
          <a:solidFill>
            <a:srgbClr val="00569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7315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66" name="Rectangle 65"/>
          <p:cNvSpPr/>
          <p:nvPr/>
        </p:nvSpPr>
        <p:spPr bwMode="gray">
          <a:xfrm>
            <a:off x="739867" y="3852498"/>
            <a:ext cx="10479675" cy="7165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Expect to work through marital problems.</a:t>
            </a:r>
          </a:p>
        </p:txBody>
      </p:sp>
      <p:sp>
        <p:nvSpPr>
          <p:cNvPr id="67" name="Rectangle 66"/>
          <p:cNvSpPr/>
          <p:nvPr/>
        </p:nvSpPr>
        <p:spPr bwMode="gray">
          <a:xfrm>
            <a:off x="611508" y="3852498"/>
            <a:ext cx="91503" cy="716569"/>
          </a:xfrm>
          <a:prstGeom prst="rect">
            <a:avLst/>
          </a:prstGeom>
          <a:solidFill>
            <a:srgbClr val="00569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7315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68" name="Rectangle 67"/>
          <p:cNvSpPr/>
          <p:nvPr/>
        </p:nvSpPr>
        <p:spPr bwMode="gray">
          <a:xfrm>
            <a:off x="739867" y="4654064"/>
            <a:ext cx="10479675" cy="7165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Wife leaves workforce to raise children and wants to be compensated for their financial loss.</a:t>
            </a:r>
          </a:p>
        </p:txBody>
      </p:sp>
      <p:sp>
        <p:nvSpPr>
          <p:cNvPr id="69" name="Rectangle 68"/>
          <p:cNvSpPr/>
          <p:nvPr/>
        </p:nvSpPr>
        <p:spPr bwMode="gray">
          <a:xfrm>
            <a:off x="611508" y="4654064"/>
            <a:ext cx="91503" cy="716569"/>
          </a:xfrm>
          <a:prstGeom prst="rect">
            <a:avLst/>
          </a:prstGeom>
          <a:solidFill>
            <a:srgbClr val="00569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7315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70" name="Rectangle 69"/>
          <p:cNvSpPr/>
          <p:nvPr/>
        </p:nvSpPr>
        <p:spPr bwMode="gray">
          <a:xfrm>
            <a:off x="737958" y="5455631"/>
            <a:ext cx="10479675" cy="7165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VIDEOTAPE THE SIGNING.</a:t>
            </a:r>
          </a:p>
        </p:txBody>
      </p:sp>
      <p:sp>
        <p:nvSpPr>
          <p:cNvPr id="71" name="Rectangle 70"/>
          <p:cNvSpPr/>
          <p:nvPr/>
        </p:nvSpPr>
        <p:spPr bwMode="gray">
          <a:xfrm>
            <a:off x="609600" y="5455631"/>
            <a:ext cx="91503" cy="716569"/>
          </a:xfrm>
          <a:prstGeom prst="rect">
            <a:avLst/>
          </a:prstGeom>
          <a:solidFill>
            <a:srgbClr val="00569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7315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72" name="Rectangle 71"/>
          <p:cNvSpPr/>
          <p:nvPr/>
        </p:nvSpPr>
        <p:spPr bwMode="gray">
          <a:xfrm>
            <a:off x="739866" y="1447800"/>
            <a:ext cx="10479675" cy="716569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36576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Essential when one receives a substantial inheritance.</a:t>
            </a:r>
          </a:p>
        </p:txBody>
      </p:sp>
      <p:sp>
        <p:nvSpPr>
          <p:cNvPr id="73" name="Rectangle 72"/>
          <p:cNvSpPr/>
          <p:nvPr/>
        </p:nvSpPr>
        <p:spPr bwMode="gray">
          <a:xfrm>
            <a:off x="611507" y="1447800"/>
            <a:ext cx="91503" cy="716569"/>
          </a:xfrm>
          <a:prstGeom prst="rect">
            <a:avLst/>
          </a:prstGeom>
          <a:solidFill>
            <a:srgbClr val="00569B"/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73152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ES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75" name="Freeform: Shape 38">
            <a:extLst>
              <a:ext uri="{FF2B5EF4-FFF2-40B4-BE49-F238E27FC236}">
                <a16:creationId xmlns:a16="http://schemas.microsoft.com/office/drawing/2014/main" xmlns="" id="{3C483014-98BD-49B3-B734-786B8982ACFD}"/>
              </a:ext>
            </a:extLst>
          </p:cNvPr>
          <p:cNvSpPr/>
          <p:nvPr/>
        </p:nvSpPr>
        <p:spPr bwMode="gray">
          <a:xfrm rot="10800000" flipV="1">
            <a:off x="10939859" y="1566274"/>
            <a:ext cx="483650" cy="479620"/>
          </a:xfrm>
          <a:prstGeom prst="ellipse">
            <a:avLst/>
          </a:prstGeom>
          <a:solidFill>
            <a:srgbClr val="506D8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63500" dist="12700" sx="102000" sy="102000" algn="ct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1</a:t>
            </a:r>
          </a:p>
        </p:txBody>
      </p:sp>
      <p:sp>
        <p:nvSpPr>
          <p:cNvPr id="81" name="Freeform: Shape 38">
            <a:extLst>
              <a:ext uri="{FF2B5EF4-FFF2-40B4-BE49-F238E27FC236}">
                <a16:creationId xmlns:a16="http://schemas.microsoft.com/office/drawing/2014/main" xmlns="" id="{FB86D8D7-400C-49E6-94FD-4F20F0DEC97C}"/>
              </a:ext>
            </a:extLst>
          </p:cNvPr>
          <p:cNvSpPr/>
          <p:nvPr/>
        </p:nvSpPr>
        <p:spPr bwMode="gray">
          <a:xfrm rot="10800000" flipV="1">
            <a:off x="10939859" y="5574106"/>
            <a:ext cx="483650" cy="479620"/>
          </a:xfrm>
          <a:prstGeom prst="ellipse">
            <a:avLst/>
          </a:prstGeom>
          <a:solidFill>
            <a:srgbClr val="506D8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63500" dist="12700" sx="102000" sy="102000" algn="ct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6</a:t>
            </a:r>
          </a:p>
        </p:txBody>
      </p:sp>
      <p:sp>
        <p:nvSpPr>
          <p:cNvPr id="83" name="Freeform: Shape 38">
            <a:extLst>
              <a:ext uri="{FF2B5EF4-FFF2-40B4-BE49-F238E27FC236}">
                <a16:creationId xmlns:a16="http://schemas.microsoft.com/office/drawing/2014/main" xmlns="" id="{74B44EA9-488B-497E-B078-663BB02826BF}"/>
              </a:ext>
            </a:extLst>
          </p:cNvPr>
          <p:cNvSpPr/>
          <p:nvPr/>
        </p:nvSpPr>
        <p:spPr bwMode="gray">
          <a:xfrm rot="10800000" flipV="1">
            <a:off x="10939859" y="2367840"/>
            <a:ext cx="483650" cy="479620"/>
          </a:xfrm>
          <a:prstGeom prst="ellipse">
            <a:avLst/>
          </a:prstGeom>
          <a:solidFill>
            <a:srgbClr val="506D8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63500" dist="12700" sx="102000" sy="102000" algn="ct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2</a:t>
            </a:r>
          </a:p>
        </p:txBody>
      </p:sp>
      <p:sp>
        <p:nvSpPr>
          <p:cNvPr id="86" name="Freeform: Shape 38">
            <a:extLst>
              <a:ext uri="{FF2B5EF4-FFF2-40B4-BE49-F238E27FC236}">
                <a16:creationId xmlns:a16="http://schemas.microsoft.com/office/drawing/2014/main" xmlns="" id="{2D2655E0-8029-4168-B131-0277094CAF14}"/>
              </a:ext>
            </a:extLst>
          </p:cNvPr>
          <p:cNvSpPr/>
          <p:nvPr/>
        </p:nvSpPr>
        <p:spPr bwMode="gray">
          <a:xfrm rot="10800000" flipV="1">
            <a:off x="10939859" y="3169406"/>
            <a:ext cx="483650" cy="479620"/>
          </a:xfrm>
          <a:prstGeom prst="ellipse">
            <a:avLst/>
          </a:prstGeom>
          <a:solidFill>
            <a:srgbClr val="506D8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63500" dist="12700" sx="102000" sy="102000" algn="ct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3</a:t>
            </a:r>
          </a:p>
        </p:txBody>
      </p:sp>
      <p:sp>
        <p:nvSpPr>
          <p:cNvPr id="92" name="Freeform: Shape 38">
            <a:extLst>
              <a:ext uri="{FF2B5EF4-FFF2-40B4-BE49-F238E27FC236}">
                <a16:creationId xmlns:a16="http://schemas.microsoft.com/office/drawing/2014/main" xmlns="" id="{EC111AF1-03AA-4075-9D46-6C4BB1C4149A}"/>
              </a:ext>
            </a:extLst>
          </p:cNvPr>
          <p:cNvSpPr/>
          <p:nvPr/>
        </p:nvSpPr>
        <p:spPr bwMode="gray">
          <a:xfrm rot="10800000" flipV="1">
            <a:off x="10939859" y="3970972"/>
            <a:ext cx="483650" cy="479620"/>
          </a:xfrm>
          <a:prstGeom prst="ellipse">
            <a:avLst/>
          </a:prstGeom>
          <a:solidFill>
            <a:srgbClr val="506D8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63500" dist="12700" sx="102000" sy="102000" algn="ct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4</a:t>
            </a:r>
          </a:p>
        </p:txBody>
      </p:sp>
      <p:sp>
        <p:nvSpPr>
          <p:cNvPr id="103" name="Freeform: Shape 38">
            <a:extLst>
              <a:ext uri="{FF2B5EF4-FFF2-40B4-BE49-F238E27FC236}">
                <a16:creationId xmlns:a16="http://schemas.microsoft.com/office/drawing/2014/main" xmlns="" id="{88CE5EDC-9ADE-4CF9-ACFB-51201F8A192F}"/>
              </a:ext>
            </a:extLst>
          </p:cNvPr>
          <p:cNvSpPr/>
          <p:nvPr/>
        </p:nvSpPr>
        <p:spPr bwMode="gray">
          <a:xfrm rot="10800000" flipV="1">
            <a:off x="10939859" y="4772538"/>
            <a:ext cx="483650" cy="479620"/>
          </a:xfrm>
          <a:prstGeom prst="ellipse">
            <a:avLst/>
          </a:prstGeom>
          <a:solidFill>
            <a:srgbClr val="506D85"/>
          </a:solidFill>
          <a:ln w="9525" cap="flat" cmpd="sng" algn="ctr">
            <a:solidFill>
              <a:schemeClr val="bg1"/>
            </a:solidFill>
            <a:prstDash val="solid"/>
          </a:ln>
          <a:effectLst>
            <a:outerShdw blurRad="63500" dist="12700" sx="102000" sy="102000" algn="ctr" rotWithShape="0">
              <a:prstClr val="black">
                <a:alpha val="2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250915935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ITALS IN THE AGREE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27</a:t>
            </a:fld>
            <a:endParaRPr lang="en-US"/>
          </a:p>
        </p:txBody>
      </p:sp>
      <p:sp>
        <p:nvSpPr>
          <p:cNvPr id="5" name="Rectangle 4"/>
          <p:cNvSpPr/>
          <p:nvPr/>
        </p:nvSpPr>
        <p:spPr bwMode="gray">
          <a:xfrm>
            <a:off x="1237784" y="1476029"/>
            <a:ext cx="10344616" cy="941922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Statement that the parties intend to stay married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xmlns="" id="{E8CEFFF2-0095-434C-ADD6-FA2002F84E3E}"/>
              </a:ext>
            </a:extLst>
          </p:cNvPr>
          <p:cNvSpPr/>
          <p:nvPr/>
        </p:nvSpPr>
        <p:spPr bwMode="gray">
          <a:xfrm>
            <a:off x="609600" y="1455784"/>
            <a:ext cx="978408" cy="982413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00569B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1237784" y="2706875"/>
            <a:ext cx="10344616" cy="941922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Agreement isn’t being entered into under threat of divorce.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E8CEFFF2-0095-434C-ADD6-FA2002F84E3E}"/>
              </a:ext>
            </a:extLst>
          </p:cNvPr>
          <p:cNvSpPr/>
          <p:nvPr/>
        </p:nvSpPr>
        <p:spPr bwMode="gray">
          <a:xfrm>
            <a:off x="609600" y="2686630"/>
            <a:ext cx="978408" cy="982413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00569B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9" name="Rectangle 8"/>
          <p:cNvSpPr/>
          <p:nvPr/>
        </p:nvSpPr>
        <p:spPr bwMode="gray">
          <a:xfrm>
            <a:off x="1237784" y="3937721"/>
            <a:ext cx="10344616" cy="941922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Statement that despite the parties’ intentions, if a divorce action is filed, such filing is not deemed to be an abandonment of the post nuptial agreement.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E8CEFFF2-0095-434C-ADD6-FA2002F84E3E}"/>
              </a:ext>
            </a:extLst>
          </p:cNvPr>
          <p:cNvSpPr/>
          <p:nvPr/>
        </p:nvSpPr>
        <p:spPr bwMode="gray">
          <a:xfrm>
            <a:off x="609600" y="3917476"/>
            <a:ext cx="978408" cy="982413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00569B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sp>
        <p:nvSpPr>
          <p:cNvPr id="11" name="Rectangle 10"/>
          <p:cNvSpPr/>
          <p:nvPr/>
        </p:nvSpPr>
        <p:spPr bwMode="gray">
          <a:xfrm>
            <a:off x="1237784" y="5168567"/>
            <a:ext cx="10344616" cy="941922"/>
          </a:xfrm>
          <a:prstGeom prst="rect">
            <a:avLst/>
          </a:prstGeom>
          <a:solidFill>
            <a:srgbClr val="FFFFFF">
              <a:lumMod val="95000"/>
            </a:srgbClr>
          </a:solidFill>
          <a:ln w="9525" cap="flat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64008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/>
              <a:t>Use every element of care to increase the likelihood of its Validity &amp; Enforcement.</a:t>
            </a: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E8CEFFF2-0095-434C-ADD6-FA2002F84E3E}"/>
              </a:ext>
            </a:extLst>
          </p:cNvPr>
          <p:cNvSpPr/>
          <p:nvPr/>
        </p:nvSpPr>
        <p:spPr bwMode="gray">
          <a:xfrm>
            <a:off x="609600" y="5148322"/>
            <a:ext cx="978408" cy="982413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00569B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</a:endParaRPr>
          </a:p>
        </p:txBody>
      </p:sp>
      <p:grpSp>
        <p:nvGrpSpPr>
          <p:cNvPr id="13" name="Group 4"/>
          <p:cNvGrpSpPr>
            <a:grpSpLocks noChangeAspect="1"/>
          </p:cNvGrpSpPr>
          <p:nvPr/>
        </p:nvGrpSpPr>
        <p:grpSpPr bwMode="auto">
          <a:xfrm>
            <a:off x="814381" y="1685002"/>
            <a:ext cx="568846" cy="523976"/>
            <a:chOff x="-413" y="1979"/>
            <a:chExt cx="393" cy="362"/>
          </a:xfrm>
          <a:solidFill>
            <a:srgbClr val="00569B"/>
          </a:solidFill>
        </p:grpSpPr>
        <p:sp>
          <p:nvSpPr>
            <p:cNvPr id="14" name="Rectangle 6"/>
            <p:cNvSpPr>
              <a:spLocks noChangeArrowheads="1"/>
            </p:cNvSpPr>
            <p:nvPr/>
          </p:nvSpPr>
          <p:spPr bwMode="auto">
            <a:xfrm>
              <a:off x="-389" y="2104"/>
              <a:ext cx="17" cy="4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Rectangle 7"/>
            <p:cNvSpPr>
              <a:spLocks noChangeArrowheads="1"/>
            </p:cNvSpPr>
            <p:nvPr/>
          </p:nvSpPr>
          <p:spPr bwMode="auto">
            <a:xfrm>
              <a:off x="-389" y="2176"/>
              <a:ext cx="17" cy="4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-389" y="1979"/>
              <a:ext cx="305" cy="153"/>
            </a:xfrm>
            <a:custGeom>
              <a:avLst/>
              <a:gdLst>
                <a:gd name="T0" fmla="*/ 2746 w 2746"/>
                <a:gd name="T1" fmla="*/ 942 h 1381"/>
                <a:gd name="T2" fmla="*/ 2746 w 2746"/>
                <a:gd name="T3" fmla="*/ 1225 h 1381"/>
                <a:gd name="T4" fmla="*/ 2589 w 2746"/>
                <a:gd name="T5" fmla="*/ 1381 h 1381"/>
                <a:gd name="T6" fmla="*/ 2589 w 2746"/>
                <a:gd name="T7" fmla="*/ 287 h 1381"/>
                <a:gd name="T8" fmla="*/ 2586 w 2746"/>
                <a:gd name="T9" fmla="*/ 260 h 1381"/>
                <a:gd name="T10" fmla="*/ 2579 w 2746"/>
                <a:gd name="T11" fmla="*/ 236 h 1381"/>
                <a:gd name="T12" fmla="*/ 2567 w 2746"/>
                <a:gd name="T13" fmla="*/ 214 h 1381"/>
                <a:gd name="T14" fmla="*/ 2551 w 2746"/>
                <a:gd name="T15" fmla="*/ 195 h 1381"/>
                <a:gd name="T16" fmla="*/ 2531 w 2746"/>
                <a:gd name="T17" fmla="*/ 179 h 1381"/>
                <a:gd name="T18" fmla="*/ 2509 w 2746"/>
                <a:gd name="T19" fmla="*/ 166 h 1381"/>
                <a:gd name="T20" fmla="*/ 2484 w 2746"/>
                <a:gd name="T21" fmla="*/ 159 h 1381"/>
                <a:gd name="T22" fmla="*/ 2458 w 2746"/>
                <a:gd name="T23" fmla="*/ 156 h 1381"/>
                <a:gd name="T24" fmla="*/ 287 w 2746"/>
                <a:gd name="T25" fmla="*/ 156 h 1381"/>
                <a:gd name="T26" fmla="*/ 261 w 2746"/>
                <a:gd name="T27" fmla="*/ 159 h 1381"/>
                <a:gd name="T28" fmla="*/ 236 w 2746"/>
                <a:gd name="T29" fmla="*/ 166 h 1381"/>
                <a:gd name="T30" fmla="*/ 214 w 2746"/>
                <a:gd name="T31" fmla="*/ 179 h 1381"/>
                <a:gd name="T32" fmla="*/ 194 w 2746"/>
                <a:gd name="T33" fmla="*/ 195 h 1381"/>
                <a:gd name="T34" fmla="*/ 178 w 2746"/>
                <a:gd name="T35" fmla="*/ 214 h 1381"/>
                <a:gd name="T36" fmla="*/ 166 w 2746"/>
                <a:gd name="T37" fmla="*/ 236 h 1381"/>
                <a:gd name="T38" fmla="*/ 159 w 2746"/>
                <a:gd name="T39" fmla="*/ 260 h 1381"/>
                <a:gd name="T40" fmla="*/ 156 w 2746"/>
                <a:gd name="T41" fmla="*/ 287 h 1381"/>
                <a:gd name="T42" fmla="*/ 156 w 2746"/>
                <a:gd name="T43" fmla="*/ 832 h 1381"/>
                <a:gd name="T44" fmla="*/ 0 w 2746"/>
                <a:gd name="T45" fmla="*/ 832 h 1381"/>
                <a:gd name="T46" fmla="*/ 0 w 2746"/>
                <a:gd name="T47" fmla="*/ 287 h 1381"/>
                <a:gd name="T48" fmla="*/ 3 w 2746"/>
                <a:gd name="T49" fmla="*/ 244 h 1381"/>
                <a:gd name="T50" fmla="*/ 12 w 2746"/>
                <a:gd name="T51" fmla="*/ 205 h 1381"/>
                <a:gd name="T52" fmla="*/ 27 w 2746"/>
                <a:gd name="T53" fmla="*/ 166 h 1381"/>
                <a:gd name="T54" fmla="*/ 46 w 2746"/>
                <a:gd name="T55" fmla="*/ 131 h 1381"/>
                <a:gd name="T56" fmla="*/ 70 w 2746"/>
                <a:gd name="T57" fmla="*/ 99 h 1381"/>
                <a:gd name="T58" fmla="*/ 99 w 2746"/>
                <a:gd name="T59" fmla="*/ 71 h 1381"/>
                <a:gd name="T60" fmla="*/ 131 w 2746"/>
                <a:gd name="T61" fmla="*/ 46 h 1381"/>
                <a:gd name="T62" fmla="*/ 165 w 2746"/>
                <a:gd name="T63" fmla="*/ 27 h 1381"/>
                <a:gd name="T64" fmla="*/ 204 w 2746"/>
                <a:gd name="T65" fmla="*/ 13 h 1381"/>
                <a:gd name="T66" fmla="*/ 245 w 2746"/>
                <a:gd name="T67" fmla="*/ 3 h 1381"/>
                <a:gd name="T68" fmla="*/ 287 w 2746"/>
                <a:gd name="T69" fmla="*/ 0 h 1381"/>
                <a:gd name="T70" fmla="*/ 2458 w 2746"/>
                <a:gd name="T71" fmla="*/ 0 h 1381"/>
                <a:gd name="T72" fmla="*/ 2500 w 2746"/>
                <a:gd name="T73" fmla="*/ 3 h 1381"/>
                <a:gd name="T74" fmla="*/ 2541 w 2746"/>
                <a:gd name="T75" fmla="*/ 13 h 1381"/>
                <a:gd name="T76" fmla="*/ 2579 w 2746"/>
                <a:gd name="T77" fmla="*/ 27 h 1381"/>
                <a:gd name="T78" fmla="*/ 2614 w 2746"/>
                <a:gd name="T79" fmla="*/ 46 h 1381"/>
                <a:gd name="T80" fmla="*/ 2646 w 2746"/>
                <a:gd name="T81" fmla="*/ 71 h 1381"/>
                <a:gd name="T82" fmla="*/ 2674 w 2746"/>
                <a:gd name="T83" fmla="*/ 99 h 1381"/>
                <a:gd name="T84" fmla="*/ 2699 w 2746"/>
                <a:gd name="T85" fmla="*/ 131 h 1381"/>
                <a:gd name="T86" fmla="*/ 2718 w 2746"/>
                <a:gd name="T87" fmla="*/ 166 h 1381"/>
                <a:gd name="T88" fmla="*/ 2733 w 2746"/>
                <a:gd name="T89" fmla="*/ 205 h 1381"/>
                <a:gd name="T90" fmla="*/ 2742 w 2746"/>
                <a:gd name="T91" fmla="*/ 244 h 1381"/>
                <a:gd name="T92" fmla="*/ 2745 w 2746"/>
                <a:gd name="T93" fmla="*/ 287 h 1381"/>
                <a:gd name="T94" fmla="*/ 2745 w 2746"/>
                <a:gd name="T95" fmla="*/ 942 h 1381"/>
                <a:gd name="T96" fmla="*/ 2746 w 2746"/>
                <a:gd name="T97" fmla="*/ 942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46" h="1381">
                  <a:moveTo>
                    <a:pt x="2746" y="942"/>
                  </a:moveTo>
                  <a:lnTo>
                    <a:pt x="2746" y="1225"/>
                  </a:lnTo>
                  <a:lnTo>
                    <a:pt x="2589" y="1381"/>
                  </a:lnTo>
                  <a:lnTo>
                    <a:pt x="2589" y="287"/>
                  </a:lnTo>
                  <a:lnTo>
                    <a:pt x="2586" y="260"/>
                  </a:lnTo>
                  <a:lnTo>
                    <a:pt x="2579" y="236"/>
                  </a:lnTo>
                  <a:lnTo>
                    <a:pt x="2567" y="214"/>
                  </a:lnTo>
                  <a:lnTo>
                    <a:pt x="2551" y="195"/>
                  </a:lnTo>
                  <a:lnTo>
                    <a:pt x="2531" y="179"/>
                  </a:lnTo>
                  <a:lnTo>
                    <a:pt x="2509" y="166"/>
                  </a:lnTo>
                  <a:lnTo>
                    <a:pt x="2484" y="159"/>
                  </a:lnTo>
                  <a:lnTo>
                    <a:pt x="2458" y="156"/>
                  </a:lnTo>
                  <a:lnTo>
                    <a:pt x="287" y="156"/>
                  </a:lnTo>
                  <a:lnTo>
                    <a:pt x="261" y="159"/>
                  </a:lnTo>
                  <a:lnTo>
                    <a:pt x="236" y="166"/>
                  </a:lnTo>
                  <a:lnTo>
                    <a:pt x="214" y="179"/>
                  </a:lnTo>
                  <a:lnTo>
                    <a:pt x="194" y="195"/>
                  </a:lnTo>
                  <a:lnTo>
                    <a:pt x="178" y="214"/>
                  </a:lnTo>
                  <a:lnTo>
                    <a:pt x="166" y="236"/>
                  </a:lnTo>
                  <a:lnTo>
                    <a:pt x="159" y="260"/>
                  </a:lnTo>
                  <a:lnTo>
                    <a:pt x="156" y="287"/>
                  </a:lnTo>
                  <a:lnTo>
                    <a:pt x="156" y="832"/>
                  </a:lnTo>
                  <a:lnTo>
                    <a:pt x="0" y="832"/>
                  </a:lnTo>
                  <a:lnTo>
                    <a:pt x="0" y="287"/>
                  </a:lnTo>
                  <a:lnTo>
                    <a:pt x="3" y="244"/>
                  </a:lnTo>
                  <a:lnTo>
                    <a:pt x="12" y="205"/>
                  </a:lnTo>
                  <a:lnTo>
                    <a:pt x="27" y="166"/>
                  </a:lnTo>
                  <a:lnTo>
                    <a:pt x="46" y="131"/>
                  </a:lnTo>
                  <a:lnTo>
                    <a:pt x="70" y="99"/>
                  </a:lnTo>
                  <a:lnTo>
                    <a:pt x="99" y="71"/>
                  </a:lnTo>
                  <a:lnTo>
                    <a:pt x="131" y="46"/>
                  </a:lnTo>
                  <a:lnTo>
                    <a:pt x="165" y="27"/>
                  </a:lnTo>
                  <a:lnTo>
                    <a:pt x="204" y="13"/>
                  </a:lnTo>
                  <a:lnTo>
                    <a:pt x="245" y="3"/>
                  </a:lnTo>
                  <a:lnTo>
                    <a:pt x="287" y="0"/>
                  </a:lnTo>
                  <a:lnTo>
                    <a:pt x="2458" y="0"/>
                  </a:lnTo>
                  <a:lnTo>
                    <a:pt x="2500" y="3"/>
                  </a:lnTo>
                  <a:lnTo>
                    <a:pt x="2541" y="13"/>
                  </a:lnTo>
                  <a:lnTo>
                    <a:pt x="2579" y="27"/>
                  </a:lnTo>
                  <a:lnTo>
                    <a:pt x="2614" y="46"/>
                  </a:lnTo>
                  <a:lnTo>
                    <a:pt x="2646" y="71"/>
                  </a:lnTo>
                  <a:lnTo>
                    <a:pt x="2674" y="99"/>
                  </a:lnTo>
                  <a:lnTo>
                    <a:pt x="2699" y="131"/>
                  </a:lnTo>
                  <a:lnTo>
                    <a:pt x="2718" y="166"/>
                  </a:lnTo>
                  <a:lnTo>
                    <a:pt x="2733" y="205"/>
                  </a:lnTo>
                  <a:lnTo>
                    <a:pt x="2742" y="244"/>
                  </a:lnTo>
                  <a:lnTo>
                    <a:pt x="2745" y="287"/>
                  </a:lnTo>
                  <a:lnTo>
                    <a:pt x="2745" y="942"/>
                  </a:lnTo>
                  <a:lnTo>
                    <a:pt x="2746" y="9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9"/>
            <p:cNvSpPr>
              <a:spLocks/>
            </p:cNvSpPr>
            <p:nvPr/>
          </p:nvSpPr>
          <p:spPr bwMode="auto">
            <a:xfrm>
              <a:off x="-389" y="2235"/>
              <a:ext cx="305" cy="106"/>
            </a:xfrm>
            <a:custGeom>
              <a:avLst/>
              <a:gdLst>
                <a:gd name="T0" fmla="*/ 2662 w 2746"/>
                <a:gd name="T1" fmla="*/ 53 h 954"/>
                <a:gd name="T2" fmla="*/ 2689 w 2746"/>
                <a:gd name="T3" fmla="*/ 66 h 954"/>
                <a:gd name="T4" fmla="*/ 2717 w 2746"/>
                <a:gd name="T5" fmla="*/ 74 h 954"/>
                <a:gd name="T6" fmla="*/ 2746 w 2746"/>
                <a:gd name="T7" fmla="*/ 78 h 954"/>
                <a:gd name="T8" fmla="*/ 2746 w 2746"/>
                <a:gd name="T9" fmla="*/ 667 h 954"/>
                <a:gd name="T10" fmla="*/ 2743 w 2746"/>
                <a:gd name="T11" fmla="*/ 710 h 954"/>
                <a:gd name="T12" fmla="*/ 2733 w 2746"/>
                <a:gd name="T13" fmla="*/ 749 h 954"/>
                <a:gd name="T14" fmla="*/ 2719 w 2746"/>
                <a:gd name="T15" fmla="*/ 788 h 954"/>
                <a:gd name="T16" fmla="*/ 2699 w 2746"/>
                <a:gd name="T17" fmla="*/ 823 h 954"/>
                <a:gd name="T18" fmla="*/ 2675 w 2746"/>
                <a:gd name="T19" fmla="*/ 854 h 954"/>
                <a:gd name="T20" fmla="*/ 2646 w 2746"/>
                <a:gd name="T21" fmla="*/ 883 h 954"/>
                <a:gd name="T22" fmla="*/ 2614 w 2746"/>
                <a:gd name="T23" fmla="*/ 907 h 954"/>
                <a:gd name="T24" fmla="*/ 2579 w 2746"/>
                <a:gd name="T25" fmla="*/ 927 h 954"/>
                <a:gd name="T26" fmla="*/ 2541 w 2746"/>
                <a:gd name="T27" fmla="*/ 941 h 954"/>
                <a:gd name="T28" fmla="*/ 2500 w 2746"/>
                <a:gd name="T29" fmla="*/ 951 h 954"/>
                <a:gd name="T30" fmla="*/ 2458 w 2746"/>
                <a:gd name="T31" fmla="*/ 954 h 954"/>
                <a:gd name="T32" fmla="*/ 287 w 2746"/>
                <a:gd name="T33" fmla="*/ 954 h 954"/>
                <a:gd name="T34" fmla="*/ 245 w 2746"/>
                <a:gd name="T35" fmla="*/ 951 h 954"/>
                <a:gd name="T36" fmla="*/ 204 w 2746"/>
                <a:gd name="T37" fmla="*/ 941 h 954"/>
                <a:gd name="T38" fmla="*/ 165 w 2746"/>
                <a:gd name="T39" fmla="*/ 927 h 954"/>
                <a:gd name="T40" fmla="*/ 131 w 2746"/>
                <a:gd name="T41" fmla="*/ 907 h 954"/>
                <a:gd name="T42" fmla="*/ 99 w 2746"/>
                <a:gd name="T43" fmla="*/ 883 h 954"/>
                <a:gd name="T44" fmla="*/ 70 w 2746"/>
                <a:gd name="T45" fmla="*/ 854 h 954"/>
                <a:gd name="T46" fmla="*/ 46 w 2746"/>
                <a:gd name="T47" fmla="*/ 823 h 954"/>
                <a:gd name="T48" fmla="*/ 27 w 2746"/>
                <a:gd name="T49" fmla="*/ 788 h 954"/>
                <a:gd name="T50" fmla="*/ 12 w 2746"/>
                <a:gd name="T51" fmla="*/ 749 h 954"/>
                <a:gd name="T52" fmla="*/ 3 w 2746"/>
                <a:gd name="T53" fmla="*/ 710 h 954"/>
                <a:gd name="T54" fmla="*/ 0 w 2746"/>
                <a:gd name="T55" fmla="*/ 667 h 954"/>
                <a:gd name="T56" fmla="*/ 0 w 2746"/>
                <a:gd name="T57" fmla="*/ 123 h 954"/>
                <a:gd name="T58" fmla="*/ 156 w 2746"/>
                <a:gd name="T59" fmla="*/ 123 h 954"/>
                <a:gd name="T60" fmla="*/ 156 w 2746"/>
                <a:gd name="T61" fmla="*/ 667 h 954"/>
                <a:gd name="T62" fmla="*/ 159 w 2746"/>
                <a:gd name="T63" fmla="*/ 694 h 954"/>
                <a:gd name="T64" fmla="*/ 166 w 2746"/>
                <a:gd name="T65" fmla="*/ 718 h 954"/>
                <a:gd name="T66" fmla="*/ 178 w 2746"/>
                <a:gd name="T67" fmla="*/ 740 h 954"/>
                <a:gd name="T68" fmla="*/ 194 w 2746"/>
                <a:gd name="T69" fmla="*/ 759 h 954"/>
                <a:gd name="T70" fmla="*/ 214 w 2746"/>
                <a:gd name="T71" fmla="*/ 775 h 954"/>
                <a:gd name="T72" fmla="*/ 236 w 2746"/>
                <a:gd name="T73" fmla="*/ 788 h 954"/>
                <a:gd name="T74" fmla="*/ 261 w 2746"/>
                <a:gd name="T75" fmla="*/ 795 h 954"/>
                <a:gd name="T76" fmla="*/ 287 w 2746"/>
                <a:gd name="T77" fmla="*/ 798 h 954"/>
                <a:gd name="T78" fmla="*/ 2458 w 2746"/>
                <a:gd name="T79" fmla="*/ 798 h 954"/>
                <a:gd name="T80" fmla="*/ 2484 w 2746"/>
                <a:gd name="T81" fmla="*/ 795 h 954"/>
                <a:gd name="T82" fmla="*/ 2509 w 2746"/>
                <a:gd name="T83" fmla="*/ 788 h 954"/>
                <a:gd name="T84" fmla="*/ 2531 w 2746"/>
                <a:gd name="T85" fmla="*/ 775 h 954"/>
                <a:gd name="T86" fmla="*/ 2551 w 2746"/>
                <a:gd name="T87" fmla="*/ 759 h 954"/>
                <a:gd name="T88" fmla="*/ 2567 w 2746"/>
                <a:gd name="T89" fmla="*/ 740 h 954"/>
                <a:gd name="T90" fmla="*/ 2579 w 2746"/>
                <a:gd name="T91" fmla="*/ 718 h 954"/>
                <a:gd name="T92" fmla="*/ 2587 w 2746"/>
                <a:gd name="T93" fmla="*/ 694 h 954"/>
                <a:gd name="T94" fmla="*/ 2589 w 2746"/>
                <a:gd name="T95" fmla="*/ 667 h 954"/>
                <a:gd name="T96" fmla="*/ 2589 w 2746"/>
                <a:gd name="T97" fmla="*/ 181 h 954"/>
                <a:gd name="T98" fmla="*/ 2589 w 2746"/>
                <a:gd name="T99" fmla="*/ 181 h 954"/>
                <a:gd name="T100" fmla="*/ 2589 w 2746"/>
                <a:gd name="T101" fmla="*/ 9 h 954"/>
                <a:gd name="T102" fmla="*/ 2599 w 2746"/>
                <a:gd name="T103" fmla="*/ 0 h 954"/>
                <a:gd name="T104" fmla="*/ 2617 w 2746"/>
                <a:gd name="T105" fmla="*/ 20 h 954"/>
                <a:gd name="T106" fmla="*/ 2639 w 2746"/>
                <a:gd name="T107" fmla="*/ 38 h 954"/>
                <a:gd name="T108" fmla="*/ 2662 w 2746"/>
                <a:gd name="T109" fmla="*/ 53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46" h="954">
                  <a:moveTo>
                    <a:pt x="2662" y="53"/>
                  </a:moveTo>
                  <a:lnTo>
                    <a:pt x="2689" y="66"/>
                  </a:lnTo>
                  <a:lnTo>
                    <a:pt x="2717" y="74"/>
                  </a:lnTo>
                  <a:lnTo>
                    <a:pt x="2746" y="78"/>
                  </a:lnTo>
                  <a:lnTo>
                    <a:pt x="2746" y="667"/>
                  </a:lnTo>
                  <a:lnTo>
                    <a:pt x="2743" y="710"/>
                  </a:lnTo>
                  <a:lnTo>
                    <a:pt x="2733" y="749"/>
                  </a:lnTo>
                  <a:lnTo>
                    <a:pt x="2719" y="788"/>
                  </a:lnTo>
                  <a:lnTo>
                    <a:pt x="2699" y="823"/>
                  </a:lnTo>
                  <a:lnTo>
                    <a:pt x="2675" y="854"/>
                  </a:lnTo>
                  <a:lnTo>
                    <a:pt x="2646" y="883"/>
                  </a:lnTo>
                  <a:lnTo>
                    <a:pt x="2614" y="907"/>
                  </a:lnTo>
                  <a:lnTo>
                    <a:pt x="2579" y="927"/>
                  </a:lnTo>
                  <a:lnTo>
                    <a:pt x="2541" y="941"/>
                  </a:lnTo>
                  <a:lnTo>
                    <a:pt x="2500" y="951"/>
                  </a:lnTo>
                  <a:lnTo>
                    <a:pt x="2458" y="954"/>
                  </a:lnTo>
                  <a:lnTo>
                    <a:pt x="287" y="954"/>
                  </a:lnTo>
                  <a:lnTo>
                    <a:pt x="245" y="951"/>
                  </a:lnTo>
                  <a:lnTo>
                    <a:pt x="204" y="941"/>
                  </a:lnTo>
                  <a:lnTo>
                    <a:pt x="165" y="927"/>
                  </a:lnTo>
                  <a:lnTo>
                    <a:pt x="131" y="907"/>
                  </a:lnTo>
                  <a:lnTo>
                    <a:pt x="99" y="883"/>
                  </a:lnTo>
                  <a:lnTo>
                    <a:pt x="70" y="854"/>
                  </a:lnTo>
                  <a:lnTo>
                    <a:pt x="46" y="823"/>
                  </a:lnTo>
                  <a:lnTo>
                    <a:pt x="27" y="788"/>
                  </a:lnTo>
                  <a:lnTo>
                    <a:pt x="12" y="749"/>
                  </a:lnTo>
                  <a:lnTo>
                    <a:pt x="3" y="710"/>
                  </a:lnTo>
                  <a:lnTo>
                    <a:pt x="0" y="667"/>
                  </a:lnTo>
                  <a:lnTo>
                    <a:pt x="0" y="123"/>
                  </a:lnTo>
                  <a:lnTo>
                    <a:pt x="156" y="123"/>
                  </a:lnTo>
                  <a:lnTo>
                    <a:pt x="156" y="667"/>
                  </a:lnTo>
                  <a:lnTo>
                    <a:pt x="159" y="694"/>
                  </a:lnTo>
                  <a:lnTo>
                    <a:pt x="166" y="718"/>
                  </a:lnTo>
                  <a:lnTo>
                    <a:pt x="178" y="740"/>
                  </a:lnTo>
                  <a:lnTo>
                    <a:pt x="194" y="759"/>
                  </a:lnTo>
                  <a:lnTo>
                    <a:pt x="214" y="775"/>
                  </a:lnTo>
                  <a:lnTo>
                    <a:pt x="236" y="788"/>
                  </a:lnTo>
                  <a:lnTo>
                    <a:pt x="261" y="795"/>
                  </a:lnTo>
                  <a:lnTo>
                    <a:pt x="287" y="798"/>
                  </a:lnTo>
                  <a:lnTo>
                    <a:pt x="2458" y="798"/>
                  </a:lnTo>
                  <a:lnTo>
                    <a:pt x="2484" y="795"/>
                  </a:lnTo>
                  <a:lnTo>
                    <a:pt x="2509" y="788"/>
                  </a:lnTo>
                  <a:lnTo>
                    <a:pt x="2531" y="775"/>
                  </a:lnTo>
                  <a:lnTo>
                    <a:pt x="2551" y="759"/>
                  </a:lnTo>
                  <a:lnTo>
                    <a:pt x="2567" y="740"/>
                  </a:lnTo>
                  <a:lnTo>
                    <a:pt x="2579" y="718"/>
                  </a:lnTo>
                  <a:lnTo>
                    <a:pt x="2587" y="694"/>
                  </a:lnTo>
                  <a:lnTo>
                    <a:pt x="2589" y="667"/>
                  </a:lnTo>
                  <a:lnTo>
                    <a:pt x="2589" y="181"/>
                  </a:lnTo>
                  <a:lnTo>
                    <a:pt x="2589" y="181"/>
                  </a:lnTo>
                  <a:lnTo>
                    <a:pt x="2589" y="9"/>
                  </a:lnTo>
                  <a:lnTo>
                    <a:pt x="2599" y="0"/>
                  </a:lnTo>
                  <a:lnTo>
                    <a:pt x="2617" y="20"/>
                  </a:lnTo>
                  <a:lnTo>
                    <a:pt x="2639" y="38"/>
                  </a:lnTo>
                  <a:lnTo>
                    <a:pt x="2662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0"/>
            <p:cNvSpPr>
              <a:spLocks/>
            </p:cNvSpPr>
            <p:nvPr/>
          </p:nvSpPr>
          <p:spPr bwMode="auto">
            <a:xfrm>
              <a:off x="-413" y="2218"/>
              <a:ext cx="72" cy="29"/>
            </a:xfrm>
            <a:custGeom>
              <a:avLst/>
              <a:gdLst>
                <a:gd name="T0" fmla="*/ 400 w 647"/>
                <a:gd name="T1" fmla="*/ 64 h 264"/>
                <a:gd name="T2" fmla="*/ 68 w 647"/>
                <a:gd name="T3" fmla="*/ 64 h 264"/>
                <a:gd name="T4" fmla="*/ 51 w 647"/>
                <a:gd name="T5" fmla="*/ 67 h 264"/>
                <a:gd name="T6" fmla="*/ 35 w 647"/>
                <a:gd name="T7" fmla="*/ 73 h 264"/>
                <a:gd name="T8" fmla="*/ 21 w 647"/>
                <a:gd name="T9" fmla="*/ 84 h 264"/>
                <a:gd name="T10" fmla="*/ 10 w 647"/>
                <a:gd name="T11" fmla="*/ 97 h 264"/>
                <a:gd name="T12" fmla="*/ 4 w 647"/>
                <a:gd name="T13" fmla="*/ 114 h 264"/>
                <a:gd name="T14" fmla="*/ 0 w 647"/>
                <a:gd name="T15" fmla="*/ 131 h 264"/>
                <a:gd name="T16" fmla="*/ 4 w 647"/>
                <a:gd name="T17" fmla="*/ 149 h 264"/>
                <a:gd name="T18" fmla="*/ 10 w 647"/>
                <a:gd name="T19" fmla="*/ 166 h 264"/>
                <a:gd name="T20" fmla="*/ 21 w 647"/>
                <a:gd name="T21" fmla="*/ 179 h 264"/>
                <a:gd name="T22" fmla="*/ 35 w 647"/>
                <a:gd name="T23" fmla="*/ 190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0 h 264"/>
                <a:gd name="T32" fmla="*/ 437 w 647"/>
                <a:gd name="T33" fmla="*/ 238 h 264"/>
                <a:gd name="T34" fmla="*/ 459 w 647"/>
                <a:gd name="T35" fmla="*/ 252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1 h 264"/>
                <a:gd name="T42" fmla="*/ 566 w 647"/>
                <a:gd name="T43" fmla="*/ 253 h 264"/>
                <a:gd name="T44" fmla="*/ 588 w 647"/>
                <a:gd name="T45" fmla="*/ 242 h 264"/>
                <a:gd name="T46" fmla="*/ 607 w 647"/>
                <a:gd name="T47" fmla="*/ 224 h 264"/>
                <a:gd name="T48" fmla="*/ 624 w 647"/>
                <a:gd name="T49" fmla="*/ 205 h 264"/>
                <a:gd name="T50" fmla="*/ 636 w 647"/>
                <a:gd name="T51" fmla="*/ 183 h 264"/>
                <a:gd name="T52" fmla="*/ 644 w 647"/>
                <a:gd name="T53" fmla="*/ 158 h 264"/>
                <a:gd name="T54" fmla="*/ 647 w 647"/>
                <a:gd name="T55" fmla="*/ 131 h 264"/>
                <a:gd name="T56" fmla="*/ 644 w 647"/>
                <a:gd name="T57" fmla="*/ 104 h 264"/>
                <a:gd name="T58" fmla="*/ 636 w 647"/>
                <a:gd name="T59" fmla="*/ 80 h 264"/>
                <a:gd name="T60" fmla="*/ 624 w 647"/>
                <a:gd name="T61" fmla="*/ 57 h 264"/>
                <a:gd name="T62" fmla="*/ 607 w 647"/>
                <a:gd name="T63" fmla="*/ 38 h 264"/>
                <a:gd name="T64" fmla="*/ 588 w 647"/>
                <a:gd name="T65" fmla="*/ 22 h 264"/>
                <a:gd name="T66" fmla="*/ 566 w 647"/>
                <a:gd name="T67" fmla="*/ 9 h 264"/>
                <a:gd name="T68" fmla="*/ 541 w 647"/>
                <a:gd name="T69" fmla="*/ 2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1 h 264"/>
                <a:gd name="T76" fmla="*/ 437 w 647"/>
                <a:gd name="T77" fmla="*/ 24 h 264"/>
                <a:gd name="T78" fmla="*/ 416 w 647"/>
                <a:gd name="T79" fmla="*/ 42 h 264"/>
                <a:gd name="T80" fmla="*/ 400 w 647"/>
                <a:gd name="T81" fmla="*/ 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4"/>
                  </a:moveTo>
                  <a:lnTo>
                    <a:pt x="68" y="64"/>
                  </a:lnTo>
                  <a:lnTo>
                    <a:pt x="51" y="67"/>
                  </a:lnTo>
                  <a:lnTo>
                    <a:pt x="35" y="73"/>
                  </a:lnTo>
                  <a:lnTo>
                    <a:pt x="21" y="84"/>
                  </a:lnTo>
                  <a:lnTo>
                    <a:pt x="10" y="97"/>
                  </a:lnTo>
                  <a:lnTo>
                    <a:pt x="4" y="114"/>
                  </a:lnTo>
                  <a:lnTo>
                    <a:pt x="0" y="131"/>
                  </a:lnTo>
                  <a:lnTo>
                    <a:pt x="4" y="149"/>
                  </a:lnTo>
                  <a:lnTo>
                    <a:pt x="10" y="166"/>
                  </a:lnTo>
                  <a:lnTo>
                    <a:pt x="21" y="179"/>
                  </a:lnTo>
                  <a:lnTo>
                    <a:pt x="35" y="190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0"/>
                  </a:lnTo>
                  <a:lnTo>
                    <a:pt x="437" y="238"/>
                  </a:lnTo>
                  <a:lnTo>
                    <a:pt x="459" y="252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1"/>
                  </a:lnTo>
                  <a:lnTo>
                    <a:pt x="566" y="253"/>
                  </a:lnTo>
                  <a:lnTo>
                    <a:pt x="588" y="242"/>
                  </a:lnTo>
                  <a:lnTo>
                    <a:pt x="607" y="224"/>
                  </a:lnTo>
                  <a:lnTo>
                    <a:pt x="624" y="205"/>
                  </a:lnTo>
                  <a:lnTo>
                    <a:pt x="636" y="183"/>
                  </a:lnTo>
                  <a:lnTo>
                    <a:pt x="644" y="158"/>
                  </a:lnTo>
                  <a:lnTo>
                    <a:pt x="647" y="131"/>
                  </a:lnTo>
                  <a:lnTo>
                    <a:pt x="644" y="104"/>
                  </a:lnTo>
                  <a:lnTo>
                    <a:pt x="636" y="80"/>
                  </a:lnTo>
                  <a:lnTo>
                    <a:pt x="624" y="57"/>
                  </a:lnTo>
                  <a:lnTo>
                    <a:pt x="607" y="38"/>
                  </a:lnTo>
                  <a:lnTo>
                    <a:pt x="588" y="22"/>
                  </a:lnTo>
                  <a:lnTo>
                    <a:pt x="566" y="9"/>
                  </a:lnTo>
                  <a:lnTo>
                    <a:pt x="541" y="2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1"/>
                  </a:lnTo>
                  <a:lnTo>
                    <a:pt x="437" y="24"/>
                  </a:lnTo>
                  <a:lnTo>
                    <a:pt x="416" y="42"/>
                  </a:lnTo>
                  <a:lnTo>
                    <a:pt x="400" y="6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-413" y="2145"/>
              <a:ext cx="72" cy="30"/>
            </a:xfrm>
            <a:custGeom>
              <a:avLst/>
              <a:gdLst>
                <a:gd name="T0" fmla="*/ 400 w 647"/>
                <a:gd name="T1" fmla="*/ 66 h 265"/>
                <a:gd name="T2" fmla="*/ 68 w 647"/>
                <a:gd name="T3" fmla="*/ 66 h 265"/>
                <a:gd name="T4" fmla="*/ 51 w 647"/>
                <a:gd name="T5" fmla="*/ 68 h 265"/>
                <a:gd name="T6" fmla="*/ 35 w 647"/>
                <a:gd name="T7" fmla="*/ 74 h 265"/>
                <a:gd name="T8" fmla="*/ 21 w 647"/>
                <a:gd name="T9" fmla="*/ 85 h 265"/>
                <a:gd name="T10" fmla="*/ 10 w 647"/>
                <a:gd name="T11" fmla="*/ 99 h 265"/>
                <a:gd name="T12" fmla="*/ 4 w 647"/>
                <a:gd name="T13" fmla="*/ 115 h 265"/>
                <a:gd name="T14" fmla="*/ 0 w 647"/>
                <a:gd name="T15" fmla="*/ 132 h 265"/>
                <a:gd name="T16" fmla="*/ 4 w 647"/>
                <a:gd name="T17" fmla="*/ 151 h 265"/>
                <a:gd name="T18" fmla="*/ 10 w 647"/>
                <a:gd name="T19" fmla="*/ 167 h 265"/>
                <a:gd name="T20" fmla="*/ 21 w 647"/>
                <a:gd name="T21" fmla="*/ 181 h 265"/>
                <a:gd name="T22" fmla="*/ 35 w 647"/>
                <a:gd name="T23" fmla="*/ 191 h 265"/>
                <a:gd name="T24" fmla="*/ 51 w 647"/>
                <a:gd name="T25" fmla="*/ 198 h 265"/>
                <a:gd name="T26" fmla="*/ 68 w 647"/>
                <a:gd name="T27" fmla="*/ 200 h 265"/>
                <a:gd name="T28" fmla="*/ 400 w 647"/>
                <a:gd name="T29" fmla="*/ 200 h 265"/>
                <a:gd name="T30" fmla="*/ 416 w 647"/>
                <a:gd name="T31" fmla="*/ 222 h 265"/>
                <a:gd name="T32" fmla="*/ 437 w 647"/>
                <a:gd name="T33" fmla="*/ 240 h 265"/>
                <a:gd name="T34" fmla="*/ 460 w 647"/>
                <a:gd name="T35" fmla="*/ 253 h 265"/>
                <a:gd name="T36" fmla="*/ 486 w 647"/>
                <a:gd name="T37" fmla="*/ 262 h 265"/>
                <a:gd name="T38" fmla="*/ 514 w 647"/>
                <a:gd name="T39" fmla="*/ 265 h 265"/>
                <a:gd name="T40" fmla="*/ 541 w 647"/>
                <a:gd name="T41" fmla="*/ 263 h 265"/>
                <a:gd name="T42" fmla="*/ 566 w 647"/>
                <a:gd name="T43" fmla="*/ 255 h 265"/>
                <a:gd name="T44" fmla="*/ 588 w 647"/>
                <a:gd name="T45" fmla="*/ 242 h 265"/>
                <a:gd name="T46" fmla="*/ 607 w 647"/>
                <a:gd name="T47" fmla="*/ 226 h 265"/>
                <a:gd name="T48" fmla="*/ 624 w 647"/>
                <a:gd name="T49" fmla="*/ 207 h 265"/>
                <a:gd name="T50" fmla="*/ 636 w 647"/>
                <a:gd name="T51" fmla="*/ 184 h 265"/>
                <a:gd name="T52" fmla="*/ 644 w 647"/>
                <a:gd name="T53" fmla="*/ 160 h 265"/>
                <a:gd name="T54" fmla="*/ 647 w 647"/>
                <a:gd name="T55" fmla="*/ 132 h 265"/>
                <a:gd name="T56" fmla="*/ 644 w 647"/>
                <a:gd name="T57" fmla="*/ 106 h 265"/>
                <a:gd name="T58" fmla="*/ 636 w 647"/>
                <a:gd name="T59" fmla="*/ 82 h 265"/>
                <a:gd name="T60" fmla="*/ 624 w 647"/>
                <a:gd name="T61" fmla="*/ 59 h 265"/>
                <a:gd name="T62" fmla="*/ 607 w 647"/>
                <a:gd name="T63" fmla="*/ 40 h 265"/>
                <a:gd name="T64" fmla="*/ 588 w 647"/>
                <a:gd name="T65" fmla="*/ 24 h 265"/>
                <a:gd name="T66" fmla="*/ 566 w 647"/>
                <a:gd name="T67" fmla="*/ 11 h 265"/>
                <a:gd name="T68" fmla="*/ 541 w 647"/>
                <a:gd name="T69" fmla="*/ 3 h 265"/>
                <a:gd name="T70" fmla="*/ 514 w 647"/>
                <a:gd name="T71" fmla="*/ 0 h 265"/>
                <a:gd name="T72" fmla="*/ 486 w 647"/>
                <a:gd name="T73" fmla="*/ 3 h 265"/>
                <a:gd name="T74" fmla="*/ 460 w 647"/>
                <a:gd name="T75" fmla="*/ 12 h 265"/>
                <a:gd name="T76" fmla="*/ 437 w 647"/>
                <a:gd name="T77" fmla="*/ 26 h 265"/>
                <a:gd name="T78" fmla="*/ 416 w 647"/>
                <a:gd name="T79" fmla="*/ 44 h 265"/>
                <a:gd name="T80" fmla="*/ 400 w 647"/>
                <a:gd name="T81" fmla="*/ 66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5">
                  <a:moveTo>
                    <a:pt x="400" y="66"/>
                  </a:moveTo>
                  <a:lnTo>
                    <a:pt x="68" y="66"/>
                  </a:lnTo>
                  <a:lnTo>
                    <a:pt x="51" y="68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9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1"/>
                  </a:lnTo>
                  <a:lnTo>
                    <a:pt x="10" y="167"/>
                  </a:lnTo>
                  <a:lnTo>
                    <a:pt x="21" y="181"/>
                  </a:lnTo>
                  <a:lnTo>
                    <a:pt x="35" y="191"/>
                  </a:lnTo>
                  <a:lnTo>
                    <a:pt x="51" y="198"/>
                  </a:lnTo>
                  <a:lnTo>
                    <a:pt x="68" y="200"/>
                  </a:lnTo>
                  <a:lnTo>
                    <a:pt x="400" y="200"/>
                  </a:lnTo>
                  <a:lnTo>
                    <a:pt x="416" y="222"/>
                  </a:lnTo>
                  <a:lnTo>
                    <a:pt x="437" y="240"/>
                  </a:lnTo>
                  <a:lnTo>
                    <a:pt x="460" y="253"/>
                  </a:lnTo>
                  <a:lnTo>
                    <a:pt x="486" y="262"/>
                  </a:lnTo>
                  <a:lnTo>
                    <a:pt x="514" y="265"/>
                  </a:lnTo>
                  <a:lnTo>
                    <a:pt x="541" y="263"/>
                  </a:lnTo>
                  <a:lnTo>
                    <a:pt x="566" y="255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2"/>
                  </a:lnTo>
                  <a:lnTo>
                    <a:pt x="644" y="106"/>
                  </a:lnTo>
                  <a:lnTo>
                    <a:pt x="636" y="82"/>
                  </a:lnTo>
                  <a:lnTo>
                    <a:pt x="624" y="59"/>
                  </a:lnTo>
                  <a:lnTo>
                    <a:pt x="607" y="40"/>
                  </a:lnTo>
                  <a:lnTo>
                    <a:pt x="588" y="24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60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2"/>
            <p:cNvSpPr>
              <a:spLocks/>
            </p:cNvSpPr>
            <p:nvPr/>
          </p:nvSpPr>
          <p:spPr bwMode="auto">
            <a:xfrm>
              <a:off x="-413" y="2073"/>
              <a:ext cx="72" cy="29"/>
            </a:xfrm>
            <a:custGeom>
              <a:avLst/>
              <a:gdLst>
                <a:gd name="T0" fmla="*/ 400 w 647"/>
                <a:gd name="T1" fmla="*/ 65 h 264"/>
                <a:gd name="T2" fmla="*/ 68 w 647"/>
                <a:gd name="T3" fmla="*/ 65 h 264"/>
                <a:gd name="T4" fmla="*/ 51 w 647"/>
                <a:gd name="T5" fmla="*/ 67 h 264"/>
                <a:gd name="T6" fmla="*/ 35 w 647"/>
                <a:gd name="T7" fmla="*/ 74 h 264"/>
                <a:gd name="T8" fmla="*/ 21 w 647"/>
                <a:gd name="T9" fmla="*/ 85 h 264"/>
                <a:gd name="T10" fmla="*/ 10 w 647"/>
                <a:gd name="T11" fmla="*/ 98 h 264"/>
                <a:gd name="T12" fmla="*/ 4 w 647"/>
                <a:gd name="T13" fmla="*/ 115 h 264"/>
                <a:gd name="T14" fmla="*/ 0 w 647"/>
                <a:gd name="T15" fmla="*/ 132 h 264"/>
                <a:gd name="T16" fmla="*/ 4 w 647"/>
                <a:gd name="T17" fmla="*/ 150 h 264"/>
                <a:gd name="T18" fmla="*/ 10 w 647"/>
                <a:gd name="T19" fmla="*/ 166 h 264"/>
                <a:gd name="T20" fmla="*/ 21 w 647"/>
                <a:gd name="T21" fmla="*/ 180 h 264"/>
                <a:gd name="T22" fmla="*/ 35 w 647"/>
                <a:gd name="T23" fmla="*/ 191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2 h 264"/>
                <a:gd name="T32" fmla="*/ 437 w 647"/>
                <a:gd name="T33" fmla="*/ 239 h 264"/>
                <a:gd name="T34" fmla="*/ 459 w 647"/>
                <a:gd name="T35" fmla="*/ 253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2 h 264"/>
                <a:gd name="T42" fmla="*/ 566 w 647"/>
                <a:gd name="T43" fmla="*/ 254 h 264"/>
                <a:gd name="T44" fmla="*/ 588 w 647"/>
                <a:gd name="T45" fmla="*/ 242 h 264"/>
                <a:gd name="T46" fmla="*/ 607 w 647"/>
                <a:gd name="T47" fmla="*/ 226 h 264"/>
                <a:gd name="T48" fmla="*/ 624 w 647"/>
                <a:gd name="T49" fmla="*/ 207 h 264"/>
                <a:gd name="T50" fmla="*/ 636 w 647"/>
                <a:gd name="T51" fmla="*/ 184 h 264"/>
                <a:gd name="T52" fmla="*/ 644 w 647"/>
                <a:gd name="T53" fmla="*/ 160 h 264"/>
                <a:gd name="T54" fmla="*/ 647 w 647"/>
                <a:gd name="T55" fmla="*/ 133 h 264"/>
                <a:gd name="T56" fmla="*/ 644 w 647"/>
                <a:gd name="T57" fmla="*/ 106 h 264"/>
                <a:gd name="T58" fmla="*/ 636 w 647"/>
                <a:gd name="T59" fmla="*/ 81 h 264"/>
                <a:gd name="T60" fmla="*/ 624 w 647"/>
                <a:gd name="T61" fmla="*/ 59 h 264"/>
                <a:gd name="T62" fmla="*/ 607 w 647"/>
                <a:gd name="T63" fmla="*/ 39 h 264"/>
                <a:gd name="T64" fmla="*/ 588 w 647"/>
                <a:gd name="T65" fmla="*/ 22 h 264"/>
                <a:gd name="T66" fmla="*/ 566 w 647"/>
                <a:gd name="T67" fmla="*/ 11 h 264"/>
                <a:gd name="T68" fmla="*/ 541 w 647"/>
                <a:gd name="T69" fmla="*/ 3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2 h 264"/>
                <a:gd name="T76" fmla="*/ 437 w 647"/>
                <a:gd name="T77" fmla="*/ 26 h 264"/>
                <a:gd name="T78" fmla="*/ 416 w 647"/>
                <a:gd name="T79" fmla="*/ 44 h 264"/>
                <a:gd name="T80" fmla="*/ 400 w 647"/>
                <a:gd name="T81" fmla="*/ 65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5"/>
                  </a:moveTo>
                  <a:lnTo>
                    <a:pt x="68" y="65"/>
                  </a:lnTo>
                  <a:lnTo>
                    <a:pt x="51" y="67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8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0"/>
                  </a:lnTo>
                  <a:lnTo>
                    <a:pt x="10" y="166"/>
                  </a:lnTo>
                  <a:lnTo>
                    <a:pt x="21" y="180"/>
                  </a:lnTo>
                  <a:lnTo>
                    <a:pt x="35" y="191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2"/>
                  </a:lnTo>
                  <a:lnTo>
                    <a:pt x="437" y="239"/>
                  </a:lnTo>
                  <a:lnTo>
                    <a:pt x="459" y="253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2"/>
                  </a:lnTo>
                  <a:lnTo>
                    <a:pt x="566" y="254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3"/>
                  </a:lnTo>
                  <a:lnTo>
                    <a:pt x="644" y="106"/>
                  </a:lnTo>
                  <a:lnTo>
                    <a:pt x="636" y="81"/>
                  </a:lnTo>
                  <a:lnTo>
                    <a:pt x="624" y="59"/>
                  </a:lnTo>
                  <a:lnTo>
                    <a:pt x="607" y="39"/>
                  </a:lnTo>
                  <a:lnTo>
                    <a:pt x="588" y="22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-118" y="2110"/>
              <a:ext cx="91" cy="90"/>
            </a:xfrm>
            <a:custGeom>
              <a:avLst/>
              <a:gdLst>
                <a:gd name="T0" fmla="*/ 537 w 816"/>
                <a:gd name="T1" fmla="*/ 547 h 805"/>
                <a:gd name="T2" fmla="*/ 497 w 816"/>
                <a:gd name="T3" fmla="*/ 587 h 805"/>
                <a:gd name="T4" fmla="*/ 468 w 816"/>
                <a:gd name="T5" fmla="*/ 616 h 805"/>
                <a:gd name="T6" fmla="*/ 447 w 816"/>
                <a:gd name="T7" fmla="*/ 636 h 805"/>
                <a:gd name="T8" fmla="*/ 433 w 816"/>
                <a:gd name="T9" fmla="*/ 650 h 805"/>
                <a:gd name="T10" fmla="*/ 421 w 816"/>
                <a:gd name="T11" fmla="*/ 662 h 805"/>
                <a:gd name="T12" fmla="*/ 410 w 816"/>
                <a:gd name="T13" fmla="*/ 673 h 805"/>
                <a:gd name="T14" fmla="*/ 395 w 816"/>
                <a:gd name="T15" fmla="*/ 688 h 805"/>
                <a:gd name="T16" fmla="*/ 374 w 816"/>
                <a:gd name="T17" fmla="*/ 708 h 805"/>
                <a:gd name="T18" fmla="*/ 345 w 816"/>
                <a:gd name="T19" fmla="*/ 737 h 805"/>
                <a:gd name="T20" fmla="*/ 303 w 816"/>
                <a:gd name="T21" fmla="*/ 779 h 805"/>
                <a:gd name="T22" fmla="*/ 208 w 816"/>
                <a:gd name="T23" fmla="*/ 736 h 805"/>
                <a:gd name="T24" fmla="*/ 68 w 816"/>
                <a:gd name="T25" fmla="*/ 607 h 805"/>
                <a:gd name="T26" fmla="*/ 0 w 816"/>
                <a:gd name="T27" fmla="*/ 538 h 805"/>
                <a:gd name="T28" fmla="*/ 2 w 816"/>
                <a:gd name="T29" fmla="*/ 535 h 805"/>
                <a:gd name="T30" fmla="*/ 37 w 816"/>
                <a:gd name="T31" fmla="*/ 499 h 805"/>
                <a:gd name="T32" fmla="*/ 92 w 816"/>
                <a:gd name="T33" fmla="*/ 446 h 805"/>
                <a:gd name="T34" fmla="*/ 135 w 816"/>
                <a:gd name="T35" fmla="*/ 403 h 805"/>
                <a:gd name="T36" fmla="*/ 169 w 816"/>
                <a:gd name="T37" fmla="*/ 369 h 805"/>
                <a:gd name="T38" fmla="*/ 197 w 816"/>
                <a:gd name="T39" fmla="*/ 341 h 805"/>
                <a:gd name="T40" fmla="*/ 223 w 816"/>
                <a:gd name="T41" fmla="*/ 315 h 805"/>
                <a:gd name="T42" fmla="*/ 248 w 816"/>
                <a:gd name="T43" fmla="*/ 291 h 805"/>
                <a:gd name="T44" fmla="*/ 277 w 816"/>
                <a:gd name="T45" fmla="*/ 263 h 805"/>
                <a:gd name="T46" fmla="*/ 312 w 816"/>
                <a:gd name="T47" fmla="*/ 228 h 805"/>
                <a:gd name="T48" fmla="*/ 356 w 816"/>
                <a:gd name="T49" fmla="*/ 187 h 805"/>
                <a:gd name="T50" fmla="*/ 411 w 816"/>
                <a:gd name="T51" fmla="*/ 133 h 805"/>
                <a:gd name="T52" fmla="*/ 473 w 816"/>
                <a:gd name="T53" fmla="*/ 75 h 805"/>
                <a:gd name="T54" fmla="*/ 540 w 816"/>
                <a:gd name="T55" fmla="*/ 31 h 805"/>
                <a:gd name="T56" fmla="*/ 602 w 816"/>
                <a:gd name="T57" fmla="*/ 4 h 805"/>
                <a:gd name="T58" fmla="*/ 657 w 816"/>
                <a:gd name="T59" fmla="*/ 1 h 805"/>
                <a:gd name="T60" fmla="*/ 709 w 816"/>
                <a:gd name="T61" fmla="*/ 22 h 805"/>
                <a:gd name="T62" fmla="*/ 759 w 816"/>
                <a:gd name="T63" fmla="*/ 60 h 805"/>
                <a:gd name="T64" fmla="*/ 796 w 816"/>
                <a:gd name="T65" fmla="*/ 108 h 805"/>
                <a:gd name="T66" fmla="*/ 815 w 816"/>
                <a:gd name="T67" fmla="*/ 161 h 805"/>
                <a:gd name="T68" fmla="*/ 810 w 816"/>
                <a:gd name="T69" fmla="*/ 217 h 805"/>
                <a:gd name="T70" fmla="*/ 773 w 816"/>
                <a:gd name="T71" fmla="*/ 283 h 805"/>
                <a:gd name="T72" fmla="*/ 717 w 816"/>
                <a:gd name="T73" fmla="*/ 354 h 805"/>
                <a:gd name="T74" fmla="*/ 681 w 816"/>
                <a:gd name="T75" fmla="*/ 398 h 805"/>
                <a:gd name="T76" fmla="*/ 656 w 816"/>
                <a:gd name="T77" fmla="*/ 424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6" h="805">
                  <a:moveTo>
                    <a:pt x="563" y="521"/>
                  </a:moveTo>
                  <a:lnTo>
                    <a:pt x="537" y="547"/>
                  </a:lnTo>
                  <a:lnTo>
                    <a:pt x="516" y="569"/>
                  </a:lnTo>
                  <a:lnTo>
                    <a:pt x="497" y="587"/>
                  </a:lnTo>
                  <a:lnTo>
                    <a:pt x="482" y="603"/>
                  </a:lnTo>
                  <a:lnTo>
                    <a:pt x="468" y="616"/>
                  </a:lnTo>
                  <a:lnTo>
                    <a:pt x="457" y="627"/>
                  </a:lnTo>
                  <a:lnTo>
                    <a:pt x="447" y="636"/>
                  </a:lnTo>
                  <a:lnTo>
                    <a:pt x="440" y="644"/>
                  </a:lnTo>
                  <a:lnTo>
                    <a:pt x="433" y="650"/>
                  </a:lnTo>
                  <a:lnTo>
                    <a:pt x="427" y="657"/>
                  </a:lnTo>
                  <a:lnTo>
                    <a:pt x="421" y="662"/>
                  </a:lnTo>
                  <a:lnTo>
                    <a:pt x="416" y="668"/>
                  </a:lnTo>
                  <a:lnTo>
                    <a:pt x="410" y="673"/>
                  </a:lnTo>
                  <a:lnTo>
                    <a:pt x="403" y="679"/>
                  </a:lnTo>
                  <a:lnTo>
                    <a:pt x="395" y="688"/>
                  </a:lnTo>
                  <a:lnTo>
                    <a:pt x="386" y="696"/>
                  </a:lnTo>
                  <a:lnTo>
                    <a:pt x="374" y="708"/>
                  </a:lnTo>
                  <a:lnTo>
                    <a:pt x="361" y="721"/>
                  </a:lnTo>
                  <a:lnTo>
                    <a:pt x="345" y="737"/>
                  </a:lnTo>
                  <a:lnTo>
                    <a:pt x="326" y="756"/>
                  </a:lnTo>
                  <a:lnTo>
                    <a:pt x="303" y="779"/>
                  </a:lnTo>
                  <a:lnTo>
                    <a:pt x="277" y="805"/>
                  </a:lnTo>
                  <a:lnTo>
                    <a:pt x="208" y="736"/>
                  </a:lnTo>
                  <a:lnTo>
                    <a:pt x="138" y="671"/>
                  </a:lnTo>
                  <a:lnTo>
                    <a:pt x="68" y="607"/>
                  </a:lnTo>
                  <a:lnTo>
                    <a:pt x="0" y="539"/>
                  </a:lnTo>
                  <a:lnTo>
                    <a:pt x="0" y="538"/>
                  </a:lnTo>
                  <a:lnTo>
                    <a:pt x="1" y="537"/>
                  </a:lnTo>
                  <a:lnTo>
                    <a:pt x="2" y="535"/>
                  </a:lnTo>
                  <a:lnTo>
                    <a:pt x="3" y="533"/>
                  </a:lnTo>
                  <a:lnTo>
                    <a:pt x="37" y="499"/>
                  </a:lnTo>
                  <a:lnTo>
                    <a:pt x="66" y="472"/>
                  </a:lnTo>
                  <a:lnTo>
                    <a:pt x="92" y="446"/>
                  </a:lnTo>
                  <a:lnTo>
                    <a:pt x="114" y="423"/>
                  </a:lnTo>
                  <a:lnTo>
                    <a:pt x="135" y="403"/>
                  </a:lnTo>
                  <a:lnTo>
                    <a:pt x="152" y="385"/>
                  </a:lnTo>
                  <a:lnTo>
                    <a:pt x="169" y="369"/>
                  </a:lnTo>
                  <a:lnTo>
                    <a:pt x="183" y="355"/>
                  </a:lnTo>
                  <a:lnTo>
                    <a:pt x="197" y="341"/>
                  </a:lnTo>
                  <a:lnTo>
                    <a:pt x="210" y="328"/>
                  </a:lnTo>
                  <a:lnTo>
                    <a:pt x="223" y="315"/>
                  </a:lnTo>
                  <a:lnTo>
                    <a:pt x="236" y="303"/>
                  </a:lnTo>
                  <a:lnTo>
                    <a:pt x="248" y="291"/>
                  </a:lnTo>
                  <a:lnTo>
                    <a:pt x="262" y="277"/>
                  </a:lnTo>
                  <a:lnTo>
                    <a:pt x="277" y="263"/>
                  </a:lnTo>
                  <a:lnTo>
                    <a:pt x="294" y="247"/>
                  </a:lnTo>
                  <a:lnTo>
                    <a:pt x="312" y="228"/>
                  </a:lnTo>
                  <a:lnTo>
                    <a:pt x="332" y="209"/>
                  </a:lnTo>
                  <a:lnTo>
                    <a:pt x="356" y="187"/>
                  </a:lnTo>
                  <a:lnTo>
                    <a:pt x="382" y="161"/>
                  </a:lnTo>
                  <a:lnTo>
                    <a:pt x="411" y="133"/>
                  </a:lnTo>
                  <a:lnTo>
                    <a:pt x="443" y="101"/>
                  </a:lnTo>
                  <a:lnTo>
                    <a:pt x="473" y="75"/>
                  </a:lnTo>
                  <a:lnTo>
                    <a:pt x="505" y="52"/>
                  </a:lnTo>
                  <a:lnTo>
                    <a:pt x="540" y="31"/>
                  </a:lnTo>
                  <a:lnTo>
                    <a:pt x="574" y="14"/>
                  </a:lnTo>
                  <a:lnTo>
                    <a:pt x="602" y="4"/>
                  </a:lnTo>
                  <a:lnTo>
                    <a:pt x="630" y="0"/>
                  </a:lnTo>
                  <a:lnTo>
                    <a:pt x="657" y="1"/>
                  </a:lnTo>
                  <a:lnTo>
                    <a:pt x="684" y="9"/>
                  </a:lnTo>
                  <a:lnTo>
                    <a:pt x="709" y="22"/>
                  </a:lnTo>
                  <a:lnTo>
                    <a:pt x="734" y="39"/>
                  </a:lnTo>
                  <a:lnTo>
                    <a:pt x="759" y="60"/>
                  </a:lnTo>
                  <a:lnTo>
                    <a:pt x="780" y="84"/>
                  </a:lnTo>
                  <a:lnTo>
                    <a:pt x="796" y="108"/>
                  </a:lnTo>
                  <a:lnTo>
                    <a:pt x="808" y="134"/>
                  </a:lnTo>
                  <a:lnTo>
                    <a:pt x="815" y="161"/>
                  </a:lnTo>
                  <a:lnTo>
                    <a:pt x="816" y="188"/>
                  </a:lnTo>
                  <a:lnTo>
                    <a:pt x="810" y="217"/>
                  </a:lnTo>
                  <a:lnTo>
                    <a:pt x="798" y="246"/>
                  </a:lnTo>
                  <a:lnTo>
                    <a:pt x="773" y="283"/>
                  </a:lnTo>
                  <a:lnTo>
                    <a:pt x="746" y="319"/>
                  </a:lnTo>
                  <a:lnTo>
                    <a:pt x="717" y="354"/>
                  </a:lnTo>
                  <a:lnTo>
                    <a:pt x="689" y="389"/>
                  </a:lnTo>
                  <a:lnTo>
                    <a:pt x="681" y="398"/>
                  </a:lnTo>
                  <a:lnTo>
                    <a:pt x="674" y="407"/>
                  </a:lnTo>
                  <a:lnTo>
                    <a:pt x="656" y="424"/>
                  </a:lnTo>
                  <a:lnTo>
                    <a:pt x="563" y="5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-89" y="2158"/>
              <a:ext cx="69" cy="70"/>
            </a:xfrm>
            <a:custGeom>
              <a:avLst/>
              <a:gdLst>
                <a:gd name="T0" fmla="*/ 606 w 629"/>
                <a:gd name="T1" fmla="*/ 105 h 630"/>
                <a:gd name="T2" fmla="*/ 517 w 629"/>
                <a:gd name="T3" fmla="*/ 196 h 630"/>
                <a:gd name="T4" fmla="*/ 427 w 629"/>
                <a:gd name="T5" fmla="*/ 286 h 630"/>
                <a:gd name="T6" fmla="*/ 106 w 629"/>
                <a:gd name="T7" fmla="*/ 605 h 630"/>
                <a:gd name="T8" fmla="*/ 94 w 629"/>
                <a:gd name="T9" fmla="*/ 618 h 630"/>
                <a:gd name="T10" fmla="*/ 78 w 629"/>
                <a:gd name="T11" fmla="*/ 625 h 630"/>
                <a:gd name="T12" fmla="*/ 63 w 629"/>
                <a:gd name="T13" fmla="*/ 630 h 630"/>
                <a:gd name="T14" fmla="*/ 47 w 629"/>
                <a:gd name="T15" fmla="*/ 630 h 630"/>
                <a:gd name="T16" fmla="*/ 30 w 629"/>
                <a:gd name="T17" fmla="*/ 622 h 630"/>
                <a:gd name="T18" fmla="*/ 16 w 629"/>
                <a:gd name="T19" fmla="*/ 613 h 630"/>
                <a:gd name="T20" fmla="*/ 6 w 629"/>
                <a:gd name="T21" fmla="*/ 601 h 630"/>
                <a:gd name="T22" fmla="*/ 1 w 629"/>
                <a:gd name="T23" fmla="*/ 588 h 630"/>
                <a:gd name="T24" fmla="*/ 0 w 629"/>
                <a:gd name="T25" fmla="*/ 573 h 630"/>
                <a:gd name="T26" fmla="*/ 3 w 629"/>
                <a:gd name="T27" fmla="*/ 557 h 630"/>
                <a:gd name="T28" fmla="*/ 10 w 629"/>
                <a:gd name="T29" fmla="*/ 543 h 630"/>
                <a:gd name="T30" fmla="*/ 20 w 629"/>
                <a:gd name="T31" fmla="*/ 530 h 630"/>
                <a:gd name="T32" fmla="*/ 32 w 629"/>
                <a:gd name="T33" fmla="*/ 517 h 630"/>
                <a:gd name="T34" fmla="*/ 48 w 629"/>
                <a:gd name="T35" fmla="*/ 501 h 630"/>
                <a:gd name="T36" fmla="*/ 68 w 629"/>
                <a:gd name="T37" fmla="*/ 482 h 630"/>
                <a:gd name="T38" fmla="*/ 88 w 629"/>
                <a:gd name="T39" fmla="*/ 461 h 630"/>
                <a:gd name="T40" fmla="*/ 112 w 629"/>
                <a:gd name="T41" fmla="*/ 438 h 630"/>
                <a:gd name="T42" fmla="*/ 136 w 629"/>
                <a:gd name="T43" fmla="*/ 413 h 630"/>
                <a:gd name="T44" fmla="*/ 162 w 629"/>
                <a:gd name="T45" fmla="*/ 387 h 630"/>
                <a:gd name="T46" fmla="*/ 189 w 629"/>
                <a:gd name="T47" fmla="*/ 360 h 630"/>
                <a:gd name="T48" fmla="*/ 217 w 629"/>
                <a:gd name="T49" fmla="*/ 332 h 630"/>
                <a:gd name="T50" fmla="*/ 246 w 629"/>
                <a:gd name="T51" fmla="*/ 303 h 630"/>
                <a:gd name="T52" fmla="*/ 275 w 629"/>
                <a:gd name="T53" fmla="*/ 274 h 630"/>
                <a:gd name="T54" fmla="*/ 303 w 629"/>
                <a:gd name="T55" fmla="*/ 246 h 630"/>
                <a:gd name="T56" fmla="*/ 331 w 629"/>
                <a:gd name="T57" fmla="*/ 217 h 630"/>
                <a:gd name="T58" fmla="*/ 359 w 629"/>
                <a:gd name="T59" fmla="*/ 191 h 630"/>
                <a:gd name="T60" fmla="*/ 385 w 629"/>
                <a:gd name="T61" fmla="*/ 164 h 630"/>
                <a:gd name="T62" fmla="*/ 409 w 629"/>
                <a:gd name="T63" fmla="*/ 139 h 630"/>
                <a:gd name="T64" fmla="*/ 433 w 629"/>
                <a:gd name="T65" fmla="*/ 116 h 630"/>
                <a:gd name="T66" fmla="*/ 455 w 629"/>
                <a:gd name="T67" fmla="*/ 94 h 630"/>
                <a:gd name="T68" fmla="*/ 474 w 629"/>
                <a:gd name="T69" fmla="*/ 75 h 630"/>
                <a:gd name="T70" fmla="*/ 491 w 629"/>
                <a:gd name="T71" fmla="*/ 59 h 630"/>
                <a:gd name="T72" fmla="*/ 505 w 629"/>
                <a:gd name="T73" fmla="*/ 45 h 630"/>
                <a:gd name="T74" fmla="*/ 516 w 629"/>
                <a:gd name="T75" fmla="*/ 34 h 630"/>
                <a:gd name="T76" fmla="*/ 523 w 629"/>
                <a:gd name="T77" fmla="*/ 27 h 630"/>
                <a:gd name="T78" fmla="*/ 527 w 629"/>
                <a:gd name="T79" fmla="*/ 22 h 630"/>
                <a:gd name="T80" fmla="*/ 546 w 629"/>
                <a:gd name="T81" fmla="*/ 9 h 630"/>
                <a:gd name="T82" fmla="*/ 564 w 629"/>
                <a:gd name="T83" fmla="*/ 1 h 630"/>
                <a:gd name="T84" fmla="*/ 581 w 629"/>
                <a:gd name="T85" fmla="*/ 0 h 630"/>
                <a:gd name="T86" fmla="*/ 599 w 629"/>
                <a:gd name="T87" fmla="*/ 6 h 630"/>
                <a:gd name="T88" fmla="*/ 615 w 629"/>
                <a:gd name="T89" fmla="*/ 19 h 630"/>
                <a:gd name="T90" fmla="*/ 623 w 629"/>
                <a:gd name="T91" fmla="*/ 31 h 630"/>
                <a:gd name="T92" fmla="*/ 629 w 629"/>
                <a:gd name="T93" fmla="*/ 45 h 630"/>
                <a:gd name="T94" fmla="*/ 629 w 629"/>
                <a:gd name="T95" fmla="*/ 60 h 630"/>
                <a:gd name="T96" fmla="*/ 625 w 629"/>
                <a:gd name="T97" fmla="*/ 75 h 630"/>
                <a:gd name="T98" fmla="*/ 618 w 629"/>
                <a:gd name="T99" fmla="*/ 90 h 630"/>
                <a:gd name="T100" fmla="*/ 606 w 629"/>
                <a:gd name="T101" fmla="*/ 105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9" h="630">
                  <a:moveTo>
                    <a:pt x="606" y="105"/>
                  </a:moveTo>
                  <a:lnTo>
                    <a:pt x="517" y="196"/>
                  </a:lnTo>
                  <a:lnTo>
                    <a:pt x="427" y="286"/>
                  </a:lnTo>
                  <a:lnTo>
                    <a:pt x="106" y="605"/>
                  </a:lnTo>
                  <a:lnTo>
                    <a:pt x="94" y="618"/>
                  </a:lnTo>
                  <a:lnTo>
                    <a:pt x="78" y="625"/>
                  </a:lnTo>
                  <a:lnTo>
                    <a:pt x="63" y="630"/>
                  </a:lnTo>
                  <a:lnTo>
                    <a:pt x="47" y="630"/>
                  </a:lnTo>
                  <a:lnTo>
                    <a:pt x="30" y="622"/>
                  </a:lnTo>
                  <a:lnTo>
                    <a:pt x="16" y="613"/>
                  </a:lnTo>
                  <a:lnTo>
                    <a:pt x="6" y="601"/>
                  </a:lnTo>
                  <a:lnTo>
                    <a:pt x="1" y="588"/>
                  </a:lnTo>
                  <a:lnTo>
                    <a:pt x="0" y="573"/>
                  </a:lnTo>
                  <a:lnTo>
                    <a:pt x="3" y="557"/>
                  </a:lnTo>
                  <a:lnTo>
                    <a:pt x="10" y="543"/>
                  </a:lnTo>
                  <a:lnTo>
                    <a:pt x="20" y="530"/>
                  </a:lnTo>
                  <a:lnTo>
                    <a:pt x="32" y="517"/>
                  </a:lnTo>
                  <a:lnTo>
                    <a:pt x="48" y="501"/>
                  </a:lnTo>
                  <a:lnTo>
                    <a:pt x="68" y="482"/>
                  </a:lnTo>
                  <a:lnTo>
                    <a:pt x="88" y="461"/>
                  </a:lnTo>
                  <a:lnTo>
                    <a:pt x="112" y="438"/>
                  </a:lnTo>
                  <a:lnTo>
                    <a:pt x="136" y="413"/>
                  </a:lnTo>
                  <a:lnTo>
                    <a:pt x="162" y="387"/>
                  </a:lnTo>
                  <a:lnTo>
                    <a:pt x="189" y="360"/>
                  </a:lnTo>
                  <a:lnTo>
                    <a:pt x="217" y="332"/>
                  </a:lnTo>
                  <a:lnTo>
                    <a:pt x="246" y="303"/>
                  </a:lnTo>
                  <a:lnTo>
                    <a:pt x="275" y="274"/>
                  </a:lnTo>
                  <a:lnTo>
                    <a:pt x="303" y="246"/>
                  </a:lnTo>
                  <a:lnTo>
                    <a:pt x="331" y="217"/>
                  </a:lnTo>
                  <a:lnTo>
                    <a:pt x="359" y="191"/>
                  </a:lnTo>
                  <a:lnTo>
                    <a:pt x="385" y="164"/>
                  </a:lnTo>
                  <a:lnTo>
                    <a:pt x="409" y="139"/>
                  </a:lnTo>
                  <a:lnTo>
                    <a:pt x="433" y="116"/>
                  </a:lnTo>
                  <a:lnTo>
                    <a:pt x="455" y="94"/>
                  </a:lnTo>
                  <a:lnTo>
                    <a:pt x="474" y="75"/>
                  </a:lnTo>
                  <a:lnTo>
                    <a:pt x="491" y="59"/>
                  </a:lnTo>
                  <a:lnTo>
                    <a:pt x="505" y="45"/>
                  </a:lnTo>
                  <a:lnTo>
                    <a:pt x="516" y="34"/>
                  </a:lnTo>
                  <a:lnTo>
                    <a:pt x="523" y="27"/>
                  </a:lnTo>
                  <a:lnTo>
                    <a:pt x="527" y="22"/>
                  </a:lnTo>
                  <a:lnTo>
                    <a:pt x="546" y="9"/>
                  </a:lnTo>
                  <a:lnTo>
                    <a:pt x="564" y="1"/>
                  </a:lnTo>
                  <a:lnTo>
                    <a:pt x="581" y="0"/>
                  </a:lnTo>
                  <a:lnTo>
                    <a:pt x="599" y="6"/>
                  </a:lnTo>
                  <a:lnTo>
                    <a:pt x="615" y="19"/>
                  </a:lnTo>
                  <a:lnTo>
                    <a:pt x="623" y="31"/>
                  </a:lnTo>
                  <a:lnTo>
                    <a:pt x="629" y="45"/>
                  </a:lnTo>
                  <a:lnTo>
                    <a:pt x="629" y="60"/>
                  </a:lnTo>
                  <a:lnTo>
                    <a:pt x="625" y="75"/>
                  </a:lnTo>
                  <a:lnTo>
                    <a:pt x="618" y="90"/>
                  </a:lnTo>
                  <a:lnTo>
                    <a:pt x="606" y="1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-312" y="2031"/>
              <a:ext cx="180" cy="13"/>
            </a:xfrm>
            <a:custGeom>
              <a:avLst/>
              <a:gdLst>
                <a:gd name="T0" fmla="*/ 1615 w 1615"/>
                <a:gd name="T1" fmla="*/ 61 h 123"/>
                <a:gd name="T2" fmla="*/ 1612 w 1615"/>
                <a:gd name="T3" fmla="*/ 81 h 123"/>
                <a:gd name="T4" fmla="*/ 1603 w 1615"/>
                <a:gd name="T5" fmla="*/ 98 h 123"/>
                <a:gd name="T6" fmla="*/ 1590 w 1615"/>
                <a:gd name="T7" fmla="*/ 111 h 123"/>
                <a:gd name="T8" fmla="*/ 1573 w 1615"/>
                <a:gd name="T9" fmla="*/ 120 h 123"/>
                <a:gd name="T10" fmla="*/ 1554 w 1615"/>
                <a:gd name="T11" fmla="*/ 123 h 123"/>
                <a:gd name="T12" fmla="*/ 61 w 1615"/>
                <a:gd name="T13" fmla="*/ 123 h 123"/>
                <a:gd name="T14" fmla="*/ 42 w 1615"/>
                <a:gd name="T15" fmla="*/ 120 h 123"/>
                <a:gd name="T16" fmla="*/ 25 w 1615"/>
                <a:gd name="T17" fmla="*/ 111 h 123"/>
                <a:gd name="T18" fmla="*/ 12 w 1615"/>
                <a:gd name="T19" fmla="*/ 98 h 123"/>
                <a:gd name="T20" fmla="*/ 3 w 1615"/>
                <a:gd name="T21" fmla="*/ 81 h 123"/>
                <a:gd name="T22" fmla="*/ 0 w 1615"/>
                <a:gd name="T23" fmla="*/ 61 h 123"/>
                <a:gd name="T24" fmla="*/ 3 w 1615"/>
                <a:gd name="T25" fmla="*/ 42 h 123"/>
                <a:gd name="T26" fmla="*/ 12 w 1615"/>
                <a:gd name="T27" fmla="*/ 25 h 123"/>
                <a:gd name="T28" fmla="*/ 25 w 1615"/>
                <a:gd name="T29" fmla="*/ 12 h 123"/>
                <a:gd name="T30" fmla="*/ 42 w 1615"/>
                <a:gd name="T31" fmla="*/ 3 h 123"/>
                <a:gd name="T32" fmla="*/ 61 w 1615"/>
                <a:gd name="T33" fmla="*/ 0 h 123"/>
                <a:gd name="T34" fmla="*/ 1554 w 1615"/>
                <a:gd name="T35" fmla="*/ 0 h 123"/>
                <a:gd name="T36" fmla="*/ 1573 w 1615"/>
                <a:gd name="T37" fmla="*/ 3 h 123"/>
                <a:gd name="T38" fmla="*/ 1590 w 1615"/>
                <a:gd name="T39" fmla="*/ 12 h 123"/>
                <a:gd name="T40" fmla="*/ 1603 w 1615"/>
                <a:gd name="T41" fmla="*/ 25 h 123"/>
                <a:gd name="T42" fmla="*/ 1612 w 1615"/>
                <a:gd name="T43" fmla="*/ 42 h 123"/>
                <a:gd name="T44" fmla="*/ 1615 w 1615"/>
                <a:gd name="T45" fmla="*/ 6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3">
                  <a:moveTo>
                    <a:pt x="1615" y="61"/>
                  </a:moveTo>
                  <a:lnTo>
                    <a:pt x="1612" y="81"/>
                  </a:lnTo>
                  <a:lnTo>
                    <a:pt x="1603" y="98"/>
                  </a:lnTo>
                  <a:lnTo>
                    <a:pt x="1590" y="111"/>
                  </a:lnTo>
                  <a:lnTo>
                    <a:pt x="1573" y="120"/>
                  </a:lnTo>
                  <a:lnTo>
                    <a:pt x="1554" y="123"/>
                  </a:lnTo>
                  <a:lnTo>
                    <a:pt x="61" y="123"/>
                  </a:lnTo>
                  <a:lnTo>
                    <a:pt x="42" y="120"/>
                  </a:lnTo>
                  <a:lnTo>
                    <a:pt x="25" y="111"/>
                  </a:lnTo>
                  <a:lnTo>
                    <a:pt x="12" y="98"/>
                  </a:lnTo>
                  <a:lnTo>
                    <a:pt x="3" y="81"/>
                  </a:lnTo>
                  <a:lnTo>
                    <a:pt x="0" y="61"/>
                  </a:lnTo>
                  <a:lnTo>
                    <a:pt x="3" y="42"/>
                  </a:lnTo>
                  <a:lnTo>
                    <a:pt x="12" y="25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3"/>
                  </a:lnTo>
                  <a:lnTo>
                    <a:pt x="1590" y="12"/>
                  </a:lnTo>
                  <a:lnTo>
                    <a:pt x="1603" y="25"/>
                  </a:lnTo>
                  <a:lnTo>
                    <a:pt x="1612" y="42"/>
                  </a:lnTo>
                  <a:lnTo>
                    <a:pt x="161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-312" y="2092"/>
              <a:ext cx="180" cy="14"/>
            </a:xfrm>
            <a:custGeom>
              <a:avLst/>
              <a:gdLst>
                <a:gd name="T0" fmla="*/ 1615 w 1615"/>
                <a:gd name="T1" fmla="*/ 63 h 124"/>
                <a:gd name="T2" fmla="*/ 1612 w 1615"/>
                <a:gd name="T3" fmla="*/ 82 h 124"/>
                <a:gd name="T4" fmla="*/ 1603 w 1615"/>
                <a:gd name="T5" fmla="*/ 99 h 124"/>
                <a:gd name="T6" fmla="*/ 1590 w 1615"/>
                <a:gd name="T7" fmla="*/ 112 h 124"/>
                <a:gd name="T8" fmla="*/ 1573 w 1615"/>
                <a:gd name="T9" fmla="*/ 120 h 124"/>
                <a:gd name="T10" fmla="*/ 1554 w 1615"/>
                <a:gd name="T11" fmla="*/ 124 h 124"/>
                <a:gd name="T12" fmla="*/ 61 w 1615"/>
                <a:gd name="T13" fmla="*/ 124 h 124"/>
                <a:gd name="T14" fmla="*/ 42 w 1615"/>
                <a:gd name="T15" fmla="*/ 120 h 124"/>
                <a:gd name="T16" fmla="*/ 25 w 1615"/>
                <a:gd name="T17" fmla="*/ 112 h 124"/>
                <a:gd name="T18" fmla="*/ 12 w 1615"/>
                <a:gd name="T19" fmla="*/ 99 h 124"/>
                <a:gd name="T20" fmla="*/ 3 w 1615"/>
                <a:gd name="T21" fmla="*/ 82 h 124"/>
                <a:gd name="T22" fmla="*/ 0 w 1615"/>
                <a:gd name="T23" fmla="*/ 63 h 124"/>
                <a:gd name="T24" fmla="*/ 3 w 1615"/>
                <a:gd name="T25" fmla="*/ 43 h 124"/>
                <a:gd name="T26" fmla="*/ 12 w 1615"/>
                <a:gd name="T27" fmla="*/ 26 h 124"/>
                <a:gd name="T28" fmla="*/ 25 w 1615"/>
                <a:gd name="T29" fmla="*/ 12 h 124"/>
                <a:gd name="T30" fmla="*/ 42 w 1615"/>
                <a:gd name="T31" fmla="*/ 4 h 124"/>
                <a:gd name="T32" fmla="*/ 61 w 1615"/>
                <a:gd name="T33" fmla="*/ 0 h 124"/>
                <a:gd name="T34" fmla="*/ 1554 w 1615"/>
                <a:gd name="T35" fmla="*/ 0 h 124"/>
                <a:gd name="T36" fmla="*/ 1573 w 1615"/>
                <a:gd name="T37" fmla="*/ 4 h 124"/>
                <a:gd name="T38" fmla="*/ 1590 w 1615"/>
                <a:gd name="T39" fmla="*/ 12 h 124"/>
                <a:gd name="T40" fmla="*/ 1603 w 1615"/>
                <a:gd name="T41" fmla="*/ 26 h 124"/>
                <a:gd name="T42" fmla="*/ 1612 w 1615"/>
                <a:gd name="T43" fmla="*/ 43 h 124"/>
                <a:gd name="T44" fmla="*/ 1615 w 1615"/>
                <a:gd name="T45" fmla="*/ 6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4">
                  <a:moveTo>
                    <a:pt x="1615" y="63"/>
                  </a:moveTo>
                  <a:lnTo>
                    <a:pt x="1612" y="82"/>
                  </a:lnTo>
                  <a:lnTo>
                    <a:pt x="1603" y="99"/>
                  </a:lnTo>
                  <a:lnTo>
                    <a:pt x="1590" y="112"/>
                  </a:lnTo>
                  <a:lnTo>
                    <a:pt x="1573" y="120"/>
                  </a:lnTo>
                  <a:lnTo>
                    <a:pt x="1554" y="124"/>
                  </a:lnTo>
                  <a:lnTo>
                    <a:pt x="61" y="124"/>
                  </a:lnTo>
                  <a:lnTo>
                    <a:pt x="42" y="120"/>
                  </a:lnTo>
                  <a:lnTo>
                    <a:pt x="25" y="112"/>
                  </a:lnTo>
                  <a:lnTo>
                    <a:pt x="12" y="99"/>
                  </a:lnTo>
                  <a:lnTo>
                    <a:pt x="3" y="82"/>
                  </a:lnTo>
                  <a:lnTo>
                    <a:pt x="0" y="63"/>
                  </a:lnTo>
                  <a:lnTo>
                    <a:pt x="3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4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4"/>
                  </a:lnTo>
                  <a:lnTo>
                    <a:pt x="1590" y="12"/>
                  </a:lnTo>
                  <a:lnTo>
                    <a:pt x="1603" y="26"/>
                  </a:lnTo>
                  <a:lnTo>
                    <a:pt x="1612" y="43"/>
                  </a:lnTo>
                  <a:lnTo>
                    <a:pt x="1615" y="6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-312" y="2153"/>
              <a:ext cx="179" cy="14"/>
            </a:xfrm>
            <a:custGeom>
              <a:avLst/>
              <a:gdLst>
                <a:gd name="T0" fmla="*/ 1614 w 1614"/>
                <a:gd name="T1" fmla="*/ 49 h 124"/>
                <a:gd name="T2" fmla="*/ 1540 w 1614"/>
                <a:gd name="T3" fmla="*/ 124 h 124"/>
                <a:gd name="T4" fmla="*/ 61 w 1614"/>
                <a:gd name="T5" fmla="*/ 124 h 124"/>
                <a:gd name="T6" fmla="*/ 42 w 1614"/>
                <a:gd name="T7" fmla="*/ 121 h 124"/>
                <a:gd name="T8" fmla="*/ 25 w 1614"/>
                <a:gd name="T9" fmla="*/ 112 h 124"/>
                <a:gd name="T10" fmla="*/ 12 w 1614"/>
                <a:gd name="T11" fmla="*/ 98 h 124"/>
                <a:gd name="T12" fmla="*/ 2 w 1614"/>
                <a:gd name="T13" fmla="*/ 81 h 124"/>
                <a:gd name="T14" fmla="*/ 0 w 1614"/>
                <a:gd name="T15" fmla="*/ 62 h 124"/>
                <a:gd name="T16" fmla="*/ 2 w 1614"/>
                <a:gd name="T17" fmla="*/ 43 h 124"/>
                <a:gd name="T18" fmla="*/ 12 w 1614"/>
                <a:gd name="T19" fmla="*/ 26 h 124"/>
                <a:gd name="T20" fmla="*/ 25 w 1614"/>
                <a:gd name="T21" fmla="*/ 12 h 124"/>
                <a:gd name="T22" fmla="*/ 42 w 1614"/>
                <a:gd name="T23" fmla="*/ 3 h 124"/>
                <a:gd name="T24" fmla="*/ 61 w 1614"/>
                <a:gd name="T25" fmla="*/ 0 h 124"/>
                <a:gd name="T26" fmla="*/ 1554 w 1614"/>
                <a:gd name="T27" fmla="*/ 0 h 124"/>
                <a:gd name="T28" fmla="*/ 1571 w 1614"/>
                <a:gd name="T29" fmla="*/ 3 h 124"/>
                <a:gd name="T30" fmla="*/ 1586 w 1614"/>
                <a:gd name="T31" fmla="*/ 10 h 124"/>
                <a:gd name="T32" fmla="*/ 1599 w 1614"/>
                <a:gd name="T33" fmla="*/ 20 h 124"/>
                <a:gd name="T34" fmla="*/ 1609 w 1614"/>
                <a:gd name="T35" fmla="*/ 33 h 124"/>
                <a:gd name="T36" fmla="*/ 1614 w 1614"/>
                <a:gd name="T37" fmla="*/ 49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14" h="124">
                  <a:moveTo>
                    <a:pt x="1614" y="49"/>
                  </a:moveTo>
                  <a:lnTo>
                    <a:pt x="1540" y="124"/>
                  </a:lnTo>
                  <a:lnTo>
                    <a:pt x="61" y="124"/>
                  </a:lnTo>
                  <a:lnTo>
                    <a:pt x="42" y="121"/>
                  </a:lnTo>
                  <a:lnTo>
                    <a:pt x="25" y="112"/>
                  </a:lnTo>
                  <a:lnTo>
                    <a:pt x="12" y="98"/>
                  </a:lnTo>
                  <a:lnTo>
                    <a:pt x="2" y="81"/>
                  </a:lnTo>
                  <a:lnTo>
                    <a:pt x="0" y="62"/>
                  </a:lnTo>
                  <a:lnTo>
                    <a:pt x="2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1" y="3"/>
                  </a:lnTo>
                  <a:lnTo>
                    <a:pt x="1586" y="10"/>
                  </a:lnTo>
                  <a:lnTo>
                    <a:pt x="1599" y="20"/>
                  </a:lnTo>
                  <a:lnTo>
                    <a:pt x="1609" y="33"/>
                  </a:lnTo>
                  <a:lnTo>
                    <a:pt x="1614" y="4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-224" y="2177"/>
              <a:ext cx="129" cy="132"/>
            </a:xfrm>
            <a:custGeom>
              <a:avLst/>
              <a:gdLst>
                <a:gd name="T0" fmla="*/ 1155 w 1157"/>
                <a:gd name="T1" fmla="*/ 280 h 1183"/>
                <a:gd name="T2" fmla="*/ 1140 w 1157"/>
                <a:gd name="T3" fmla="*/ 296 h 1183"/>
                <a:gd name="T4" fmla="*/ 1111 w 1157"/>
                <a:gd name="T5" fmla="*/ 325 h 1183"/>
                <a:gd name="T6" fmla="*/ 1070 w 1157"/>
                <a:gd name="T7" fmla="*/ 367 h 1183"/>
                <a:gd name="T8" fmla="*/ 1020 w 1157"/>
                <a:gd name="T9" fmla="*/ 417 h 1183"/>
                <a:gd name="T10" fmla="*/ 963 w 1157"/>
                <a:gd name="T11" fmla="*/ 475 h 1183"/>
                <a:gd name="T12" fmla="*/ 899 w 1157"/>
                <a:gd name="T13" fmla="*/ 537 h 1183"/>
                <a:gd name="T14" fmla="*/ 833 w 1157"/>
                <a:gd name="T15" fmla="*/ 603 h 1183"/>
                <a:gd name="T16" fmla="*/ 765 w 1157"/>
                <a:gd name="T17" fmla="*/ 670 h 1183"/>
                <a:gd name="T18" fmla="*/ 697 w 1157"/>
                <a:gd name="T19" fmla="*/ 736 h 1183"/>
                <a:gd name="T20" fmla="*/ 633 w 1157"/>
                <a:gd name="T21" fmla="*/ 798 h 1183"/>
                <a:gd name="T22" fmla="*/ 573 w 1157"/>
                <a:gd name="T23" fmla="*/ 855 h 1183"/>
                <a:gd name="T24" fmla="*/ 520 w 1157"/>
                <a:gd name="T25" fmla="*/ 904 h 1183"/>
                <a:gd name="T26" fmla="*/ 475 w 1157"/>
                <a:gd name="T27" fmla="*/ 945 h 1183"/>
                <a:gd name="T28" fmla="*/ 442 w 1157"/>
                <a:gd name="T29" fmla="*/ 973 h 1183"/>
                <a:gd name="T30" fmla="*/ 427 w 1157"/>
                <a:gd name="T31" fmla="*/ 983 h 1183"/>
                <a:gd name="T32" fmla="*/ 409 w 1157"/>
                <a:gd name="T33" fmla="*/ 995 h 1183"/>
                <a:gd name="T34" fmla="*/ 378 w 1157"/>
                <a:gd name="T35" fmla="*/ 1017 h 1183"/>
                <a:gd name="T36" fmla="*/ 336 w 1157"/>
                <a:gd name="T37" fmla="*/ 1042 h 1183"/>
                <a:gd name="T38" fmla="*/ 287 w 1157"/>
                <a:gd name="T39" fmla="*/ 1071 h 1183"/>
                <a:gd name="T40" fmla="*/ 234 w 1157"/>
                <a:gd name="T41" fmla="*/ 1099 h 1183"/>
                <a:gd name="T42" fmla="*/ 181 w 1157"/>
                <a:gd name="T43" fmla="*/ 1123 h 1183"/>
                <a:gd name="T44" fmla="*/ 129 w 1157"/>
                <a:gd name="T45" fmla="*/ 1139 h 1183"/>
                <a:gd name="T46" fmla="*/ 84 w 1157"/>
                <a:gd name="T47" fmla="*/ 1143 h 1183"/>
                <a:gd name="T48" fmla="*/ 78 w 1157"/>
                <a:gd name="T49" fmla="*/ 1144 h 1183"/>
                <a:gd name="T50" fmla="*/ 47 w 1157"/>
                <a:gd name="T51" fmla="*/ 1174 h 1183"/>
                <a:gd name="T52" fmla="*/ 27 w 1157"/>
                <a:gd name="T53" fmla="*/ 1183 h 1183"/>
                <a:gd name="T54" fmla="*/ 9 w 1157"/>
                <a:gd name="T55" fmla="*/ 1176 h 1183"/>
                <a:gd name="T56" fmla="*/ 0 w 1157"/>
                <a:gd name="T57" fmla="*/ 1157 h 1183"/>
                <a:gd name="T58" fmla="*/ 6 w 1157"/>
                <a:gd name="T59" fmla="*/ 1137 h 1183"/>
                <a:gd name="T60" fmla="*/ 29 w 1157"/>
                <a:gd name="T61" fmla="*/ 1091 h 1183"/>
                <a:gd name="T62" fmla="*/ 32 w 1157"/>
                <a:gd name="T63" fmla="*/ 1046 h 1183"/>
                <a:gd name="T64" fmla="*/ 46 w 1157"/>
                <a:gd name="T65" fmla="*/ 994 h 1183"/>
                <a:gd name="T66" fmla="*/ 68 w 1157"/>
                <a:gd name="T67" fmla="*/ 941 h 1183"/>
                <a:gd name="T68" fmla="*/ 93 w 1157"/>
                <a:gd name="T69" fmla="*/ 886 h 1183"/>
                <a:gd name="T70" fmla="*/ 120 w 1157"/>
                <a:gd name="T71" fmla="*/ 837 h 1183"/>
                <a:gd name="T72" fmla="*/ 146 w 1157"/>
                <a:gd name="T73" fmla="*/ 794 h 1183"/>
                <a:gd name="T74" fmla="*/ 167 w 1157"/>
                <a:gd name="T75" fmla="*/ 762 h 1183"/>
                <a:gd name="T76" fmla="*/ 177 w 1157"/>
                <a:gd name="T77" fmla="*/ 745 h 1183"/>
                <a:gd name="T78" fmla="*/ 188 w 1157"/>
                <a:gd name="T79" fmla="*/ 730 h 1183"/>
                <a:gd name="T80" fmla="*/ 215 w 1157"/>
                <a:gd name="T81" fmla="*/ 695 h 1183"/>
                <a:gd name="T82" fmla="*/ 254 w 1157"/>
                <a:gd name="T83" fmla="*/ 650 h 1183"/>
                <a:gd name="T84" fmla="*/ 302 w 1157"/>
                <a:gd name="T85" fmla="*/ 596 h 1183"/>
                <a:gd name="T86" fmla="*/ 358 w 1157"/>
                <a:gd name="T87" fmla="*/ 535 h 1183"/>
                <a:gd name="T88" fmla="*/ 419 w 1157"/>
                <a:gd name="T89" fmla="*/ 469 h 1183"/>
                <a:gd name="T90" fmla="*/ 484 w 1157"/>
                <a:gd name="T91" fmla="*/ 400 h 1183"/>
                <a:gd name="T92" fmla="*/ 549 w 1157"/>
                <a:gd name="T93" fmla="*/ 331 h 1183"/>
                <a:gd name="T94" fmla="*/ 614 w 1157"/>
                <a:gd name="T95" fmla="*/ 264 h 1183"/>
                <a:gd name="T96" fmla="*/ 675 w 1157"/>
                <a:gd name="T97" fmla="*/ 199 h 1183"/>
                <a:gd name="T98" fmla="*/ 732 w 1157"/>
                <a:gd name="T99" fmla="*/ 141 h 1183"/>
                <a:gd name="T100" fmla="*/ 781 w 1157"/>
                <a:gd name="T101" fmla="*/ 89 h 1183"/>
                <a:gd name="T102" fmla="*/ 821 w 1157"/>
                <a:gd name="T103" fmla="*/ 47 h 1183"/>
                <a:gd name="T104" fmla="*/ 850 w 1157"/>
                <a:gd name="T105" fmla="*/ 18 h 1183"/>
                <a:gd name="T106" fmla="*/ 865 w 1157"/>
                <a:gd name="T107" fmla="*/ 2 h 1183"/>
                <a:gd name="T108" fmla="*/ 1012 w 1157"/>
                <a:gd name="T109" fmla="*/ 137 h 1183"/>
                <a:gd name="T110" fmla="*/ 1020 w 1157"/>
                <a:gd name="T111" fmla="*/ 145 h 1183"/>
                <a:gd name="T112" fmla="*/ 1039 w 1157"/>
                <a:gd name="T113" fmla="*/ 162 h 1183"/>
                <a:gd name="T114" fmla="*/ 1064 w 1157"/>
                <a:gd name="T115" fmla="*/ 187 h 1183"/>
                <a:gd name="T116" fmla="*/ 1093 w 1157"/>
                <a:gd name="T117" fmla="*/ 214 h 1183"/>
                <a:gd name="T118" fmla="*/ 1121 w 1157"/>
                <a:gd name="T119" fmla="*/ 241 h 1183"/>
                <a:gd name="T120" fmla="*/ 1142 w 1157"/>
                <a:gd name="T121" fmla="*/ 264 h 1183"/>
                <a:gd name="T122" fmla="*/ 1155 w 1157"/>
                <a:gd name="T123" fmla="*/ 277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57" h="1183">
                  <a:moveTo>
                    <a:pt x="1157" y="278"/>
                  </a:moveTo>
                  <a:lnTo>
                    <a:pt x="1155" y="280"/>
                  </a:lnTo>
                  <a:lnTo>
                    <a:pt x="1150" y="286"/>
                  </a:lnTo>
                  <a:lnTo>
                    <a:pt x="1140" y="296"/>
                  </a:lnTo>
                  <a:lnTo>
                    <a:pt x="1127" y="309"/>
                  </a:lnTo>
                  <a:lnTo>
                    <a:pt x="1111" y="325"/>
                  </a:lnTo>
                  <a:lnTo>
                    <a:pt x="1092" y="344"/>
                  </a:lnTo>
                  <a:lnTo>
                    <a:pt x="1070" y="367"/>
                  </a:lnTo>
                  <a:lnTo>
                    <a:pt x="1047" y="390"/>
                  </a:lnTo>
                  <a:lnTo>
                    <a:pt x="1020" y="417"/>
                  </a:lnTo>
                  <a:lnTo>
                    <a:pt x="992" y="445"/>
                  </a:lnTo>
                  <a:lnTo>
                    <a:pt x="963" y="475"/>
                  </a:lnTo>
                  <a:lnTo>
                    <a:pt x="932" y="505"/>
                  </a:lnTo>
                  <a:lnTo>
                    <a:pt x="899" y="537"/>
                  </a:lnTo>
                  <a:lnTo>
                    <a:pt x="866" y="570"/>
                  </a:lnTo>
                  <a:lnTo>
                    <a:pt x="833" y="603"/>
                  </a:lnTo>
                  <a:lnTo>
                    <a:pt x="799" y="636"/>
                  </a:lnTo>
                  <a:lnTo>
                    <a:pt x="765" y="670"/>
                  </a:lnTo>
                  <a:lnTo>
                    <a:pt x="731" y="703"/>
                  </a:lnTo>
                  <a:lnTo>
                    <a:pt x="697" y="736"/>
                  </a:lnTo>
                  <a:lnTo>
                    <a:pt x="665" y="767"/>
                  </a:lnTo>
                  <a:lnTo>
                    <a:pt x="633" y="798"/>
                  </a:lnTo>
                  <a:lnTo>
                    <a:pt x="603" y="827"/>
                  </a:lnTo>
                  <a:lnTo>
                    <a:pt x="573" y="855"/>
                  </a:lnTo>
                  <a:lnTo>
                    <a:pt x="546" y="881"/>
                  </a:lnTo>
                  <a:lnTo>
                    <a:pt x="520" y="904"/>
                  </a:lnTo>
                  <a:lnTo>
                    <a:pt x="496" y="926"/>
                  </a:lnTo>
                  <a:lnTo>
                    <a:pt x="475" y="945"/>
                  </a:lnTo>
                  <a:lnTo>
                    <a:pt x="457" y="960"/>
                  </a:lnTo>
                  <a:lnTo>
                    <a:pt x="442" y="973"/>
                  </a:lnTo>
                  <a:lnTo>
                    <a:pt x="429" y="981"/>
                  </a:lnTo>
                  <a:lnTo>
                    <a:pt x="427" y="983"/>
                  </a:lnTo>
                  <a:lnTo>
                    <a:pt x="420" y="988"/>
                  </a:lnTo>
                  <a:lnTo>
                    <a:pt x="409" y="995"/>
                  </a:lnTo>
                  <a:lnTo>
                    <a:pt x="395" y="1005"/>
                  </a:lnTo>
                  <a:lnTo>
                    <a:pt x="378" y="1017"/>
                  </a:lnTo>
                  <a:lnTo>
                    <a:pt x="359" y="1029"/>
                  </a:lnTo>
                  <a:lnTo>
                    <a:pt x="336" y="1042"/>
                  </a:lnTo>
                  <a:lnTo>
                    <a:pt x="313" y="1057"/>
                  </a:lnTo>
                  <a:lnTo>
                    <a:pt x="287" y="1071"/>
                  </a:lnTo>
                  <a:lnTo>
                    <a:pt x="261" y="1086"/>
                  </a:lnTo>
                  <a:lnTo>
                    <a:pt x="234" y="1099"/>
                  </a:lnTo>
                  <a:lnTo>
                    <a:pt x="207" y="1112"/>
                  </a:lnTo>
                  <a:lnTo>
                    <a:pt x="181" y="1123"/>
                  </a:lnTo>
                  <a:lnTo>
                    <a:pt x="155" y="1131"/>
                  </a:lnTo>
                  <a:lnTo>
                    <a:pt x="129" y="1139"/>
                  </a:lnTo>
                  <a:lnTo>
                    <a:pt x="105" y="1142"/>
                  </a:lnTo>
                  <a:lnTo>
                    <a:pt x="84" y="1143"/>
                  </a:lnTo>
                  <a:lnTo>
                    <a:pt x="82" y="1144"/>
                  </a:lnTo>
                  <a:lnTo>
                    <a:pt x="78" y="1144"/>
                  </a:lnTo>
                  <a:lnTo>
                    <a:pt x="76" y="1144"/>
                  </a:lnTo>
                  <a:lnTo>
                    <a:pt x="47" y="1174"/>
                  </a:lnTo>
                  <a:lnTo>
                    <a:pt x="38" y="1180"/>
                  </a:lnTo>
                  <a:lnTo>
                    <a:pt x="27" y="1183"/>
                  </a:lnTo>
                  <a:lnTo>
                    <a:pt x="17" y="1182"/>
                  </a:lnTo>
                  <a:lnTo>
                    <a:pt x="9" y="1176"/>
                  </a:lnTo>
                  <a:lnTo>
                    <a:pt x="2" y="1167"/>
                  </a:lnTo>
                  <a:lnTo>
                    <a:pt x="0" y="1157"/>
                  </a:lnTo>
                  <a:lnTo>
                    <a:pt x="1" y="1146"/>
                  </a:lnTo>
                  <a:lnTo>
                    <a:pt x="6" y="1137"/>
                  </a:lnTo>
                  <a:lnTo>
                    <a:pt x="33" y="1109"/>
                  </a:lnTo>
                  <a:lnTo>
                    <a:pt x="29" y="1091"/>
                  </a:lnTo>
                  <a:lnTo>
                    <a:pt x="29" y="1069"/>
                  </a:lnTo>
                  <a:lnTo>
                    <a:pt x="32" y="1046"/>
                  </a:lnTo>
                  <a:lnTo>
                    <a:pt x="38" y="1021"/>
                  </a:lnTo>
                  <a:lnTo>
                    <a:pt x="46" y="994"/>
                  </a:lnTo>
                  <a:lnTo>
                    <a:pt x="56" y="967"/>
                  </a:lnTo>
                  <a:lnTo>
                    <a:pt x="68" y="941"/>
                  </a:lnTo>
                  <a:lnTo>
                    <a:pt x="81" y="913"/>
                  </a:lnTo>
                  <a:lnTo>
                    <a:pt x="93" y="886"/>
                  </a:lnTo>
                  <a:lnTo>
                    <a:pt x="107" y="860"/>
                  </a:lnTo>
                  <a:lnTo>
                    <a:pt x="120" y="837"/>
                  </a:lnTo>
                  <a:lnTo>
                    <a:pt x="134" y="814"/>
                  </a:lnTo>
                  <a:lnTo>
                    <a:pt x="146" y="794"/>
                  </a:lnTo>
                  <a:lnTo>
                    <a:pt x="157" y="777"/>
                  </a:lnTo>
                  <a:lnTo>
                    <a:pt x="167" y="762"/>
                  </a:lnTo>
                  <a:lnTo>
                    <a:pt x="173" y="751"/>
                  </a:lnTo>
                  <a:lnTo>
                    <a:pt x="177" y="745"/>
                  </a:lnTo>
                  <a:lnTo>
                    <a:pt x="179" y="742"/>
                  </a:lnTo>
                  <a:lnTo>
                    <a:pt x="188" y="730"/>
                  </a:lnTo>
                  <a:lnTo>
                    <a:pt x="200" y="715"/>
                  </a:lnTo>
                  <a:lnTo>
                    <a:pt x="215" y="695"/>
                  </a:lnTo>
                  <a:lnTo>
                    <a:pt x="233" y="674"/>
                  </a:lnTo>
                  <a:lnTo>
                    <a:pt x="254" y="650"/>
                  </a:lnTo>
                  <a:lnTo>
                    <a:pt x="277" y="624"/>
                  </a:lnTo>
                  <a:lnTo>
                    <a:pt x="302" y="596"/>
                  </a:lnTo>
                  <a:lnTo>
                    <a:pt x="329" y="566"/>
                  </a:lnTo>
                  <a:lnTo>
                    <a:pt x="358" y="535"/>
                  </a:lnTo>
                  <a:lnTo>
                    <a:pt x="388" y="503"/>
                  </a:lnTo>
                  <a:lnTo>
                    <a:pt x="419" y="469"/>
                  </a:lnTo>
                  <a:lnTo>
                    <a:pt x="451" y="435"/>
                  </a:lnTo>
                  <a:lnTo>
                    <a:pt x="484" y="400"/>
                  </a:lnTo>
                  <a:lnTo>
                    <a:pt x="516" y="365"/>
                  </a:lnTo>
                  <a:lnTo>
                    <a:pt x="549" y="331"/>
                  </a:lnTo>
                  <a:lnTo>
                    <a:pt x="581" y="297"/>
                  </a:lnTo>
                  <a:lnTo>
                    <a:pt x="614" y="264"/>
                  </a:lnTo>
                  <a:lnTo>
                    <a:pt x="645" y="230"/>
                  </a:lnTo>
                  <a:lnTo>
                    <a:pt x="675" y="199"/>
                  </a:lnTo>
                  <a:lnTo>
                    <a:pt x="704" y="168"/>
                  </a:lnTo>
                  <a:lnTo>
                    <a:pt x="732" y="141"/>
                  </a:lnTo>
                  <a:lnTo>
                    <a:pt x="758" y="114"/>
                  </a:lnTo>
                  <a:lnTo>
                    <a:pt x="781" y="89"/>
                  </a:lnTo>
                  <a:lnTo>
                    <a:pt x="803" y="68"/>
                  </a:lnTo>
                  <a:lnTo>
                    <a:pt x="821" y="47"/>
                  </a:lnTo>
                  <a:lnTo>
                    <a:pt x="837" y="31"/>
                  </a:lnTo>
                  <a:lnTo>
                    <a:pt x="850" y="18"/>
                  </a:lnTo>
                  <a:lnTo>
                    <a:pt x="860" y="9"/>
                  </a:lnTo>
                  <a:lnTo>
                    <a:pt x="865" y="2"/>
                  </a:lnTo>
                  <a:lnTo>
                    <a:pt x="867" y="0"/>
                  </a:lnTo>
                  <a:lnTo>
                    <a:pt x="1012" y="137"/>
                  </a:lnTo>
                  <a:lnTo>
                    <a:pt x="1014" y="139"/>
                  </a:lnTo>
                  <a:lnTo>
                    <a:pt x="1020" y="145"/>
                  </a:lnTo>
                  <a:lnTo>
                    <a:pt x="1028" y="152"/>
                  </a:lnTo>
                  <a:lnTo>
                    <a:pt x="1039" y="162"/>
                  </a:lnTo>
                  <a:lnTo>
                    <a:pt x="1051" y="174"/>
                  </a:lnTo>
                  <a:lnTo>
                    <a:pt x="1064" y="187"/>
                  </a:lnTo>
                  <a:lnTo>
                    <a:pt x="1079" y="201"/>
                  </a:lnTo>
                  <a:lnTo>
                    <a:pt x="1093" y="214"/>
                  </a:lnTo>
                  <a:lnTo>
                    <a:pt x="1107" y="228"/>
                  </a:lnTo>
                  <a:lnTo>
                    <a:pt x="1121" y="241"/>
                  </a:lnTo>
                  <a:lnTo>
                    <a:pt x="1133" y="253"/>
                  </a:lnTo>
                  <a:lnTo>
                    <a:pt x="1142" y="264"/>
                  </a:lnTo>
                  <a:lnTo>
                    <a:pt x="1151" y="271"/>
                  </a:lnTo>
                  <a:lnTo>
                    <a:pt x="1155" y="277"/>
                  </a:lnTo>
                  <a:lnTo>
                    <a:pt x="1157" y="2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" name="Group 21"/>
          <p:cNvGrpSpPr>
            <a:grpSpLocks noChangeAspect="1"/>
          </p:cNvGrpSpPr>
          <p:nvPr/>
        </p:nvGrpSpPr>
        <p:grpSpPr bwMode="auto">
          <a:xfrm>
            <a:off x="843703" y="2923581"/>
            <a:ext cx="510202" cy="508511"/>
            <a:chOff x="-425" y="2418"/>
            <a:chExt cx="302" cy="301"/>
          </a:xfrm>
          <a:solidFill>
            <a:srgbClr val="00569B"/>
          </a:solidFill>
        </p:grpSpPr>
        <p:sp>
          <p:nvSpPr>
            <p:cNvPr id="28" name="Freeform 23"/>
            <p:cNvSpPr>
              <a:spLocks/>
            </p:cNvSpPr>
            <p:nvPr/>
          </p:nvSpPr>
          <p:spPr bwMode="auto">
            <a:xfrm>
              <a:off x="-373" y="2472"/>
              <a:ext cx="130" cy="27"/>
            </a:xfrm>
            <a:custGeom>
              <a:avLst/>
              <a:gdLst>
                <a:gd name="T0" fmla="*/ 151 w 1438"/>
                <a:gd name="T1" fmla="*/ 0 h 302"/>
                <a:gd name="T2" fmla="*/ 1287 w 1438"/>
                <a:gd name="T3" fmla="*/ 0 h 302"/>
                <a:gd name="T4" fmla="*/ 1318 w 1438"/>
                <a:gd name="T5" fmla="*/ 3 h 302"/>
                <a:gd name="T6" fmla="*/ 1346 w 1438"/>
                <a:gd name="T7" fmla="*/ 12 h 302"/>
                <a:gd name="T8" fmla="*/ 1372 w 1438"/>
                <a:gd name="T9" fmla="*/ 26 h 302"/>
                <a:gd name="T10" fmla="*/ 1394 w 1438"/>
                <a:gd name="T11" fmla="*/ 45 h 302"/>
                <a:gd name="T12" fmla="*/ 1413 w 1438"/>
                <a:gd name="T13" fmla="*/ 67 h 302"/>
                <a:gd name="T14" fmla="*/ 1426 w 1438"/>
                <a:gd name="T15" fmla="*/ 93 h 302"/>
                <a:gd name="T16" fmla="*/ 1435 w 1438"/>
                <a:gd name="T17" fmla="*/ 121 h 302"/>
                <a:gd name="T18" fmla="*/ 1438 w 1438"/>
                <a:gd name="T19" fmla="*/ 151 h 302"/>
                <a:gd name="T20" fmla="*/ 1435 w 1438"/>
                <a:gd name="T21" fmla="*/ 181 h 302"/>
                <a:gd name="T22" fmla="*/ 1426 w 1438"/>
                <a:gd name="T23" fmla="*/ 209 h 302"/>
                <a:gd name="T24" fmla="*/ 1413 w 1438"/>
                <a:gd name="T25" fmla="*/ 235 h 302"/>
                <a:gd name="T26" fmla="*/ 1394 w 1438"/>
                <a:gd name="T27" fmla="*/ 257 h 302"/>
                <a:gd name="T28" fmla="*/ 1372 w 1438"/>
                <a:gd name="T29" fmla="*/ 276 h 302"/>
                <a:gd name="T30" fmla="*/ 1346 w 1438"/>
                <a:gd name="T31" fmla="*/ 289 h 302"/>
                <a:gd name="T32" fmla="*/ 1318 w 1438"/>
                <a:gd name="T33" fmla="*/ 298 h 302"/>
                <a:gd name="T34" fmla="*/ 1287 w 1438"/>
                <a:gd name="T35" fmla="*/ 302 h 302"/>
                <a:gd name="T36" fmla="*/ 151 w 1438"/>
                <a:gd name="T37" fmla="*/ 302 h 302"/>
                <a:gd name="T38" fmla="*/ 121 w 1438"/>
                <a:gd name="T39" fmla="*/ 298 h 302"/>
                <a:gd name="T40" fmla="*/ 93 w 1438"/>
                <a:gd name="T41" fmla="*/ 289 h 302"/>
                <a:gd name="T42" fmla="*/ 66 w 1438"/>
                <a:gd name="T43" fmla="*/ 276 h 302"/>
                <a:gd name="T44" fmla="*/ 44 w 1438"/>
                <a:gd name="T45" fmla="*/ 257 h 302"/>
                <a:gd name="T46" fmla="*/ 26 w 1438"/>
                <a:gd name="T47" fmla="*/ 235 h 302"/>
                <a:gd name="T48" fmla="*/ 12 w 1438"/>
                <a:gd name="T49" fmla="*/ 209 h 302"/>
                <a:gd name="T50" fmla="*/ 4 w 1438"/>
                <a:gd name="T51" fmla="*/ 181 h 302"/>
                <a:gd name="T52" fmla="*/ 0 w 1438"/>
                <a:gd name="T53" fmla="*/ 151 h 302"/>
                <a:gd name="T54" fmla="*/ 4 w 1438"/>
                <a:gd name="T55" fmla="*/ 121 h 302"/>
                <a:gd name="T56" fmla="*/ 12 w 1438"/>
                <a:gd name="T57" fmla="*/ 93 h 302"/>
                <a:gd name="T58" fmla="*/ 26 w 1438"/>
                <a:gd name="T59" fmla="*/ 67 h 302"/>
                <a:gd name="T60" fmla="*/ 44 w 1438"/>
                <a:gd name="T61" fmla="*/ 45 h 302"/>
                <a:gd name="T62" fmla="*/ 66 w 1438"/>
                <a:gd name="T63" fmla="*/ 26 h 302"/>
                <a:gd name="T64" fmla="*/ 93 w 1438"/>
                <a:gd name="T65" fmla="*/ 12 h 302"/>
                <a:gd name="T66" fmla="*/ 121 w 1438"/>
                <a:gd name="T67" fmla="*/ 3 h 302"/>
                <a:gd name="T68" fmla="*/ 151 w 1438"/>
                <a:gd name="T6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8" h="302">
                  <a:moveTo>
                    <a:pt x="151" y="0"/>
                  </a:moveTo>
                  <a:lnTo>
                    <a:pt x="1287" y="0"/>
                  </a:lnTo>
                  <a:lnTo>
                    <a:pt x="1318" y="3"/>
                  </a:lnTo>
                  <a:lnTo>
                    <a:pt x="1346" y="12"/>
                  </a:lnTo>
                  <a:lnTo>
                    <a:pt x="1372" y="26"/>
                  </a:lnTo>
                  <a:lnTo>
                    <a:pt x="1394" y="45"/>
                  </a:lnTo>
                  <a:lnTo>
                    <a:pt x="1413" y="67"/>
                  </a:lnTo>
                  <a:lnTo>
                    <a:pt x="1426" y="93"/>
                  </a:lnTo>
                  <a:lnTo>
                    <a:pt x="1435" y="121"/>
                  </a:lnTo>
                  <a:lnTo>
                    <a:pt x="1438" y="151"/>
                  </a:lnTo>
                  <a:lnTo>
                    <a:pt x="1435" y="181"/>
                  </a:lnTo>
                  <a:lnTo>
                    <a:pt x="1426" y="209"/>
                  </a:lnTo>
                  <a:lnTo>
                    <a:pt x="1413" y="235"/>
                  </a:lnTo>
                  <a:lnTo>
                    <a:pt x="1394" y="257"/>
                  </a:lnTo>
                  <a:lnTo>
                    <a:pt x="1372" y="276"/>
                  </a:lnTo>
                  <a:lnTo>
                    <a:pt x="1346" y="289"/>
                  </a:lnTo>
                  <a:lnTo>
                    <a:pt x="1318" y="298"/>
                  </a:lnTo>
                  <a:lnTo>
                    <a:pt x="1287" y="302"/>
                  </a:lnTo>
                  <a:lnTo>
                    <a:pt x="151" y="302"/>
                  </a:lnTo>
                  <a:lnTo>
                    <a:pt x="121" y="298"/>
                  </a:lnTo>
                  <a:lnTo>
                    <a:pt x="93" y="289"/>
                  </a:lnTo>
                  <a:lnTo>
                    <a:pt x="66" y="276"/>
                  </a:lnTo>
                  <a:lnTo>
                    <a:pt x="44" y="257"/>
                  </a:lnTo>
                  <a:lnTo>
                    <a:pt x="26" y="235"/>
                  </a:lnTo>
                  <a:lnTo>
                    <a:pt x="12" y="209"/>
                  </a:lnTo>
                  <a:lnTo>
                    <a:pt x="4" y="181"/>
                  </a:lnTo>
                  <a:lnTo>
                    <a:pt x="0" y="151"/>
                  </a:lnTo>
                  <a:lnTo>
                    <a:pt x="4" y="121"/>
                  </a:lnTo>
                  <a:lnTo>
                    <a:pt x="12" y="93"/>
                  </a:lnTo>
                  <a:lnTo>
                    <a:pt x="26" y="67"/>
                  </a:lnTo>
                  <a:lnTo>
                    <a:pt x="44" y="45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4"/>
            <p:cNvSpPr>
              <a:spLocks/>
            </p:cNvSpPr>
            <p:nvPr/>
          </p:nvSpPr>
          <p:spPr bwMode="auto">
            <a:xfrm>
              <a:off x="-373" y="2523"/>
              <a:ext cx="130" cy="27"/>
            </a:xfrm>
            <a:custGeom>
              <a:avLst/>
              <a:gdLst>
                <a:gd name="T0" fmla="*/ 151 w 1438"/>
                <a:gd name="T1" fmla="*/ 0 h 301"/>
                <a:gd name="T2" fmla="*/ 1287 w 1438"/>
                <a:gd name="T3" fmla="*/ 0 h 301"/>
                <a:gd name="T4" fmla="*/ 1318 w 1438"/>
                <a:gd name="T5" fmla="*/ 3 h 301"/>
                <a:gd name="T6" fmla="*/ 1346 w 1438"/>
                <a:gd name="T7" fmla="*/ 12 h 301"/>
                <a:gd name="T8" fmla="*/ 1372 w 1438"/>
                <a:gd name="T9" fmla="*/ 26 h 301"/>
                <a:gd name="T10" fmla="*/ 1394 w 1438"/>
                <a:gd name="T11" fmla="*/ 44 h 301"/>
                <a:gd name="T12" fmla="*/ 1413 w 1438"/>
                <a:gd name="T13" fmla="*/ 66 h 301"/>
                <a:gd name="T14" fmla="*/ 1426 w 1438"/>
                <a:gd name="T15" fmla="*/ 92 h 301"/>
                <a:gd name="T16" fmla="*/ 1435 w 1438"/>
                <a:gd name="T17" fmla="*/ 120 h 301"/>
                <a:gd name="T18" fmla="*/ 1438 w 1438"/>
                <a:gd name="T19" fmla="*/ 150 h 301"/>
                <a:gd name="T20" fmla="*/ 1435 w 1438"/>
                <a:gd name="T21" fmla="*/ 181 h 301"/>
                <a:gd name="T22" fmla="*/ 1426 w 1438"/>
                <a:gd name="T23" fmla="*/ 210 h 301"/>
                <a:gd name="T24" fmla="*/ 1413 w 1438"/>
                <a:gd name="T25" fmla="*/ 235 h 301"/>
                <a:gd name="T26" fmla="*/ 1394 w 1438"/>
                <a:gd name="T27" fmla="*/ 258 h 301"/>
                <a:gd name="T28" fmla="*/ 1372 w 1438"/>
                <a:gd name="T29" fmla="*/ 275 h 301"/>
                <a:gd name="T30" fmla="*/ 1346 w 1438"/>
                <a:gd name="T31" fmla="*/ 290 h 301"/>
                <a:gd name="T32" fmla="*/ 1318 w 1438"/>
                <a:gd name="T33" fmla="*/ 298 h 301"/>
                <a:gd name="T34" fmla="*/ 1287 w 1438"/>
                <a:gd name="T35" fmla="*/ 301 h 301"/>
                <a:gd name="T36" fmla="*/ 151 w 1438"/>
                <a:gd name="T37" fmla="*/ 301 h 301"/>
                <a:gd name="T38" fmla="*/ 121 w 1438"/>
                <a:gd name="T39" fmla="*/ 298 h 301"/>
                <a:gd name="T40" fmla="*/ 93 w 1438"/>
                <a:gd name="T41" fmla="*/ 290 h 301"/>
                <a:gd name="T42" fmla="*/ 66 w 1438"/>
                <a:gd name="T43" fmla="*/ 275 h 301"/>
                <a:gd name="T44" fmla="*/ 44 w 1438"/>
                <a:gd name="T45" fmla="*/ 258 h 301"/>
                <a:gd name="T46" fmla="*/ 26 w 1438"/>
                <a:gd name="T47" fmla="*/ 235 h 301"/>
                <a:gd name="T48" fmla="*/ 12 w 1438"/>
                <a:gd name="T49" fmla="*/ 210 h 301"/>
                <a:gd name="T50" fmla="*/ 4 w 1438"/>
                <a:gd name="T51" fmla="*/ 181 h 301"/>
                <a:gd name="T52" fmla="*/ 0 w 1438"/>
                <a:gd name="T53" fmla="*/ 150 h 301"/>
                <a:gd name="T54" fmla="*/ 4 w 1438"/>
                <a:gd name="T55" fmla="*/ 120 h 301"/>
                <a:gd name="T56" fmla="*/ 12 w 1438"/>
                <a:gd name="T57" fmla="*/ 92 h 301"/>
                <a:gd name="T58" fmla="*/ 26 w 1438"/>
                <a:gd name="T59" fmla="*/ 66 h 301"/>
                <a:gd name="T60" fmla="*/ 44 w 1438"/>
                <a:gd name="T61" fmla="*/ 44 h 301"/>
                <a:gd name="T62" fmla="*/ 66 w 1438"/>
                <a:gd name="T63" fmla="*/ 26 h 301"/>
                <a:gd name="T64" fmla="*/ 93 w 1438"/>
                <a:gd name="T65" fmla="*/ 12 h 301"/>
                <a:gd name="T66" fmla="*/ 121 w 1438"/>
                <a:gd name="T67" fmla="*/ 3 h 301"/>
                <a:gd name="T68" fmla="*/ 151 w 1438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8" h="301">
                  <a:moveTo>
                    <a:pt x="151" y="0"/>
                  </a:moveTo>
                  <a:lnTo>
                    <a:pt x="1287" y="0"/>
                  </a:lnTo>
                  <a:lnTo>
                    <a:pt x="1318" y="3"/>
                  </a:lnTo>
                  <a:lnTo>
                    <a:pt x="1346" y="12"/>
                  </a:lnTo>
                  <a:lnTo>
                    <a:pt x="1372" y="26"/>
                  </a:lnTo>
                  <a:lnTo>
                    <a:pt x="1394" y="44"/>
                  </a:lnTo>
                  <a:lnTo>
                    <a:pt x="1413" y="66"/>
                  </a:lnTo>
                  <a:lnTo>
                    <a:pt x="1426" y="92"/>
                  </a:lnTo>
                  <a:lnTo>
                    <a:pt x="1435" y="120"/>
                  </a:lnTo>
                  <a:lnTo>
                    <a:pt x="1438" y="150"/>
                  </a:lnTo>
                  <a:lnTo>
                    <a:pt x="1435" y="181"/>
                  </a:lnTo>
                  <a:lnTo>
                    <a:pt x="1426" y="210"/>
                  </a:lnTo>
                  <a:lnTo>
                    <a:pt x="1413" y="235"/>
                  </a:lnTo>
                  <a:lnTo>
                    <a:pt x="1394" y="258"/>
                  </a:lnTo>
                  <a:lnTo>
                    <a:pt x="1372" y="275"/>
                  </a:lnTo>
                  <a:lnTo>
                    <a:pt x="1346" y="290"/>
                  </a:lnTo>
                  <a:lnTo>
                    <a:pt x="1318" y="298"/>
                  </a:lnTo>
                  <a:lnTo>
                    <a:pt x="1287" y="301"/>
                  </a:lnTo>
                  <a:lnTo>
                    <a:pt x="151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6" y="275"/>
                  </a:lnTo>
                  <a:lnTo>
                    <a:pt x="44" y="258"/>
                  </a:lnTo>
                  <a:lnTo>
                    <a:pt x="26" y="235"/>
                  </a:lnTo>
                  <a:lnTo>
                    <a:pt x="12" y="210"/>
                  </a:lnTo>
                  <a:lnTo>
                    <a:pt x="4" y="181"/>
                  </a:lnTo>
                  <a:lnTo>
                    <a:pt x="0" y="150"/>
                  </a:lnTo>
                  <a:lnTo>
                    <a:pt x="4" y="120"/>
                  </a:lnTo>
                  <a:lnTo>
                    <a:pt x="12" y="92"/>
                  </a:lnTo>
                  <a:lnTo>
                    <a:pt x="26" y="66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5"/>
            <p:cNvSpPr>
              <a:spLocks/>
            </p:cNvSpPr>
            <p:nvPr/>
          </p:nvSpPr>
          <p:spPr bwMode="auto">
            <a:xfrm>
              <a:off x="-373" y="2574"/>
              <a:ext cx="79" cy="28"/>
            </a:xfrm>
            <a:custGeom>
              <a:avLst/>
              <a:gdLst>
                <a:gd name="T0" fmla="*/ 151 w 870"/>
                <a:gd name="T1" fmla="*/ 0 h 301"/>
                <a:gd name="T2" fmla="*/ 720 w 870"/>
                <a:gd name="T3" fmla="*/ 0 h 301"/>
                <a:gd name="T4" fmla="*/ 750 w 870"/>
                <a:gd name="T5" fmla="*/ 4 h 301"/>
                <a:gd name="T6" fmla="*/ 778 w 870"/>
                <a:gd name="T7" fmla="*/ 12 h 301"/>
                <a:gd name="T8" fmla="*/ 805 w 870"/>
                <a:gd name="T9" fmla="*/ 26 h 301"/>
                <a:gd name="T10" fmla="*/ 827 w 870"/>
                <a:gd name="T11" fmla="*/ 44 h 301"/>
                <a:gd name="T12" fmla="*/ 845 w 870"/>
                <a:gd name="T13" fmla="*/ 67 h 301"/>
                <a:gd name="T14" fmla="*/ 859 w 870"/>
                <a:gd name="T15" fmla="*/ 92 h 301"/>
                <a:gd name="T16" fmla="*/ 867 w 870"/>
                <a:gd name="T17" fmla="*/ 120 h 301"/>
                <a:gd name="T18" fmla="*/ 870 w 870"/>
                <a:gd name="T19" fmla="*/ 151 h 301"/>
                <a:gd name="T20" fmla="*/ 867 w 870"/>
                <a:gd name="T21" fmla="*/ 181 h 301"/>
                <a:gd name="T22" fmla="*/ 859 w 870"/>
                <a:gd name="T23" fmla="*/ 209 h 301"/>
                <a:gd name="T24" fmla="*/ 845 w 870"/>
                <a:gd name="T25" fmla="*/ 234 h 301"/>
                <a:gd name="T26" fmla="*/ 827 w 870"/>
                <a:gd name="T27" fmla="*/ 257 h 301"/>
                <a:gd name="T28" fmla="*/ 805 w 870"/>
                <a:gd name="T29" fmla="*/ 275 h 301"/>
                <a:gd name="T30" fmla="*/ 778 w 870"/>
                <a:gd name="T31" fmla="*/ 290 h 301"/>
                <a:gd name="T32" fmla="*/ 750 w 870"/>
                <a:gd name="T33" fmla="*/ 298 h 301"/>
                <a:gd name="T34" fmla="*/ 720 w 870"/>
                <a:gd name="T35" fmla="*/ 301 h 301"/>
                <a:gd name="T36" fmla="*/ 151 w 870"/>
                <a:gd name="T37" fmla="*/ 301 h 301"/>
                <a:gd name="T38" fmla="*/ 121 w 870"/>
                <a:gd name="T39" fmla="*/ 298 h 301"/>
                <a:gd name="T40" fmla="*/ 93 w 870"/>
                <a:gd name="T41" fmla="*/ 290 h 301"/>
                <a:gd name="T42" fmla="*/ 66 w 870"/>
                <a:gd name="T43" fmla="*/ 275 h 301"/>
                <a:gd name="T44" fmla="*/ 44 w 870"/>
                <a:gd name="T45" fmla="*/ 257 h 301"/>
                <a:gd name="T46" fmla="*/ 26 w 870"/>
                <a:gd name="T47" fmla="*/ 234 h 301"/>
                <a:gd name="T48" fmla="*/ 12 w 870"/>
                <a:gd name="T49" fmla="*/ 209 h 301"/>
                <a:gd name="T50" fmla="*/ 4 w 870"/>
                <a:gd name="T51" fmla="*/ 181 h 301"/>
                <a:gd name="T52" fmla="*/ 0 w 870"/>
                <a:gd name="T53" fmla="*/ 151 h 301"/>
                <a:gd name="T54" fmla="*/ 4 w 870"/>
                <a:gd name="T55" fmla="*/ 120 h 301"/>
                <a:gd name="T56" fmla="*/ 12 w 870"/>
                <a:gd name="T57" fmla="*/ 92 h 301"/>
                <a:gd name="T58" fmla="*/ 26 w 870"/>
                <a:gd name="T59" fmla="*/ 67 h 301"/>
                <a:gd name="T60" fmla="*/ 44 w 870"/>
                <a:gd name="T61" fmla="*/ 44 h 301"/>
                <a:gd name="T62" fmla="*/ 66 w 870"/>
                <a:gd name="T63" fmla="*/ 26 h 301"/>
                <a:gd name="T64" fmla="*/ 93 w 870"/>
                <a:gd name="T65" fmla="*/ 12 h 301"/>
                <a:gd name="T66" fmla="*/ 121 w 870"/>
                <a:gd name="T67" fmla="*/ 4 h 301"/>
                <a:gd name="T68" fmla="*/ 151 w 870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0" h="301">
                  <a:moveTo>
                    <a:pt x="151" y="0"/>
                  </a:moveTo>
                  <a:lnTo>
                    <a:pt x="720" y="0"/>
                  </a:lnTo>
                  <a:lnTo>
                    <a:pt x="750" y="4"/>
                  </a:lnTo>
                  <a:lnTo>
                    <a:pt x="778" y="12"/>
                  </a:lnTo>
                  <a:lnTo>
                    <a:pt x="805" y="26"/>
                  </a:lnTo>
                  <a:lnTo>
                    <a:pt x="827" y="44"/>
                  </a:lnTo>
                  <a:lnTo>
                    <a:pt x="845" y="67"/>
                  </a:lnTo>
                  <a:lnTo>
                    <a:pt x="859" y="92"/>
                  </a:lnTo>
                  <a:lnTo>
                    <a:pt x="867" y="120"/>
                  </a:lnTo>
                  <a:lnTo>
                    <a:pt x="870" y="151"/>
                  </a:lnTo>
                  <a:lnTo>
                    <a:pt x="867" y="181"/>
                  </a:lnTo>
                  <a:lnTo>
                    <a:pt x="859" y="209"/>
                  </a:lnTo>
                  <a:lnTo>
                    <a:pt x="845" y="234"/>
                  </a:lnTo>
                  <a:lnTo>
                    <a:pt x="827" y="257"/>
                  </a:lnTo>
                  <a:lnTo>
                    <a:pt x="805" y="275"/>
                  </a:lnTo>
                  <a:lnTo>
                    <a:pt x="778" y="290"/>
                  </a:lnTo>
                  <a:lnTo>
                    <a:pt x="750" y="298"/>
                  </a:lnTo>
                  <a:lnTo>
                    <a:pt x="720" y="301"/>
                  </a:lnTo>
                  <a:lnTo>
                    <a:pt x="151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6" y="275"/>
                  </a:lnTo>
                  <a:lnTo>
                    <a:pt x="44" y="257"/>
                  </a:lnTo>
                  <a:lnTo>
                    <a:pt x="26" y="234"/>
                  </a:lnTo>
                  <a:lnTo>
                    <a:pt x="12" y="209"/>
                  </a:lnTo>
                  <a:lnTo>
                    <a:pt x="4" y="181"/>
                  </a:lnTo>
                  <a:lnTo>
                    <a:pt x="0" y="151"/>
                  </a:lnTo>
                  <a:lnTo>
                    <a:pt x="4" y="120"/>
                  </a:lnTo>
                  <a:lnTo>
                    <a:pt x="12" y="92"/>
                  </a:lnTo>
                  <a:lnTo>
                    <a:pt x="26" y="67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4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6"/>
            <p:cNvSpPr>
              <a:spLocks/>
            </p:cNvSpPr>
            <p:nvPr/>
          </p:nvSpPr>
          <p:spPr bwMode="auto">
            <a:xfrm>
              <a:off x="-425" y="2418"/>
              <a:ext cx="234" cy="301"/>
            </a:xfrm>
            <a:custGeom>
              <a:avLst/>
              <a:gdLst>
                <a:gd name="T0" fmla="*/ 152 w 2574"/>
                <a:gd name="T1" fmla="*/ 0 h 3310"/>
                <a:gd name="T2" fmla="*/ 2423 w 2574"/>
                <a:gd name="T3" fmla="*/ 0 h 3310"/>
                <a:gd name="T4" fmla="*/ 2453 w 2574"/>
                <a:gd name="T5" fmla="*/ 3 h 3310"/>
                <a:gd name="T6" fmla="*/ 2481 w 2574"/>
                <a:gd name="T7" fmla="*/ 12 h 3310"/>
                <a:gd name="T8" fmla="*/ 2507 w 2574"/>
                <a:gd name="T9" fmla="*/ 26 h 3310"/>
                <a:gd name="T10" fmla="*/ 2529 w 2574"/>
                <a:gd name="T11" fmla="*/ 44 h 3310"/>
                <a:gd name="T12" fmla="*/ 2548 w 2574"/>
                <a:gd name="T13" fmla="*/ 67 h 3310"/>
                <a:gd name="T14" fmla="*/ 2562 w 2574"/>
                <a:gd name="T15" fmla="*/ 92 h 3310"/>
                <a:gd name="T16" fmla="*/ 2571 w 2574"/>
                <a:gd name="T17" fmla="*/ 120 h 3310"/>
                <a:gd name="T18" fmla="*/ 2574 w 2574"/>
                <a:gd name="T19" fmla="*/ 150 h 3310"/>
                <a:gd name="T20" fmla="*/ 2574 w 2574"/>
                <a:gd name="T21" fmla="*/ 374 h 3310"/>
                <a:gd name="T22" fmla="*/ 2272 w 2574"/>
                <a:gd name="T23" fmla="*/ 896 h 3310"/>
                <a:gd name="T24" fmla="*/ 2272 w 2574"/>
                <a:gd name="T25" fmla="*/ 301 h 3310"/>
                <a:gd name="T26" fmla="*/ 304 w 2574"/>
                <a:gd name="T27" fmla="*/ 301 h 3310"/>
                <a:gd name="T28" fmla="*/ 304 w 2574"/>
                <a:gd name="T29" fmla="*/ 3008 h 3310"/>
                <a:gd name="T30" fmla="*/ 2272 w 2574"/>
                <a:gd name="T31" fmla="*/ 3008 h 3310"/>
                <a:gd name="T32" fmla="*/ 2272 w 2574"/>
                <a:gd name="T33" fmla="*/ 2634 h 3310"/>
                <a:gd name="T34" fmla="*/ 2430 w 2574"/>
                <a:gd name="T35" fmla="*/ 2530 h 3310"/>
                <a:gd name="T36" fmla="*/ 2458 w 2574"/>
                <a:gd name="T37" fmla="*/ 2508 h 3310"/>
                <a:gd name="T38" fmla="*/ 2482 w 2574"/>
                <a:gd name="T39" fmla="*/ 2483 h 3310"/>
                <a:gd name="T40" fmla="*/ 2502 w 2574"/>
                <a:gd name="T41" fmla="*/ 2454 h 3310"/>
                <a:gd name="T42" fmla="*/ 2574 w 2574"/>
                <a:gd name="T43" fmla="*/ 2330 h 3310"/>
                <a:gd name="T44" fmla="*/ 2574 w 2574"/>
                <a:gd name="T45" fmla="*/ 3159 h 3310"/>
                <a:gd name="T46" fmla="*/ 2571 w 2574"/>
                <a:gd name="T47" fmla="*/ 3189 h 3310"/>
                <a:gd name="T48" fmla="*/ 2562 w 2574"/>
                <a:gd name="T49" fmla="*/ 3217 h 3310"/>
                <a:gd name="T50" fmla="*/ 2548 w 2574"/>
                <a:gd name="T51" fmla="*/ 3243 h 3310"/>
                <a:gd name="T52" fmla="*/ 2529 w 2574"/>
                <a:gd name="T53" fmla="*/ 3265 h 3310"/>
                <a:gd name="T54" fmla="*/ 2507 w 2574"/>
                <a:gd name="T55" fmla="*/ 3284 h 3310"/>
                <a:gd name="T56" fmla="*/ 2481 w 2574"/>
                <a:gd name="T57" fmla="*/ 3297 h 3310"/>
                <a:gd name="T58" fmla="*/ 2453 w 2574"/>
                <a:gd name="T59" fmla="*/ 3307 h 3310"/>
                <a:gd name="T60" fmla="*/ 2423 w 2574"/>
                <a:gd name="T61" fmla="*/ 3310 h 3310"/>
                <a:gd name="T62" fmla="*/ 152 w 2574"/>
                <a:gd name="T63" fmla="*/ 3310 h 3310"/>
                <a:gd name="T64" fmla="*/ 121 w 2574"/>
                <a:gd name="T65" fmla="*/ 3307 h 3310"/>
                <a:gd name="T66" fmla="*/ 93 w 2574"/>
                <a:gd name="T67" fmla="*/ 3297 h 3310"/>
                <a:gd name="T68" fmla="*/ 67 w 2574"/>
                <a:gd name="T69" fmla="*/ 3284 h 3310"/>
                <a:gd name="T70" fmla="*/ 45 w 2574"/>
                <a:gd name="T71" fmla="*/ 3265 h 3310"/>
                <a:gd name="T72" fmla="*/ 26 w 2574"/>
                <a:gd name="T73" fmla="*/ 3243 h 3310"/>
                <a:gd name="T74" fmla="*/ 13 w 2574"/>
                <a:gd name="T75" fmla="*/ 3217 h 3310"/>
                <a:gd name="T76" fmla="*/ 3 w 2574"/>
                <a:gd name="T77" fmla="*/ 3189 h 3310"/>
                <a:gd name="T78" fmla="*/ 0 w 2574"/>
                <a:gd name="T79" fmla="*/ 3159 h 3310"/>
                <a:gd name="T80" fmla="*/ 0 w 2574"/>
                <a:gd name="T81" fmla="*/ 150 h 3310"/>
                <a:gd name="T82" fmla="*/ 3 w 2574"/>
                <a:gd name="T83" fmla="*/ 120 h 3310"/>
                <a:gd name="T84" fmla="*/ 13 w 2574"/>
                <a:gd name="T85" fmla="*/ 92 h 3310"/>
                <a:gd name="T86" fmla="*/ 26 w 2574"/>
                <a:gd name="T87" fmla="*/ 67 h 3310"/>
                <a:gd name="T88" fmla="*/ 45 w 2574"/>
                <a:gd name="T89" fmla="*/ 44 h 3310"/>
                <a:gd name="T90" fmla="*/ 67 w 2574"/>
                <a:gd name="T91" fmla="*/ 26 h 3310"/>
                <a:gd name="T92" fmla="*/ 93 w 2574"/>
                <a:gd name="T93" fmla="*/ 12 h 3310"/>
                <a:gd name="T94" fmla="*/ 121 w 2574"/>
                <a:gd name="T95" fmla="*/ 3 h 3310"/>
                <a:gd name="T96" fmla="*/ 152 w 2574"/>
                <a:gd name="T97" fmla="*/ 0 h 3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74" h="3310">
                  <a:moveTo>
                    <a:pt x="152" y="0"/>
                  </a:moveTo>
                  <a:lnTo>
                    <a:pt x="2423" y="0"/>
                  </a:lnTo>
                  <a:lnTo>
                    <a:pt x="2453" y="3"/>
                  </a:lnTo>
                  <a:lnTo>
                    <a:pt x="2481" y="12"/>
                  </a:lnTo>
                  <a:lnTo>
                    <a:pt x="2507" y="26"/>
                  </a:lnTo>
                  <a:lnTo>
                    <a:pt x="2529" y="44"/>
                  </a:lnTo>
                  <a:lnTo>
                    <a:pt x="2548" y="67"/>
                  </a:lnTo>
                  <a:lnTo>
                    <a:pt x="2562" y="92"/>
                  </a:lnTo>
                  <a:lnTo>
                    <a:pt x="2571" y="120"/>
                  </a:lnTo>
                  <a:lnTo>
                    <a:pt x="2574" y="150"/>
                  </a:lnTo>
                  <a:lnTo>
                    <a:pt x="2574" y="374"/>
                  </a:lnTo>
                  <a:lnTo>
                    <a:pt x="2272" y="896"/>
                  </a:lnTo>
                  <a:lnTo>
                    <a:pt x="2272" y="301"/>
                  </a:lnTo>
                  <a:lnTo>
                    <a:pt x="304" y="301"/>
                  </a:lnTo>
                  <a:lnTo>
                    <a:pt x="304" y="3008"/>
                  </a:lnTo>
                  <a:lnTo>
                    <a:pt x="2272" y="3008"/>
                  </a:lnTo>
                  <a:lnTo>
                    <a:pt x="2272" y="2634"/>
                  </a:lnTo>
                  <a:lnTo>
                    <a:pt x="2430" y="2530"/>
                  </a:lnTo>
                  <a:lnTo>
                    <a:pt x="2458" y="2508"/>
                  </a:lnTo>
                  <a:lnTo>
                    <a:pt x="2482" y="2483"/>
                  </a:lnTo>
                  <a:lnTo>
                    <a:pt x="2502" y="2454"/>
                  </a:lnTo>
                  <a:lnTo>
                    <a:pt x="2574" y="2330"/>
                  </a:lnTo>
                  <a:lnTo>
                    <a:pt x="2574" y="3159"/>
                  </a:lnTo>
                  <a:lnTo>
                    <a:pt x="2571" y="3189"/>
                  </a:lnTo>
                  <a:lnTo>
                    <a:pt x="2562" y="3217"/>
                  </a:lnTo>
                  <a:lnTo>
                    <a:pt x="2548" y="3243"/>
                  </a:lnTo>
                  <a:lnTo>
                    <a:pt x="2529" y="3265"/>
                  </a:lnTo>
                  <a:lnTo>
                    <a:pt x="2507" y="3284"/>
                  </a:lnTo>
                  <a:lnTo>
                    <a:pt x="2481" y="3297"/>
                  </a:lnTo>
                  <a:lnTo>
                    <a:pt x="2453" y="3307"/>
                  </a:lnTo>
                  <a:lnTo>
                    <a:pt x="2423" y="3310"/>
                  </a:lnTo>
                  <a:lnTo>
                    <a:pt x="152" y="3310"/>
                  </a:lnTo>
                  <a:lnTo>
                    <a:pt x="121" y="3307"/>
                  </a:lnTo>
                  <a:lnTo>
                    <a:pt x="93" y="3297"/>
                  </a:lnTo>
                  <a:lnTo>
                    <a:pt x="67" y="3284"/>
                  </a:lnTo>
                  <a:lnTo>
                    <a:pt x="45" y="3265"/>
                  </a:lnTo>
                  <a:lnTo>
                    <a:pt x="26" y="3243"/>
                  </a:lnTo>
                  <a:lnTo>
                    <a:pt x="13" y="3217"/>
                  </a:lnTo>
                  <a:lnTo>
                    <a:pt x="3" y="3189"/>
                  </a:lnTo>
                  <a:lnTo>
                    <a:pt x="0" y="3159"/>
                  </a:lnTo>
                  <a:lnTo>
                    <a:pt x="0" y="150"/>
                  </a:lnTo>
                  <a:lnTo>
                    <a:pt x="3" y="120"/>
                  </a:lnTo>
                  <a:lnTo>
                    <a:pt x="13" y="92"/>
                  </a:lnTo>
                  <a:lnTo>
                    <a:pt x="26" y="67"/>
                  </a:lnTo>
                  <a:lnTo>
                    <a:pt x="45" y="44"/>
                  </a:lnTo>
                  <a:lnTo>
                    <a:pt x="67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27"/>
            <p:cNvSpPr>
              <a:spLocks noEditPoints="1"/>
            </p:cNvSpPr>
            <p:nvPr/>
          </p:nvSpPr>
          <p:spPr bwMode="auto">
            <a:xfrm>
              <a:off x="-267" y="2452"/>
              <a:ext cx="144" cy="215"/>
            </a:xfrm>
            <a:custGeom>
              <a:avLst/>
              <a:gdLst>
                <a:gd name="T0" fmla="*/ 131 w 1591"/>
                <a:gd name="T1" fmla="*/ 1996 h 2370"/>
                <a:gd name="T2" fmla="*/ 223 w 1591"/>
                <a:gd name="T3" fmla="*/ 2040 h 2370"/>
                <a:gd name="T4" fmla="*/ 308 w 1591"/>
                <a:gd name="T5" fmla="*/ 2097 h 2370"/>
                <a:gd name="T6" fmla="*/ 439 w 1591"/>
                <a:gd name="T7" fmla="*/ 1980 h 2370"/>
                <a:gd name="T8" fmla="*/ 389 w 1591"/>
                <a:gd name="T9" fmla="*/ 1934 h 2370"/>
                <a:gd name="T10" fmla="*/ 314 w 1591"/>
                <a:gd name="T11" fmla="*/ 1883 h 2370"/>
                <a:gd name="T12" fmla="*/ 245 w 1591"/>
                <a:gd name="T13" fmla="*/ 1849 h 2370"/>
                <a:gd name="T14" fmla="*/ 187 w 1591"/>
                <a:gd name="T15" fmla="*/ 1829 h 2370"/>
                <a:gd name="T16" fmla="*/ 141 w 1591"/>
                <a:gd name="T17" fmla="*/ 1820 h 2370"/>
                <a:gd name="T18" fmla="*/ 1118 w 1591"/>
                <a:gd name="T19" fmla="*/ 0 h 2370"/>
                <a:gd name="T20" fmla="*/ 1173 w 1591"/>
                <a:gd name="T21" fmla="*/ 7 h 2370"/>
                <a:gd name="T22" fmla="*/ 1240 w 1591"/>
                <a:gd name="T23" fmla="*/ 25 h 2370"/>
                <a:gd name="T24" fmla="*/ 1319 w 1591"/>
                <a:gd name="T25" fmla="*/ 57 h 2370"/>
                <a:gd name="T26" fmla="*/ 1407 w 1591"/>
                <a:gd name="T27" fmla="*/ 108 h 2370"/>
                <a:gd name="T28" fmla="*/ 1478 w 1591"/>
                <a:gd name="T29" fmla="*/ 163 h 2370"/>
                <a:gd name="T30" fmla="*/ 1528 w 1591"/>
                <a:gd name="T31" fmla="*/ 215 h 2370"/>
                <a:gd name="T32" fmla="*/ 1561 w 1591"/>
                <a:gd name="T33" fmla="*/ 261 h 2370"/>
                <a:gd name="T34" fmla="*/ 1580 w 1591"/>
                <a:gd name="T35" fmla="*/ 297 h 2370"/>
                <a:gd name="T36" fmla="*/ 1588 w 1591"/>
                <a:gd name="T37" fmla="*/ 320 h 2370"/>
                <a:gd name="T38" fmla="*/ 1591 w 1591"/>
                <a:gd name="T39" fmla="*/ 344 h 2370"/>
                <a:gd name="T40" fmla="*/ 1581 w 1591"/>
                <a:gd name="T41" fmla="*/ 379 h 2370"/>
                <a:gd name="T42" fmla="*/ 625 w 1591"/>
                <a:gd name="T43" fmla="*/ 2021 h 2370"/>
                <a:gd name="T44" fmla="*/ 116 w 1591"/>
                <a:gd name="T45" fmla="*/ 2357 h 2370"/>
                <a:gd name="T46" fmla="*/ 77 w 1591"/>
                <a:gd name="T47" fmla="*/ 2370 h 2370"/>
                <a:gd name="T48" fmla="*/ 36 w 1591"/>
                <a:gd name="T49" fmla="*/ 2359 h 2370"/>
                <a:gd name="T50" fmla="*/ 12 w 1591"/>
                <a:gd name="T51" fmla="*/ 2338 h 2370"/>
                <a:gd name="T52" fmla="*/ 0 w 1591"/>
                <a:gd name="T53" fmla="*/ 2306 h 2370"/>
                <a:gd name="T54" fmla="*/ 34 w 1591"/>
                <a:gd name="T55" fmla="*/ 1702 h 2370"/>
                <a:gd name="T56" fmla="*/ 45 w 1591"/>
                <a:gd name="T57" fmla="*/ 1670 h 2370"/>
                <a:gd name="T58" fmla="*/ 1002 w 1591"/>
                <a:gd name="T59" fmla="*/ 27 h 2370"/>
                <a:gd name="T60" fmla="*/ 1034 w 1591"/>
                <a:gd name="T61" fmla="*/ 7 h 2370"/>
                <a:gd name="T62" fmla="*/ 1048 w 1591"/>
                <a:gd name="T63" fmla="*/ 4 h 2370"/>
                <a:gd name="T64" fmla="*/ 1076 w 1591"/>
                <a:gd name="T65" fmla="*/ 0 h 2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91" h="2370">
                  <a:moveTo>
                    <a:pt x="141" y="1820"/>
                  </a:moveTo>
                  <a:lnTo>
                    <a:pt x="131" y="1996"/>
                  </a:lnTo>
                  <a:lnTo>
                    <a:pt x="177" y="2016"/>
                  </a:lnTo>
                  <a:lnTo>
                    <a:pt x="223" y="2040"/>
                  </a:lnTo>
                  <a:lnTo>
                    <a:pt x="267" y="2067"/>
                  </a:lnTo>
                  <a:lnTo>
                    <a:pt x="308" y="2097"/>
                  </a:lnTo>
                  <a:lnTo>
                    <a:pt x="455" y="2000"/>
                  </a:lnTo>
                  <a:lnTo>
                    <a:pt x="439" y="1980"/>
                  </a:lnTo>
                  <a:lnTo>
                    <a:pt x="417" y="1958"/>
                  </a:lnTo>
                  <a:lnTo>
                    <a:pt x="389" y="1934"/>
                  </a:lnTo>
                  <a:lnTo>
                    <a:pt x="355" y="1909"/>
                  </a:lnTo>
                  <a:lnTo>
                    <a:pt x="314" y="1883"/>
                  </a:lnTo>
                  <a:lnTo>
                    <a:pt x="278" y="1864"/>
                  </a:lnTo>
                  <a:lnTo>
                    <a:pt x="245" y="1849"/>
                  </a:lnTo>
                  <a:lnTo>
                    <a:pt x="214" y="1837"/>
                  </a:lnTo>
                  <a:lnTo>
                    <a:pt x="187" y="1829"/>
                  </a:lnTo>
                  <a:lnTo>
                    <a:pt x="163" y="1824"/>
                  </a:lnTo>
                  <a:lnTo>
                    <a:pt x="141" y="1820"/>
                  </a:lnTo>
                  <a:close/>
                  <a:moveTo>
                    <a:pt x="1095" y="0"/>
                  </a:moveTo>
                  <a:lnTo>
                    <a:pt x="1118" y="0"/>
                  </a:lnTo>
                  <a:lnTo>
                    <a:pt x="1144" y="2"/>
                  </a:lnTo>
                  <a:lnTo>
                    <a:pt x="1173" y="7"/>
                  </a:lnTo>
                  <a:lnTo>
                    <a:pt x="1205" y="14"/>
                  </a:lnTo>
                  <a:lnTo>
                    <a:pt x="1240" y="25"/>
                  </a:lnTo>
                  <a:lnTo>
                    <a:pt x="1278" y="39"/>
                  </a:lnTo>
                  <a:lnTo>
                    <a:pt x="1319" y="57"/>
                  </a:lnTo>
                  <a:lnTo>
                    <a:pt x="1362" y="81"/>
                  </a:lnTo>
                  <a:lnTo>
                    <a:pt x="1407" y="108"/>
                  </a:lnTo>
                  <a:lnTo>
                    <a:pt x="1446" y="136"/>
                  </a:lnTo>
                  <a:lnTo>
                    <a:pt x="1478" y="163"/>
                  </a:lnTo>
                  <a:lnTo>
                    <a:pt x="1505" y="190"/>
                  </a:lnTo>
                  <a:lnTo>
                    <a:pt x="1528" y="215"/>
                  </a:lnTo>
                  <a:lnTo>
                    <a:pt x="1546" y="239"/>
                  </a:lnTo>
                  <a:lnTo>
                    <a:pt x="1561" y="261"/>
                  </a:lnTo>
                  <a:lnTo>
                    <a:pt x="1571" y="280"/>
                  </a:lnTo>
                  <a:lnTo>
                    <a:pt x="1580" y="297"/>
                  </a:lnTo>
                  <a:lnTo>
                    <a:pt x="1585" y="311"/>
                  </a:lnTo>
                  <a:lnTo>
                    <a:pt x="1588" y="320"/>
                  </a:lnTo>
                  <a:lnTo>
                    <a:pt x="1589" y="325"/>
                  </a:lnTo>
                  <a:lnTo>
                    <a:pt x="1591" y="344"/>
                  </a:lnTo>
                  <a:lnTo>
                    <a:pt x="1588" y="363"/>
                  </a:lnTo>
                  <a:lnTo>
                    <a:pt x="1581" y="379"/>
                  </a:lnTo>
                  <a:lnTo>
                    <a:pt x="634" y="2008"/>
                  </a:lnTo>
                  <a:lnTo>
                    <a:pt x="625" y="2021"/>
                  </a:lnTo>
                  <a:lnTo>
                    <a:pt x="611" y="2033"/>
                  </a:lnTo>
                  <a:lnTo>
                    <a:pt x="116" y="2357"/>
                  </a:lnTo>
                  <a:lnTo>
                    <a:pt x="97" y="2367"/>
                  </a:lnTo>
                  <a:lnTo>
                    <a:pt x="77" y="2370"/>
                  </a:lnTo>
                  <a:lnTo>
                    <a:pt x="56" y="2368"/>
                  </a:lnTo>
                  <a:lnTo>
                    <a:pt x="36" y="2359"/>
                  </a:lnTo>
                  <a:lnTo>
                    <a:pt x="23" y="2350"/>
                  </a:lnTo>
                  <a:lnTo>
                    <a:pt x="12" y="2338"/>
                  </a:lnTo>
                  <a:lnTo>
                    <a:pt x="5" y="2323"/>
                  </a:lnTo>
                  <a:lnTo>
                    <a:pt x="0" y="2306"/>
                  </a:lnTo>
                  <a:lnTo>
                    <a:pt x="0" y="2290"/>
                  </a:lnTo>
                  <a:lnTo>
                    <a:pt x="34" y="1702"/>
                  </a:lnTo>
                  <a:lnTo>
                    <a:pt x="38" y="1685"/>
                  </a:lnTo>
                  <a:lnTo>
                    <a:pt x="45" y="1670"/>
                  </a:lnTo>
                  <a:lnTo>
                    <a:pt x="991" y="41"/>
                  </a:lnTo>
                  <a:lnTo>
                    <a:pt x="1002" y="27"/>
                  </a:lnTo>
                  <a:lnTo>
                    <a:pt x="1016" y="15"/>
                  </a:lnTo>
                  <a:lnTo>
                    <a:pt x="1034" y="7"/>
                  </a:lnTo>
                  <a:lnTo>
                    <a:pt x="1038" y="6"/>
                  </a:lnTo>
                  <a:lnTo>
                    <a:pt x="1048" y="4"/>
                  </a:lnTo>
                  <a:lnTo>
                    <a:pt x="1060" y="2"/>
                  </a:lnTo>
                  <a:lnTo>
                    <a:pt x="1076" y="0"/>
                  </a:lnTo>
                  <a:lnTo>
                    <a:pt x="10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8"/>
            <p:cNvSpPr>
              <a:spLocks/>
            </p:cNvSpPr>
            <p:nvPr/>
          </p:nvSpPr>
          <p:spPr bwMode="auto">
            <a:xfrm>
              <a:off x="-381" y="2625"/>
              <a:ext cx="105" cy="53"/>
            </a:xfrm>
            <a:custGeom>
              <a:avLst/>
              <a:gdLst>
                <a:gd name="T0" fmla="*/ 557 w 1155"/>
                <a:gd name="T1" fmla="*/ 5 h 591"/>
                <a:gd name="T2" fmla="*/ 583 w 1155"/>
                <a:gd name="T3" fmla="*/ 28 h 591"/>
                <a:gd name="T4" fmla="*/ 591 w 1155"/>
                <a:gd name="T5" fmla="*/ 111 h 591"/>
                <a:gd name="T6" fmla="*/ 560 w 1155"/>
                <a:gd name="T7" fmla="*/ 199 h 591"/>
                <a:gd name="T8" fmla="*/ 569 w 1155"/>
                <a:gd name="T9" fmla="*/ 242 h 591"/>
                <a:gd name="T10" fmla="*/ 587 w 1155"/>
                <a:gd name="T11" fmla="*/ 270 h 591"/>
                <a:gd name="T12" fmla="*/ 637 w 1155"/>
                <a:gd name="T13" fmla="*/ 278 h 591"/>
                <a:gd name="T14" fmla="*/ 681 w 1155"/>
                <a:gd name="T15" fmla="*/ 323 h 591"/>
                <a:gd name="T16" fmla="*/ 693 w 1155"/>
                <a:gd name="T17" fmla="*/ 357 h 591"/>
                <a:gd name="T18" fmla="*/ 847 w 1155"/>
                <a:gd name="T19" fmla="*/ 351 h 591"/>
                <a:gd name="T20" fmla="*/ 996 w 1155"/>
                <a:gd name="T21" fmla="*/ 366 h 591"/>
                <a:gd name="T22" fmla="*/ 1118 w 1155"/>
                <a:gd name="T23" fmla="*/ 373 h 591"/>
                <a:gd name="T24" fmla="*/ 1149 w 1155"/>
                <a:gd name="T25" fmla="*/ 400 h 591"/>
                <a:gd name="T26" fmla="*/ 1154 w 1155"/>
                <a:gd name="T27" fmla="*/ 441 h 591"/>
                <a:gd name="T28" fmla="*/ 1131 w 1155"/>
                <a:gd name="T29" fmla="*/ 475 h 591"/>
                <a:gd name="T30" fmla="*/ 1066 w 1155"/>
                <a:gd name="T31" fmla="*/ 482 h 591"/>
                <a:gd name="T32" fmla="*/ 957 w 1155"/>
                <a:gd name="T33" fmla="*/ 467 h 591"/>
                <a:gd name="T34" fmla="*/ 843 w 1155"/>
                <a:gd name="T35" fmla="*/ 452 h 591"/>
                <a:gd name="T36" fmla="*/ 738 w 1155"/>
                <a:gd name="T37" fmla="*/ 461 h 591"/>
                <a:gd name="T38" fmla="*/ 679 w 1155"/>
                <a:gd name="T39" fmla="*/ 486 h 591"/>
                <a:gd name="T40" fmla="*/ 636 w 1155"/>
                <a:gd name="T41" fmla="*/ 492 h 591"/>
                <a:gd name="T42" fmla="*/ 603 w 1155"/>
                <a:gd name="T43" fmla="*/ 477 h 591"/>
                <a:gd name="T44" fmla="*/ 576 w 1155"/>
                <a:gd name="T45" fmla="*/ 454 h 591"/>
                <a:gd name="T46" fmla="*/ 571 w 1155"/>
                <a:gd name="T47" fmla="*/ 407 h 591"/>
                <a:gd name="T48" fmla="*/ 537 w 1155"/>
                <a:gd name="T49" fmla="*/ 457 h 591"/>
                <a:gd name="T50" fmla="*/ 495 w 1155"/>
                <a:gd name="T51" fmla="*/ 471 h 591"/>
                <a:gd name="T52" fmla="*/ 455 w 1155"/>
                <a:gd name="T53" fmla="*/ 456 h 591"/>
                <a:gd name="T54" fmla="*/ 439 w 1155"/>
                <a:gd name="T55" fmla="*/ 419 h 591"/>
                <a:gd name="T56" fmla="*/ 450 w 1155"/>
                <a:gd name="T57" fmla="*/ 390 h 591"/>
                <a:gd name="T58" fmla="*/ 458 w 1155"/>
                <a:gd name="T59" fmla="*/ 369 h 591"/>
                <a:gd name="T60" fmla="*/ 422 w 1155"/>
                <a:gd name="T61" fmla="*/ 404 h 591"/>
                <a:gd name="T62" fmla="*/ 379 w 1155"/>
                <a:gd name="T63" fmla="*/ 428 h 591"/>
                <a:gd name="T64" fmla="*/ 335 w 1155"/>
                <a:gd name="T65" fmla="*/ 417 h 591"/>
                <a:gd name="T66" fmla="*/ 314 w 1155"/>
                <a:gd name="T67" fmla="*/ 379 h 591"/>
                <a:gd name="T68" fmla="*/ 364 w 1155"/>
                <a:gd name="T69" fmla="*/ 288 h 591"/>
                <a:gd name="T70" fmla="*/ 252 w 1155"/>
                <a:gd name="T71" fmla="*/ 393 h 591"/>
                <a:gd name="T72" fmla="*/ 96 w 1155"/>
                <a:gd name="T73" fmla="*/ 581 h 591"/>
                <a:gd name="T74" fmla="*/ 49 w 1155"/>
                <a:gd name="T75" fmla="*/ 590 h 591"/>
                <a:gd name="T76" fmla="*/ 9 w 1155"/>
                <a:gd name="T77" fmla="*/ 569 h 591"/>
                <a:gd name="T78" fmla="*/ 2 w 1155"/>
                <a:gd name="T79" fmla="*/ 527 h 591"/>
                <a:gd name="T80" fmla="*/ 138 w 1155"/>
                <a:gd name="T81" fmla="*/ 351 h 591"/>
                <a:gd name="T82" fmla="*/ 344 w 1155"/>
                <a:gd name="T83" fmla="*/ 123 h 591"/>
                <a:gd name="T84" fmla="*/ 398 w 1155"/>
                <a:gd name="T85" fmla="*/ 70 h 591"/>
                <a:gd name="T86" fmla="*/ 462 w 1155"/>
                <a:gd name="T87" fmla="*/ 20 h 591"/>
                <a:gd name="T88" fmla="*/ 534 w 1155"/>
                <a:gd name="T89" fmla="*/ 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55" h="591">
                  <a:moveTo>
                    <a:pt x="534" y="0"/>
                  </a:moveTo>
                  <a:lnTo>
                    <a:pt x="545" y="2"/>
                  </a:lnTo>
                  <a:lnTo>
                    <a:pt x="557" y="5"/>
                  </a:lnTo>
                  <a:lnTo>
                    <a:pt x="567" y="10"/>
                  </a:lnTo>
                  <a:lnTo>
                    <a:pt x="576" y="18"/>
                  </a:lnTo>
                  <a:lnTo>
                    <a:pt x="583" y="28"/>
                  </a:lnTo>
                  <a:lnTo>
                    <a:pt x="591" y="54"/>
                  </a:lnTo>
                  <a:lnTo>
                    <a:pt x="593" y="82"/>
                  </a:lnTo>
                  <a:lnTo>
                    <a:pt x="591" y="111"/>
                  </a:lnTo>
                  <a:lnTo>
                    <a:pt x="584" y="140"/>
                  </a:lnTo>
                  <a:lnTo>
                    <a:pt x="573" y="170"/>
                  </a:lnTo>
                  <a:lnTo>
                    <a:pt x="560" y="199"/>
                  </a:lnTo>
                  <a:lnTo>
                    <a:pt x="543" y="230"/>
                  </a:lnTo>
                  <a:lnTo>
                    <a:pt x="557" y="235"/>
                  </a:lnTo>
                  <a:lnTo>
                    <a:pt x="569" y="242"/>
                  </a:lnTo>
                  <a:lnTo>
                    <a:pt x="579" y="254"/>
                  </a:lnTo>
                  <a:lnTo>
                    <a:pt x="583" y="263"/>
                  </a:lnTo>
                  <a:lnTo>
                    <a:pt x="587" y="270"/>
                  </a:lnTo>
                  <a:lnTo>
                    <a:pt x="604" y="269"/>
                  </a:lnTo>
                  <a:lnTo>
                    <a:pt x="620" y="272"/>
                  </a:lnTo>
                  <a:lnTo>
                    <a:pt x="637" y="278"/>
                  </a:lnTo>
                  <a:lnTo>
                    <a:pt x="653" y="289"/>
                  </a:lnTo>
                  <a:lnTo>
                    <a:pt x="668" y="303"/>
                  </a:lnTo>
                  <a:lnTo>
                    <a:pt x="681" y="323"/>
                  </a:lnTo>
                  <a:lnTo>
                    <a:pt x="689" y="338"/>
                  </a:lnTo>
                  <a:lnTo>
                    <a:pt x="692" y="349"/>
                  </a:lnTo>
                  <a:lnTo>
                    <a:pt x="693" y="357"/>
                  </a:lnTo>
                  <a:lnTo>
                    <a:pt x="746" y="351"/>
                  </a:lnTo>
                  <a:lnTo>
                    <a:pt x="797" y="350"/>
                  </a:lnTo>
                  <a:lnTo>
                    <a:pt x="847" y="351"/>
                  </a:lnTo>
                  <a:lnTo>
                    <a:pt x="897" y="355"/>
                  </a:lnTo>
                  <a:lnTo>
                    <a:pt x="946" y="361"/>
                  </a:lnTo>
                  <a:lnTo>
                    <a:pt x="996" y="366"/>
                  </a:lnTo>
                  <a:lnTo>
                    <a:pt x="1048" y="369"/>
                  </a:lnTo>
                  <a:lnTo>
                    <a:pt x="1101" y="371"/>
                  </a:lnTo>
                  <a:lnTo>
                    <a:pt x="1118" y="373"/>
                  </a:lnTo>
                  <a:lnTo>
                    <a:pt x="1131" y="379"/>
                  </a:lnTo>
                  <a:lnTo>
                    <a:pt x="1142" y="389"/>
                  </a:lnTo>
                  <a:lnTo>
                    <a:pt x="1149" y="400"/>
                  </a:lnTo>
                  <a:lnTo>
                    <a:pt x="1154" y="413"/>
                  </a:lnTo>
                  <a:lnTo>
                    <a:pt x="1155" y="427"/>
                  </a:lnTo>
                  <a:lnTo>
                    <a:pt x="1154" y="441"/>
                  </a:lnTo>
                  <a:lnTo>
                    <a:pt x="1149" y="454"/>
                  </a:lnTo>
                  <a:lnTo>
                    <a:pt x="1142" y="466"/>
                  </a:lnTo>
                  <a:lnTo>
                    <a:pt x="1131" y="475"/>
                  </a:lnTo>
                  <a:lnTo>
                    <a:pt x="1118" y="481"/>
                  </a:lnTo>
                  <a:lnTo>
                    <a:pt x="1101" y="483"/>
                  </a:lnTo>
                  <a:lnTo>
                    <a:pt x="1066" y="482"/>
                  </a:lnTo>
                  <a:lnTo>
                    <a:pt x="1031" y="478"/>
                  </a:lnTo>
                  <a:lnTo>
                    <a:pt x="993" y="473"/>
                  </a:lnTo>
                  <a:lnTo>
                    <a:pt x="957" y="467"/>
                  </a:lnTo>
                  <a:lnTo>
                    <a:pt x="919" y="460"/>
                  </a:lnTo>
                  <a:lnTo>
                    <a:pt x="881" y="455"/>
                  </a:lnTo>
                  <a:lnTo>
                    <a:pt x="843" y="452"/>
                  </a:lnTo>
                  <a:lnTo>
                    <a:pt x="807" y="451"/>
                  </a:lnTo>
                  <a:lnTo>
                    <a:pt x="771" y="454"/>
                  </a:lnTo>
                  <a:lnTo>
                    <a:pt x="738" y="461"/>
                  </a:lnTo>
                  <a:lnTo>
                    <a:pt x="705" y="474"/>
                  </a:lnTo>
                  <a:lnTo>
                    <a:pt x="693" y="480"/>
                  </a:lnTo>
                  <a:lnTo>
                    <a:pt x="679" y="486"/>
                  </a:lnTo>
                  <a:lnTo>
                    <a:pt x="664" y="492"/>
                  </a:lnTo>
                  <a:lnTo>
                    <a:pt x="651" y="494"/>
                  </a:lnTo>
                  <a:lnTo>
                    <a:pt x="636" y="492"/>
                  </a:lnTo>
                  <a:lnTo>
                    <a:pt x="626" y="487"/>
                  </a:lnTo>
                  <a:lnTo>
                    <a:pt x="614" y="482"/>
                  </a:lnTo>
                  <a:lnTo>
                    <a:pt x="603" y="477"/>
                  </a:lnTo>
                  <a:lnTo>
                    <a:pt x="592" y="471"/>
                  </a:lnTo>
                  <a:lnTo>
                    <a:pt x="584" y="464"/>
                  </a:lnTo>
                  <a:lnTo>
                    <a:pt x="576" y="454"/>
                  </a:lnTo>
                  <a:lnTo>
                    <a:pt x="572" y="442"/>
                  </a:lnTo>
                  <a:lnTo>
                    <a:pt x="571" y="423"/>
                  </a:lnTo>
                  <a:lnTo>
                    <a:pt x="571" y="407"/>
                  </a:lnTo>
                  <a:lnTo>
                    <a:pt x="560" y="427"/>
                  </a:lnTo>
                  <a:lnTo>
                    <a:pt x="547" y="446"/>
                  </a:lnTo>
                  <a:lnTo>
                    <a:pt x="537" y="457"/>
                  </a:lnTo>
                  <a:lnTo>
                    <a:pt x="524" y="466"/>
                  </a:lnTo>
                  <a:lnTo>
                    <a:pt x="509" y="470"/>
                  </a:lnTo>
                  <a:lnTo>
                    <a:pt x="495" y="471"/>
                  </a:lnTo>
                  <a:lnTo>
                    <a:pt x="480" y="469"/>
                  </a:lnTo>
                  <a:lnTo>
                    <a:pt x="467" y="464"/>
                  </a:lnTo>
                  <a:lnTo>
                    <a:pt x="455" y="456"/>
                  </a:lnTo>
                  <a:lnTo>
                    <a:pt x="446" y="446"/>
                  </a:lnTo>
                  <a:lnTo>
                    <a:pt x="440" y="433"/>
                  </a:lnTo>
                  <a:lnTo>
                    <a:pt x="439" y="419"/>
                  </a:lnTo>
                  <a:lnTo>
                    <a:pt x="444" y="402"/>
                  </a:lnTo>
                  <a:lnTo>
                    <a:pt x="447" y="396"/>
                  </a:lnTo>
                  <a:lnTo>
                    <a:pt x="450" y="390"/>
                  </a:lnTo>
                  <a:lnTo>
                    <a:pt x="450" y="390"/>
                  </a:lnTo>
                  <a:lnTo>
                    <a:pt x="449" y="390"/>
                  </a:lnTo>
                  <a:lnTo>
                    <a:pt x="458" y="369"/>
                  </a:lnTo>
                  <a:lnTo>
                    <a:pt x="445" y="378"/>
                  </a:lnTo>
                  <a:lnTo>
                    <a:pt x="432" y="390"/>
                  </a:lnTo>
                  <a:lnTo>
                    <a:pt x="422" y="404"/>
                  </a:lnTo>
                  <a:lnTo>
                    <a:pt x="409" y="417"/>
                  </a:lnTo>
                  <a:lnTo>
                    <a:pt x="394" y="425"/>
                  </a:lnTo>
                  <a:lnTo>
                    <a:pt x="379" y="428"/>
                  </a:lnTo>
                  <a:lnTo>
                    <a:pt x="363" y="428"/>
                  </a:lnTo>
                  <a:lnTo>
                    <a:pt x="348" y="424"/>
                  </a:lnTo>
                  <a:lnTo>
                    <a:pt x="335" y="417"/>
                  </a:lnTo>
                  <a:lnTo>
                    <a:pt x="324" y="406"/>
                  </a:lnTo>
                  <a:lnTo>
                    <a:pt x="317" y="394"/>
                  </a:lnTo>
                  <a:lnTo>
                    <a:pt x="314" y="379"/>
                  </a:lnTo>
                  <a:lnTo>
                    <a:pt x="316" y="364"/>
                  </a:lnTo>
                  <a:lnTo>
                    <a:pt x="323" y="347"/>
                  </a:lnTo>
                  <a:lnTo>
                    <a:pt x="364" y="288"/>
                  </a:lnTo>
                  <a:lnTo>
                    <a:pt x="404" y="226"/>
                  </a:lnTo>
                  <a:lnTo>
                    <a:pt x="326" y="309"/>
                  </a:lnTo>
                  <a:lnTo>
                    <a:pt x="252" y="393"/>
                  </a:lnTo>
                  <a:lnTo>
                    <a:pt x="179" y="480"/>
                  </a:lnTo>
                  <a:lnTo>
                    <a:pt x="108" y="569"/>
                  </a:lnTo>
                  <a:lnTo>
                    <a:pt x="96" y="581"/>
                  </a:lnTo>
                  <a:lnTo>
                    <a:pt x="80" y="588"/>
                  </a:lnTo>
                  <a:lnTo>
                    <a:pt x="65" y="591"/>
                  </a:lnTo>
                  <a:lnTo>
                    <a:pt x="49" y="590"/>
                  </a:lnTo>
                  <a:lnTo>
                    <a:pt x="33" y="586"/>
                  </a:lnTo>
                  <a:lnTo>
                    <a:pt x="21" y="579"/>
                  </a:lnTo>
                  <a:lnTo>
                    <a:pt x="9" y="569"/>
                  </a:lnTo>
                  <a:lnTo>
                    <a:pt x="2" y="556"/>
                  </a:lnTo>
                  <a:lnTo>
                    <a:pt x="0" y="542"/>
                  </a:lnTo>
                  <a:lnTo>
                    <a:pt x="2" y="527"/>
                  </a:lnTo>
                  <a:lnTo>
                    <a:pt x="11" y="511"/>
                  </a:lnTo>
                  <a:lnTo>
                    <a:pt x="74" y="431"/>
                  </a:lnTo>
                  <a:lnTo>
                    <a:pt x="138" y="351"/>
                  </a:lnTo>
                  <a:lnTo>
                    <a:pt x="204" y="273"/>
                  </a:lnTo>
                  <a:lnTo>
                    <a:pt x="273" y="196"/>
                  </a:lnTo>
                  <a:lnTo>
                    <a:pt x="344" y="123"/>
                  </a:lnTo>
                  <a:lnTo>
                    <a:pt x="361" y="107"/>
                  </a:lnTo>
                  <a:lnTo>
                    <a:pt x="380" y="89"/>
                  </a:lnTo>
                  <a:lnTo>
                    <a:pt x="398" y="70"/>
                  </a:lnTo>
                  <a:lnTo>
                    <a:pt x="418" y="52"/>
                  </a:lnTo>
                  <a:lnTo>
                    <a:pt x="439" y="35"/>
                  </a:lnTo>
                  <a:lnTo>
                    <a:pt x="462" y="20"/>
                  </a:lnTo>
                  <a:lnTo>
                    <a:pt x="485" y="9"/>
                  </a:lnTo>
                  <a:lnTo>
                    <a:pt x="509" y="2"/>
                  </a:lnTo>
                  <a:lnTo>
                    <a:pt x="5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7" name="Freeform 6"/>
          <p:cNvSpPr>
            <a:spLocks noEditPoints="1"/>
          </p:cNvSpPr>
          <p:nvPr/>
        </p:nvSpPr>
        <p:spPr bwMode="auto">
          <a:xfrm>
            <a:off x="866235" y="5333934"/>
            <a:ext cx="465138" cy="611188"/>
          </a:xfrm>
          <a:custGeom>
            <a:avLst/>
            <a:gdLst>
              <a:gd name="T0" fmla="*/ 43 w 2633"/>
              <a:gd name="T1" fmla="*/ 25 h 3459"/>
              <a:gd name="T2" fmla="*/ 0 w 2633"/>
              <a:gd name="T3" fmla="*/ 113 h 3459"/>
              <a:gd name="T4" fmla="*/ 18 w 2633"/>
              <a:gd name="T5" fmla="*/ 3405 h 3459"/>
              <a:gd name="T6" fmla="*/ 87 w 2633"/>
              <a:gd name="T7" fmla="*/ 3457 h 3459"/>
              <a:gd name="T8" fmla="*/ 2569 w 2633"/>
              <a:gd name="T9" fmla="*/ 3447 h 3459"/>
              <a:gd name="T10" fmla="*/ 2630 w 2633"/>
              <a:gd name="T11" fmla="*/ 3371 h 3459"/>
              <a:gd name="T12" fmla="*/ 2624 w 2633"/>
              <a:gd name="T13" fmla="*/ 597 h 3459"/>
              <a:gd name="T14" fmla="*/ 2056 w 2633"/>
              <a:gd name="T15" fmla="*/ 20 h 3459"/>
              <a:gd name="T16" fmla="*/ 113 w 2633"/>
              <a:gd name="T17" fmla="*/ 0 h 3459"/>
              <a:gd name="T18" fmla="*/ 1883 w 2633"/>
              <a:gd name="T19" fmla="*/ 660 h 3459"/>
              <a:gd name="T20" fmla="*/ 1930 w 2633"/>
              <a:gd name="T21" fmla="*/ 731 h 3459"/>
              <a:gd name="T22" fmla="*/ 2407 w 2633"/>
              <a:gd name="T23" fmla="*/ 752 h 3459"/>
              <a:gd name="T24" fmla="*/ 2107 w 2633"/>
              <a:gd name="T25" fmla="*/ 386 h 3459"/>
              <a:gd name="T26" fmla="*/ 414 w 2633"/>
              <a:gd name="T27" fmla="*/ 828 h 3459"/>
              <a:gd name="T28" fmla="*/ 414 w 2633"/>
              <a:gd name="T29" fmla="*/ 828 h 3459"/>
              <a:gd name="T30" fmla="*/ 1020 w 2633"/>
              <a:gd name="T31" fmla="*/ 927 h 3459"/>
              <a:gd name="T32" fmla="*/ 978 w 2633"/>
              <a:gd name="T33" fmla="*/ 1016 h 3459"/>
              <a:gd name="T34" fmla="*/ 1020 w 2633"/>
              <a:gd name="T35" fmla="*/ 1103 h 3459"/>
              <a:gd name="T36" fmla="*/ 2107 w 2633"/>
              <a:gd name="T37" fmla="*/ 1128 h 3459"/>
              <a:gd name="T38" fmla="*/ 2195 w 2633"/>
              <a:gd name="T39" fmla="*/ 1086 h 3459"/>
              <a:gd name="T40" fmla="*/ 2217 w 2633"/>
              <a:gd name="T41" fmla="*/ 989 h 3459"/>
              <a:gd name="T42" fmla="*/ 2156 w 2633"/>
              <a:gd name="T43" fmla="*/ 914 h 3459"/>
              <a:gd name="T44" fmla="*/ 414 w 2633"/>
              <a:gd name="T45" fmla="*/ 1429 h 3459"/>
              <a:gd name="T46" fmla="*/ 414 w 2633"/>
              <a:gd name="T47" fmla="*/ 1429 h 3459"/>
              <a:gd name="T48" fmla="*/ 1020 w 2633"/>
              <a:gd name="T49" fmla="*/ 1529 h 3459"/>
              <a:gd name="T50" fmla="*/ 978 w 2633"/>
              <a:gd name="T51" fmla="*/ 1617 h 3459"/>
              <a:gd name="T52" fmla="*/ 1020 w 2633"/>
              <a:gd name="T53" fmla="*/ 1704 h 3459"/>
              <a:gd name="T54" fmla="*/ 2107 w 2633"/>
              <a:gd name="T55" fmla="*/ 1730 h 3459"/>
              <a:gd name="T56" fmla="*/ 2195 w 2633"/>
              <a:gd name="T57" fmla="*/ 1688 h 3459"/>
              <a:gd name="T58" fmla="*/ 2217 w 2633"/>
              <a:gd name="T59" fmla="*/ 1591 h 3459"/>
              <a:gd name="T60" fmla="*/ 2156 w 2633"/>
              <a:gd name="T61" fmla="*/ 1515 h 3459"/>
              <a:gd name="T62" fmla="*/ 414 w 2633"/>
              <a:gd name="T63" fmla="*/ 2030 h 3459"/>
              <a:gd name="T64" fmla="*/ 414 w 2633"/>
              <a:gd name="T65" fmla="*/ 2030 h 3459"/>
              <a:gd name="T66" fmla="*/ 1020 w 2633"/>
              <a:gd name="T67" fmla="*/ 2131 h 3459"/>
              <a:gd name="T68" fmla="*/ 978 w 2633"/>
              <a:gd name="T69" fmla="*/ 2219 h 3459"/>
              <a:gd name="T70" fmla="*/ 1020 w 2633"/>
              <a:gd name="T71" fmla="*/ 2306 h 3459"/>
              <a:gd name="T72" fmla="*/ 2107 w 2633"/>
              <a:gd name="T73" fmla="*/ 2331 h 3459"/>
              <a:gd name="T74" fmla="*/ 2195 w 2633"/>
              <a:gd name="T75" fmla="*/ 2289 h 3459"/>
              <a:gd name="T76" fmla="*/ 2217 w 2633"/>
              <a:gd name="T77" fmla="*/ 2193 h 3459"/>
              <a:gd name="T78" fmla="*/ 2156 w 2633"/>
              <a:gd name="T79" fmla="*/ 2117 h 3459"/>
              <a:gd name="T80" fmla="*/ 414 w 2633"/>
              <a:gd name="T81" fmla="*/ 2631 h 3459"/>
              <a:gd name="T82" fmla="*/ 414 w 2633"/>
              <a:gd name="T83" fmla="*/ 2631 h 3459"/>
              <a:gd name="T84" fmla="*/ 1020 w 2633"/>
              <a:gd name="T85" fmla="*/ 2732 h 3459"/>
              <a:gd name="T86" fmla="*/ 978 w 2633"/>
              <a:gd name="T87" fmla="*/ 2819 h 3459"/>
              <a:gd name="T88" fmla="*/ 1020 w 2633"/>
              <a:gd name="T89" fmla="*/ 2908 h 3459"/>
              <a:gd name="T90" fmla="*/ 2107 w 2633"/>
              <a:gd name="T91" fmla="*/ 2933 h 3459"/>
              <a:gd name="T92" fmla="*/ 2195 w 2633"/>
              <a:gd name="T93" fmla="*/ 2891 h 3459"/>
              <a:gd name="T94" fmla="*/ 2217 w 2633"/>
              <a:gd name="T95" fmla="*/ 2794 h 3459"/>
              <a:gd name="T96" fmla="*/ 2156 w 2633"/>
              <a:gd name="T97" fmla="*/ 2719 h 34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633" h="3459">
                <a:moveTo>
                  <a:pt x="113" y="0"/>
                </a:moveTo>
                <a:lnTo>
                  <a:pt x="87" y="3"/>
                </a:lnTo>
                <a:lnTo>
                  <a:pt x="64" y="12"/>
                </a:lnTo>
                <a:lnTo>
                  <a:pt x="43" y="25"/>
                </a:lnTo>
                <a:lnTo>
                  <a:pt x="25" y="43"/>
                </a:lnTo>
                <a:lnTo>
                  <a:pt x="12" y="64"/>
                </a:lnTo>
                <a:lnTo>
                  <a:pt x="3" y="88"/>
                </a:lnTo>
                <a:lnTo>
                  <a:pt x="0" y="113"/>
                </a:lnTo>
                <a:lnTo>
                  <a:pt x="0" y="3347"/>
                </a:lnTo>
                <a:lnTo>
                  <a:pt x="2" y="3366"/>
                </a:lnTo>
                <a:lnTo>
                  <a:pt x="9" y="3386"/>
                </a:lnTo>
                <a:lnTo>
                  <a:pt x="18" y="3405"/>
                </a:lnTo>
                <a:lnTo>
                  <a:pt x="31" y="3422"/>
                </a:lnTo>
                <a:lnTo>
                  <a:pt x="46" y="3438"/>
                </a:lnTo>
                <a:lnTo>
                  <a:pt x="65" y="3449"/>
                </a:lnTo>
                <a:lnTo>
                  <a:pt x="87" y="3457"/>
                </a:lnTo>
                <a:lnTo>
                  <a:pt x="113" y="3459"/>
                </a:lnTo>
                <a:lnTo>
                  <a:pt x="2520" y="3459"/>
                </a:lnTo>
                <a:lnTo>
                  <a:pt x="2546" y="3456"/>
                </a:lnTo>
                <a:lnTo>
                  <a:pt x="2569" y="3447"/>
                </a:lnTo>
                <a:lnTo>
                  <a:pt x="2590" y="3434"/>
                </a:lnTo>
                <a:lnTo>
                  <a:pt x="2608" y="3416"/>
                </a:lnTo>
                <a:lnTo>
                  <a:pt x="2621" y="3395"/>
                </a:lnTo>
                <a:lnTo>
                  <a:pt x="2630" y="3371"/>
                </a:lnTo>
                <a:lnTo>
                  <a:pt x="2633" y="3347"/>
                </a:lnTo>
                <a:lnTo>
                  <a:pt x="2633" y="640"/>
                </a:lnTo>
                <a:lnTo>
                  <a:pt x="2631" y="618"/>
                </a:lnTo>
                <a:lnTo>
                  <a:pt x="2624" y="597"/>
                </a:lnTo>
                <a:lnTo>
                  <a:pt x="2614" y="578"/>
                </a:lnTo>
                <a:lnTo>
                  <a:pt x="2600" y="561"/>
                </a:lnTo>
                <a:lnTo>
                  <a:pt x="2074" y="34"/>
                </a:lnTo>
                <a:lnTo>
                  <a:pt x="2056" y="20"/>
                </a:lnTo>
                <a:lnTo>
                  <a:pt x="2037" y="10"/>
                </a:lnTo>
                <a:lnTo>
                  <a:pt x="2016" y="2"/>
                </a:lnTo>
                <a:lnTo>
                  <a:pt x="1994" y="0"/>
                </a:lnTo>
                <a:lnTo>
                  <a:pt x="113" y="0"/>
                </a:lnTo>
                <a:close/>
                <a:moveTo>
                  <a:pt x="226" y="226"/>
                </a:moveTo>
                <a:lnTo>
                  <a:pt x="1881" y="226"/>
                </a:lnTo>
                <a:lnTo>
                  <a:pt x="1881" y="640"/>
                </a:lnTo>
                <a:lnTo>
                  <a:pt x="1883" y="660"/>
                </a:lnTo>
                <a:lnTo>
                  <a:pt x="1889" y="681"/>
                </a:lnTo>
                <a:lnTo>
                  <a:pt x="1900" y="699"/>
                </a:lnTo>
                <a:lnTo>
                  <a:pt x="1913" y="716"/>
                </a:lnTo>
                <a:lnTo>
                  <a:pt x="1930" y="731"/>
                </a:lnTo>
                <a:lnTo>
                  <a:pt x="1949" y="743"/>
                </a:lnTo>
                <a:lnTo>
                  <a:pt x="1971" y="750"/>
                </a:lnTo>
                <a:lnTo>
                  <a:pt x="1994" y="752"/>
                </a:lnTo>
                <a:lnTo>
                  <a:pt x="2407" y="752"/>
                </a:lnTo>
                <a:lnTo>
                  <a:pt x="2407" y="3233"/>
                </a:lnTo>
                <a:lnTo>
                  <a:pt x="226" y="3233"/>
                </a:lnTo>
                <a:lnTo>
                  <a:pt x="226" y="226"/>
                </a:lnTo>
                <a:close/>
                <a:moveTo>
                  <a:pt x="2107" y="386"/>
                </a:moveTo>
                <a:lnTo>
                  <a:pt x="2247" y="526"/>
                </a:lnTo>
                <a:lnTo>
                  <a:pt x="2107" y="526"/>
                </a:lnTo>
                <a:lnTo>
                  <a:pt x="2107" y="386"/>
                </a:lnTo>
                <a:close/>
                <a:moveTo>
                  <a:pt x="414" y="828"/>
                </a:moveTo>
                <a:lnTo>
                  <a:pt x="414" y="1203"/>
                </a:lnTo>
                <a:lnTo>
                  <a:pt x="790" y="1203"/>
                </a:lnTo>
                <a:lnTo>
                  <a:pt x="790" y="828"/>
                </a:lnTo>
                <a:lnTo>
                  <a:pt x="414" y="828"/>
                </a:lnTo>
                <a:close/>
                <a:moveTo>
                  <a:pt x="1091" y="902"/>
                </a:moveTo>
                <a:lnTo>
                  <a:pt x="1065" y="905"/>
                </a:lnTo>
                <a:lnTo>
                  <a:pt x="1041" y="914"/>
                </a:lnTo>
                <a:lnTo>
                  <a:pt x="1020" y="927"/>
                </a:lnTo>
                <a:lnTo>
                  <a:pt x="1002" y="944"/>
                </a:lnTo>
                <a:lnTo>
                  <a:pt x="990" y="965"/>
                </a:lnTo>
                <a:lnTo>
                  <a:pt x="981" y="989"/>
                </a:lnTo>
                <a:lnTo>
                  <a:pt x="978" y="1016"/>
                </a:lnTo>
                <a:lnTo>
                  <a:pt x="981" y="1041"/>
                </a:lnTo>
                <a:lnTo>
                  <a:pt x="990" y="1065"/>
                </a:lnTo>
                <a:lnTo>
                  <a:pt x="1002" y="1086"/>
                </a:lnTo>
                <a:lnTo>
                  <a:pt x="1020" y="1103"/>
                </a:lnTo>
                <a:lnTo>
                  <a:pt x="1041" y="1116"/>
                </a:lnTo>
                <a:lnTo>
                  <a:pt x="1065" y="1125"/>
                </a:lnTo>
                <a:lnTo>
                  <a:pt x="1091" y="1128"/>
                </a:lnTo>
                <a:lnTo>
                  <a:pt x="2107" y="1128"/>
                </a:lnTo>
                <a:lnTo>
                  <a:pt x="2133" y="1125"/>
                </a:lnTo>
                <a:lnTo>
                  <a:pt x="2156" y="1116"/>
                </a:lnTo>
                <a:lnTo>
                  <a:pt x="2177" y="1103"/>
                </a:lnTo>
                <a:lnTo>
                  <a:pt x="2195" y="1086"/>
                </a:lnTo>
                <a:lnTo>
                  <a:pt x="2207" y="1065"/>
                </a:lnTo>
                <a:lnTo>
                  <a:pt x="2217" y="1041"/>
                </a:lnTo>
                <a:lnTo>
                  <a:pt x="2219" y="1016"/>
                </a:lnTo>
                <a:lnTo>
                  <a:pt x="2217" y="989"/>
                </a:lnTo>
                <a:lnTo>
                  <a:pt x="2207" y="965"/>
                </a:lnTo>
                <a:lnTo>
                  <a:pt x="2195" y="944"/>
                </a:lnTo>
                <a:lnTo>
                  <a:pt x="2177" y="927"/>
                </a:lnTo>
                <a:lnTo>
                  <a:pt x="2156" y="914"/>
                </a:lnTo>
                <a:lnTo>
                  <a:pt x="2133" y="905"/>
                </a:lnTo>
                <a:lnTo>
                  <a:pt x="2107" y="902"/>
                </a:lnTo>
                <a:lnTo>
                  <a:pt x="1091" y="902"/>
                </a:lnTo>
                <a:close/>
                <a:moveTo>
                  <a:pt x="414" y="1429"/>
                </a:moveTo>
                <a:lnTo>
                  <a:pt x="414" y="1805"/>
                </a:lnTo>
                <a:lnTo>
                  <a:pt x="790" y="1805"/>
                </a:lnTo>
                <a:lnTo>
                  <a:pt x="790" y="1429"/>
                </a:lnTo>
                <a:lnTo>
                  <a:pt x="414" y="1429"/>
                </a:lnTo>
                <a:close/>
                <a:moveTo>
                  <a:pt x="1091" y="1504"/>
                </a:moveTo>
                <a:lnTo>
                  <a:pt x="1065" y="1507"/>
                </a:lnTo>
                <a:lnTo>
                  <a:pt x="1041" y="1515"/>
                </a:lnTo>
                <a:lnTo>
                  <a:pt x="1020" y="1529"/>
                </a:lnTo>
                <a:lnTo>
                  <a:pt x="1002" y="1546"/>
                </a:lnTo>
                <a:lnTo>
                  <a:pt x="990" y="1567"/>
                </a:lnTo>
                <a:lnTo>
                  <a:pt x="981" y="1591"/>
                </a:lnTo>
                <a:lnTo>
                  <a:pt x="978" y="1617"/>
                </a:lnTo>
                <a:lnTo>
                  <a:pt x="981" y="1642"/>
                </a:lnTo>
                <a:lnTo>
                  <a:pt x="990" y="1667"/>
                </a:lnTo>
                <a:lnTo>
                  <a:pt x="1002" y="1688"/>
                </a:lnTo>
                <a:lnTo>
                  <a:pt x="1020" y="1704"/>
                </a:lnTo>
                <a:lnTo>
                  <a:pt x="1041" y="1718"/>
                </a:lnTo>
                <a:lnTo>
                  <a:pt x="1065" y="1726"/>
                </a:lnTo>
                <a:lnTo>
                  <a:pt x="1091" y="1730"/>
                </a:lnTo>
                <a:lnTo>
                  <a:pt x="2107" y="1730"/>
                </a:lnTo>
                <a:lnTo>
                  <a:pt x="2133" y="1726"/>
                </a:lnTo>
                <a:lnTo>
                  <a:pt x="2156" y="1718"/>
                </a:lnTo>
                <a:lnTo>
                  <a:pt x="2177" y="1704"/>
                </a:lnTo>
                <a:lnTo>
                  <a:pt x="2195" y="1688"/>
                </a:lnTo>
                <a:lnTo>
                  <a:pt x="2207" y="1667"/>
                </a:lnTo>
                <a:lnTo>
                  <a:pt x="2217" y="1642"/>
                </a:lnTo>
                <a:lnTo>
                  <a:pt x="2219" y="1617"/>
                </a:lnTo>
                <a:lnTo>
                  <a:pt x="2217" y="1591"/>
                </a:lnTo>
                <a:lnTo>
                  <a:pt x="2207" y="1567"/>
                </a:lnTo>
                <a:lnTo>
                  <a:pt x="2195" y="1546"/>
                </a:lnTo>
                <a:lnTo>
                  <a:pt x="2177" y="1529"/>
                </a:lnTo>
                <a:lnTo>
                  <a:pt x="2156" y="1515"/>
                </a:lnTo>
                <a:lnTo>
                  <a:pt x="2133" y="1507"/>
                </a:lnTo>
                <a:lnTo>
                  <a:pt x="2107" y="1504"/>
                </a:lnTo>
                <a:lnTo>
                  <a:pt x="1091" y="1504"/>
                </a:lnTo>
                <a:close/>
                <a:moveTo>
                  <a:pt x="414" y="2030"/>
                </a:moveTo>
                <a:lnTo>
                  <a:pt x="414" y="2407"/>
                </a:lnTo>
                <a:lnTo>
                  <a:pt x="790" y="2407"/>
                </a:lnTo>
                <a:lnTo>
                  <a:pt x="790" y="2030"/>
                </a:lnTo>
                <a:lnTo>
                  <a:pt x="414" y="2030"/>
                </a:lnTo>
                <a:close/>
                <a:moveTo>
                  <a:pt x="1091" y="2105"/>
                </a:moveTo>
                <a:lnTo>
                  <a:pt x="1065" y="2109"/>
                </a:lnTo>
                <a:lnTo>
                  <a:pt x="1041" y="2117"/>
                </a:lnTo>
                <a:lnTo>
                  <a:pt x="1020" y="2131"/>
                </a:lnTo>
                <a:lnTo>
                  <a:pt x="1002" y="2147"/>
                </a:lnTo>
                <a:lnTo>
                  <a:pt x="990" y="2168"/>
                </a:lnTo>
                <a:lnTo>
                  <a:pt x="981" y="2193"/>
                </a:lnTo>
                <a:lnTo>
                  <a:pt x="978" y="2219"/>
                </a:lnTo>
                <a:lnTo>
                  <a:pt x="981" y="2244"/>
                </a:lnTo>
                <a:lnTo>
                  <a:pt x="990" y="2268"/>
                </a:lnTo>
                <a:lnTo>
                  <a:pt x="1002" y="2289"/>
                </a:lnTo>
                <a:lnTo>
                  <a:pt x="1020" y="2306"/>
                </a:lnTo>
                <a:lnTo>
                  <a:pt x="1041" y="2320"/>
                </a:lnTo>
                <a:lnTo>
                  <a:pt x="1065" y="2328"/>
                </a:lnTo>
                <a:lnTo>
                  <a:pt x="1091" y="2331"/>
                </a:lnTo>
                <a:lnTo>
                  <a:pt x="2107" y="2331"/>
                </a:lnTo>
                <a:lnTo>
                  <a:pt x="2133" y="2328"/>
                </a:lnTo>
                <a:lnTo>
                  <a:pt x="2156" y="2320"/>
                </a:lnTo>
                <a:lnTo>
                  <a:pt x="2177" y="2306"/>
                </a:lnTo>
                <a:lnTo>
                  <a:pt x="2195" y="2289"/>
                </a:lnTo>
                <a:lnTo>
                  <a:pt x="2207" y="2268"/>
                </a:lnTo>
                <a:lnTo>
                  <a:pt x="2217" y="2244"/>
                </a:lnTo>
                <a:lnTo>
                  <a:pt x="2219" y="2219"/>
                </a:lnTo>
                <a:lnTo>
                  <a:pt x="2217" y="2193"/>
                </a:lnTo>
                <a:lnTo>
                  <a:pt x="2207" y="2168"/>
                </a:lnTo>
                <a:lnTo>
                  <a:pt x="2195" y="2147"/>
                </a:lnTo>
                <a:lnTo>
                  <a:pt x="2177" y="2131"/>
                </a:lnTo>
                <a:lnTo>
                  <a:pt x="2156" y="2117"/>
                </a:lnTo>
                <a:lnTo>
                  <a:pt x="2133" y="2109"/>
                </a:lnTo>
                <a:lnTo>
                  <a:pt x="2107" y="2105"/>
                </a:lnTo>
                <a:lnTo>
                  <a:pt x="1091" y="2105"/>
                </a:lnTo>
                <a:close/>
                <a:moveTo>
                  <a:pt x="414" y="2631"/>
                </a:moveTo>
                <a:lnTo>
                  <a:pt x="414" y="3007"/>
                </a:lnTo>
                <a:lnTo>
                  <a:pt x="790" y="3007"/>
                </a:lnTo>
                <a:lnTo>
                  <a:pt x="790" y="2631"/>
                </a:lnTo>
                <a:lnTo>
                  <a:pt x="414" y="2631"/>
                </a:lnTo>
                <a:close/>
                <a:moveTo>
                  <a:pt x="1091" y="2707"/>
                </a:moveTo>
                <a:lnTo>
                  <a:pt x="1065" y="2710"/>
                </a:lnTo>
                <a:lnTo>
                  <a:pt x="1041" y="2719"/>
                </a:lnTo>
                <a:lnTo>
                  <a:pt x="1020" y="2732"/>
                </a:lnTo>
                <a:lnTo>
                  <a:pt x="1002" y="2749"/>
                </a:lnTo>
                <a:lnTo>
                  <a:pt x="990" y="2770"/>
                </a:lnTo>
                <a:lnTo>
                  <a:pt x="981" y="2794"/>
                </a:lnTo>
                <a:lnTo>
                  <a:pt x="978" y="2819"/>
                </a:lnTo>
                <a:lnTo>
                  <a:pt x="981" y="2846"/>
                </a:lnTo>
                <a:lnTo>
                  <a:pt x="990" y="2870"/>
                </a:lnTo>
                <a:lnTo>
                  <a:pt x="1002" y="2891"/>
                </a:lnTo>
                <a:lnTo>
                  <a:pt x="1020" y="2908"/>
                </a:lnTo>
                <a:lnTo>
                  <a:pt x="1041" y="2921"/>
                </a:lnTo>
                <a:lnTo>
                  <a:pt x="1065" y="2930"/>
                </a:lnTo>
                <a:lnTo>
                  <a:pt x="1091" y="2933"/>
                </a:lnTo>
                <a:lnTo>
                  <a:pt x="2107" y="2933"/>
                </a:lnTo>
                <a:lnTo>
                  <a:pt x="2133" y="2930"/>
                </a:lnTo>
                <a:lnTo>
                  <a:pt x="2156" y="2921"/>
                </a:lnTo>
                <a:lnTo>
                  <a:pt x="2177" y="2908"/>
                </a:lnTo>
                <a:lnTo>
                  <a:pt x="2195" y="2891"/>
                </a:lnTo>
                <a:lnTo>
                  <a:pt x="2207" y="2870"/>
                </a:lnTo>
                <a:lnTo>
                  <a:pt x="2217" y="2846"/>
                </a:lnTo>
                <a:lnTo>
                  <a:pt x="2219" y="2819"/>
                </a:lnTo>
                <a:lnTo>
                  <a:pt x="2217" y="2794"/>
                </a:lnTo>
                <a:lnTo>
                  <a:pt x="2207" y="2770"/>
                </a:lnTo>
                <a:lnTo>
                  <a:pt x="2195" y="2749"/>
                </a:lnTo>
                <a:lnTo>
                  <a:pt x="2177" y="2732"/>
                </a:lnTo>
                <a:lnTo>
                  <a:pt x="2156" y="2719"/>
                </a:lnTo>
                <a:lnTo>
                  <a:pt x="2133" y="2710"/>
                </a:lnTo>
                <a:lnTo>
                  <a:pt x="2107" y="2707"/>
                </a:lnTo>
                <a:lnTo>
                  <a:pt x="1091" y="2707"/>
                </a:lnTo>
                <a:close/>
              </a:path>
            </a:pathLst>
          </a:custGeom>
          <a:solidFill>
            <a:srgbClr val="00569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39" name="Group 9"/>
          <p:cNvGrpSpPr>
            <a:grpSpLocks noChangeAspect="1"/>
          </p:cNvGrpSpPr>
          <p:nvPr/>
        </p:nvGrpSpPr>
        <p:grpSpPr bwMode="auto">
          <a:xfrm>
            <a:off x="823913" y="4133850"/>
            <a:ext cx="549275" cy="549275"/>
            <a:chOff x="519" y="2604"/>
            <a:chExt cx="346" cy="346"/>
          </a:xfrm>
          <a:solidFill>
            <a:srgbClr val="00569B"/>
          </a:solidFill>
        </p:grpSpPr>
        <p:sp>
          <p:nvSpPr>
            <p:cNvPr id="42" name="Freeform 11"/>
            <p:cNvSpPr>
              <a:spLocks noEditPoints="1"/>
            </p:cNvSpPr>
            <p:nvPr/>
          </p:nvSpPr>
          <p:spPr bwMode="auto">
            <a:xfrm>
              <a:off x="726" y="2816"/>
              <a:ext cx="139" cy="134"/>
            </a:xfrm>
            <a:custGeom>
              <a:avLst/>
              <a:gdLst>
                <a:gd name="T0" fmla="*/ 629 w 1390"/>
                <a:gd name="T1" fmla="*/ 3 h 1337"/>
                <a:gd name="T2" fmla="*/ 500 w 1390"/>
                <a:gd name="T3" fmla="*/ 26 h 1337"/>
                <a:gd name="T4" fmla="*/ 381 w 1390"/>
                <a:gd name="T5" fmla="*/ 71 h 1337"/>
                <a:gd name="T6" fmla="*/ 274 w 1390"/>
                <a:gd name="T7" fmla="*/ 136 h 1337"/>
                <a:gd name="T8" fmla="*/ 182 w 1390"/>
                <a:gd name="T9" fmla="*/ 217 h 1337"/>
                <a:gd name="T10" fmla="*/ 105 w 1390"/>
                <a:gd name="T11" fmla="*/ 314 h 1337"/>
                <a:gd name="T12" fmla="*/ 49 w 1390"/>
                <a:gd name="T13" fmla="*/ 422 h 1337"/>
                <a:gd name="T14" fmla="*/ 12 w 1390"/>
                <a:gd name="T15" fmla="*/ 542 h 1337"/>
                <a:gd name="T16" fmla="*/ 0 w 1390"/>
                <a:gd name="T17" fmla="*/ 668 h 1337"/>
                <a:gd name="T18" fmla="*/ 12 w 1390"/>
                <a:gd name="T19" fmla="*/ 795 h 1337"/>
                <a:gd name="T20" fmla="*/ 49 w 1390"/>
                <a:gd name="T21" fmla="*/ 915 h 1337"/>
                <a:gd name="T22" fmla="*/ 105 w 1390"/>
                <a:gd name="T23" fmla="*/ 1023 h 1337"/>
                <a:gd name="T24" fmla="*/ 182 w 1390"/>
                <a:gd name="T25" fmla="*/ 1120 h 1337"/>
                <a:gd name="T26" fmla="*/ 274 w 1390"/>
                <a:gd name="T27" fmla="*/ 1200 h 1337"/>
                <a:gd name="T28" fmla="*/ 381 w 1390"/>
                <a:gd name="T29" fmla="*/ 1266 h 1337"/>
                <a:gd name="T30" fmla="*/ 500 w 1390"/>
                <a:gd name="T31" fmla="*/ 1311 h 1337"/>
                <a:gd name="T32" fmla="*/ 629 w 1390"/>
                <a:gd name="T33" fmla="*/ 1334 h 1337"/>
                <a:gd name="T34" fmla="*/ 762 w 1390"/>
                <a:gd name="T35" fmla="*/ 1334 h 1337"/>
                <a:gd name="T36" fmla="*/ 890 w 1390"/>
                <a:gd name="T37" fmla="*/ 1311 h 1337"/>
                <a:gd name="T38" fmla="*/ 1008 w 1390"/>
                <a:gd name="T39" fmla="*/ 1266 h 1337"/>
                <a:gd name="T40" fmla="*/ 1115 w 1390"/>
                <a:gd name="T41" fmla="*/ 1200 h 1337"/>
                <a:gd name="T42" fmla="*/ 1208 w 1390"/>
                <a:gd name="T43" fmla="*/ 1120 h 1337"/>
                <a:gd name="T44" fmla="*/ 1284 w 1390"/>
                <a:gd name="T45" fmla="*/ 1023 h 1337"/>
                <a:gd name="T46" fmla="*/ 1342 w 1390"/>
                <a:gd name="T47" fmla="*/ 915 h 1337"/>
                <a:gd name="T48" fmla="*/ 1377 w 1390"/>
                <a:gd name="T49" fmla="*/ 795 h 1337"/>
                <a:gd name="T50" fmla="*/ 1390 w 1390"/>
                <a:gd name="T51" fmla="*/ 669 h 1337"/>
                <a:gd name="T52" fmla="*/ 1377 w 1390"/>
                <a:gd name="T53" fmla="*/ 542 h 1337"/>
                <a:gd name="T54" fmla="*/ 1342 w 1390"/>
                <a:gd name="T55" fmla="*/ 423 h 1337"/>
                <a:gd name="T56" fmla="*/ 1284 w 1390"/>
                <a:gd name="T57" fmla="*/ 314 h 1337"/>
                <a:gd name="T58" fmla="*/ 1208 w 1390"/>
                <a:gd name="T59" fmla="*/ 217 h 1337"/>
                <a:gd name="T60" fmla="*/ 1115 w 1390"/>
                <a:gd name="T61" fmla="*/ 136 h 1337"/>
                <a:gd name="T62" fmla="*/ 1008 w 1390"/>
                <a:gd name="T63" fmla="*/ 71 h 1337"/>
                <a:gd name="T64" fmla="*/ 890 w 1390"/>
                <a:gd name="T65" fmla="*/ 26 h 1337"/>
                <a:gd name="T66" fmla="*/ 762 w 1390"/>
                <a:gd name="T67" fmla="*/ 3 h 1337"/>
                <a:gd name="T68" fmla="*/ 983 w 1390"/>
                <a:gd name="T69" fmla="*/ 852 h 1337"/>
                <a:gd name="T70" fmla="*/ 1003 w 1390"/>
                <a:gd name="T71" fmla="*/ 885 h 1337"/>
                <a:gd name="T72" fmla="*/ 1003 w 1390"/>
                <a:gd name="T73" fmla="*/ 922 h 1337"/>
                <a:gd name="T74" fmla="*/ 984 w 1390"/>
                <a:gd name="T75" fmla="*/ 956 h 1337"/>
                <a:gd name="T76" fmla="*/ 950 w 1390"/>
                <a:gd name="T77" fmla="*/ 975 h 1337"/>
                <a:gd name="T78" fmla="*/ 913 w 1390"/>
                <a:gd name="T79" fmla="*/ 975 h 1337"/>
                <a:gd name="T80" fmla="*/ 879 w 1390"/>
                <a:gd name="T81" fmla="*/ 956 h 1337"/>
                <a:gd name="T82" fmla="*/ 510 w 1390"/>
                <a:gd name="T83" fmla="*/ 956 h 1337"/>
                <a:gd name="T84" fmla="*/ 478 w 1390"/>
                <a:gd name="T85" fmla="*/ 975 h 1337"/>
                <a:gd name="T86" fmla="*/ 440 w 1390"/>
                <a:gd name="T87" fmla="*/ 975 h 1337"/>
                <a:gd name="T88" fmla="*/ 406 w 1390"/>
                <a:gd name="T89" fmla="*/ 956 h 1337"/>
                <a:gd name="T90" fmla="*/ 387 w 1390"/>
                <a:gd name="T91" fmla="*/ 922 h 1337"/>
                <a:gd name="T92" fmla="*/ 387 w 1390"/>
                <a:gd name="T93" fmla="*/ 885 h 1337"/>
                <a:gd name="T94" fmla="*/ 406 w 1390"/>
                <a:gd name="T95" fmla="*/ 852 h 1337"/>
                <a:gd name="T96" fmla="*/ 406 w 1390"/>
                <a:gd name="T97" fmla="*/ 485 h 1337"/>
                <a:gd name="T98" fmla="*/ 387 w 1390"/>
                <a:gd name="T99" fmla="*/ 453 h 1337"/>
                <a:gd name="T100" fmla="*/ 387 w 1390"/>
                <a:gd name="T101" fmla="*/ 415 h 1337"/>
                <a:gd name="T102" fmla="*/ 406 w 1390"/>
                <a:gd name="T103" fmla="*/ 381 h 1337"/>
                <a:gd name="T104" fmla="*/ 440 w 1390"/>
                <a:gd name="T105" fmla="*/ 362 h 1337"/>
                <a:gd name="T106" fmla="*/ 477 w 1390"/>
                <a:gd name="T107" fmla="*/ 362 h 1337"/>
                <a:gd name="T108" fmla="*/ 510 w 1390"/>
                <a:gd name="T109" fmla="*/ 381 h 1337"/>
                <a:gd name="T110" fmla="*/ 879 w 1390"/>
                <a:gd name="T111" fmla="*/ 381 h 1337"/>
                <a:gd name="T112" fmla="*/ 913 w 1390"/>
                <a:gd name="T113" fmla="*/ 362 h 1337"/>
                <a:gd name="T114" fmla="*/ 950 w 1390"/>
                <a:gd name="T115" fmla="*/ 362 h 1337"/>
                <a:gd name="T116" fmla="*/ 983 w 1390"/>
                <a:gd name="T117" fmla="*/ 381 h 1337"/>
                <a:gd name="T118" fmla="*/ 1003 w 1390"/>
                <a:gd name="T119" fmla="*/ 415 h 1337"/>
                <a:gd name="T120" fmla="*/ 1002 w 1390"/>
                <a:gd name="T121" fmla="*/ 453 h 1337"/>
                <a:gd name="T122" fmla="*/ 983 w 1390"/>
                <a:gd name="T123" fmla="*/ 485 h 1337"/>
                <a:gd name="T124" fmla="*/ 983 w 1390"/>
                <a:gd name="T125" fmla="*/ 852 h 1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90" h="1337">
                  <a:moveTo>
                    <a:pt x="695" y="0"/>
                  </a:moveTo>
                  <a:lnTo>
                    <a:pt x="629" y="3"/>
                  </a:lnTo>
                  <a:lnTo>
                    <a:pt x="564" y="11"/>
                  </a:lnTo>
                  <a:lnTo>
                    <a:pt x="500" y="26"/>
                  </a:lnTo>
                  <a:lnTo>
                    <a:pt x="440" y="47"/>
                  </a:lnTo>
                  <a:lnTo>
                    <a:pt x="381" y="71"/>
                  </a:lnTo>
                  <a:lnTo>
                    <a:pt x="327" y="102"/>
                  </a:lnTo>
                  <a:lnTo>
                    <a:pt x="274" y="136"/>
                  </a:lnTo>
                  <a:lnTo>
                    <a:pt x="226" y="175"/>
                  </a:lnTo>
                  <a:lnTo>
                    <a:pt x="182" y="217"/>
                  </a:lnTo>
                  <a:lnTo>
                    <a:pt x="142" y="265"/>
                  </a:lnTo>
                  <a:lnTo>
                    <a:pt x="105" y="314"/>
                  </a:lnTo>
                  <a:lnTo>
                    <a:pt x="75" y="366"/>
                  </a:lnTo>
                  <a:lnTo>
                    <a:pt x="49" y="422"/>
                  </a:lnTo>
                  <a:lnTo>
                    <a:pt x="28" y="481"/>
                  </a:lnTo>
                  <a:lnTo>
                    <a:pt x="12" y="542"/>
                  </a:lnTo>
                  <a:lnTo>
                    <a:pt x="3" y="604"/>
                  </a:lnTo>
                  <a:lnTo>
                    <a:pt x="0" y="668"/>
                  </a:lnTo>
                  <a:lnTo>
                    <a:pt x="3" y="733"/>
                  </a:lnTo>
                  <a:lnTo>
                    <a:pt x="12" y="795"/>
                  </a:lnTo>
                  <a:lnTo>
                    <a:pt x="28" y="856"/>
                  </a:lnTo>
                  <a:lnTo>
                    <a:pt x="49" y="915"/>
                  </a:lnTo>
                  <a:lnTo>
                    <a:pt x="75" y="970"/>
                  </a:lnTo>
                  <a:lnTo>
                    <a:pt x="105" y="1023"/>
                  </a:lnTo>
                  <a:lnTo>
                    <a:pt x="142" y="1073"/>
                  </a:lnTo>
                  <a:lnTo>
                    <a:pt x="182" y="1120"/>
                  </a:lnTo>
                  <a:lnTo>
                    <a:pt x="226" y="1162"/>
                  </a:lnTo>
                  <a:lnTo>
                    <a:pt x="274" y="1200"/>
                  </a:lnTo>
                  <a:lnTo>
                    <a:pt x="327" y="1235"/>
                  </a:lnTo>
                  <a:lnTo>
                    <a:pt x="381" y="1266"/>
                  </a:lnTo>
                  <a:lnTo>
                    <a:pt x="440" y="1291"/>
                  </a:lnTo>
                  <a:lnTo>
                    <a:pt x="500" y="1311"/>
                  </a:lnTo>
                  <a:lnTo>
                    <a:pt x="564" y="1325"/>
                  </a:lnTo>
                  <a:lnTo>
                    <a:pt x="629" y="1334"/>
                  </a:lnTo>
                  <a:lnTo>
                    <a:pt x="695" y="1337"/>
                  </a:lnTo>
                  <a:lnTo>
                    <a:pt x="762" y="1334"/>
                  </a:lnTo>
                  <a:lnTo>
                    <a:pt x="827" y="1325"/>
                  </a:lnTo>
                  <a:lnTo>
                    <a:pt x="890" y="1311"/>
                  </a:lnTo>
                  <a:lnTo>
                    <a:pt x="950" y="1291"/>
                  </a:lnTo>
                  <a:lnTo>
                    <a:pt x="1008" y="1266"/>
                  </a:lnTo>
                  <a:lnTo>
                    <a:pt x="1064" y="1235"/>
                  </a:lnTo>
                  <a:lnTo>
                    <a:pt x="1115" y="1200"/>
                  </a:lnTo>
                  <a:lnTo>
                    <a:pt x="1163" y="1162"/>
                  </a:lnTo>
                  <a:lnTo>
                    <a:pt x="1208" y="1120"/>
                  </a:lnTo>
                  <a:lnTo>
                    <a:pt x="1248" y="1073"/>
                  </a:lnTo>
                  <a:lnTo>
                    <a:pt x="1284" y="1023"/>
                  </a:lnTo>
                  <a:lnTo>
                    <a:pt x="1315" y="970"/>
                  </a:lnTo>
                  <a:lnTo>
                    <a:pt x="1342" y="915"/>
                  </a:lnTo>
                  <a:lnTo>
                    <a:pt x="1363" y="856"/>
                  </a:lnTo>
                  <a:lnTo>
                    <a:pt x="1377" y="795"/>
                  </a:lnTo>
                  <a:lnTo>
                    <a:pt x="1387" y="733"/>
                  </a:lnTo>
                  <a:lnTo>
                    <a:pt x="1390" y="669"/>
                  </a:lnTo>
                  <a:lnTo>
                    <a:pt x="1387" y="604"/>
                  </a:lnTo>
                  <a:lnTo>
                    <a:pt x="1377" y="542"/>
                  </a:lnTo>
                  <a:lnTo>
                    <a:pt x="1363" y="481"/>
                  </a:lnTo>
                  <a:lnTo>
                    <a:pt x="1342" y="423"/>
                  </a:lnTo>
                  <a:lnTo>
                    <a:pt x="1315" y="366"/>
                  </a:lnTo>
                  <a:lnTo>
                    <a:pt x="1284" y="314"/>
                  </a:lnTo>
                  <a:lnTo>
                    <a:pt x="1248" y="265"/>
                  </a:lnTo>
                  <a:lnTo>
                    <a:pt x="1208" y="217"/>
                  </a:lnTo>
                  <a:lnTo>
                    <a:pt x="1163" y="175"/>
                  </a:lnTo>
                  <a:lnTo>
                    <a:pt x="1115" y="136"/>
                  </a:lnTo>
                  <a:lnTo>
                    <a:pt x="1064" y="102"/>
                  </a:lnTo>
                  <a:lnTo>
                    <a:pt x="1008" y="71"/>
                  </a:lnTo>
                  <a:lnTo>
                    <a:pt x="950" y="47"/>
                  </a:lnTo>
                  <a:lnTo>
                    <a:pt x="890" y="26"/>
                  </a:lnTo>
                  <a:lnTo>
                    <a:pt x="827" y="11"/>
                  </a:lnTo>
                  <a:lnTo>
                    <a:pt x="762" y="3"/>
                  </a:lnTo>
                  <a:lnTo>
                    <a:pt x="695" y="0"/>
                  </a:lnTo>
                  <a:close/>
                  <a:moveTo>
                    <a:pt x="983" y="852"/>
                  </a:moveTo>
                  <a:lnTo>
                    <a:pt x="996" y="867"/>
                  </a:lnTo>
                  <a:lnTo>
                    <a:pt x="1003" y="885"/>
                  </a:lnTo>
                  <a:lnTo>
                    <a:pt x="1005" y="903"/>
                  </a:lnTo>
                  <a:lnTo>
                    <a:pt x="1003" y="922"/>
                  </a:lnTo>
                  <a:lnTo>
                    <a:pt x="996" y="940"/>
                  </a:lnTo>
                  <a:lnTo>
                    <a:pt x="984" y="956"/>
                  </a:lnTo>
                  <a:lnTo>
                    <a:pt x="968" y="967"/>
                  </a:lnTo>
                  <a:lnTo>
                    <a:pt x="950" y="975"/>
                  </a:lnTo>
                  <a:lnTo>
                    <a:pt x="932" y="978"/>
                  </a:lnTo>
                  <a:lnTo>
                    <a:pt x="913" y="975"/>
                  </a:lnTo>
                  <a:lnTo>
                    <a:pt x="895" y="968"/>
                  </a:lnTo>
                  <a:lnTo>
                    <a:pt x="879" y="956"/>
                  </a:lnTo>
                  <a:lnTo>
                    <a:pt x="695" y="772"/>
                  </a:lnTo>
                  <a:lnTo>
                    <a:pt x="510" y="956"/>
                  </a:lnTo>
                  <a:lnTo>
                    <a:pt x="494" y="968"/>
                  </a:lnTo>
                  <a:lnTo>
                    <a:pt x="478" y="975"/>
                  </a:lnTo>
                  <a:lnTo>
                    <a:pt x="459" y="978"/>
                  </a:lnTo>
                  <a:lnTo>
                    <a:pt x="440" y="975"/>
                  </a:lnTo>
                  <a:lnTo>
                    <a:pt x="422" y="967"/>
                  </a:lnTo>
                  <a:lnTo>
                    <a:pt x="406" y="956"/>
                  </a:lnTo>
                  <a:lnTo>
                    <a:pt x="395" y="940"/>
                  </a:lnTo>
                  <a:lnTo>
                    <a:pt x="387" y="922"/>
                  </a:lnTo>
                  <a:lnTo>
                    <a:pt x="385" y="903"/>
                  </a:lnTo>
                  <a:lnTo>
                    <a:pt x="387" y="885"/>
                  </a:lnTo>
                  <a:lnTo>
                    <a:pt x="395" y="867"/>
                  </a:lnTo>
                  <a:lnTo>
                    <a:pt x="406" y="852"/>
                  </a:lnTo>
                  <a:lnTo>
                    <a:pt x="591" y="669"/>
                  </a:lnTo>
                  <a:lnTo>
                    <a:pt x="406" y="485"/>
                  </a:lnTo>
                  <a:lnTo>
                    <a:pt x="395" y="469"/>
                  </a:lnTo>
                  <a:lnTo>
                    <a:pt x="387" y="453"/>
                  </a:lnTo>
                  <a:lnTo>
                    <a:pt x="385" y="434"/>
                  </a:lnTo>
                  <a:lnTo>
                    <a:pt x="387" y="415"/>
                  </a:lnTo>
                  <a:lnTo>
                    <a:pt x="395" y="397"/>
                  </a:lnTo>
                  <a:lnTo>
                    <a:pt x="406" y="381"/>
                  </a:lnTo>
                  <a:lnTo>
                    <a:pt x="422" y="370"/>
                  </a:lnTo>
                  <a:lnTo>
                    <a:pt x="440" y="362"/>
                  </a:lnTo>
                  <a:lnTo>
                    <a:pt x="459" y="360"/>
                  </a:lnTo>
                  <a:lnTo>
                    <a:pt x="477" y="362"/>
                  </a:lnTo>
                  <a:lnTo>
                    <a:pt x="494" y="370"/>
                  </a:lnTo>
                  <a:lnTo>
                    <a:pt x="510" y="381"/>
                  </a:lnTo>
                  <a:lnTo>
                    <a:pt x="695" y="565"/>
                  </a:lnTo>
                  <a:lnTo>
                    <a:pt x="879" y="381"/>
                  </a:lnTo>
                  <a:lnTo>
                    <a:pt x="895" y="370"/>
                  </a:lnTo>
                  <a:lnTo>
                    <a:pt x="913" y="362"/>
                  </a:lnTo>
                  <a:lnTo>
                    <a:pt x="932" y="360"/>
                  </a:lnTo>
                  <a:lnTo>
                    <a:pt x="950" y="362"/>
                  </a:lnTo>
                  <a:lnTo>
                    <a:pt x="967" y="370"/>
                  </a:lnTo>
                  <a:lnTo>
                    <a:pt x="983" y="381"/>
                  </a:lnTo>
                  <a:lnTo>
                    <a:pt x="996" y="397"/>
                  </a:lnTo>
                  <a:lnTo>
                    <a:pt x="1003" y="415"/>
                  </a:lnTo>
                  <a:lnTo>
                    <a:pt x="1005" y="434"/>
                  </a:lnTo>
                  <a:lnTo>
                    <a:pt x="1002" y="453"/>
                  </a:lnTo>
                  <a:lnTo>
                    <a:pt x="996" y="469"/>
                  </a:lnTo>
                  <a:lnTo>
                    <a:pt x="983" y="485"/>
                  </a:lnTo>
                  <a:lnTo>
                    <a:pt x="800" y="669"/>
                  </a:lnTo>
                  <a:lnTo>
                    <a:pt x="983" y="85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2"/>
            <p:cNvSpPr>
              <a:spLocks noEditPoints="1"/>
            </p:cNvSpPr>
            <p:nvPr/>
          </p:nvSpPr>
          <p:spPr bwMode="auto">
            <a:xfrm>
              <a:off x="519" y="2604"/>
              <a:ext cx="240" cy="310"/>
            </a:xfrm>
            <a:custGeom>
              <a:avLst/>
              <a:gdLst>
                <a:gd name="T0" fmla="*/ 1929 w 2401"/>
                <a:gd name="T1" fmla="*/ 2655 h 3104"/>
                <a:gd name="T2" fmla="*/ 1988 w 2401"/>
                <a:gd name="T3" fmla="*/ 2464 h 3104"/>
                <a:gd name="T4" fmla="*/ 2091 w 2401"/>
                <a:gd name="T5" fmla="*/ 2297 h 3104"/>
                <a:gd name="T6" fmla="*/ 2230 w 2401"/>
                <a:gd name="T7" fmla="*/ 2158 h 3104"/>
                <a:gd name="T8" fmla="*/ 2401 w 2401"/>
                <a:gd name="T9" fmla="*/ 2055 h 3104"/>
                <a:gd name="T10" fmla="*/ 2392 w 2401"/>
                <a:gd name="T11" fmla="*/ 2 h 3104"/>
                <a:gd name="T12" fmla="*/ 8 w 2401"/>
                <a:gd name="T13" fmla="*/ 2 h 3104"/>
                <a:gd name="T14" fmla="*/ 0 w 2401"/>
                <a:gd name="T15" fmla="*/ 3086 h 3104"/>
                <a:gd name="T16" fmla="*/ 18 w 2401"/>
                <a:gd name="T17" fmla="*/ 3104 h 3104"/>
                <a:gd name="T18" fmla="*/ 1941 w 2401"/>
                <a:gd name="T19" fmla="*/ 2984 h 3104"/>
                <a:gd name="T20" fmla="*/ 1917 w 2401"/>
                <a:gd name="T21" fmla="*/ 2792 h 3104"/>
                <a:gd name="T22" fmla="*/ 1877 w 2401"/>
                <a:gd name="T23" fmla="*/ 510 h 3104"/>
                <a:gd name="T24" fmla="*/ 1921 w 2401"/>
                <a:gd name="T25" fmla="*/ 545 h 3104"/>
                <a:gd name="T26" fmla="*/ 1928 w 2401"/>
                <a:gd name="T27" fmla="*/ 602 h 3104"/>
                <a:gd name="T28" fmla="*/ 1894 w 2401"/>
                <a:gd name="T29" fmla="*/ 646 h 3104"/>
                <a:gd name="T30" fmla="*/ 543 w 2401"/>
                <a:gd name="T31" fmla="*/ 655 h 3104"/>
                <a:gd name="T32" fmla="*/ 492 w 2401"/>
                <a:gd name="T33" fmla="*/ 634 h 3104"/>
                <a:gd name="T34" fmla="*/ 470 w 2401"/>
                <a:gd name="T35" fmla="*/ 582 h 3104"/>
                <a:gd name="T36" fmla="*/ 492 w 2401"/>
                <a:gd name="T37" fmla="*/ 530 h 3104"/>
                <a:gd name="T38" fmla="*/ 543 w 2401"/>
                <a:gd name="T39" fmla="*/ 508 h 3104"/>
                <a:gd name="T40" fmla="*/ 1877 w 2401"/>
                <a:gd name="T41" fmla="*/ 996 h 3104"/>
                <a:gd name="T42" fmla="*/ 1921 w 2401"/>
                <a:gd name="T43" fmla="*/ 1029 h 3104"/>
                <a:gd name="T44" fmla="*/ 1928 w 2401"/>
                <a:gd name="T45" fmla="*/ 1086 h 3104"/>
                <a:gd name="T46" fmla="*/ 1894 w 2401"/>
                <a:gd name="T47" fmla="*/ 1130 h 3104"/>
                <a:gd name="T48" fmla="*/ 543 w 2401"/>
                <a:gd name="T49" fmla="*/ 1141 h 3104"/>
                <a:gd name="T50" fmla="*/ 492 w 2401"/>
                <a:gd name="T51" fmla="*/ 1119 h 3104"/>
                <a:gd name="T52" fmla="*/ 470 w 2401"/>
                <a:gd name="T53" fmla="*/ 1067 h 3104"/>
                <a:gd name="T54" fmla="*/ 492 w 2401"/>
                <a:gd name="T55" fmla="*/ 1015 h 3104"/>
                <a:gd name="T56" fmla="*/ 543 w 2401"/>
                <a:gd name="T57" fmla="*/ 994 h 3104"/>
                <a:gd name="T58" fmla="*/ 1877 w 2401"/>
                <a:gd name="T59" fmla="*/ 1481 h 3104"/>
                <a:gd name="T60" fmla="*/ 1921 w 2401"/>
                <a:gd name="T61" fmla="*/ 1515 h 3104"/>
                <a:gd name="T62" fmla="*/ 1928 w 2401"/>
                <a:gd name="T63" fmla="*/ 1571 h 3104"/>
                <a:gd name="T64" fmla="*/ 1894 w 2401"/>
                <a:gd name="T65" fmla="*/ 1616 h 3104"/>
                <a:gd name="T66" fmla="*/ 543 w 2401"/>
                <a:gd name="T67" fmla="*/ 1626 h 3104"/>
                <a:gd name="T68" fmla="*/ 492 w 2401"/>
                <a:gd name="T69" fmla="*/ 1604 h 3104"/>
                <a:gd name="T70" fmla="*/ 470 w 2401"/>
                <a:gd name="T71" fmla="*/ 1551 h 3104"/>
                <a:gd name="T72" fmla="*/ 492 w 2401"/>
                <a:gd name="T73" fmla="*/ 1500 h 3104"/>
                <a:gd name="T74" fmla="*/ 543 w 2401"/>
                <a:gd name="T75" fmla="*/ 1478 h 3104"/>
                <a:gd name="T76" fmla="*/ 1877 w 2401"/>
                <a:gd name="T77" fmla="*/ 1966 h 3104"/>
                <a:gd name="T78" fmla="*/ 1921 w 2401"/>
                <a:gd name="T79" fmla="*/ 2000 h 3104"/>
                <a:gd name="T80" fmla="*/ 1928 w 2401"/>
                <a:gd name="T81" fmla="*/ 2057 h 3104"/>
                <a:gd name="T82" fmla="*/ 1894 w 2401"/>
                <a:gd name="T83" fmla="*/ 2101 h 3104"/>
                <a:gd name="T84" fmla="*/ 543 w 2401"/>
                <a:gd name="T85" fmla="*/ 2110 h 3104"/>
                <a:gd name="T86" fmla="*/ 492 w 2401"/>
                <a:gd name="T87" fmla="*/ 2089 h 3104"/>
                <a:gd name="T88" fmla="*/ 470 w 2401"/>
                <a:gd name="T89" fmla="*/ 2037 h 3104"/>
                <a:gd name="T90" fmla="*/ 492 w 2401"/>
                <a:gd name="T91" fmla="*/ 1985 h 3104"/>
                <a:gd name="T92" fmla="*/ 543 w 2401"/>
                <a:gd name="T93" fmla="*/ 1963 h 3104"/>
                <a:gd name="T94" fmla="*/ 524 w 2401"/>
                <a:gd name="T95" fmla="*/ 2592 h 3104"/>
                <a:gd name="T96" fmla="*/ 480 w 2401"/>
                <a:gd name="T97" fmla="*/ 2559 h 3104"/>
                <a:gd name="T98" fmla="*/ 473 w 2401"/>
                <a:gd name="T99" fmla="*/ 2502 h 3104"/>
                <a:gd name="T100" fmla="*/ 507 w 2401"/>
                <a:gd name="T101" fmla="*/ 2458 h 3104"/>
                <a:gd name="T102" fmla="*/ 1857 w 2401"/>
                <a:gd name="T103" fmla="*/ 2448 h 3104"/>
                <a:gd name="T104" fmla="*/ 1909 w 2401"/>
                <a:gd name="T105" fmla="*/ 2469 h 3104"/>
                <a:gd name="T106" fmla="*/ 1930 w 2401"/>
                <a:gd name="T107" fmla="*/ 2522 h 3104"/>
                <a:gd name="T108" fmla="*/ 1909 w 2401"/>
                <a:gd name="T109" fmla="*/ 2573 h 3104"/>
                <a:gd name="T110" fmla="*/ 1857 w 2401"/>
                <a:gd name="T111" fmla="*/ 2596 h 3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401" h="3104">
                  <a:moveTo>
                    <a:pt x="1917" y="2792"/>
                  </a:moveTo>
                  <a:lnTo>
                    <a:pt x="1920" y="2723"/>
                  </a:lnTo>
                  <a:lnTo>
                    <a:pt x="1929" y="2655"/>
                  </a:lnTo>
                  <a:lnTo>
                    <a:pt x="1943" y="2589"/>
                  </a:lnTo>
                  <a:lnTo>
                    <a:pt x="1963" y="2526"/>
                  </a:lnTo>
                  <a:lnTo>
                    <a:pt x="1988" y="2464"/>
                  </a:lnTo>
                  <a:lnTo>
                    <a:pt x="2017" y="2405"/>
                  </a:lnTo>
                  <a:lnTo>
                    <a:pt x="2052" y="2350"/>
                  </a:lnTo>
                  <a:lnTo>
                    <a:pt x="2091" y="2297"/>
                  </a:lnTo>
                  <a:lnTo>
                    <a:pt x="2134" y="2247"/>
                  </a:lnTo>
                  <a:lnTo>
                    <a:pt x="2180" y="2201"/>
                  </a:lnTo>
                  <a:lnTo>
                    <a:pt x="2230" y="2158"/>
                  </a:lnTo>
                  <a:lnTo>
                    <a:pt x="2284" y="2119"/>
                  </a:lnTo>
                  <a:lnTo>
                    <a:pt x="2341" y="2084"/>
                  </a:lnTo>
                  <a:lnTo>
                    <a:pt x="2401" y="2055"/>
                  </a:lnTo>
                  <a:lnTo>
                    <a:pt x="2401" y="18"/>
                  </a:lnTo>
                  <a:lnTo>
                    <a:pt x="2398" y="8"/>
                  </a:lnTo>
                  <a:lnTo>
                    <a:pt x="2392" y="2"/>
                  </a:lnTo>
                  <a:lnTo>
                    <a:pt x="2382" y="0"/>
                  </a:lnTo>
                  <a:lnTo>
                    <a:pt x="18" y="0"/>
                  </a:lnTo>
                  <a:lnTo>
                    <a:pt x="8" y="2"/>
                  </a:lnTo>
                  <a:lnTo>
                    <a:pt x="2" y="8"/>
                  </a:lnTo>
                  <a:lnTo>
                    <a:pt x="0" y="18"/>
                  </a:lnTo>
                  <a:lnTo>
                    <a:pt x="0" y="3086"/>
                  </a:lnTo>
                  <a:lnTo>
                    <a:pt x="2" y="3096"/>
                  </a:lnTo>
                  <a:lnTo>
                    <a:pt x="8" y="3102"/>
                  </a:lnTo>
                  <a:lnTo>
                    <a:pt x="18" y="3104"/>
                  </a:lnTo>
                  <a:lnTo>
                    <a:pt x="1982" y="3104"/>
                  </a:lnTo>
                  <a:lnTo>
                    <a:pt x="1959" y="3045"/>
                  </a:lnTo>
                  <a:lnTo>
                    <a:pt x="1941" y="2984"/>
                  </a:lnTo>
                  <a:lnTo>
                    <a:pt x="1928" y="2922"/>
                  </a:lnTo>
                  <a:lnTo>
                    <a:pt x="1920" y="2857"/>
                  </a:lnTo>
                  <a:lnTo>
                    <a:pt x="1917" y="2792"/>
                  </a:lnTo>
                  <a:close/>
                  <a:moveTo>
                    <a:pt x="543" y="508"/>
                  </a:moveTo>
                  <a:lnTo>
                    <a:pt x="1857" y="508"/>
                  </a:lnTo>
                  <a:lnTo>
                    <a:pt x="1877" y="510"/>
                  </a:lnTo>
                  <a:lnTo>
                    <a:pt x="1894" y="519"/>
                  </a:lnTo>
                  <a:lnTo>
                    <a:pt x="1909" y="529"/>
                  </a:lnTo>
                  <a:lnTo>
                    <a:pt x="1921" y="545"/>
                  </a:lnTo>
                  <a:lnTo>
                    <a:pt x="1928" y="562"/>
                  </a:lnTo>
                  <a:lnTo>
                    <a:pt x="1930" y="582"/>
                  </a:lnTo>
                  <a:lnTo>
                    <a:pt x="1928" y="602"/>
                  </a:lnTo>
                  <a:lnTo>
                    <a:pt x="1921" y="619"/>
                  </a:lnTo>
                  <a:lnTo>
                    <a:pt x="1909" y="634"/>
                  </a:lnTo>
                  <a:lnTo>
                    <a:pt x="1894" y="646"/>
                  </a:lnTo>
                  <a:lnTo>
                    <a:pt x="1877" y="653"/>
                  </a:lnTo>
                  <a:lnTo>
                    <a:pt x="1857" y="655"/>
                  </a:lnTo>
                  <a:lnTo>
                    <a:pt x="543" y="655"/>
                  </a:lnTo>
                  <a:lnTo>
                    <a:pt x="524" y="653"/>
                  </a:lnTo>
                  <a:lnTo>
                    <a:pt x="507" y="646"/>
                  </a:lnTo>
                  <a:lnTo>
                    <a:pt x="492" y="634"/>
                  </a:lnTo>
                  <a:lnTo>
                    <a:pt x="480" y="619"/>
                  </a:lnTo>
                  <a:lnTo>
                    <a:pt x="473" y="602"/>
                  </a:lnTo>
                  <a:lnTo>
                    <a:pt x="470" y="582"/>
                  </a:lnTo>
                  <a:lnTo>
                    <a:pt x="473" y="562"/>
                  </a:lnTo>
                  <a:lnTo>
                    <a:pt x="480" y="545"/>
                  </a:lnTo>
                  <a:lnTo>
                    <a:pt x="492" y="530"/>
                  </a:lnTo>
                  <a:lnTo>
                    <a:pt x="507" y="519"/>
                  </a:lnTo>
                  <a:lnTo>
                    <a:pt x="524" y="512"/>
                  </a:lnTo>
                  <a:lnTo>
                    <a:pt x="543" y="508"/>
                  </a:lnTo>
                  <a:close/>
                  <a:moveTo>
                    <a:pt x="543" y="994"/>
                  </a:moveTo>
                  <a:lnTo>
                    <a:pt x="1857" y="994"/>
                  </a:lnTo>
                  <a:lnTo>
                    <a:pt x="1877" y="996"/>
                  </a:lnTo>
                  <a:lnTo>
                    <a:pt x="1894" y="1003"/>
                  </a:lnTo>
                  <a:lnTo>
                    <a:pt x="1909" y="1015"/>
                  </a:lnTo>
                  <a:lnTo>
                    <a:pt x="1921" y="1029"/>
                  </a:lnTo>
                  <a:lnTo>
                    <a:pt x="1928" y="1047"/>
                  </a:lnTo>
                  <a:lnTo>
                    <a:pt x="1930" y="1067"/>
                  </a:lnTo>
                  <a:lnTo>
                    <a:pt x="1928" y="1086"/>
                  </a:lnTo>
                  <a:lnTo>
                    <a:pt x="1921" y="1104"/>
                  </a:lnTo>
                  <a:lnTo>
                    <a:pt x="1909" y="1119"/>
                  </a:lnTo>
                  <a:lnTo>
                    <a:pt x="1894" y="1130"/>
                  </a:lnTo>
                  <a:lnTo>
                    <a:pt x="1877" y="1138"/>
                  </a:lnTo>
                  <a:lnTo>
                    <a:pt x="1857" y="1141"/>
                  </a:lnTo>
                  <a:lnTo>
                    <a:pt x="543" y="1141"/>
                  </a:lnTo>
                  <a:lnTo>
                    <a:pt x="524" y="1138"/>
                  </a:lnTo>
                  <a:lnTo>
                    <a:pt x="507" y="1130"/>
                  </a:lnTo>
                  <a:lnTo>
                    <a:pt x="492" y="1119"/>
                  </a:lnTo>
                  <a:lnTo>
                    <a:pt x="480" y="1104"/>
                  </a:lnTo>
                  <a:lnTo>
                    <a:pt x="473" y="1086"/>
                  </a:lnTo>
                  <a:lnTo>
                    <a:pt x="470" y="1067"/>
                  </a:lnTo>
                  <a:lnTo>
                    <a:pt x="473" y="1047"/>
                  </a:lnTo>
                  <a:lnTo>
                    <a:pt x="480" y="1029"/>
                  </a:lnTo>
                  <a:lnTo>
                    <a:pt x="492" y="1015"/>
                  </a:lnTo>
                  <a:lnTo>
                    <a:pt x="507" y="1003"/>
                  </a:lnTo>
                  <a:lnTo>
                    <a:pt x="524" y="996"/>
                  </a:lnTo>
                  <a:lnTo>
                    <a:pt x="543" y="994"/>
                  </a:lnTo>
                  <a:close/>
                  <a:moveTo>
                    <a:pt x="543" y="1478"/>
                  </a:moveTo>
                  <a:lnTo>
                    <a:pt x="1857" y="1478"/>
                  </a:lnTo>
                  <a:lnTo>
                    <a:pt x="1877" y="1481"/>
                  </a:lnTo>
                  <a:lnTo>
                    <a:pt x="1894" y="1488"/>
                  </a:lnTo>
                  <a:lnTo>
                    <a:pt x="1909" y="1500"/>
                  </a:lnTo>
                  <a:lnTo>
                    <a:pt x="1921" y="1515"/>
                  </a:lnTo>
                  <a:lnTo>
                    <a:pt x="1928" y="1533"/>
                  </a:lnTo>
                  <a:lnTo>
                    <a:pt x="1930" y="1551"/>
                  </a:lnTo>
                  <a:lnTo>
                    <a:pt x="1928" y="1571"/>
                  </a:lnTo>
                  <a:lnTo>
                    <a:pt x="1921" y="1589"/>
                  </a:lnTo>
                  <a:lnTo>
                    <a:pt x="1909" y="1604"/>
                  </a:lnTo>
                  <a:lnTo>
                    <a:pt x="1894" y="1616"/>
                  </a:lnTo>
                  <a:lnTo>
                    <a:pt x="1877" y="1623"/>
                  </a:lnTo>
                  <a:lnTo>
                    <a:pt x="1857" y="1626"/>
                  </a:lnTo>
                  <a:lnTo>
                    <a:pt x="543" y="1626"/>
                  </a:lnTo>
                  <a:lnTo>
                    <a:pt x="524" y="1623"/>
                  </a:lnTo>
                  <a:lnTo>
                    <a:pt x="507" y="1616"/>
                  </a:lnTo>
                  <a:lnTo>
                    <a:pt x="492" y="1604"/>
                  </a:lnTo>
                  <a:lnTo>
                    <a:pt x="480" y="1589"/>
                  </a:lnTo>
                  <a:lnTo>
                    <a:pt x="473" y="1571"/>
                  </a:lnTo>
                  <a:lnTo>
                    <a:pt x="470" y="1551"/>
                  </a:lnTo>
                  <a:lnTo>
                    <a:pt x="473" y="1533"/>
                  </a:lnTo>
                  <a:lnTo>
                    <a:pt x="480" y="1515"/>
                  </a:lnTo>
                  <a:lnTo>
                    <a:pt x="492" y="1500"/>
                  </a:lnTo>
                  <a:lnTo>
                    <a:pt x="507" y="1488"/>
                  </a:lnTo>
                  <a:lnTo>
                    <a:pt x="524" y="1481"/>
                  </a:lnTo>
                  <a:lnTo>
                    <a:pt x="543" y="1478"/>
                  </a:lnTo>
                  <a:close/>
                  <a:moveTo>
                    <a:pt x="543" y="1963"/>
                  </a:moveTo>
                  <a:lnTo>
                    <a:pt x="1857" y="1963"/>
                  </a:lnTo>
                  <a:lnTo>
                    <a:pt x="1877" y="1966"/>
                  </a:lnTo>
                  <a:lnTo>
                    <a:pt x="1894" y="1974"/>
                  </a:lnTo>
                  <a:lnTo>
                    <a:pt x="1909" y="1985"/>
                  </a:lnTo>
                  <a:lnTo>
                    <a:pt x="1921" y="2000"/>
                  </a:lnTo>
                  <a:lnTo>
                    <a:pt x="1928" y="2017"/>
                  </a:lnTo>
                  <a:lnTo>
                    <a:pt x="1930" y="2037"/>
                  </a:lnTo>
                  <a:lnTo>
                    <a:pt x="1928" y="2057"/>
                  </a:lnTo>
                  <a:lnTo>
                    <a:pt x="1921" y="2073"/>
                  </a:lnTo>
                  <a:lnTo>
                    <a:pt x="1909" y="2089"/>
                  </a:lnTo>
                  <a:lnTo>
                    <a:pt x="1894" y="2101"/>
                  </a:lnTo>
                  <a:lnTo>
                    <a:pt x="1877" y="2108"/>
                  </a:lnTo>
                  <a:lnTo>
                    <a:pt x="1857" y="2110"/>
                  </a:lnTo>
                  <a:lnTo>
                    <a:pt x="543" y="2110"/>
                  </a:lnTo>
                  <a:lnTo>
                    <a:pt x="524" y="2108"/>
                  </a:lnTo>
                  <a:lnTo>
                    <a:pt x="507" y="2101"/>
                  </a:lnTo>
                  <a:lnTo>
                    <a:pt x="492" y="2089"/>
                  </a:lnTo>
                  <a:lnTo>
                    <a:pt x="480" y="2073"/>
                  </a:lnTo>
                  <a:lnTo>
                    <a:pt x="473" y="2057"/>
                  </a:lnTo>
                  <a:lnTo>
                    <a:pt x="470" y="2037"/>
                  </a:lnTo>
                  <a:lnTo>
                    <a:pt x="473" y="2017"/>
                  </a:lnTo>
                  <a:lnTo>
                    <a:pt x="480" y="2000"/>
                  </a:lnTo>
                  <a:lnTo>
                    <a:pt x="492" y="1985"/>
                  </a:lnTo>
                  <a:lnTo>
                    <a:pt x="507" y="1974"/>
                  </a:lnTo>
                  <a:lnTo>
                    <a:pt x="524" y="1966"/>
                  </a:lnTo>
                  <a:lnTo>
                    <a:pt x="543" y="1963"/>
                  </a:lnTo>
                  <a:close/>
                  <a:moveTo>
                    <a:pt x="1857" y="2596"/>
                  </a:moveTo>
                  <a:lnTo>
                    <a:pt x="543" y="2596"/>
                  </a:lnTo>
                  <a:lnTo>
                    <a:pt x="524" y="2592"/>
                  </a:lnTo>
                  <a:lnTo>
                    <a:pt x="507" y="2585"/>
                  </a:lnTo>
                  <a:lnTo>
                    <a:pt x="492" y="2573"/>
                  </a:lnTo>
                  <a:lnTo>
                    <a:pt x="480" y="2559"/>
                  </a:lnTo>
                  <a:lnTo>
                    <a:pt x="473" y="2542"/>
                  </a:lnTo>
                  <a:lnTo>
                    <a:pt x="470" y="2522"/>
                  </a:lnTo>
                  <a:lnTo>
                    <a:pt x="473" y="2502"/>
                  </a:lnTo>
                  <a:lnTo>
                    <a:pt x="480" y="2485"/>
                  </a:lnTo>
                  <a:lnTo>
                    <a:pt x="492" y="2469"/>
                  </a:lnTo>
                  <a:lnTo>
                    <a:pt x="507" y="2458"/>
                  </a:lnTo>
                  <a:lnTo>
                    <a:pt x="524" y="2451"/>
                  </a:lnTo>
                  <a:lnTo>
                    <a:pt x="543" y="2448"/>
                  </a:lnTo>
                  <a:lnTo>
                    <a:pt x="1857" y="2448"/>
                  </a:lnTo>
                  <a:lnTo>
                    <a:pt x="1877" y="2451"/>
                  </a:lnTo>
                  <a:lnTo>
                    <a:pt x="1894" y="2458"/>
                  </a:lnTo>
                  <a:lnTo>
                    <a:pt x="1909" y="2469"/>
                  </a:lnTo>
                  <a:lnTo>
                    <a:pt x="1921" y="2485"/>
                  </a:lnTo>
                  <a:lnTo>
                    <a:pt x="1928" y="2502"/>
                  </a:lnTo>
                  <a:lnTo>
                    <a:pt x="1930" y="2522"/>
                  </a:lnTo>
                  <a:lnTo>
                    <a:pt x="1928" y="2542"/>
                  </a:lnTo>
                  <a:lnTo>
                    <a:pt x="1921" y="2559"/>
                  </a:lnTo>
                  <a:lnTo>
                    <a:pt x="1909" y="2573"/>
                  </a:lnTo>
                  <a:lnTo>
                    <a:pt x="1894" y="2585"/>
                  </a:lnTo>
                  <a:lnTo>
                    <a:pt x="1877" y="2592"/>
                  </a:lnTo>
                  <a:lnTo>
                    <a:pt x="1857" y="259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063685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NCLU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28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758190" y="1447800"/>
            <a:ext cx="1082421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0" rtlCol="0" anchor="ctr"/>
          <a:lstStyle/>
          <a:p>
            <a:r>
              <a:rPr lang="en-US" dirty="0">
                <a:solidFill>
                  <a:schemeClr val="tx1"/>
                </a:solidFill>
              </a:rPr>
              <a:t>Understand the standards of enforceability is the name of the game.</a:t>
            </a:r>
          </a:p>
        </p:txBody>
      </p:sp>
      <p:sp>
        <p:nvSpPr>
          <p:cNvPr id="6" name="Rectangle 5"/>
          <p:cNvSpPr/>
          <p:nvPr/>
        </p:nvSpPr>
        <p:spPr>
          <a:xfrm>
            <a:off x="758190" y="2408035"/>
            <a:ext cx="1082421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0" rtlCol="0" anchor="ctr"/>
          <a:lstStyle/>
          <a:p>
            <a:r>
              <a:rPr lang="en-US" dirty="0">
                <a:solidFill>
                  <a:schemeClr val="tx1"/>
                </a:solidFill>
              </a:rPr>
              <a:t>Encourage clients to begin the process of preparing the prenuptial agreement as many </a:t>
            </a:r>
          </a:p>
          <a:p>
            <a:r>
              <a:rPr lang="en-US" dirty="0">
                <a:solidFill>
                  <a:schemeClr val="tx1"/>
                </a:solidFill>
              </a:rPr>
              <a:t>months in advance of the wedding date as possible.</a:t>
            </a:r>
          </a:p>
        </p:txBody>
      </p:sp>
      <p:sp>
        <p:nvSpPr>
          <p:cNvPr id="7" name="Rectangle 6"/>
          <p:cNvSpPr/>
          <p:nvPr/>
        </p:nvSpPr>
        <p:spPr>
          <a:xfrm>
            <a:off x="758190" y="3368269"/>
            <a:ext cx="1082421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0" rtlCol="0" anchor="ctr"/>
          <a:lstStyle/>
          <a:p>
            <a:r>
              <a:rPr lang="en-US" dirty="0">
                <a:solidFill>
                  <a:schemeClr val="tx1"/>
                </a:solidFill>
              </a:rPr>
              <a:t>Feel there is no duress, undue influence present and the agreement is signed under circumstances that do not give rise to any presumption of improper execution.</a:t>
            </a:r>
          </a:p>
        </p:txBody>
      </p:sp>
      <p:sp>
        <p:nvSpPr>
          <p:cNvPr id="8" name="Rectangle 7"/>
          <p:cNvSpPr/>
          <p:nvPr/>
        </p:nvSpPr>
        <p:spPr>
          <a:xfrm>
            <a:off x="758190" y="4328504"/>
            <a:ext cx="1082421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0" rtlCol="0" anchor="ctr"/>
          <a:lstStyle/>
          <a:p>
            <a:r>
              <a:rPr lang="en-US" dirty="0">
                <a:solidFill>
                  <a:schemeClr val="tx1"/>
                </a:solidFill>
              </a:rPr>
              <a:t>There must be a high level of trust and confidence that each party is looking out for</a:t>
            </a:r>
          </a:p>
          <a:p>
            <a:r>
              <a:rPr lang="en-US" dirty="0">
                <a:solidFill>
                  <a:schemeClr val="tx1"/>
                </a:solidFill>
              </a:rPr>
              <a:t>the others’ best interests.</a:t>
            </a:r>
          </a:p>
        </p:txBody>
      </p:sp>
      <p:sp>
        <p:nvSpPr>
          <p:cNvPr id="9" name="Rectangle 8"/>
          <p:cNvSpPr/>
          <p:nvPr/>
        </p:nvSpPr>
        <p:spPr>
          <a:xfrm>
            <a:off x="758190" y="5288739"/>
            <a:ext cx="1082421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914400" rtlCol="0" anchor="ctr"/>
          <a:lstStyle/>
          <a:p>
            <a:r>
              <a:rPr lang="en-US" dirty="0">
                <a:solidFill>
                  <a:schemeClr val="tx1"/>
                </a:solidFill>
              </a:rPr>
              <a:t>Agreement must be fair for both parties to start off on the right foot.</a:t>
            </a:r>
          </a:p>
        </p:txBody>
      </p:sp>
      <p:sp>
        <p:nvSpPr>
          <p:cNvPr id="10" name="Rectangle 9"/>
          <p:cNvSpPr/>
          <p:nvPr/>
        </p:nvSpPr>
        <p:spPr>
          <a:xfrm>
            <a:off x="609600" y="1447800"/>
            <a:ext cx="91440" cy="883461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609600" y="2408035"/>
            <a:ext cx="91440" cy="883461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609600" y="3368269"/>
            <a:ext cx="91440" cy="883461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609600" y="4328504"/>
            <a:ext cx="91440" cy="883461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09600" y="5288739"/>
            <a:ext cx="91440" cy="883461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10668000" y="2301162"/>
            <a:ext cx="914400" cy="30099"/>
          </a:xfrm>
          <a:prstGeom prst="rect">
            <a:avLst/>
          </a:prstGeom>
          <a:solidFill>
            <a:srgbClr val="26867C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/>
        </p:nvSpPr>
        <p:spPr>
          <a:xfrm>
            <a:off x="10668000" y="4221632"/>
            <a:ext cx="914400" cy="30099"/>
          </a:xfrm>
          <a:prstGeom prst="rect">
            <a:avLst/>
          </a:prstGeom>
          <a:solidFill>
            <a:srgbClr val="26867C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/>
        </p:nvSpPr>
        <p:spPr>
          <a:xfrm>
            <a:off x="10668000" y="5181867"/>
            <a:ext cx="914400" cy="30099"/>
          </a:xfrm>
          <a:prstGeom prst="rect">
            <a:avLst/>
          </a:prstGeom>
          <a:solidFill>
            <a:srgbClr val="26867C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/>
        </p:nvSpPr>
        <p:spPr>
          <a:xfrm>
            <a:off x="10668000" y="6142101"/>
            <a:ext cx="914400" cy="30099"/>
          </a:xfrm>
          <a:prstGeom prst="rect">
            <a:avLst/>
          </a:prstGeom>
          <a:solidFill>
            <a:srgbClr val="26867C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/>
        </p:nvSpPr>
        <p:spPr>
          <a:xfrm>
            <a:off x="10668000" y="3261397"/>
            <a:ext cx="914400" cy="30099"/>
          </a:xfrm>
          <a:prstGeom prst="rect">
            <a:avLst/>
          </a:prstGeom>
          <a:solidFill>
            <a:srgbClr val="26867C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" name="Group 2"/>
          <p:cNvGrpSpPr/>
          <p:nvPr/>
        </p:nvGrpSpPr>
        <p:grpSpPr>
          <a:xfrm>
            <a:off x="10923393" y="1641656"/>
            <a:ext cx="430532" cy="465651"/>
            <a:chOff x="131577" y="928520"/>
            <a:chExt cx="3552918" cy="3842742"/>
          </a:xfrm>
          <a:solidFill>
            <a:srgbClr val="26867C"/>
          </a:solidFill>
        </p:grpSpPr>
        <p:sp>
          <p:nvSpPr>
            <p:cNvPr id="26" name="Freeform 6"/>
            <p:cNvSpPr>
              <a:spLocks noEditPoints="1"/>
            </p:cNvSpPr>
            <p:nvPr/>
          </p:nvSpPr>
          <p:spPr bwMode="auto">
            <a:xfrm>
              <a:off x="131577" y="928520"/>
              <a:ext cx="3552918" cy="3842742"/>
            </a:xfrm>
            <a:custGeom>
              <a:avLst/>
              <a:gdLst>
                <a:gd name="T0" fmla="*/ 4832 w 15226"/>
                <a:gd name="T1" fmla="*/ 896 h 16467"/>
                <a:gd name="T2" fmla="*/ 1605 w 15226"/>
                <a:gd name="T3" fmla="*/ 7033 h 16467"/>
                <a:gd name="T4" fmla="*/ 304 w 15226"/>
                <a:gd name="T5" fmla="*/ 9224 h 16467"/>
                <a:gd name="T6" fmla="*/ 1058 w 15226"/>
                <a:gd name="T7" fmla="*/ 10928 h 16467"/>
                <a:gd name="T8" fmla="*/ 1422 w 15226"/>
                <a:gd name="T9" fmla="*/ 12190 h 16467"/>
                <a:gd name="T10" fmla="*/ 2984 w 15226"/>
                <a:gd name="T11" fmla="*/ 14527 h 16467"/>
                <a:gd name="T12" fmla="*/ 4829 w 15226"/>
                <a:gd name="T13" fmla="*/ 15055 h 16467"/>
                <a:gd name="T14" fmla="*/ 12782 w 15226"/>
                <a:gd name="T15" fmla="*/ 16467 h 16467"/>
                <a:gd name="T16" fmla="*/ 12300 w 15226"/>
                <a:gd name="T17" fmla="*/ 11850 h 16467"/>
                <a:gd name="T18" fmla="*/ 14839 w 15226"/>
                <a:gd name="T19" fmla="*/ 6845 h 16467"/>
                <a:gd name="T20" fmla="*/ 13183 w 15226"/>
                <a:gd name="T21" fmla="*/ 4884 h 16467"/>
                <a:gd name="T22" fmla="*/ 12974 w 15226"/>
                <a:gd name="T23" fmla="*/ 7580 h 16467"/>
                <a:gd name="T24" fmla="*/ 12990 w 15226"/>
                <a:gd name="T25" fmla="*/ 8137 h 16467"/>
                <a:gd name="T26" fmla="*/ 11564 w 15226"/>
                <a:gd name="T27" fmla="*/ 8803 h 16467"/>
                <a:gd name="T28" fmla="*/ 9576 w 15226"/>
                <a:gd name="T29" fmla="*/ 9556 h 16467"/>
                <a:gd name="T30" fmla="*/ 9292 w 15226"/>
                <a:gd name="T31" fmla="*/ 10313 h 16467"/>
                <a:gd name="T32" fmla="*/ 8706 w 15226"/>
                <a:gd name="T33" fmla="*/ 10320 h 16467"/>
                <a:gd name="T34" fmla="*/ 7839 w 15226"/>
                <a:gd name="T35" fmla="*/ 8485 h 16467"/>
                <a:gd name="T36" fmla="*/ 5955 w 15226"/>
                <a:gd name="T37" fmla="*/ 7333 h 16467"/>
                <a:gd name="T38" fmla="*/ 5045 w 15226"/>
                <a:gd name="T39" fmla="*/ 7333 h 16467"/>
                <a:gd name="T40" fmla="*/ 3688 w 15226"/>
                <a:gd name="T41" fmla="*/ 5821 h 16467"/>
                <a:gd name="T42" fmla="*/ 3816 w 15226"/>
                <a:gd name="T43" fmla="*/ 3624 h 16467"/>
                <a:gd name="T44" fmla="*/ 3890 w 15226"/>
                <a:gd name="T45" fmla="*/ 3517 h 16467"/>
                <a:gd name="T46" fmla="*/ 4340 w 15226"/>
                <a:gd name="T47" fmla="*/ 2966 h 16467"/>
                <a:gd name="T48" fmla="*/ 6121 w 15226"/>
                <a:gd name="T49" fmla="*/ 2105 h 16467"/>
                <a:gd name="T50" fmla="*/ 6264 w 15226"/>
                <a:gd name="T51" fmla="*/ 2138 h 16467"/>
                <a:gd name="T52" fmla="*/ 7575 w 15226"/>
                <a:gd name="T53" fmla="*/ 1688 h 16467"/>
                <a:gd name="T54" fmla="*/ 8580 w 15226"/>
                <a:gd name="T55" fmla="*/ 1347 h 16467"/>
                <a:gd name="T56" fmla="*/ 9313 w 15226"/>
                <a:gd name="T57" fmla="*/ 1689 h 16467"/>
                <a:gd name="T58" fmla="*/ 9910 w 15226"/>
                <a:gd name="T59" fmla="*/ 1627 h 16467"/>
                <a:gd name="T60" fmla="*/ 10645 w 15226"/>
                <a:gd name="T61" fmla="*/ 2180 h 16467"/>
                <a:gd name="T62" fmla="*/ 11452 w 15226"/>
                <a:gd name="T63" fmla="*/ 2381 h 16467"/>
                <a:gd name="T64" fmla="*/ 11765 w 15226"/>
                <a:gd name="T65" fmla="*/ 2398 h 16467"/>
                <a:gd name="T66" fmla="*/ 12518 w 15226"/>
                <a:gd name="T67" fmla="*/ 3326 h 16467"/>
                <a:gd name="T68" fmla="*/ 13130 w 15226"/>
                <a:gd name="T69" fmla="*/ 4042 h 16467"/>
                <a:gd name="T70" fmla="*/ 13183 w 15226"/>
                <a:gd name="T71" fmla="*/ 4884 h 16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226" h="16467">
                  <a:moveTo>
                    <a:pt x="10368" y="416"/>
                  </a:moveTo>
                  <a:cubicBezTo>
                    <a:pt x="8478" y="0"/>
                    <a:pt x="6596" y="26"/>
                    <a:pt x="4832" y="896"/>
                  </a:cubicBezTo>
                  <a:cubicBezTo>
                    <a:pt x="2904" y="1847"/>
                    <a:pt x="1993" y="3579"/>
                    <a:pt x="1538" y="5586"/>
                  </a:cubicBezTo>
                  <a:cubicBezTo>
                    <a:pt x="1432" y="6054"/>
                    <a:pt x="1196" y="6558"/>
                    <a:pt x="1605" y="7033"/>
                  </a:cubicBezTo>
                  <a:cubicBezTo>
                    <a:pt x="1694" y="7136"/>
                    <a:pt x="1523" y="7277"/>
                    <a:pt x="1451" y="7391"/>
                  </a:cubicBezTo>
                  <a:cubicBezTo>
                    <a:pt x="1067" y="8001"/>
                    <a:pt x="668" y="8603"/>
                    <a:pt x="304" y="9224"/>
                  </a:cubicBezTo>
                  <a:cubicBezTo>
                    <a:pt x="0" y="9742"/>
                    <a:pt x="65" y="9931"/>
                    <a:pt x="617" y="10108"/>
                  </a:cubicBezTo>
                  <a:cubicBezTo>
                    <a:pt x="1059" y="10249"/>
                    <a:pt x="1276" y="10436"/>
                    <a:pt x="1058" y="10928"/>
                  </a:cubicBezTo>
                  <a:cubicBezTo>
                    <a:pt x="895" y="11292"/>
                    <a:pt x="1194" y="11405"/>
                    <a:pt x="1491" y="11491"/>
                  </a:cubicBezTo>
                  <a:cubicBezTo>
                    <a:pt x="1028" y="11792"/>
                    <a:pt x="1016" y="11870"/>
                    <a:pt x="1422" y="12190"/>
                  </a:cubicBezTo>
                  <a:cubicBezTo>
                    <a:pt x="1598" y="12328"/>
                    <a:pt x="1643" y="12442"/>
                    <a:pt x="1549" y="12654"/>
                  </a:cubicBezTo>
                  <a:cubicBezTo>
                    <a:pt x="975" y="13937"/>
                    <a:pt x="1574" y="14691"/>
                    <a:pt x="2984" y="14527"/>
                  </a:cubicBezTo>
                  <a:cubicBezTo>
                    <a:pt x="3319" y="14488"/>
                    <a:pt x="3653" y="14436"/>
                    <a:pt x="3986" y="14387"/>
                  </a:cubicBezTo>
                  <a:cubicBezTo>
                    <a:pt x="4569" y="14301"/>
                    <a:pt x="4773" y="14445"/>
                    <a:pt x="4829" y="15055"/>
                  </a:cubicBezTo>
                  <a:cubicBezTo>
                    <a:pt x="4873" y="15530"/>
                    <a:pt x="4913" y="16003"/>
                    <a:pt x="5027" y="16467"/>
                  </a:cubicBezTo>
                  <a:cubicBezTo>
                    <a:pt x="7612" y="16467"/>
                    <a:pt x="10197" y="16467"/>
                    <a:pt x="12782" y="16467"/>
                  </a:cubicBezTo>
                  <a:cubicBezTo>
                    <a:pt x="12903" y="16279"/>
                    <a:pt x="12716" y="16164"/>
                    <a:pt x="12656" y="16035"/>
                  </a:cubicBezTo>
                  <a:cubicBezTo>
                    <a:pt x="12030" y="14680"/>
                    <a:pt x="11981" y="13284"/>
                    <a:pt x="12300" y="11850"/>
                  </a:cubicBezTo>
                  <a:cubicBezTo>
                    <a:pt x="12418" y="11319"/>
                    <a:pt x="12716" y="10905"/>
                    <a:pt x="13068" y="10511"/>
                  </a:cubicBezTo>
                  <a:cubicBezTo>
                    <a:pt x="14008" y="9460"/>
                    <a:pt x="14655" y="8275"/>
                    <a:pt x="14839" y="6845"/>
                  </a:cubicBezTo>
                  <a:cubicBezTo>
                    <a:pt x="15226" y="3831"/>
                    <a:pt x="13333" y="1070"/>
                    <a:pt x="10368" y="416"/>
                  </a:cubicBezTo>
                  <a:close/>
                  <a:moveTo>
                    <a:pt x="13183" y="4884"/>
                  </a:moveTo>
                  <a:cubicBezTo>
                    <a:pt x="13866" y="5359"/>
                    <a:pt x="13615" y="6325"/>
                    <a:pt x="13615" y="6325"/>
                  </a:cubicBezTo>
                  <a:cubicBezTo>
                    <a:pt x="13583" y="6773"/>
                    <a:pt x="13370" y="7188"/>
                    <a:pt x="12974" y="7580"/>
                  </a:cubicBezTo>
                  <a:cubicBezTo>
                    <a:pt x="12908" y="7646"/>
                    <a:pt x="12897" y="7705"/>
                    <a:pt x="12896" y="7767"/>
                  </a:cubicBezTo>
                  <a:cubicBezTo>
                    <a:pt x="12954" y="7878"/>
                    <a:pt x="12990" y="8003"/>
                    <a:pt x="12990" y="8137"/>
                  </a:cubicBezTo>
                  <a:cubicBezTo>
                    <a:pt x="12990" y="8582"/>
                    <a:pt x="12815" y="8826"/>
                    <a:pt x="12185" y="8943"/>
                  </a:cubicBezTo>
                  <a:cubicBezTo>
                    <a:pt x="11734" y="9026"/>
                    <a:pt x="11564" y="8803"/>
                    <a:pt x="11564" y="8803"/>
                  </a:cubicBezTo>
                  <a:cubicBezTo>
                    <a:pt x="11564" y="9383"/>
                    <a:pt x="11050" y="10063"/>
                    <a:pt x="10470" y="10063"/>
                  </a:cubicBezTo>
                  <a:cubicBezTo>
                    <a:pt x="10090" y="10063"/>
                    <a:pt x="9760" y="9859"/>
                    <a:pt x="9576" y="9556"/>
                  </a:cubicBezTo>
                  <a:cubicBezTo>
                    <a:pt x="9544" y="9531"/>
                    <a:pt x="9513" y="9507"/>
                    <a:pt x="9481" y="9479"/>
                  </a:cubicBezTo>
                  <a:cubicBezTo>
                    <a:pt x="9412" y="9775"/>
                    <a:pt x="9334" y="10042"/>
                    <a:pt x="9292" y="10313"/>
                  </a:cubicBezTo>
                  <a:cubicBezTo>
                    <a:pt x="9266" y="10480"/>
                    <a:pt x="9214" y="10556"/>
                    <a:pt x="9034" y="10551"/>
                  </a:cubicBezTo>
                  <a:cubicBezTo>
                    <a:pt x="8863" y="10547"/>
                    <a:pt x="8759" y="10519"/>
                    <a:pt x="8706" y="10320"/>
                  </a:cubicBezTo>
                  <a:cubicBezTo>
                    <a:pt x="8600" y="9921"/>
                    <a:pt x="8450" y="9535"/>
                    <a:pt x="8320" y="9143"/>
                  </a:cubicBezTo>
                  <a:cubicBezTo>
                    <a:pt x="8221" y="8846"/>
                    <a:pt x="8056" y="8633"/>
                    <a:pt x="7839" y="8485"/>
                  </a:cubicBezTo>
                  <a:cubicBezTo>
                    <a:pt x="7662" y="8576"/>
                    <a:pt x="7462" y="8628"/>
                    <a:pt x="7250" y="8628"/>
                  </a:cubicBezTo>
                  <a:cubicBezTo>
                    <a:pt x="6535" y="8628"/>
                    <a:pt x="5955" y="8048"/>
                    <a:pt x="5955" y="7333"/>
                  </a:cubicBezTo>
                  <a:cubicBezTo>
                    <a:pt x="5955" y="7187"/>
                    <a:pt x="5980" y="7048"/>
                    <a:pt x="6024" y="6917"/>
                  </a:cubicBezTo>
                  <a:cubicBezTo>
                    <a:pt x="5776" y="7173"/>
                    <a:pt x="5429" y="7333"/>
                    <a:pt x="5045" y="7333"/>
                  </a:cubicBezTo>
                  <a:cubicBezTo>
                    <a:pt x="4291" y="7333"/>
                    <a:pt x="3680" y="6721"/>
                    <a:pt x="3680" y="5968"/>
                  </a:cubicBezTo>
                  <a:cubicBezTo>
                    <a:pt x="3680" y="5918"/>
                    <a:pt x="3683" y="5869"/>
                    <a:pt x="3688" y="5821"/>
                  </a:cubicBezTo>
                  <a:cubicBezTo>
                    <a:pt x="3254" y="5655"/>
                    <a:pt x="2945" y="5235"/>
                    <a:pt x="2945" y="4743"/>
                  </a:cubicBezTo>
                  <a:cubicBezTo>
                    <a:pt x="2945" y="4203"/>
                    <a:pt x="3316" y="3751"/>
                    <a:pt x="3816" y="3624"/>
                  </a:cubicBezTo>
                  <a:cubicBezTo>
                    <a:pt x="3843" y="3601"/>
                    <a:pt x="3869" y="3576"/>
                    <a:pt x="3894" y="3551"/>
                  </a:cubicBezTo>
                  <a:cubicBezTo>
                    <a:pt x="3893" y="3540"/>
                    <a:pt x="3890" y="3529"/>
                    <a:pt x="3890" y="3517"/>
                  </a:cubicBezTo>
                  <a:cubicBezTo>
                    <a:pt x="3890" y="3249"/>
                    <a:pt x="4079" y="3025"/>
                    <a:pt x="4332" y="2971"/>
                  </a:cubicBezTo>
                  <a:cubicBezTo>
                    <a:pt x="4335" y="2969"/>
                    <a:pt x="4337" y="2967"/>
                    <a:pt x="4340" y="2966"/>
                  </a:cubicBezTo>
                  <a:cubicBezTo>
                    <a:pt x="4464" y="2401"/>
                    <a:pt x="4968" y="1977"/>
                    <a:pt x="5570" y="1977"/>
                  </a:cubicBezTo>
                  <a:cubicBezTo>
                    <a:pt x="5768" y="1977"/>
                    <a:pt x="5954" y="2024"/>
                    <a:pt x="6121" y="2105"/>
                  </a:cubicBezTo>
                  <a:cubicBezTo>
                    <a:pt x="6158" y="2113"/>
                    <a:pt x="6195" y="2120"/>
                    <a:pt x="6234" y="2133"/>
                  </a:cubicBezTo>
                  <a:cubicBezTo>
                    <a:pt x="6245" y="2136"/>
                    <a:pt x="6254" y="2137"/>
                    <a:pt x="6264" y="2138"/>
                  </a:cubicBezTo>
                  <a:cubicBezTo>
                    <a:pt x="6396" y="1798"/>
                    <a:pt x="6724" y="1557"/>
                    <a:pt x="7110" y="1557"/>
                  </a:cubicBezTo>
                  <a:cubicBezTo>
                    <a:pt x="7281" y="1557"/>
                    <a:pt x="7438" y="1607"/>
                    <a:pt x="7575" y="1688"/>
                  </a:cubicBezTo>
                  <a:cubicBezTo>
                    <a:pt x="7688" y="1730"/>
                    <a:pt x="7786" y="1735"/>
                    <a:pt x="7890" y="1710"/>
                  </a:cubicBezTo>
                  <a:cubicBezTo>
                    <a:pt x="8042" y="1491"/>
                    <a:pt x="8294" y="1347"/>
                    <a:pt x="8580" y="1347"/>
                  </a:cubicBezTo>
                  <a:cubicBezTo>
                    <a:pt x="8828" y="1347"/>
                    <a:pt x="9048" y="1457"/>
                    <a:pt x="9202" y="1627"/>
                  </a:cubicBezTo>
                  <a:cubicBezTo>
                    <a:pt x="9239" y="1646"/>
                    <a:pt x="9276" y="1665"/>
                    <a:pt x="9313" y="1689"/>
                  </a:cubicBezTo>
                  <a:cubicBezTo>
                    <a:pt x="9375" y="1729"/>
                    <a:pt x="9431" y="1753"/>
                    <a:pt x="9494" y="1757"/>
                  </a:cubicBezTo>
                  <a:cubicBezTo>
                    <a:pt x="9612" y="1676"/>
                    <a:pt x="9755" y="1627"/>
                    <a:pt x="9910" y="1627"/>
                  </a:cubicBezTo>
                  <a:cubicBezTo>
                    <a:pt x="10237" y="1627"/>
                    <a:pt x="10511" y="1843"/>
                    <a:pt x="10607" y="2139"/>
                  </a:cubicBezTo>
                  <a:cubicBezTo>
                    <a:pt x="10619" y="2154"/>
                    <a:pt x="10632" y="2168"/>
                    <a:pt x="10645" y="2180"/>
                  </a:cubicBezTo>
                  <a:cubicBezTo>
                    <a:pt x="10735" y="2118"/>
                    <a:pt x="10843" y="2083"/>
                    <a:pt x="10960" y="2083"/>
                  </a:cubicBezTo>
                  <a:cubicBezTo>
                    <a:pt x="11174" y="2083"/>
                    <a:pt x="11358" y="2204"/>
                    <a:pt x="11452" y="2381"/>
                  </a:cubicBezTo>
                  <a:cubicBezTo>
                    <a:pt x="11477" y="2401"/>
                    <a:pt x="11502" y="2420"/>
                    <a:pt x="11528" y="2438"/>
                  </a:cubicBezTo>
                  <a:cubicBezTo>
                    <a:pt x="11603" y="2414"/>
                    <a:pt x="11682" y="2398"/>
                    <a:pt x="11765" y="2398"/>
                  </a:cubicBezTo>
                  <a:cubicBezTo>
                    <a:pt x="12190" y="2398"/>
                    <a:pt x="12535" y="2742"/>
                    <a:pt x="12535" y="3167"/>
                  </a:cubicBezTo>
                  <a:cubicBezTo>
                    <a:pt x="12535" y="3222"/>
                    <a:pt x="12529" y="3275"/>
                    <a:pt x="12518" y="3326"/>
                  </a:cubicBezTo>
                  <a:cubicBezTo>
                    <a:pt x="12521" y="3334"/>
                    <a:pt x="12523" y="3343"/>
                    <a:pt x="12525" y="3352"/>
                  </a:cubicBezTo>
                  <a:cubicBezTo>
                    <a:pt x="12866" y="3399"/>
                    <a:pt x="13130" y="3688"/>
                    <a:pt x="13130" y="4042"/>
                  </a:cubicBezTo>
                  <a:cubicBezTo>
                    <a:pt x="13130" y="4147"/>
                    <a:pt x="13106" y="4245"/>
                    <a:pt x="13064" y="4334"/>
                  </a:cubicBezTo>
                  <a:cubicBezTo>
                    <a:pt x="13065" y="4334"/>
                    <a:pt x="13480" y="4550"/>
                    <a:pt x="13183" y="48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7" name="Group 26"/>
            <p:cNvGrpSpPr/>
            <p:nvPr/>
          </p:nvGrpSpPr>
          <p:grpSpPr>
            <a:xfrm>
              <a:off x="1622524" y="1603080"/>
              <a:ext cx="1152823" cy="1114500"/>
              <a:chOff x="1190992" y="3966801"/>
              <a:chExt cx="2949531" cy="2851481"/>
            </a:xfrm>
            <a:grpFill/>
          </p:grpSpPr>
          <p:sp>
            <p:nvSpPr>
              <p:cNvPr id="28" name="Freeform 27"/>
              <p:cNvSpPr/>
              <p:nvPr/>
            </p:nvSpPr>
            <p:spPr>
              <a:xfrm rot="20110930">
                <a:off x="1190992" y="3966801"/>
                <a:ext cx="1971644" cy="1968573"/>
              </a:xfrm>
              <a:custGeom>
                <a:avLst/>
                <a:gdLst>
                  <a:gd name="connsiteX0" fmla="*/ 3064893 w 6123903"/>
                  <a:gd name="connsiteY0" fmla="*/ 1851552 h 6114381"/>
                  <a:gd name="connsiteX1" fmla="*/ 1845693 w 6123903"/>
                  <a:gd name="connsiteY1" fmla="*/ 3070752 h 6114381"/>
                  <a:gd name="connsiteX2" fmla="*/ 3064893 w 6123903"/>
                  <a:gd name="connsiteY2" fmla="*/ 4289952 h 6114381"/>
                  <a:gd name="connsiteX3" fmla="*/ 4284093 w 6123903"/>
                  <a:gd name="connsiteY3" fmla="*/ 3070752 h 6114381"/>
                  <a:gd name="connsiteX4" fmla="*/ 3064893 w 6123903"/>
                  <a:gd name="connsiteY4" fmla="*/ 1851552 h 6114381"/>
                  <a:gd name="connsiteX5" fmla="*/ 2686685 w 6123903"/>
                  <a:gd name="connsiteY5" fmla="*/ 0 h 6114381"/>
                  <a:gd name="connsiteX6" fmla="*/ 3422929 w 6123903"/>
                  <a:gd name="connsiteY6" fmla="*/ 0 h 6114381"/>
                  <a:gd name="connsiteX7" fmla="*/ 3678191 w 6123903"/>
                  <a:gd name="connsiteY7" fmla="*/ 710255 h 6114381"/>
                  <a:gd name="connsiteX8" fmla="*/ 3818556 w 6123903"/>
                  <a:gd name="connsiteY8" fmla="*/ 751055 h 6114381"/>
                  <a:gd name="connsiteX9" fmla="*/ 4227179 w 6123903"/>
                  <a:gd name="connsiteY9" fmla="*/ 926655 h 6114381"/>
                  <a:gd name="connsiteX10" fmla="*/ 4282555 w 6123903"/>
                  <a:gd name="connsiteY10" fmla="*/ 960296 h 6114381"/>
                  <a:gd name="connsiteX11" fmla="*/ 4970765 w 6123903"/>
                  <a:gd name="connsiteY11" fmla="*/ 634253 h 6114381"/>
                  <a:gd name="connsiteX12" fmla="*/ 5488211 w 6123903"/>
                  <a:gd name="connsiteY12" fmla="*/ 1157995 h 6114381"/>
                  <a:gd name="connsiteX13" fmla="*/ 5164247 w 6123903"/>
                  <a:gd name="connsiteY13" fmla="*/ 1834816 h 6114381"/>
                  <a:gd name="connsiteX14" fmla="*/ 5208991 w 6123903"/>
                  <a:gd name="connsiteY14" fmla="*/ 1908466 h 6114381"/>
                  <a:gd name="connsiteX15" fmla="*/ 5384591 w 6123903"/>
                  <a:gd name="connsiteY15" fmla="*/ 2317090 h 6114381"/>
                  <a:gd name="connsiteX16" fmla="*/ 5421936 w 6123903"/>
                  <a:gd name="connsiteY16" fmla="*/ 2445569 h 6114381"/>
                  <a:gd name="connsiteX17" fmla="*/ 6123903 w 6123903"/>
                  <a:gd name="connsiteY17" fmla="*/ 2691449 h 6114381"/>
                  <a:gd name="connsiteX18" fmla="*/ 6123903 w 6123903"/>
                  <a:gd name="connsiteY18" fmla="*/ 3427693 h 6114381"/>
                  <a:gd name="connsiteX19" fmla="*/ 5426625 w 6123903"/>
                  <a:gd name="connsiteY19" fmla="*/ 3678291 h 6114381"/>
                  <a:gd name="connsiteX20" fmla="*/ 5390304 w 6123903"/>
                  <a:gd name="connsiteY20" fmla="*/ 3806584 h 6114381"/>
                  <a:gd name="connsiteX21" fmla="*/ 5222916 w 6123903"/>
                  <a:gd name="connsiteY21" fmla="*/ 4207031 h 6114381"/>
                  <a:gd name="connsiteX22" fmla="*/ 5171917 w 6123903"/>
                  <a:gd name="connsiteY22" fmla="*/ 4295117 h 6114381"/>
                  <a:gd name="connsiteX23" fmla="*/ 5484219 w 6123903"/>
                  <a:gd name="connsiteY23" fmla="*/ 4978630 h 6114381"/>
                  <a:gd name="connsiteX24" fmla="*/ 4953361 w 6123903"/>
                  <a:gd name="connsiteY24" fmla="*/ 5488772 h 6114381"/>
                  <a:gd name="connsiteX25" fmla="*/ 4307701 w 6123903"/>
                  <a:gd name="connsiteY25" fmla="*/ 5168660 h 6114381"/>
                  <a:gd name="connsiteX26" fmla="*/ 4148601 w 6123903"/>
                  <a:gd name="connsiteY26" fmla="*/ 5255702 h 6114381"/>
                  <a:gd name="connsiteX27" fmla="*/ 3789999 w 6123903"/>
                  <a:gd name="connsiteY27" fmla="*/ 5399527 h 6114381"/>
                  <a:gd name="connsiteX28" fmla="*/ 3672243 w 6123903"/>
                  <a:gd name="connsiteY28" fmla="*/ 5429805 h 6114381"/>
                  <a:gd name="connsiteX29" fmla="*/ 3432454 w 6123903"/>
                  <a:gd name="connsiteY29" fmla="*/ 6114381 h 6114381"/>
                  <a:gd name="connsiteX30" fmla="*/ 2696210 w 6123903"/>
                  <a:gd name="connsiteY30" fmla="*/ 6114381 h 6114381"/>
                  <a:gd name="connsiteX31" fmla="*/ 2450436 w 6123903"/>
                  <a:gd name="connsiteY31" fmla="*/ 5430525 h 6114381"/>
                  <a:gd name="connsiteX32" fmla="*/ 2329062 w 6123903"/>
                  <a:gd name="connsiteY32" fmla="*/ 5396163 h 6114381"/>
                  <a:gd name="connsiteX33" fmla="*/ 1928614 w 6123903"/>
                  <a:gd name="connsiteY33" fmla="*/ 5228775 h 6114381"/>
                  <a:gd name="connsiteX34" fmla="*/ 1815331 w 6123903"/>
                  <a:gd name="connsiteY34" fmla="*/ 5163187 h 6114381"/>
                  <a:gd name="connsiteX35" fmla="*/ 1167731 w 6123903"/>
                  <a:gd name="connsiteY35" fmla="*/ 5490605 h 6114381"/>
                  <a:gd name="connsiteX36" fmla="*/ 637011 w 6123903"/>
                  <a:gd name="connsiteY36" fmla="*/ 4980320 h 6114381"/>
                  <a:gd name="connsiteX37" fmla="*/ 949593 w 6123903"/>
                  <a:gd name="connsiteY37" fmla="*/ 4281769 h 6114381"/>
                  <a:gd name="connsiteX38" fmla="*/ 879944 w 6123903"/>
                  <a:gd name="connsiteY38" fmla="*/ 4154460 h 6114381"/>
                  <a:gd name="connsiteX39" fmla="*/ 736119 w 6123903"/>
                  <a:gd name="connsiteY39" fmla="*/ 3795858 h 6114381"/>
                  <a:gd name="connsiteX40" fmla="*/ 704946 w 6123903"/>
                  <a:gd name="connsiteY40" fmla="*/ 3674624 h 6114381"/>
                  <a:gd name="connsiteX41" fmla="*/ 0 w 6123903"/>
                  <a:gd name="connsiteY41" fmla="*/ 3427700 h 6114381"/>
                  <a:gd name="connsiteX42" fmla="*/ 0 w 6123903"/>
                  <a:gd name="connsiteY42" fmla="*/ 2691456 h 6114381"/>
                  <a:gd name="connsiteX43" fmla="*/ 710874 w 6123903"/>
                  <a:gd name="connsiteY43" fmla="*/ 2435971 h 6114381"/>
                  <a:gd name="connsiteX44" fmla="*/ 739483 w 6123903"/>
                  <a:gd name="connsiteY44" fmla="*/ 2334920 h 6114381"/>
                  <a:gd name="connsiteX45" fmla="*/ 906871 w 6123903"/>
                  <a:gd name="connsiteY45" fmla="*/ 1934473 h 6114381"/>
                  <a:gd name="connsiteX46" fmla="*/ 966845 w 6123903"/>
                  <a:gd name="connsiteY46" fmla="*/ 1830886 h 6114381"/>
                  <a:gd name="connsiteX47" fmla="*/ 638488 w 6123903"/>
                  <a:gd name="connsiteY47" fmla="*/ 1160565 h 6114381"/>
                  <a:gd name="connsiteX48" fmla="*/ 1155427 w 6123903"/>
                  <a:gd name="connsiteY48" fmla="*/ 636323 h 6114381"/>
                  <a:gd name="connsiteX49" fmla="*/ 1849874 w 6123903"/>
                  <a:gd name="connsiteY49" fmla="*/ 957643 h 6114381"/>
                  <a:gd name="connsiteX50" fmla="*/ 1981186 w 6123903"/>
                  <a:gd name="connsiteY50" fmla="*/ 885803 h 6114381"/>
                  <a:gd name="connsiteX51" fmla="*/ 2339788 w 6123903"/>
                  <a:gd name="connsiteY51" fmla="*/ 741978 h 6114381"/>
                  <a:gd name="connsiteX52" fmla="*/ 2435401 w 6123903"/>
                  <a:gd name="connsiteY52" fmla="*/ 717393 h 611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6123903" h="6114381">
                    <a:moveTo>
                      <a:pt x="3064893" y="1851552"/>
                    </a:moveTo>
                    <a:cubicBezTo>
                      <a:pt x="2391547" y="1851552"/>
                      <a:pt x="1845693" y="2397406"/>
                      <a:pt x="1845693" y="3070752"/>
                    </a:cubicBezTo>
                    <a:cubicBezTo>
                      <a:pt x="1845693" y="3744098"/>
                      <a:pt x="2391547" y="4289952"/>
                      <a:pt x="3064893" y="4289952"/>
                    </a:cubicBezTo>
                    <a:cubicBezTo>
                      <a:pt x="3738239" y="4289952"/>
                      <a:pt x="4284093" y="3744098"/>
                      <a:pt x="4284093" y="3070752"/>
                    </a:cubicBezTo>
                    <a:cubicBezTo>
                      <a:pt x="4284093" y="2397406"/>
                      <a:pt x="3738239" y="1851552"/>
                      <a:pt x="3064893" y="1851552"/>
                    </a:cubicBezTo>
                    <a:close/>
                    <a:moveTo>
                      <a:pt x="2686685" y="0"/>
                    </a:moveTo>
                    <a:lnTo>
                      <a:pt x="3422929" y="0"/>
                    </a:lnTo>
                    <a:lnTo>
                      <a:pt x="3678191" y="710255"/>
                    </a:lnTo>
                    <a:lnTo>
                      <a:pt x="3818556" y="751055"/>
                    </a:lnTo>
                    <a:cubicBezTo>
                      <a:pt x="3960958" y="797289"/>
                      <a:pt x="4097615" y="856271"/>
                      <a:pt x="4227179" y="926655"/>
                    </a:cubicBezTo>
                    <a:lnTo>
                      <a:pt x="4282555" y="960296"/>
                    </a:lnTo>
                    <a:lnTo>
                      <a:pt x="4970765" y="634253"/>
                    </a:lnTo>
                    <a:lnTo>
                      <a:pt x="5488211" y="1157995"/>
                    </a:lnTo>
                    <a:lnTo>
                      <a:pt x="5164247" y="1834816"/>
                    </a:lnTo>
                    <a:lnTo>
                      <a:pt x="5208991" y="1908466"/>
                    </a:lnTo>
                    <a:cubicBezTo>
                      <a:pt x="5279375" y="2038031"/>
                      <a:pt x="5338357" y="2174687"/>
                      <a:pt x="5384591" y="2317090"/>
                    </a:cubicBezTo>
                    <a:lnTo>
                      <a:pt x="5421936" y="2445569"/>
                    </a:lnTo>
                    <a:lnTo>
                      <a:pt x="6123903" y="2691449"/>
                    </a:lnTo>
                    <a:lnTo>
                      <a:pt x="6123903" y="3427693"/>
                    </a:lnTo>
                    <a:lnTo>
                      <a:pt x="5426625" y="3678291"/>
                    </a:lnTo>
                    <a:lnTo>
                      <a:pt x="5390304" y="3806584"/>
                    </a:lnTo>
                    <a:cubicBezTo>
                      <a:pt x="5346264" y="3945892"/>
                      <a:pt x="5290052" y="4079790"/>
                      <a:pt x="5222916" y="4207031"/>
                    </a:cubicBezTo>
                    <a:lnTo>
                      <a:pt x="5171917" y="4295117"/>
                    </a:lnTo>
                    <a:lnTo>
                      <a:pt x="5484219" y="4978630"/>
                    </a:lnTo>
                    <a:lnTo>
                      <a:pt x="4953361" y="5488772"/>
                    </a:lnTo>
                    <a:lnTo>
                      <a:pt x="4307701" y="5168660"/>
                    </a:lnTo>
                    <a:lnTo>
                      <a:pt x="4148601" y="5255702"/>
                    </a:lnTo>
                    <a:cubicBezTo>
                      <a:pt x="4033899" y="5312702"/>
                      <a:pt x="3914073" y="5360936"/>
                      <a:pt x="3789999" y="5399527"/>
                    </a:cubicBezTo>
                    <a:lnTo>
                      <a:pt x="3672243" y="5429805"/>
                    </a:lnTo>
                    <a:lnTo>
                      <a:pt x="3432454" y="6114381"/>
                    </a:lnTo>
                    <a:lnTo>
                      <a:pt x="2696210" y="6114381"/>
                    </a:lnTo>
                    <a:lnTo>
                      <a:pt x="2450436" y="5430525"/>
                    </a:lnTo>
                    <a:lnTo>
                      <a:pt x="2329062" y="5396163"/>
                    </a:lnTo>
                    <a:cubicBezTo>
                      <a:pt x="2189754" y="5352123"/>
                      <a:pt x="2055856" y="5295911"/>
                      <a:pt x="1928614" y="5228775"/>
                    </a:cubicBezTo>
                    <a:lnTo>
                      <a:pt x="1815331" y="5163187"/>
                    </a:lnTo>
                    <a:lnTo>
                      <a:pt x="1167731" y="5490605"/>
                    </a:lnTo>
                    <a:lnTo>
                      <a:pt x="637011" y="4980320"/>
                    </a:lnTo>
                    <a:lnTo>
                      <a:pt x="949593" y="4281769"/>
                    </a:lnTo>
                    <a:lnTo>
                      <a:pt x="879944" y="4154460"/>
                    </a:lnTo>
                    <a:cubicBezTo>
                      <a:pt x="822944" y="4039758"/>
                      <a:pt x="774710" y="3919932"/>
                      <a:pt x="736119" y="3795858"/>
                    </a:cubicBezTo>
                    <a:lnTo>
                      <a:pt x="704946" y="3674624"/>
                    </a:lnTo>
                    <a:lnTo>
                      <a:pt x="0" y="3427700"/>
                    </a:lnTo>
                    <a:lnTo>
                      <a:pt x="0" y="2691456"/>
                    </a:lnTo>
                    <a:lnTo>
                      <a:pt x="710874" y="2435971"/>
                    </a:lnTo>
                    <a:lnTo>
                      <a:pt x="739483" y="2334920"/>
                    </a:lnTo>
                    <a:cubicBezTo>
                      <a:pt x="783523" y="2195614"/>
                      <a:pt x="839735" y="2061715"/>
                      <a:pt x="906871" y="1934473"/>
                    </a:cubicBezTo>
                    <a:lnTo>
                      <a:pt x="966845" y="1830886"/>
                    </a:lnTo>
                    <a:lnTo>
                      <a:pt x="638488" y="1160565"/>
                    </a:lnTo>
                    <a:lnTo>
                      <a:pt x="1155427" y="636323"/>
                    </a:lnTo>
                    <a:lnTo>
                      <a:pt x="1849874" y="957643"/>
                    </a:lnTo>
                    <a:lnTo>
                      <a:pt x="1981186" y="885803"/>
                    </a:lnTo>
                    <a:cubicBezTo>
                      <a:pt x="2095887" y="828803"/>
                      <a:pt x="2215713" y="780570"/>
                      <a:pt x="2339788" y="741978"/>
                    </a:cubicBezTo>
                    <a:lnTo>
                      <a:pt x="2435401" y="71739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29" name="Freeform 28"/>
              <p:cNvSpPr/>
              <p:nvPr/>
            </p:nvSpPr>
            <p:spPr>
              <a:xfrm rot="21290135">
                <a:off x="1788507" y="5851303"/>
                <a:ext cx="968485" cy="966979"/>
              </a:xfrm>
              <a:custGeom>
                <a:avLst/>
                <a:gdLst>
                  <a:gd name="connsiteX0" fmla="*/ 3064893 w 6123903"/>
                  <a:gd name="connsiteY0" fmla="*/ 1851552 h 6114381"/>
                  <a:gd name="connsiteX1" fmla="*/ 1845693 w 6123903"/>
                  <a:gd name="connsiteY1" fmla="*/ 3070752 h 6114381"/>
                  <a:gd name="connsiteX2" fmla="*/ 3064893 w 6123903"/>
                  <a:gd name="connsiteY2" fmla="*/ 4289952 h 6114381"/>
                  <a:gd name="connsiteX3" fmla="*/ 4284093 w 6123903"/>
                  <a:gd name="connsiteY3" fmla="*/ 3070752 h 6114381"/>
                  <a:gd name="connsiteX4" fmla="*/ 3064893 w 6123903"/>
                  <a:gd name="connsiteY4" fmla="*/ 1851552 h 6114381"/>
                  <a:gd name="connsiteX5" fmla="*/ 2686685 w 6123903"/>
                  <a:gd name="connsiteY5" fmla="*/ 0 h 6114381"/>
                  <a:gd name="connsiteX6" fmla="*/ 3422929 w 6123903"/>
                  <a:gd name="connsiteY6" fmla="*/ 0 h 6114381"/>
                  <a:gd name="connsiteX7" fmla="*/ 3678191 w 6123903"/>
                  <a:gd name="connsiteY7" fmla="*/ 710255 h 6114381"/>
                  <a:gd name="connsiteX8" fmla="*/ 3818556 w 6123903"/>
                  <a:gd name="connsiteY8" fmla="*/ 751055 h 6114381"/>
                  <a:gd name="connsiteX9" fmla="*/ 4227179 w 6123903"/>
                  <a:gd name="connsiteY9" fmla="*/ 926655 h 6114381"/>
                  <a:gd name="connsiteX10" fmla="*/ 4282555 w 6123903"/>
                  <a:gd name="connsiteY10" fmla="*/ 960296 h 6114381"/>
                  <a:gd name="connsiteX11" fmla="*/ 4970765 w 6123903"/>
                  <a:gd name="connsiteY11" fmla="*/ 634253 h 6114381"/>
                  <a:gd name="connsiteX12" fmla="*/ 5488211 w 6123903"/>
                  <a:gd name="connsiteY12" fmla="*/ 1157995 h 6114381"/>
                  <a:gd name="connsiteX13" fmla="*/ 5164247 w 6123903"/>
                  <a:gd name="connsiteY13" fmla="*/ 1834816 h 6114381"/>
                  <a:gd name="connsiteX14" fmla="*/ 5208991 w 6123903"/>
                  <a:gd name="connsiteY14" fmla="*/ 1908466 h 6114381"/>
                  <a:gd name="connsiteX15" fmla="*/ 5384591 w 6123903"/>
                  <a:gd name="connsiteY15" fmla="*/ 2317090 h 6114381"/>
                  <a:gd name="connsiteX16" fmla="*/ 5421936 w 6123903"/>
                  <a:gd name="connsiteY16" fmla="*/ 2445569 h 6114381"/>
                  <a:gd name="connsiteX17" fmla="*/ 6123903 w 6123903"/>
                  <a:gd name="connsiteY17" fmla="*/ 2691449 h 6114381"/>
                  <a:gd name="connsiteX18" fmla="*/ 6123903 w 6123903"/>
                  <a:gd name="connsiteY18" fmla="*/ 3427693 h 6114381"/>
                  <a:gd name="connsiteX19" fmla="*/ 5426625 w 6123903"/>
                  <a:gd name="connsiteY19" fmla="*/ 3678291 h 6114381"/>
                  <a:gd name="connsiteX20" fmla="*/ 5390304 w 6123903"/>
                  <a:gd name="connsiteY20" fmla="*/ 3806584 h 6114381"/>
                  <a:gd name="connsiteX21" fmla="*/ 5222916 w 6123903"/>
                  <a:gd name="connsiteY21" fmla="*/ 4207031 h 6114381"/>
                  <a:gd name="connsiteX22" fmla="*/ 5171917 w 6123903"/>
                  <a:gd name="connsiteY22" fmla="*/ 4295117 h 6114381"/>
                  <a:gd name="connsiteX23" fmla="*/ 5484219 w 6123903"/>
                  <a:gd name="connsiteY23" fmla="*/ 4978630 h 6114381"/>
                  <a:gd name="connsiteX24" fmla="*/ 4953361 w 6123903"/>
                  <a:gd name="connsiteY24" fmla="*/ 5488772 h 6114381"/>
                  <a:gd name="connsiteX25" fmla="*/ 4307701 w 6123903"/>
                  <a:gd name="connsiteY25" fmla="*/ 5168660 h 6114381"/>
                  <a:gd name="connsiteX26" fmla="*/ 4148601 w 6123903"/>
                  <a:gd name="connsiteY26" fmla="*/ 5255702 h 6114381"/>
                  <a:gd name="connsiteX27" fmla="*/ 3789999 w 6123903"/>
                  <a:gd name="connsiteY27" fmla="*/ 5399527 h 6114381"/>
                  <a:gd name="connsiteX28" fmla="*/ 3672243 w 6123903"/>
                  <a:gd name="connsiteY28" fmla="*/ 5429805 h 6114381"/>
                  <a:gd name="connsiteX29" fmla="*/ 3432454 w 6123903"/>
                  <a:gd name="connsiteY29" fmla="*/ 6114381 h 6114381"/>
                  <a:gd name="connsiteX30" fmla="*/ 2696210 w 6123903"/>
                  <a:gd name="connsiteY30" fmla="*/ 6114381 h 6114381"/>
                  <a:gd name="connsiteX31" fmla="*/ 2450436 w 6123903"/>
                  <a:gd name="connsiteY31" fmla="*/ 5430525 h 6114381"/>
                  <a:gd name="connsiteX32" fmla="*/ 2329062 w 6123903"/>
                  <a:gd name="connsiteY32" fmla="*/ 5396163 h 6114381"/>
                  <a:gd name="connsiteX33" fmla="*/ 1928614 w 6123903"/>
                  <a:gd name="connsiteY33" fmla="*/ 5228775 h 6114381"/>
                  <a:gd name="connsiteX34" fmla="*/ 1815331 w 6123903"/>
                  <a:gd name="connsiteY34" fmla="*/ 5163187 h 6114381"/>
                  <a:gd name="connsiteX35" fmla="*/ 1167731 w 6123903"/>
                  <a:gd name="connsiteY35" fmla="*/ 5490605 h 6114381"/>
                  <a:gd name="connsiteX36" fmla="*/ 637011 w 6123903"/>
                  <a:gd name="connsiteY36" fmla="*/ 4980320 h 6114381"/>
                  <a:gd name="connsiteX37" fmla="*/ 949593 w 6123903"/>
                  <a:gd name="connsiteY37" fmla="*/ 4281769 h 6114381"/>
                  <a:gd name="connsiteX38" fmla="*/ 879944 w 6123903"/>
                  <a:gd name="connsiteY38" fmla="*/ 4154460 h 6114381"/>
                  <a:gd name="connsiteX39" fmla="*/ 736119 w 6123903"/>
                  <a:gd name="connsiteY39" fmla="*/ 3795858 h 6114381"/>
                  <a:gd name="connsiteX40" fmla="*/ 704946 w 6123903"/>
                  <a:gd name="connsiteY40" fmla="*/ 3674624 h 6114381"/>
                  <a:gd name="connsiteX41" fmla="*/ 0 w 6123903"/>
                  <a:gd name="connsiteY41" fmla="*/ 3427700 h 6114381"/>
                  <a:gd name="connsiteX42" fmla="*/ 0 w 6123903"/>
                  <a:gd name="connsiteY42" fmla="*/ 2691456 h 6114381"/>
                  <a:gd name="connsiteX43" fmla="*/ 710874 w 6123903"/>
                  <a:gd name="connsiteY43" fmla="*/ 2435971 h 6114381"/>
                  <a:gd name="connsiteX44" fmla="*/ 739483 w 6123903"/>
                  <a:gd name="connsiteY44" fmla="*/ 2334920 h 6114381"/>
                  <a:gd name="connsiteX45" fmla="*/ 906871 w 6123903"/>
                  <a:gd name="connsiteY45" fmla="*/ 1934473 h 6114381"/>
                  <a:gd name="connsiteX46" fmla="*/ 966845 w 6123903"/>
                  <a:gd name="connsiteY46" fmla="*/ 1830886 h 6114381"/>
                  <a:gd name="connsiteX47" fmla="*/ 638488 w 6123903"/>
                  <a:gd name="connsiteY47" fmla="*/ 1160565 h 6114381"/>
                  <a:gd name="connsiteX48" fmla="*/ 1155427 w 6123903"/>
                  <a:gd name="connsiteY48" fmla="*/ 636323 h 6114381"/>
                  <a:gd name="connsiteX49" fmla="*/ 1849874 w 6123903"/>
                  <a:gd name="connsiteY49" fmla="*/ 957643 h 6114381"/>
                  <a:gd name="connsiteX50" fmla="*/ 1981186 w 6123903"/>
                  <a:gd name="connsiteY50" fmla="*/ 885803 h 6114381"/>
                  <a:gd name="connsiteX51" fmla="*/ 2339788 w 6123903"/>
                  <a:gd name="connsiteY51" fmla="*/ 741978 h 6114381"/>
                  <a:gd name="connsiteX52" fmla="*/ 2435401 w 6123903"/>
                  <a:gd name="connsiteY52" fmla="*/ 717393 h 611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6123903" h="6114381">
                    <a:moveTo>
                      <a:pt x="3064893" y="1851552"/>
                    </a:moveTo>
                    <a:cubicBezTo>
                      <a:pt x="2391547" y="1851552"/>
                      <a:pt x="1845693" y="2397406"/>
                      <a:pt x="1845693" y="3070752"/>
                    </a:cubicBezTo>
                    <a:cubicBezTo>
                      <a:pt x="1845693" y="3744098"/>
                      <a:pt x="2391547" y="4289952"/>
                      <a:pt x="3064893" y="4289952"/>
                    </a:cubicBezTo>
                    <a:cubicBezTo>
                      <a:pt x="3738239" y="4289952"/>
                      <a:pt x="4284093" y="3744098"/>
                      <a:pt x="4284093" y="3070752"/>
                    </a:cubicBezTo>
                    <a:cubicBezTo>
                      <a:pt x="4284093" y="2397406"/>
                      <a:pt x="3738239" y="1851552"/>
                      <a:pt x="3064893" y="1851552"/>
                    </a:cubicBezTo>
                    <a:close/>
                    <a:moveTo>
                      <a:pt x="2686685" y="0"/>
                    </a:moveTo>
                    <a:lnTo>
                      <a:pt x="3422929" y="0"/>
                    </a:lnTo>
                    <a:lnTo>
                      <a:pt x="3678191" y="710255"/>
                    </a:lnTo>
                    <a:lnTo>
                      <a:pt x="3818556" y="751055"/>
                    </a:lnTo>
                    <a:cubicBezTo>
                      <a:pt x="3960958" y="797289"/>
                      <a:pt x="4097615" y="856271"/>
                      <a:pt x="4227179" y="926655"/>
                    </a:cubicBezTo>
                    <a:lnTo>
                      <a:pt x="4282555" y="960296"/>
                    </a:lnTo>
                    <a:lnTo>
                      <a:pt x="4970765" y="634253"/>
                    </a:lnTo>
                    <a:lnTo>
                      <a:pt x="5488211" y="1157995"/>
                    </a:lnTo>
                    <a:lnTo>
                      <a:pt x="5164247" y="1834816"/>
                    </a:lnTo>
                    <a:lnTo>
                      <a:pt x="5208991" y="1908466"/>
                    </a:lnTo>
                    <a:cubicBezTo>
                      <a:pt x="5279375" y="2038031"/>
                      <a:pt x="5338357" y="2174687"/>
                      <a:pt x="5384591" y="2317090"/>
                    </a:cubicBezTo>
                    <a:lnTo>
                      <a:pt x="5421936" y="2445569"/>
                    </a:lnTo>
                    <a:lnTo>
                      <a:pt x="6123903" y="2691449"/>
                    </a:lnTo>
                    <a:lnTo>
                      <a:pt x="6123903" y="3427693"/>
                    </a:lnTo>
                    <a:lnTo>
                      <a:pt x="5426625" y="3678291"/>
                    </a:lnTo>
                    <a:lnTo>
                      <a:pt x="5390304" y="3806584"/>
                    </a:lnTo>
                    <a:cubicBezTo>
                      <a:pt x="5346264" y="3945892"/>
                      <a:pt x="5290052" y="4079790"/>
                      <a:pt x="5222916" y="4207031"/>
                    </a:cubicBezTo>
                    <a:lnTo>
                      <a:pt x="5171917" y="4295117"/>
                    </a:lnTo>
                    <a:lnTo>
                      <a:pt x="5484219" y="4978630"/>
                    </a:lnTo>
                    <a:lnTo>
                      <a:pt x="4953361" y="5488772"/>
                    </a:lnTo>
                    <a:lnTo>
                      <a:pt x="4307701" y="5168660"/>
                    </a:lnTo>
                    <a:lnTo>
                      <a:pt x="4148601" y="5255702"/>
                    </a:lnTo>
                    <a:cubicBezTo>
                      <a:pt x="4033899" y="5312702"/>
                      <a:pt x="3914073" y="5360936"/>
                      <a:pt x="3789999" y="5399527"/>
                    </a:cubicBezTo>
                    <a:lnTo>
                      <a:pt x="3672243" y="5429805"/>
                    </a:lnTo>
                    <a:lnTo>
                      <a:pt x="3432454" y="6114381"/>
                    </a:lnTo>
                    <a:lnTo>
                      <a:pt x="2696210" y="6114381"/>
                    </a:lnTo>
                    <a:lnTo>
                      <a:pt x="2450436" y="5430525"/>
                    </a:lnTo>
                    <a:lnTo>
                      <a:pt x="2329062" y="5396163"/>
                    </a:lnTo>
                    <a:cubicBezTo>
                      <a:pt x="2189754" y="5352123"/>
                      <a:pt x="2055856" y="5295911"/>
                      <a:pt x="1928614" y="5228775"/>
                    </a:cubicBezTo>
                    <a:lnTo>
                      <a:pt x="1815331" y="5163187"/>
                    </a:lnTo>
                    <a:lnTo>
                      <a:pt x="1167731" y="5490605"/>
                    </a:lnTo>
                    <a:lnTo>
                      <a:pt x="637011" y="4980320"/>
                    </a:lnTo>
                    <a:lnTo>
                      <a:pt x="949593" y="4281769"/>
                    </a:lnTo>
                    <a:lnTo>
                      <a:pt x="879944" y="4154460"/>
                    </a:lnTo>
                    <a:cubicBezTo>
                      <a:pt x="822944" y="4039758"/>
                      <a:pt x="774710" y="3919932"/>
                      <a:pt x="736119" y="3795858"/>
                    </a:cubicBezTo>
                    <a:lnTo>
                      <a:pt x="704946" y="3674624"/>
                    </a:lnTo>
                    <a:lnTo>
                      <a:pt x="0" y="3427700"/>
                    </a:lnTo>
                    <a:lnTo>
                      <a:pt x="0" y="2691456"/>
                    </a:lnTo>
                    <a:lnTo>
                      <a:pt x="710874" y="2435971"/>
                    </a:lnTo>
                    <a:lnTo>
                      <a:pt x="739483" y="2334920"/>
                    </a:lnTo>
                    <a:cubicBezTo>
                      <a:pt x="783523" y="2195614"/>
                      <a:pt x="839735" y="2061715"/>
                      <a:pt x="906871" y="1934473"/>
                    </a:cubicBezTo>
                    <a:lnTo>
                      <a:pt x="966845" y="1830886"/>
                    </a:lnTo>
                    <a:lnTo>
                      <a:pt x="638488" y="1160565"/>
                    </a:lnTo>
                    <a:lnTo>
                      <a:pt x="1155427" y="636323"/>
                    </a:lnTo>
                    <a:lnTo>
                      <a:pt x="1849874" y="957643"/>
                    </a:lnTo>
                    <a:lnTo>
                      <a:pt x="1981186" y="885803"/>
                    </a:lnTo>
                    <a:cubicBezTo>
                      <a:pt x="2095887" y="828803"/>
                      <a:pt x="2215713" y="780570"/>
                      <a:pt x="2339788" y="741978"/>
                    </a:cubicBezTo>
                    <a:lnTo>
                      <a:pt x="2435401" y="71739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30" name="Freeform 29"/>
              <p:cNvSpPr/>
              <p:nvPr/>
            </p:nvSpPr>
            <p:spPr>
              <a:xfrm rot="21290135">
                <a:off x="2817783" y="5466494"/>
                <a:ext cx="968485" cy="966979"/>
              </a:xfrm>
              <a:custGeom>
                <a:avLst/>
                <a:gdLst>
                  <a:gd name="connsiteX0" fmla="*/ 3064893 w 6123903"/>
                  <a:gd name="connsiteY0" fmla="*/ 1851552 h 6114381"/>
                  <a:gd name="connsiteX1" fmla="*/ 1845693 w 6123903"/>
                  <a:gd name="connsiteY1" fmla="*/ 3070752 h 6114381"/>
                  <a:gd name="connsiteX2" fmla="*/ 3064893 w 6123903"/>
                  <a:gd name="connsiteY2" fmla="*/ 4289952 h 6114381"/>
                  <a:gd name="connsiteX3" fmla="*/ 4284093 w 6123903"/>
                  <a:gd name="connsiteY3" fmla="*/ 3070752 h 6114381"/>
                  <a:gd name="connsiteX4" fmla="*/ 3064893 w 6123903"/>
                  <a:gd name="connsiteY4" fmla="*/ 1851552 h 6114381"/>
                  <a:gd name="connsiteX5" fmla="*/ 2686685 w 6123903"/>
                  <a:gd name="connsiteY5" fmla="*/ 0 h 6114381"/>
                  <a:gd name="connsiteX6" fmla="*/ 3422929 w 6123903"/>
                  <a:gd name="connsiteY6" fmla="*/ 0 h 6114381"/>
                  <a:gd name="connsiteX7" fmla="*/ 3678191 w 6123903"/>
                  <a:gd name="connsiteY7" fmla="*/ 710255 h 6114381"/>
                  <a:gd name="connsiteX8" fmla="*/ 3818556 w 6123903"/>
                  <a:gd name="connsiteY8" fmla="*/ 751055 h 6114381"/>
                  <a:gd name="connsiteX9" fmla="*/ 4227179 w 6123903"/>
                  <a:gd name="connsiteY9" fmla="*/ 926655 h 6114381"/>
                  <a:gd name="connsiteX10" fmla="*/ 4282555 w 6123903"/>
                  <a:gd name="connsiteY10" fmla="*/ 960296 h 6114381"/>
                  <a:gd name="connsiteX11" fmla="*/ 4970765 w 6123903"/>
                  <a:gd name="connsiteY11" fmla="*/ 634253 h 6114381"/>
                  <a:gd name="connsiteX12" fmla="*/ 5488211 w 6123903"/>
                  <a:gd name="connsiteY12" fmla="*/ 1157995 h 6114381"/>
                  <a:gd name="connsiteX13" fmla="*/ 5164247 w 6123903"/>
                  <a:gd name="connsiteY13" fmla="*/ 1834816 h 6114381"/>
                  <a:gd name="connsiteX14" fmla="*/ 5208991 w 6123903"/>
                  <a:gd name="connsiteY14" fmla="*/ 1908466 h 6114381"/>
                  <a:gd name="connsiteX15" fmla="*/ 5384591 w 6123903"/>
                  <a:gd name="connsiteY15" fmla="*/ 2317090 h 6114381"/>
                  <a:gd name="connsiteX16" fmla="*/ 5421936 w 6123903"/>
                  <a:gd name="connsiteY16" fmla="*/ 2445569 h 6114381"/>
                  <a:gd name="connsiteX17" fmla="*/ 6123903 w 6123903"/>
                  <a:gd name="connsiteY17" fmla="*/ 2691449 h 6114381"/>
                  <a:gd name="connsiteX18" fmla="*/ 6123903 w 6123903"/>
                  <a:gd name="connsiteY18" fmla="*/ 3427693 h 6114381"/>
                  <a:gd name="connsiteX19" fmla="*/ 5426625 w 6123903"/>
                  <a:gd name="connsiteY19" fmla="*/ 3678291 h 6114381"/>
                  <a:gd name="connsiteX20" fmla="*/ 5390304 w 6123903"/>
                  <a:gd name="connsiteY20" fmla="*/ 3806584 h 6114381"/>
                  <a:gd name="connsiteX21" fmla="*/ 5222916 w 6123903"/>
                  <a:gd name="connsiteY21" fmla="*/ 4207031 h 6114381"/>
                  <a:gd name="connsiteX22" fmla="*/ 5171917 w 6123903"/>
                  <a:gd name="connsiteY22" fmla="*/ 4295117 h 6114381"/>
                  <a:gd name="connsiteX23" fmla="*/ 5484219 w 6123903"/>
                  <a:gd name="connsiteY23" fmla="*/ 4978630 h 6114381"/>
                  <a:gd name="connsiteX24" fmla="*/ 4953361 w 6123903"/>
                  <a:gd name="connsiteY24" fmla="*/ 5488772 h 6114381"/>
                  <a:gd name="connsiteX25" fmla="*/ 4307701 w 6123903"/>
                  <a:gd name="connsiteY25" fmla="*/ 5168660 h 6114381"/>
                  <a:gd name="connsiteX26" fmla="*/ 4148601 w 6123903"/>
                  <a:gd name="connsiteY26" fmla="*/ 5255702 h 6114381"/>
                  <a:gd name="connsiteX27" fmla="*/ 3789999 w 6123903"/>
                  <a:gd name="connsiteY27" fmla="*/ 5399527 h 6114381"/>
                  <a:gd name="connsiteX28" fmla="*/ 3672243 w 6123903"/>
                  <a:gd name="connsiteY28" fmla="*/ 5429805 h 6114381"/>
                  <a:gd name="connsiteX29" fmla="*/ 3432454 w 6123903"/>
                  <a:gd name="connsiteY29" fmla="*/ 6114381 h 6114381"/>
                  <a:gd name="connsiteX30" fmla="*/ 2696210 w 6123903"/>
                  <a:gd name="connsiteY30" fmla="*/ 6114381 h 6114381"/>
                  <a:gd name="connsiteX31" fmla="*/ 2450436 w 6123903"/>
                  <a:gd name="connsiteY31" fmla="*/ 5430525 h 6114381"/>
                  <a:gd name="connsiteX32" fmla="*/ 2329062 w 6123903"/>
                  <a:gd name="connsiteY32" fmla="*/ 5396163 h 6114381"/>
                  <a:gd name="connsiteX33" fmla="*/ 1928614 w 6123903"/>
                  <a:gd name="connsiteY33" fmla="*/ 5228775 h 6114381"/>
                  <a:gd name="connsiteX34" fmla="*/ 1815331 w 6123903"/>
                  <a:gd name="connsiteY34" fmla="*/ 5163187 h 6114381"/>
                  <a:gd name="connsiteX35" fmla="*/ 1167731 w 6123903"/>
                  <a:gd name="connsiteY35" fmla="*/ 5490605 h 6114381"/>
                  <a:gd name="connsiteX36" fmla="*/ 637011 w 6123903"/>
                  <a:gd name="connsiteY36" fmla="*/ 4980320 h 6114381"/>
                  <a:gd name="connsiteX37" fmla="*/ 949593 w 6123903"/>
                  <a:gd name="connsiteY37" fmla="*/ 4281769 h 6114381"/>
                  <a:gd name="connsiteX38" fmla="*/ 879944 w 6123903"/>
                  <a:gd name="connsiteY38" fmla="*/ 4154460 h 6114381"/>
                  <a:gd name="connsiteX39" fmla="*/ 736119 w 6123903"/>
                  <a:gd name="connsiteY39" fmla="*/ 3795858 h 6114381"/>
                  <a:gd name="connsiteX40" fmla="*/ 704946 w 6123903"/>
                  <a:gd name="connsiteY40" fmla="*/ 3674624 h 6114381"/>
                  <a:gd name="connsiteX41" fmla="*/ 0 w 6123903"/>
                  <a:gd name="connsiteY41" fmla="*/ 3427700 h 6114381"/>
                  <a:gd name="connsiteX42" fmla="*/ 0 w 6123903"/>
                  <a:gd name="connsiteY42" fmla="*/ 2691456 h 6114381"/>
                  <a:gd name="connsiteX43" fmla="*/ 710874 w 6123903"/>
                  <a:gd name="connsiteY43" fmla="*/ 2435971 h 6114381"/>
                  <a:gd name="connsiteX44" fmla="*/ 739483 w 6123903"/>
                  <a:gd name="connsiteY44" fmla="*/ 2334920 h 6114381"/>
                  <a:gd name="connsiteX45" fmla="*/ 906871 w 6123903"/>
                  <a:gd name="connsiteY45" fmla="*/ 1934473 h 6114381"/>
                  <a:gd name="connsiteX46" fmla="*/ 966845 w 6123903"/>
                  <a:gd name="connsiteY46" fmla="*/ 1830886 h 6114381"/>
                  <a:gd name="connsiteX47" fmla="*/ 638488 w 6123903"/>
                  <a:gd name="connsiteY47" fmla="*/ 1160565 h 6114381"/>
                  <a:gd name="connsiteX48" fmla="*/ 1155427 w 6123903"/>
                  <a:gd name="connsiteY48" fmla="*/ 636323 h 6114381"/>
                  <a:gd name="connsiteX49" fmla="*/ 1849874 w 6123903"/>
                  <a:gd name="connsiteY49" fmla="*/ 957643 h 6114381"/>
                  <a:gd name="connsiteX50" fmla="*/ 1981186 w 6123903"/>
                  <a:gd name="connsiteY50" fmla="*/ 885803 h 6114381"/>
                  <a:gd name="connsiteX51" fmla="*/ 2339788 w 6123903"/>
                  <a:gd name="connsiteY51" fmla="*/ 741978 h 6114381"/>
                  <a:gd name="connsiteX52" fmla="*/ 2435401 w 6123903"/>
                  <a:gd name="connsiteY52" fmla="*/ 717393 h 611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6123903" h="6114381">
                    <a:moveTo>
                      <a:pt x="3064893" y="1851552"/>
                    </a:moveTo>
                    <a:cubicBezTo>
                      <a:pt x="2391547" y="1851552"/>
                      <a:pt x="1845693" y="2397406"/>
                      <a:pt x="1845693" y="3070752"/>
                    </a:cubicBezTo>
                    <a:cubicBezTo>
                      <a:pt x="1845693" y="3744098"/>
                      <a:pt x="2391547" y="4289952"/>
                      <a:pt x="3064893" y="4289952"/>
                    </a:cubicBezTo>
                    <a:cubicBezTo>
                      <a:pt x="3738239" y="4289952"/>
                      <a:pt x="4284093" y="3744098"/>
                      <a:pt x="4284093" y="3070752"/>
                    </a:cubicBezTo>
                    <a:cubicBezTo>
                      <a:pt x="4284093" y="2397406"/>
                      <a:pt x="3738239" y="1851552"/>
                      <a:pt x="3064893" y="1851552"/>
                    </a:cubicBezTo>
                    <a:close/>
                    <a:moveTo>
                      <a:pt x="2686685" y="0"/>
                    </a:moveTo>
                    <a:lnTo>
                      <a:pt x="3422929" y="0"/>
                    </a:lnTo>
                    <a:lnTo>
                      <a:pt x="3678191" y="710255"/>
                    </a:lnTo>
                    <a:lnTo>
                      <a:pt x="3818556" y="751055"/>
                    </a:lnTo>
                    <a:cubicBezTo>
                      <a:pt x="3960958" y="797289"/>
                      <a:pt x="4097615" y="856271"/>
                      <a:pt x="4227179" y="926655"/>
                    </a:cubicBezTo>
                    <a:lnTo>
                      <a:pt x="4282555" y="960296"/>
                    </a:lnTo>
                    <a:lnTo>
                      <a:pt x="4970765" y="634253"/>
                    </a:lnTo>
                    <a:lnTo>
                      <a:pt x="5488211" y="1157995"/>
                    </a:lnTo>
                    <a:lnTo>
                      <a:pt x="5164247" y="1834816"/>
                    </a:lnTo>
                    <a:lnTo>
                      <a:pt x="5208991" y="1908466"/>
                    </a:lnTo>
                    <a:cubicBezTo>
                      <a:pt x="5279375" y="2038031"/>
                      <a:pt x="5338357" y="2174687"/>
                      <a:pt x="5384591" y="2317090"/>
                    </a:cubicBezTo>
                    <a:lnTo>
                      <a:pt x="5421936" y="2445569"/>
                    </a:lnTo>
                    <a:lnTo>
                      <a:pt x="6123903" y="2691449"/>
                    </a:lnTo>
                    <a:lnTo>
                      <a:pt x="6123903" y="3427693"/>
                    </a:lnTo>
                    <a:lnTo>
                      <a:pt x="5426625" y="3678291"/>
                    </a:lnTo>
                    <a:lnTo>
                      <a:pt x="5390304" y="3806584"/>
                    </a:lnTo>
                    <a:cubicBezTo>
                      <a:pt x="5346264" y="3945892"/>
                      <a:pt x="5290052" y="4079790"/>
                      <a:pt x="5222916" y="4207031"/>
                    </a:cubicBezTo>
                    <a:lnTo>
                      <a:pt x="5171917" y="4295117"/>
                    </a:lnTo>
                    <a:lnTo>
                      <a:pt x="5484219" y="4978630"/>
                    </a:lnTo>
                    <a:lnTo>
                      <a:pt x="4953361" y="5488772"/>
                    </a:lnTo>
                    <a:lnTo>
                      <a:pt x="4307701" y="5168660"/>
                    </a:lnTo>
                    <a:lnTo>
                      <a:pt x="4148601" y="5255702"/>
                    </a:lnTo>
                    <a:cubicBezTo>
                      <a:pt x="4033899" y="5312702"/>
                      <a:pt x="3914073" y="5360936"/>
                      <a:pt x="3789999" y="5399527"/>
                    </a:cubicBezTo>
                    <a:lnTo>
                      <a:pt x="3672243" y="5429805"/>
                    </a:lnTo>
                    <a:lnTo>
                      <a:pt x="3432454" y="6114381"/>
                    </a:lnTo>
                    <a:lnTo>
                      <a:pt x="2696210" y="6114381"/>
                    </a:lnTo>
                    <a:lnTo>
                      <a:pt x="2450436" y="5430525"/>
                    </a:lnTo>
                    <a:lnTo>
                      <a:pt x="2329062" y="5396163"/>
                    </a:lnTo>
                    <a:cubicBezTo>
                      <a:pt x="2189754" y="5352123"/>
                      <a:pt x="2055856" y="5295911"/>
                      <a:pt x="1928614" y="5228775"/>
                    </a:cubicBezTo>
                    <a:lnTo>
                      <a:pt x="1815331" y="5163187"/>
                    </a:lnTo>
                    <a:lnTo>
                      <a:pt x="1167731" y="5490605"/>
                    </a:lnTo>
                    <a:lnTo>
                      <a:pt x="637011" y="4980320"/>
                    </a:lnTo>
                    <a:lnTo>
                      <a:pt x="949593" y="4281769"/>
                    </a:lnTo>
                    <a:lnTo>
                      <a:pt x="879944" y="4154460"/>
                    </a:lnTo>
                    <a:cubicBezTo>
                      <a:pt x="822944" y="4039758"/>
                      <a:pt x="774710" y="3919932"/>
                      <a:pt x="736119" y="3795858"/>
                    </a:cubicBezTo>
                    <a:lnTo>
                      <a:pt x="704946" y="3674624"/>
                    </a:lnTo>
                    <a:lnTo>
                      <a:pt x="0" y="3427700"/>
                    </a:lnTo>
                    <a:lnTo>
                      <a:pt x="0" y="2691456"/>
                    </a:lnTo>
                    <a:lnTo>
                      <a:pt x="710874" y="2435971"/>
                    </a:lnTo>
                    <a:lnTo>
                      <a:pt x="739483" y="2334920"/>
                    </a:lnTo>
                    <a:cubicBezTo>
                      <a:pt x="783523" y="2195614"/>
                      <a:pt x="839735" y="2061715"/>
                      <a:pt x="906871" y="1934473"/>
                    </a:cubicBezTo>
                    <a:lnTo>
                      <a:pt x="966845" y="1830886"/>
                    </a:lnTo>
                    <a:lnTo>
                      <a:pt x="638488" y="1160565"/>
                    </a:lnTo>
                    <a:lnTo>
                      <a:pt x="1155427" y="636323"/>
                    </a:lnTo>
                    <a:lnTo>
                      <a:pt x="1849874" y="957643"/>
                    </a:lnTo>
                    <a:lnTo>
                      <a:pt x="1981186" y="885803"/>
                    </a:lnTo>
                    <a:cubicBezTo>
                      <a:pt x="2095887" y="828803"/>
                      <a:pt x="2215713" y="780570"/>
                      <a:pt x="2339788" y="741978"/>
                    </a:cubicBezTo>
                    <a:lnTo>
                      <a:pt x="2435401" y="71739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  <p:sp>
            <p:nvSpPr>
              <p:cNvPr id="31" name="Freeform 30"/>
              <p:cNvSpPr/>
              <p:nvPr/>
            </p:nvSpPr>
            <p:spPr>
              <a:xfrm rot="21290135">
                <a:off x="3172038" y="4372492"/>
                <a:ext cx="968485" cy="966979"/>
              </a:xfrm>
              <a:custGeom>
                <a:avLst/>
                <a:gdLst>
                  <a:gd name="connsiteX0" fmla="*/ 3064893 w 6123903"/>
                  <a:gd name="connsiteY0" fmla="*/ 1851552 h 6114381"/>
                  <a:gd name="connsiteX1" fmla="*/ 1845693 w 6123903"/>
                  <a:gd name="connsiteY1" fmla="*/ 3070752 h 6114381"/>
                  <a:gd name="connsiteX2" fmla="*/ 3064893 w 6123903"/>
                  <a:gd name="connsiteY2" fmla="*/ 4289952 h 6114381"/>
                  <a:gd name="connsiteX3" fmla="*/ 4284093 w 6123903"/>
                  <a:gd name="connsiteY3" fmla="*/ 3070752 h 6114381"/>
                  <a:gd name="connsiteX4" fmla="*/ 3064893 w 6123903"/>
                  <a:gd name="connsiteY4" fmla="*/ 1851552 h 6114381"/>
                  <a:gd name="connsiteX5" fmla="*/ 2686685 w 6123903"/>
                  <a:gd name="connsiteY5" fmla="*/ 0 h 6114381"/>
                  <a:gd name="connsiteX6" fmla="*/ 3422929 w 6123903"/>
                  <a:gd name="connsiteY6" fmla="*/ 0 h 6114381"/>
                  <a:gd name="connsiteX7" fmla="*/ 3678191 w 6123903"/>
                  <a:gd name="connsiteY7" fmla="*/ 710255 h 6114381"/>
                  <a:gd name="connsiteX8" fmla="*/ 3818556 w 6123903"/>
                  <a:gd name="connsiteY8" fmla="*/ 751055 h 6114381"/>
                  <a:gd name="connsiteX9" fmla="*/ 4227179 w 6123903"/>
                  <a:gd name="connsiteY9" fmla="*/ 926655 h 6114381"/>
                  <a:gd name="connsiteX10" fmla="*/ 4282555 w 6123903"/>
                  <a:gd name="connsiteY10" fmla="*/ 960296 h 6114381"/>
                  <a:gd name="connsiteX11" fmla="*/ 4970765 w 6123903"/>
                  <a:gd name="connsiteY11" fmla="*/ 634253 h 6114381"/>
                  <a:gd name="connsiteX12" fmla="*/ 5488211 w 6123903"/>
                  <a:gd name="connsiteY12" fmla="*/ 1157995 h 6114381"/>
                  <a:gd name="connsiteX13" fmla="*/ 5164247 w 6123903"/>
                  <a:gd name="connsiteY13" fmla="*/ 1834816 h 6114381"/>
                  <a:gd name="connsiteX14" fmla="*/ 5208991 w 6123903"/>
                  <a:gd name="connsiteY14" fmla="*/ 1908466 h 6114381"/>
                  <a:gd name="connsiteX15" fmla="*/ 5384591 w 6123903"/>
                  <a:gd name="connsiteY15" fmla="*/ 2317090 h 6114381"/>
                  <a:gd name="connsiteX16" fmla="*/ 5421936 w 6123903"/>
                  <a:gd name="connsiteY16" fmla="*/ 2445569 h 6114381"/>
                  <a:gd name="connsiteX17" fmla="*/ 6123903 w 6123903"/>
                  <a:gd name="connsiteY17" fmla="*/ 2691449 h 6114381"/>
                  <a:gd name="connsiteX18" fmla="*/ 6123903 w 6123903"/>
                  <a:gd name="connsiteY18" fmla="*/ 3427693 h 6114381"/>
                  <a:gd name="connsiteX19" fmla="*/ 5426625 w 6123903"/>
                  <a:gd name="connsiteY19" fmla="*/ 3678291 h 6114381"/>
                  <a:gd name="connsiteX20" fmla="*/ 5390304 w 6123903"/>
                  <a:gd name="connsiteY20" fmla="*/ 3806584 h 6114381"/>
                  <a:gd name="connsiteX21" fmla="*/ 5222916 w 6123903"/>
                  <a:gd name="connsiteY21" fmla="*/ 4207031 h 6114381"/>
                  <a:gd name="connsiteX22" fmla="*/ 5171917 w 6123903"/>
                  <a:gd name="connsiteY22" fmla="*/ 4295117 h 6114381"/>
                  <a:gd name="connsiteX23" fmla="*/ 5484219 w 6123903"/>
                  <a:gd name="connsiteY23" fmla="*/ 4978630 h 6114381"/>
                  <a:gd name="connsiteX24" fmla="*/ 4953361 w 6123903"/>
                  <a:gd name="connsiteY24" fmla="*/ 5488772 h 6114381"/>
                  <a:gd name="connsiteX25" fmla="*/ 4307701 w 6123903"/>
                  <a:gd name="connsiteY25" fmla="*/ 5168660 h 6114381"/>
                  <a:gd name="connsiteX26" fmla="*/ 4148601 w 6123903"/>
                  <a:gd name="connsiteY26" fmla="*/ 5255702 h 6114381"/>
                  <a:gd name="connsiteX27" fmla="*/ 3789999 w 6123903"/>
                  <a:gd name="connsiteY27" fmla="*/ 5399527 h 6114381"/>
                  <a:gd name="connsiteX28" fmla="*/ 3672243 w 6123903"/>
                  <a:gd name="connsiteY28" fmla="*/ 5429805 h 6114381"/>
                  <a:gd name="connsiteX29" fmla="*/ 3432454 w 6123903"/>
                  <a:gd name="connsiteY29" fmla="*/ 6114381 h 6114381"/>
                  <a:gd name="connsiteX30" fmla="*/ 2696210 w 6123903"/>
                  <a:gd name="connsiteY30" fmla="*/ 6114381 h 6114381"/>
                  <a:gd name="connsiteX31" fmla="*/ 2450436 w 6123903"/>
                  <a:gd name="connsiteY31" fmla="*/ 5430525 h 6114381"/>
                  <a:gd name="connsiteX32" fmla="*/ 2329062 w 6123903"/>
                  <a:gd name="connsiteY32" fmla="*/ 5396163 h 6114381"/>
                  <a:gd name="connsiteX33" fmla="*/ 1928614 w 6123903"/>
                  <a:gd name="connsiteY33" fmla="*/ 5228775 h 6114381"/>
                  <a:gd name="connsiteX34" fmla="*/ 1815331 w 6123903"/>
                  <a:gd name="connsiteY34" fmla="*/ 5163187 h 6114381"/>
                  <a:gd name="connsiteX35" fmla="*/ 1167731 w 6123903"/>
                  <a:gd name="connsiteY35" fmla="*/ 5490605 h 6114381"/>
                  <a:gd name="connsiteX36" fmla="*/ 637011 w 6123903"/>
                  <a:gd name="connsiteY36" fmla="*/ 4980320 h 6114381"/>
                  <a:gd name="connsiteX37" fmla="*/ 949593 w 6123903"/>
                  <a:gd name="connsiteY37" fmla="*/ 4281769 h 6114381"/>
                  <a:gd name="connsiteX38" fmla="*/ 879944 w 6123903"/>
                  <a:gd name="connsiteY38" fmla="*/ 4154460 h 6114381"/>
                  <a:gd name="connsiteX39" fmla="*/ 736119 w 6123903"/>
                  <a:gd name="connsiteY39" fmla="*/ 3795858 h 6114381"/>
                  <a:gd name="connsiteX40" fmla="*/ 704946 w 6123903"/>
                  <a:gd name="connsiteY40" fmla="*/ 3674624 h 6114381"/>
                  <a:gd name="connsiteX41" fmla="*/ 0 w 6123903"/>
                  <a:gd name="connsiteY41" fmla="*/ 3427700 h 6114381"/>
                  <a:gd name="connsiteX42" fmla="*/ 0 w 6123903"/>
                  <a:gd name="connsiteY42" fmla="*/ 2691456 h 6114381"/>
                  <a:gd name="connsiteX43" fmla="*/ 710874 w 6123903"/>
                  <a:gd name="connsiteY43" fmla="*/ 2435971 h 6114381"/>
                  <a:gd name="connsiteX44" fmla="*/ 739483 w 6123903"/>
                  <a:gd name="connsiteY44" fmla="*/ 2334920 h 6114381"/>
                  <a:gd name="connsiteX45" fmla="*/ 906871 w 6123903"/>
                  <a:gd name="connsiteY45" fmla="*/ 1934473 h 6114381"/>
                  <a:gd name="connsiteX46" fmla="*/ 966845 w 6123903"/>
                  <a:gd name="connsiteY46" fmla="*/ 1830886 h 6114381"/>
                  <a:gd name="connsiteX47" fmla="*/ 638488 w 6123903"/>
                  <a:gd name="connsiteY47" fmla="*/ 1160565 h 6114381"/>
                  <a:gd name="connsiteX48" fmla="*/ 1155427 w 6123903"/>
                  <a:gd name="connsiteY48" fmla="*/ 636323 h 6114381"/>
                  <a:gd name="connsiteX49" fmla="*/ 1849874 w 6123903"/>
                  <a:gd name="connsiteY49" fmla="*/ 957643 h 6114381"/>
                  <a:gd name="connsiteX50" fmla="*/ 1981186 w 6123903"/>
                  <a:gd name="connsiteY50" fmla="*/ 885803 h 6114381"/>
                  <a:gd name="connsiteX51" fmla="*/ 2339788 w 6123903"/>
                  <a:gd name="connsiteY51" fmla="*/ 741978 h 6114381"/>
                  <a:gd name="connsiteX52" fmla="*/ 2435401 w 6123903"/>
                  <a:gd name="connsiteY52" fmla="*/ 717393 h 61143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</a:cxnLst>
                <a:rect l="l" t="t" r="r" b="b"/>
                <a:pathLst>
                  <a:path w="6123903" h="6114381">
                    <a:moveTo>
                      <a:pt x="3064893" y="1851552"/>
                    </a:moveTo>
                    <a:cubicBezTo>
                      <a:pt x="2391547" y="1851552"/>
                      <a:pt x="1845693" y="2397406"/>
                      <a:pt x="1845693" y="3070752"/>
                    </a:cubicBezTo>
                    <a:cubicBezTo>
                      <a:pt x="1845693" y="3744098"/>
                      <a:pt x="2391547" y="4289952"/>
                      <a:pt x="3064893" y="4289952"/>
                    </a:cubicBezTo>
                    <a:cubicBezTo>
                      <a:pt x="3738239" y="4289952"/>
                      <a:pt x="4284093" y="3744098"/>
                      <a:pt x="4284093" y="3070752"/>
                    </a:cubicBezTo>
                    <a:cubicBezTo>
                      <a:pt x="4284093" y="2397406"/>
                      <a:pt x="3738239" y="1851552"/>
                      <a:pt x="3064893" y="1851552"/>
                    </a:cubicBezTo>
                    <a:close/>
                    <a:moveTo>
                      <a:pt x="2686685" y="0"/>
                    </a:moveTo>
                    <a:lnTo>
                      <a:pt x="3422929" y="0"/>
                    </a:lnTo>
                    <a:lnTo>
                      <a:pt x="3678191" y="710255"/>
                    </a:lnTo>
                    <a:lnTo>
                      <a:pt x="3818556" y="751055"/>
                    </a:lnTo>
                    <a:cubicBezTo>
                      <a:pt x="3960958" y="797289"/>
                      <a:pt x="4097615" y="856271"/>
                      <a:pt x="4227179" y="926655"/>
                    </a:cubicBezTo>
                    <a:lnTo>
                      <a:pt x="4282555" y="960296"/>
                    </a:lnTo>
                    <a:lnTo>
                      <a:pt x="4970765" y="634253"/>
                    </a:lnTo>
                    <a:lnTo>
                      <a:pt x="5488211" y="1157995"/>
                    </a:lnTo>
                    <a:lnTo>
                      <a:pt x="5164247" y="1834816"/>
                    </a:lnTo>
                    <a:lnTo>
                      <a:pt x="5208991" y="1908466"/>
                    </a:lnTo>
                    <a:cubicBezTo>
                      <a:pt x="5279375" y="2038031"/>
                      <a:pt x="5338357" y="2174687"/>
                      <a:pt x="5384591" y="2317090"/>
                    </a:cubicBezTo>
                    <a:lnTo>
                      <a:pt x="5421936" y="2445569"/>
                    </a:lnTo>
                    <a:lnTo>
                      <a:pt x="6123903" y="2691449"/>
                    </a:lnTo>
                    <a:lnTo>
                      <a:pt x="6123903" y="3427693"/>
                    </a:lnTo>
                    <a:lnTo>
                      <a:pt x="5426625" y="3678291"/>
                    </a:lnTo>
                    <a:lnTo>
                      <a:pt x="5390304" y="3806584"/>
                    </a:lnTo>
                    <a:cubicBezTo>
                      <a:pt x="5346264" y="3945892"/>
                      <a:pt x="5290052" y="4079790"/>
                      <a:pt x="5222916" y="4207031"/>
                    </a:cubicBezTo>
                    <a:lnTo>
                      <a:pt x="5171917" y="4295117"/>
                    </a:lnTo>
                    <a:lnTo>
                      <a:pt x="5484219" y="4978630"/>
                    </a:lnTo>
                    <a:lnTo>
                      <a:pt x="4953361" y="5488772"/>
                    </a:lnTo>
                    <a:lnTo>
                      <a:pt x="4307701" y="5168660"/>
                    </a:lnTo>
                    <a:lnTo>
                      <a:pt x="4148601" y="5255702"/>
                    </a:lnTo>
                    <a:cubicBezTo>
                      <a:pt x="4033899" y="5312702"/>
                      <a:pt x="3914073" y="5360936"/>
                      <a:pt x="3789999" y="5399527"/>
                    </a:cubicBezTo>
                    <a:lnTo>
                      <a:pt x="3672243" y="5429805"/>
                    </a:lnTo>
                    <a:lnTo>
                      <a:pt x="3432454" y="6114381"/>
                    </a:lnTo>
                    <a:lnTo>
                      <a:pt x="2696210" y="6114381"/>
                    </a:lnTo>
                    <a:lnTo>
                      <a:pt x="2450436" y="5430525"/>
                    </a:lnTo>
                    <a:lnTo>
                      <a:pt x="2329062" y="5396163"/>
                    </a:lnTo>
                    <a:cubicBezTo>
                      <a:pt x="2189754" y="5352123"/>
                      <a:pt x="2055856" y="5295911"/>
                      <a:pt x="1928614" y="5228775"/>
                    </a:cubicBezTo>
                    <a:lnTo>
                      <a:pt x="1815331" y="5163187"/>
                    </a:lnTo>
                    <a:lnTo>
                      <a:pt x="1167731" y="5490605"/>
                    </a:lnTo>
                    <a:lnTo>
                      <a:pt x="637011" y="4980320"/>
                    </a:lnTo>
                    <a:lnTo>
                      <a:pt x="949593" y="4281769"/>
                    </a:lnTo>
                    <a:lnTo>
                      <a:pt x="879944" y="4154460"/>
                    </a:lnTo>
                    <a:cubicBezTo>
                      <a:pt x="822944" y="4039758"/>
                      <a:pt x="774710" y="3919932"/>
                      <a:pt x="736119" y="3795858"/>
                    </a:cubicBezTo>
                    <a:lnTo>
                      <a:pt x="704946" y="3674624"/>
                    </a:lnTo>
                    <a:lnTo>
                      <a:pt x="0" y="3427700"/>
                    </a:lnTo>
                    <a:lnTo>
                      <a:pt x="0" y="2691456"/>
                    </a:lnTo>
                    <a:lnTo>
                      <a:pt x="710874" y="2435971"/>
                    </a:lnTo>
                    <a:lnTo>
                      <a:pt x="739483" y="2334920"/>
                    </a:lnTo>
                    <a:cubicBezTo>
                      <a:pt x="783523" y="2195614"/>
                      <a:pt x="839735" y="2061715"/>
                      <a:pt x="906871" y="1934473"/>
                    </a:cubicBezTo>
                    <a:lnTo>
                      <a:pt x="966845" y="1830886"/>
                    </a:lnTo>
                    <a:lnTo>
                      <a:pt x="638488" y="1160565"/>
                    </a:lnTo>
                    <a:lnTo>
                      <a:pt x="1155427" y="636323"/>
                    </a:lnTo>
                    <a:lnTo>
                      <a:pt x="1849874" y="957643"/>
                    </a:lnTo>
                    <a:lnTo>
                      <a:pt x="1981186" y="885803"/>
                    </a:lnTo>
                    <a:cubicBezTo>
                      <a:pt x="2095887" y="828803"/>
                      <a:pt x="2215713" y="780570"/>
                      <a:pt x="2339788" y="741978"/>
                    </a:cubicBezTo>
                    <a:lnTo>
                      <a:pt x="2435401" y="71739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</p:grpSp>
      <p:grpSp>
        <p:nvGrpSpPr>
          <p:cNvPr id="33" name="Group 4"/>
          <p:cNvGrpSpPr>
            <a:grpSpLocks noChangeAspect="1"/>
          </p:cNvGrpSpPr>
          <p:nvPr/>
        </p:nvGrpSpPr>
        <p:grpSpPr bwMode="auto">
          <a:xfrm>
            <a:off x="10903599" y="5498686"/>
            <a:ext cx="470121" cy="433038"/>
            <a:chOff x="-413" y="1979"/>
            <a:chExt cx="393" cy="362"/>
          </a:xfrm>
          <a:solidFill>
            <a:srgbClr val="26867C"/>
          </a:solidFill>
        </p:grpSpPr>
        <p:sp>
          <p:nvSpPr>
            <p:cNvPr id="36" name="Rectangle 6"/>
            <p:cNvSpPr>
              <a:spLocks noChangeArrowheads="1"/>
            </p:cNvSpPr>
            <p:nvPr/>
          </p:nvSpPr>
          <p:spPr bwMode="auto">
            <a:xfrm>
              <a:off x="-389" y="2104"/>
              <a:ext cx="17" cy="40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Rectangle 7"/>
            <p:cNvSpPr>
              <a:spLocks noChangeArrowheads="1"/>
            </p:cNvSpPr>
            <p:nvPr/>
          </p:nvSpPr>
          <p:spPr bwMode="auto">
            <a:xfrm>
              <a:off x="-389" y="2176"/>
              <a:ext cx="17" cy="4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8"/>
            <p:cNvSpPr>
              <a:spLocks/>
            </p:cNvSpPr>
            <p:nvPr/>
          </p:nvSpPr>
          <p:spPr bwMode="auto">
            <a:xfrm>
              <a:off x="-389" y="1979"/>
              <a:ext cx="305" cy="153"/>
            </a:xfrm>
            <a:custGeom>
              <a:avLst/>
              <a:gdLst>
                <a:gd name="T0" fmla="*/ 2746 w 2746"/>
                <a:gd name="T1" fmla="*/ 942 h 1381"/>
                <a:gd name="T2" fmla="*/ 2746 w 2746"/>
                <a:gd name="T3" fmla="*/ 1225 h 1381"/>
                <a:gd name="T4" fmla="*/ 2589 w 2746"/>
                <a:gd name="T5" fmla="*/ 1381 h 1381"/>
                <a:gd name="T6" fmla="*/ 2589 w 2746"/>
                <a:gd name="T7" fmla="*/ 287 h 1381"/>
                <a:gd name="T8" fmla="*/ 2586 w 2746"/>
                <a:gd name="T9" fmla="*/ 260 h 1381"/>
                <a:gd name="T10" fmla="*/ 2579 w 2746"/>
                <a:gd name="T11" fmla="*/ 236 h 1381"/>
                <a:gd name="T12" fmla="*/ 2567 w 2746"/>
                <a:gd name="T13" fmla="*/ 214 h 1381"/>
                <a:gd name="T14" fmla="*/ 2551 w 2746"/>
                <a:gd name="T15" fmla="*/ 195 h 1381"/>
                <a:gd name="T16" fmla="*/ 2531 w 2746"/>
                <a:gd name="T17" fmla="*/ 179 h 1381"/>
                <a:gd name="T18" fmla="*/ 2509 w 2746"/>
                <a:gd name="T19" fmla="*/ 166 h 1381"/>
                <a:gd name="T20" fmla="*/ 2484 w 2746"/>
                <a:gd name="T21" fmla="*/ 159 h 1381"/>
                <a:gd name="T22" fmla="*/ 2458 w 2746"/>
                <a:gd name="T23" fmla="*/ 156 h 1381"/>
                <a:gd name="T24" fmla="*/ 287 w 2746"/>
                <a:gd name="T25" fmla="*/ 156 h 1381"/>
                <a:gd name="T26" fmla="*/ 261 w 2746"/>
                <a:gd name="T27" fmla="*/ 159 h 1381"/>
                <a:gd name="T28" fmla="*/ 236 w 2746"/>
                <a:gd name="T29" fmla="*/ 166 h 1381"/>
                <a:gd name="T30" fmla="*/ 214 w 2746"/>
                <a:gd name="T31" fmla="*/ 179 h 1381"/>
                <a:gd name="T32" fmla="*/ 194 w 2746"/>
                <a:gd name="T33" fmla="*/ 195 h 1381"/>
                <a:gd name="T34" fmla="*/ 178 w 2746"/>
                <a:gd name="T35" fmla="*/ 214 h 1381"/>
                <a:gd name="T36" fmla="*/ 166 w 2746"/>
                <a:gd name="T37" fmla="*/ 236 h 1381"/>
                <a:gd name="T38" fmla="*/ 159 w 2746"/>
                <a:gd name="T39" fmla="*/ 260 h 1381"/>
                <a:gd name="T40" fmla="*/ 156 w 2746"/>
                <a:gd name="T41" fmla="*/ 287 h 1381"/>
                <a:gd name="T42" fmla="*/ 156 w 2746"/>
                <a:gd name="T43" fmla="*/ 832 h 1381"/>
                <a:gd name="T44" fmla="*/ 0 w 2746"/>
                <a:gd name="T45" fmla="*/ 832 h 1381"/>
                <a:gd name="T46" fmla="*/ 0 w 2746"/>
                <a:gd name="T47" fmla="*/ 287 h 1381"/>
                <a:gd name="T48" fmla="*/ 3 w 2746"/>
                <a:gd name="T49" fmla="*/ 244 h 1381"/>
                <a:gd name="T50" fmla="*/ 12 w 2746"/>
                <a:gd name="T51" fmla="*/ 205 h 1381"/>
                <a:gd name="T52" fmla="*/ 27 w 2746"/>
                <a:gd name="T53" fmla="*/ 166 h 1381"/>
                <a:gd name="T54" fmla="*/ 46 w 2746"/>
                <a:gd name="T55" fmla="*/ 131 h 1381"/>
                <a:gd name="T56" fmla="*/ 70 w 2746"/>
                <a:gd name="T57" fmla="*/ 99 h 1381"/>
                <a:gd name="T58" fmla="*/ 99 w 2746"/>
                <a:gd name="T59" fmla="*/ 71 h 1381"/>
                <a:gd name="T60" fmla="*/ 131 w 2746"/>
                <a:gd name="T61" fmla="*/ 46 h 1381"/>
                <a:gd name="T62" fmla="*/ 165 w 2746"/>
                <a:gd name="T63" fmla="*/ 27 h 1381"/>
                <a:gd name="T64" fmla="*/ 204 w 2746"/>
                <a:gd name="T65" fmla="*/ 13 h 1381"/>
                <a:gd name="T66" fmla="*/ 245 w 2746"/>
                <a:gd name="T67" fmla="*/ 3 h 1381"/>
                <a:gd name="T68" fmla="*/ 287 w 2746"/>
                <a:gd name="T69" fmla="*/ 0 h 1381"/>
                <a:gd name="T70" fmla="*/ 2458 w 2746"/>
                <a:gd name="T71" fmla="*/ 0 h 1381"/>
                <a:gd name="T72" fmla="*/ 2500 w 2746"/>
                <a:gd name="T73" fmla="*/ 3 h 1381"/>
                <a:gd name="T74" fmla="*/ 2541 w 2746"/>
                <a:gd name="T75" fmla="*/ 13 h 1381"/>
                <a:gd name="T76" fmla="*/ 2579 w 2746"/>
                <a:gd name="T77" fmla="*/ 27 h 1381"/>
                <a:gd name="T78" fmla="*/ 2614 w 2746"/>
                <a:gd name="T79" fmla="*/ 46 h 1381"/>
                <a:gd name="T80" fmla="*/ 2646 w 2746"/>
                <a:gd name="T81" fmla="*/ 71 h 1381"/>
                <a:gd name="T82" fmla="*/ 2674 w 2746"/>
                <a:gd name="T83" fmla="*/ 99 h 1381"/>
                <a:gd name="T84" fmla="*/ 2699 w 2746"/>
                <a:gd name="T85" fmla="*/ 131 h 1381"/>
                <a:gd name="T86" fmla="*/ 2718 w 2746"/>
                <a:gd name="T87" fmla="*/ 166 h 1381"/>
                <a:gd name="T88" fmla="*/ 2733 w 2746"/>
                <a:gd name="T89" fmla="*/ 205 h 1381"/>
                <a:gd name="T90" fmla="*/ 2742 w 2746"/>
                <a:gd name="T91" fmla="*/ 244 h 1381"/>
                <a:gd name="T92" fmla="*/ 2745 w 2746"/>
                <a:gd name="T93" fmla="*/ 287 h 1381"/>
                <a:gd name="T94" fmla="*/ 2745 w 2746"/>
                <a:gd name="T95" fmla="*/ 942 h 1381"/>
                <a:gd name="T96" fmla="*/ 2746 w 2746"/>
                <a:gd name="T97" fmla="*/ 942 h 13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46" h="1381">
                  <a:moveTo>
                    <a:pt x="2746" y="942"/>
                  </a:moveTo>
                  <a:lnTo>
                    <a:pt x="2746" y="1225"/>
                  </a:lnTo>
                  <a:lnTo>
                    <a:pt x="2589" y="1381"/>
                  </a:lnTo>
                  <a:lnTo>
                    <a:pt x="2589" y="287"/>
                  </a:lnTo>
                  <a:lnTo>
                    <a:pt x="2586" y="260"/>
                  </a:lnTo>
                  <a:lnTo>
                    <a:pt x="2579" y="236"/>
                  </a:lnTo>
                  <a:lnTo>
                    <a:pt x="2567" y="214"/>
                  </a:lnTo>
                  <a:lnTo>
                    <a:pt x="2551" y="195"/>
                  </a:lnTo>
                  <a:lnTo>
                    <a:pt x="2531" y="179"/>
                  </a:lnTo>
                  <a:lnTo>
                    <a:pt x="2509" y="166"/>
                  </a:lnTo>
                  <a:lnTo>
                    <a:pt x="2484" y="159"/>
                  </a:lnTo>
                  <a:lnTo>
                    <a:pt x="2458" y="156"/>
                  </a:lnTo>
                  <a:lnTo>
                    <a:pt x="287" y="156"/>
                  </a:lnTo>
                  <a:lnTo>
                    <a:pt x="261" y="159"/>
                  </a:lnTo>
                  <a:lnTo>
                    <a:pt x="236" y="166"/>
                  </a:lnTo>
                  <a:lnTo>
                    <a:pt x="214" y="179"/>
                  </a:lnTo>
                  <a:lnTo>
                    <a:pt x="194" y="195"/>
                  </a:lnTo>
                  <a:lnTo>
                    <a:pt x="178" y="214"/>
                  </a:lnTo>
                  <a:lnTo>
                    <a:pt x="166" y="236"/>
                  </a:lnTo>
                  <a:lnTo>
                    <a:pt x="159" y="260"/>
                  </a:lnTo>
                  <a:lnTo>
                    <a:pt x="156" y="287"/>
                  </a:lnTo>
                  <a:lnTo>
                    <a:pt x="156" y="832"/>
                  </a:lnTo>
                  <a:lnTo>
                    <a:pt x="0" y="832"/>
                  </a:lnTo>
                  <a:lnTo>
                    <a:pt x="0" y="287"/>
                  </a:lnTo>
                  <a:lnTo>
                    <a:pt x="3" y="244"/>
                  </a:lnTo>
                  <a:lnTo>
                    <a:pt x="12" y="205"/>
                  </a:lnTo>
                  <a:lnTo>
                    <a:pt x="27" y="166"/>
                  </a:lnTo>
                  <a:lnTo>
                    <a:pt x="46" y="131"/>
                  </a:lnTo>
                  <a:lnTo>
                    <a:pt x="70" y="99"/>
                  </a:lnTo>
                  <a:lnTo>
                    <a:pt x="99" y="71"/>
                  </a:lnTo>
                  <a:lnTo>
                    <a:pt x="131" y="46"/>
                  </a:lnTo>
                  <a:lnTo>
                    <a:pt x="165" y="27"/>
                  </a:lnTo>
                  <a:lnTo>
                    <a:pt x="204" y="13"/>
                  </a:lnTo>
                  <a:lnTo>
                    <a:pt x="245" y="3"/>
                  </a:lnTo>
                  <a:lnTo>
                    <a:pt x="287" y="0"/>
                  </a:lnTo>
                  <a:lnTo>
                    <a:pt x="2458" y="0"/>
                  </a:lnTo>
                  <a:lnTo>
                    <a:pt x="2500" y="3"/>
                  </a:lnTo>
                  <a:lnTo>
                    <a:pt x="2541" y="13"/>
                  </a:lnTo>
                  <a:lnTo>
                    <a:pt x="2579" y="27"/>
                  </a:lnTo>
                  <a:lnTo>
                    <a:pt x="2614" y="46"/>
                  </a:lnTo>
                  <a:lnTo>
                    <a:pt x="2646" y="71"/>
                  </a:lnTo>
                  <a:lnTo>
                    <a:pt x="2674" y="99"/>
                  </a:lnTo>
                  <a:lnTo>
                    <a:pt x="2699" y="131"/>
                  </a:lnTo>
                  <a:lnTo>
                    <a:pt x="2718" y="166"/>
                  </a:lnTo>
                  <a:lnTo>
                    <a:pt x="2733" y="205"/>
                  </a:lnTo>
                  <a:lnTo>
                    <a:pt x="2742" y="244"/>
                  </a:lnTo>
                  <a:lnTo>
                    <a:pt x="2745" y="287"/>
                  </a:lnTo>
                  <a:lnTo>
                    <a:pt x="2745" y="942"/>
                  </a:lnTo>
                  <a:lnTo>
                    <a:pt x="2746" y="94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-389" y="2235"/>
              <a:ext cx="305" cy="106"/>
            </a:xfrm>
            <a:custGeom>
              <a:avLst/>
              <a:gdLst>
                <a:gd name="T0" fmla="*/ 2662 w 2746"/>
                <a:gd name="T1" fmla="*/ 53 h 954"/>
                <a:gd name="T2" fmla="*/ 2689 w 2746"/>
                <a:gd name="T3" fmla="*/ 66 h 954"/>
                <a:gd name="T4" fmla="*/ 2717 w 2746"/>
                <a:gd name="T5" fmla="*/ 74 h 954"/>
                <a:gd name="T6" fmla="*/ 2746 w 2746"/>
                <a:gd name="T7" fmla="*/ 78 h 954"/>
                <a:gd name="T8" fmla="*/ 2746 w 2746"/>
                <a:gd name="T9" fmla="*/ 667 h 954"/>
                <a:gd name="T10" fmla="*/ 2743 w 2746"/>
                <a:gd name="T11" fmla="*/ 710 h 954"/>
                <a:gd name="T12" fmla="*/ 2733 w 2746"/>
                <a:gd name="T13" fmla="*/ 749 h 954"/>
                <a:gd name="T14" fmla="*/ 2719 w 2746"/>
                <a:gd name="T15" fmla="*/ 788 h 954"/>
                <a:gd name="T16" fmla="*/ 2699 w 2746"/>
                <a:gd name="T17" fmla="*/ 823 h 954"/>
                <a:gd name="T18" fmla="*/ 2675 w 2746"/>
                <a:gd name="T19" fmla="*/ 854 h 954"/>
                <a:gd name="T20" fmla="*/ 2646 w 2746"/>
                <a:gd name="T21" fmla="*/ 883 h 954"/>
                <a:gd name="T22" fmla="*/ 2614 w 2746"/>
                <a:gd name="T23" fmla="*/ 907 h 954"/>
                <a:gd name="T24" fmla="*/ 2579 w 2746"/>
                <a:gd name="T25" fmla="*/ 927 h 954"/>
                <a:gd name="T26" fmla="*/ 2541 w 2746"/>
                <a:gd name="T27" fmla="*/ 941 h 954"/>
                <a:gd name="T28" fmla="*/ 2500 w 2746"/>
                <a:gd name="T29" fmla="*/ 951 h 954"/>
                <a:gd name="T30" fmla="*/ 2458 w 2746"/>
                <a:gd name="T31" fmla="*/ 954 h 954"/>
                <a:gd name="T32" fmla="*/ 287 w 2746"/>
                <a:gd name="T33" fmla="*/ 954 h 954"/>
                <a:gd name="T34" fmla="*/ 245 w 2746"/>
                <a:gd name="T35" fmla="*/ 951 h 954"/>
                <a:gd name="T36" fmla="*/ 204 w 2746"/>
                <a:gd name="T37" fmla="*/ 941 h 954"/>
                <a:gd name="T38" fmla="*/ 165 w 2746"/>
                <a:gd name="T39" fmla="*/ 927 h 954"/>
                <a:gd name="T40" fmla="*/ 131 w 2746"/>
                <a:gd name="T41" fmla="*/ 907 h 954"/>
                <a:gd name="T42" fmla="*/ 99 w 2746"/>
                <a:gd name="T43" fmla="*/ 883 h 954"/>
                <a:gd name="T44" fmla="*/ 70 w 2746"/>
                <a:gd name="T45" fmla="*/ 854 h 954"/>
                <a:gd name="T46" fmla="*/ 46 w 2746"/>
                <a:gd name="T47" fmla="*/ 823 h 954"/>
                <a:gd name="T48" fmla="*/ 27 w 2746"/>
                <a:gd name="T49" fmla="*/ 788 h 954"/>
                <a:gd name="T50" fmla="*/ 12 w 2746"/>
                <a:gd name="T51" fmla="*/ 749 h 954"/>
                <a:gd name="T52" fmla="*/ 3 w 2746"/>
                <a:gd name="T53" fmla="*/ 710 h 954"/>
                <a:gd name="T54" fmla="*/ 0 w 2746"/>
                <a:gd name="T55" fmla="*/ 667 h 954"/>
                <a:gd name="T56" fmla="*/ 0 w 2746"/>
                <a:gd name="T57" fmla="*/ 123 h 954"/>
                <a:gd name="T58" fmla="*/ 156 w 2746"/>
                <a:gd name="T59" fmla="*/ 123 h 954"/>
                <a:gd name="T60" fmla="*/ 156 w 2746"/>
                <a:gd name="T61" fmla="*/ 667 h 954"/>
                <a:gd name="T62" fmla="*/ 159 w 2746"/>
                <a:gd name="T63" fmla="*/ 694 h 954"/>
                <a:gd name="T64" fmla="*/ 166 w 2746"/>
                <a:gd name="T65" fmla="*/ 718 h 954"/>
                <a:gd name="T66" fmla="*/ 178 w 2746"/>
                <a:gd name="T67" fmla="*/ 740 h 954"/>
                <a:gd name="T68" fmla="*/ 194 w 2746"/>
                <a:gd name="T69" fmla="*/ 759 h 954"/>
                <a:gd name="T70" fmla="*/ 214 w 2746"/>
                <a:gd name="T71" fmla="*/ 775 h 954"/>
                <a:gd name="T72" fmla="*/ 236 w 2746"/>
                <a:gd name="T73" fmla="*/ 788 h 954"/>
                <a:gd name="T74" fmla="*/ 261 w 2746"/>
                <a:gd name="T75" fmla="*/ 795 h 954"/>
                <a:gd name="T76" fmla="*/ 287 w 2746"/>
                <a:gd name="T77" fmla="*/ 798 h 954"/>
                <a:gd name="T78" fmla="*/ 2458 w 2746"/>
                <a:gd name="T79" fmla="*/ 798 h 954"/>
                <a:gd name="T80" fmla="*/ 2484 w 2746"/>
                <a:gd name="T81" fmla="*/ 795 h 954"/>
                <a:gd name="T82" fmla="*/ 2509 w 2746"/>
                <a:gd name="T83" fmla="*/ 788 h 954"/>
                <a:gd name="T84" fmla="*/ 2531 w 2746"/>
                <a:gd name="T85" fmla="*/ 775 h 954"/>
                <a:gd name="T86" fmla="*/ 2551 w 2746"/>
                <a:gd name="T87" fmla="*/ 759 h 954"/>
                <a:gd name="T88" fmla="*/ 2567 w 2746"/>
                <a:gd name="T89" fmla="*/ 740 h 954"/>
                <a:gd name="T90" fmla="*/ 2579 w 2746"/>
                <a:gd name="T91" fmla="*/ 718 h 954"/>
                <a:gd name="T92" fmla="*/ 2587 w 2746"/>
                <a:gd name="T93" fmla="*/ 694 h 954"/>
                <a:gd name="T94" fmla="*/ 2589 w 2746"/>
                <a:gd name="T95" fmla="*/ 667 h 954"/>
                <a:gd name="T96" fmla="*/ 2589 w 2746"/>
                <a:gd name="T97" fmla="*/ 181 h 954"/>
                <a:gd name="T98" fmla="*/ 2589 w 2746"/>
                <a:gd name="T99" fmla="*/ 181 h 954"/>
                <a:gd name="T100" fmla="*/ 2589 w 2746"/>
                <a:gd name="T101" fmla="*/ 9 h 954"/>
                <a:gd name="T102" fmla="*/ 2599 w 2746"/>
                <a:gd name="T103" fmla="*/ 0 h 954"/>
                <a:gd name="T104" fmla="*/ 2617 w 2746"/>
                <a:gd name="T105" fmla="*/ 20 h 954"/>
                <a:gd name="T106" fmla="*/ 2639 w 2746"/>
                <a:gd name="T107" fmla="*/ 38 h 954"/>
                <a:gd name="T108" fmla="*/ 2662 w 2746"/>
                <a:gd name="T109" fmla="*/ 53 h 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746" h="954">
                  <a:moveTo>
                    <a:pt x="2662" y="53"/>
                  </a:moveTo>
                  <a:lnTo>
                    <a:pt x="2689" y="66"/>
                  </a:lnTo>
                  <a:lnTo>
                    <a:pt x="2717" y="74"/>
                  </a:lnTo>
                  <a:lnTo>
                    <a:pt x="2746" y="78"/>
                  </a:lnTo>
                  <a:lnTo>
                    <a:pt x="2746" y="667"/>
                  </a:lnTo>
                  <a:lnTo>
                    <a:pt x="2743" y="710"/>
                  </a:lnTo>
                  <a:lnTo>
                    <a:pt x="2733" y="749"/>
                  </a:lnTo>
                  <a:lnTo>
                    <a:pt x="2719" y="788"/>
                  </a:lnTo>
                  <a:lnTo>
                    <a:pt x="2699" y="823"/>
                  </a:lnTo>
                  <a:lnTo>
                    <a:pt x="2675" y="854"/>
                  </a:lnTo>
                  <a:lnTo>
                    <a:pt x="2646" y="883"/>
                  </a:lnTo>
                  <a:lnTo>
                    <a:pt x="2614" y="907"/>
                  </a:lnTo>
                  <a:lnTo>
                    <a:pt x="2579" y="927"/>
                  </a:lnTo>
                  <a:lnTo>
                    <a:pt x="2541" y="941"/>
                  </a:lnTo>
                  <a:lnTo>
                    <a:pt x="2500" y="951"/>
                  </a:lnTo>
                  <a:lnTo>
                    <a:pt x="2458" y="954"/>
                  </a:lnTo>
                  <a:lnTo>
                    <a:pt x="287" y="954"/>
                  </a:lnTo>
                  <a:lnTo>
                    <a:pt x="245" y="951"/>
                  </a:lnTo>
                  <a:lnTo>
                    <a:pt x="204" y="941"/>
                  </a:lnTo>
                  <a:lnTo>
                    <a:pt x="165" y="927"/>
                  </a:lnTo>
                  <a:lnTo>
                    <a:pt x="131" y="907"/>
                  </a:lnTo>
                  <a:lnTo>
                    <a:pt x="99" y="883"/>
                  </a:lnTo>
                  <a:lnTo>
                    <a:pt x="70" y="854"/>
                  </a:lnTo>
                  <a:lnTo>
                    <a:pt x="46" y="823"/>
                  </a:lnTo>
                  <a:lnTo>
                    <a:pt x="27" y="788"/>
                  </a:lnTo>
                  <a:lnTo>
                    <a:pt x="12" y="749"/>
                  </a:lnTo>
                  <a:lnTo>
                    <a:pt x="3" y="710"/>
                  </a:lnTo>
                  <a:lnTo>
                    <a:pt x="0" y="667"/>
                  </a:lnTo>
                  <a:lnTo>
                    <a:pt x="0" y="123"/>
                  </a:lnTo>
                  <a:lnTo>
                    <a:pt x="156" y="123"/>
                  </a:lnTo>
                  <a:lnTo>
                    <a:pt x="156" y="667"/>
                  </a:lnTo>
                  <a:lnTo>
                    <a:pt x="159" y="694"/>
                  </a:lnTo>
                  <a:lnTo>
                    <a:pt x="166" y="718"/>
                  </a:lnTo>
                  <a:lnTo>
                    <a:pt x="178" y="740"/>
                  </a:lnTo>
                  <a:lnTo>
                    <a:pt x="194" y="759"/>
                  </a:lnTo>
                  <a:lnTo>
                    <a:pt x="214" y="775"/>
                  </a:lnTo>
                  <a:lnTo>
                    <a:pt x="236" y="788"/>
                  </a:lnTo>
                  <a:lnTo>
                    <a:pt x="261" y="795"/>
                  </a:lnTo>
                  <a:lnTo>
                    <a:pt x="287" y="798"/>
                  </a:lnTo>
                  <a:lnTo>
                    <a:pt x="2458" y="798"/>
                  </a:lnTo>
                  <a:lnTo>
                    <a:pt x="2484" y="795"/>
                  </a:lnTo>
                  <a:lnTo>
                    <a:pt x="2509" y="788"/>
                  </a:lnTo>
                  <a:lnTo>
                    <a:pt x="2531" y="775"/>
                  </a:lnTo>
                  <a:lnTo>
                    <a:pt x="2551" y="759"/>
                  </a:lnTo>
                  <a:lnTo>
                    <a:pt x="2567" y="740"/>
                  </a:lnTo>
                  <a:lnTo>
                    <a:pt x="2579" y="718"/>
                  </a:lnTo>
                  <a:lnTo>
                    <a:pt x="2587" y="694"/>
                  </a:lnTo>
                  <a:lnTo>
                    <a:pt x="2589" y="667"/>
                  </a:lnTo>
                  <a:lnTo>
                    <a:pt x="2589" y="181"/>
                  </a:lnTo>
                  <a:lnTo>
                    <a:pt x="2589" y="181"/>
                  </a:lnTo>
                  <a:lnTo>
                    <a:pt x="2589" y="9"/>
                  </a:lnTo>
                  <a:lnTo>
                    <a:pt x="2599" y="0"/>
                  </a:lnTo>
                  <a:lnTo>
                    <a:pt x="2617" y="20"/>
                  </a:lnTo>
                  <a:lnTo>
                    <a:pt x="2639" y="38"/>
                  </a:lnTo>
                  <a:lnTo>
                    <a:pt x="2662" y="5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0"/>
            <p:cNvSpPr>
              <a:spLocks/>
            </p:cNvSpPr>
            <p:nvPr/>
          </p:nvSpPr>
          <p:spPr bwMode="auto">
            <a:xfrm>
              <a:off x="-413" y="2218"/>
              <a:ext cx="72" cy="29"/>
            </a:xfrm>
            <a:custGeom>
              <a:avLst/>
              <a:gdLst>
                <a:gd name="T0" fmla="*/ 400 w 647"/>
                <a:gd name="T1" fmla="*/ 64 h 264"/>
                <a:gd name="T2" fmla="*/ 68 w 647"/>
                <a:gd name="T3" fmla="*/ 64 h 264"/>
                <a:gd name="T4" fmla="*/ 51 w 647"/>
                <a:gd name="T5" fmla="*/ 67 h 264"/>
                <a:gd name="T6" fmla="*/ 35 w 647"/>
                <a:gd name="T7" fmla="*/ 73 h 264"/>
                <a:gd name="T8" fmla="*/ 21 w 647"/>
                <a:gd name="T9" fmla="*/ 84 h 264"/>
                <a:gd name="T10" fmla="*/ 10 w 647"/>
                <a:gd name="T11" fmla="*/ 97 h 264"/>
                <a:gd name="T12" fmla="*/ 4 w 647"/>
                <a:gd name="T13" fmla="*/ 114 h 264"/>
                <a:gd name="T14" fmla="*/ 0 w 647"/>
                <a:gd name="T15" fmla="*/ 131 h 264"/>
                <a:gd name="T16" fmla="*/ 4 w 647"/>
                <a:gd name="T17" fmla="*/ 149 h 264"/>
                <a:gd name="T18" fmla="*/ 10 w 647"/>
                <a:gd name="T19" fmla="*/ 166 h 264"/>
                <a:gd name="T20" fmla="*/ 21 w 647"/>
                <a:gd name="T21" fmla="*/ 179 h 264"/>
                <a:gd name="T22" fmla="*/ 35 w 647"/>
                <a:gd name="T23" fmla="*/ 190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0 h 264"/>
                <a:gd name="T32" fmla="*/ 437 w 647"/>
                <a:gd name="T33" fmla="*/ 238 h 264"/>
                <a:gd name="T34" fmla="*/ 459 w 647"/>
                <a:gd name="T35" fmla="*/ 252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1 h 264"/>
                <a:gd name="T42" fmla="*/ 566 w 647"/>
                <a:gd name="T43" fmla="*/ 253 h 264"/>
                <a:gd name="T44" fmla="*/ 588 w 647"/>
                <a:gd name="T45" fmla="*/ 242 h 264"/>
                <a:gd name="T46" fmla="*/ 607 w 647"/>
                <a:gd name="T47" fmla="*/ 224 h 264"/>
                <a:gd name="T48" fmla="*/ 624 w 647"/>
                <a:gd name="T49" fmla="*/ 205 h 264"/>
                <a:gd name="T50" fmla="*/ 636 w 647"/>
                <a:gd name="T51" fmla="*/ 183 h 264"/>
                <a:gd name="T52" fmla="*/ 644 w 647"/>
                <a:gd name="T53" fmla="*/ 158 h 264"/>
                <a:gd name="T54" fmla="*/ 647 w 647"/>
                <a:gd name="T55" fmla="*/ 131 h 264"/>
                <a:gd name="T56" fmla="*/ 644 w 647"/>
                <a:gd name="T57" fmla="*/ 104 h 264"/>
                <a:gd name="T58" fmla="*/ 636 w 647"/>
                <a:gd name="T59" fmla="*/ 80 h 264"/>
                <a:gd name="T60" fmla="*/ 624 w 647"/>
                <a:gd name="T61" fmla="*/ 57 h 264"/>
                <a:gd name="T62" fmla="*/ 607 w 647"/>
                <a:gd name="T63" fmla="*/ 38 h 264"/>
                <a:gd name="T64" fmla="*/ 588 w 647"/>
                <a:gd name="T65" fmla="*/ 22 h 264"/>
                <a:gd name="T66" fmla="*/ 566 w 647"/>
                <a:gd name="T67" fmla="*/ 9 h 264"/>
                <a:gd name="T68" fmla="*/ 541 w 647"/>
                <a:gd name="T69" fmla="*/ 2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1 h 264"/>
                <a:gd name="T76" fmla="*/ 437 w 647"/>
                <a:gd name="T77" fmla="*/ 24 h 264"/>
                <a:gd name="T78" fmla="*/ 416 w 647"/>
                <a:gd name="T79" fmla="*/ 42 h 264"/>
                <a:gd name="T80" fmla="*/ 400 w 647"/>
                <a:gd name="T81" fmla="*/ 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4"/>
                  </a:moveTo>
                  <a:lnTo>
                    <a:pt x="68" y="64"/>
                  </a:lnTo>
                  <a:lnTo>
                    <a:pt x="51" y="67"/>
                  </a:lnTo>
                  <a:lnTo>
                    <a:pt x="35" y="73"/>
                  </a:lnTo>
                  <a:lnTo>
                    <a:pt x="21" y="84"/>
                  </a:lnTo>
                  <a:lnTo>
                    <a:pt x="10" y="97"/>
                  </a:lnTo>
                  <a:lnTo>
                    <a:pt x="4" y="114"/>
                  </a:lnTo>
                  <a:lnTo>
                    <a:pt x="0" y="131"/>
                  </a:lnTo>
                  <a:lnTo>
                    <a:pt x="4" y="149"/>
                  </a:lnTo>
                  <a:lnTo>
                    <a:pt x="10" y="166"/>
                  </a:lnTo>
                  <a:lnTo>
                    <a:pt x="21" y="179"/>
                  </a:lnTo>
                  <a:lnTo>
                    <a:pt x="35" y="190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0"/>
                  </a:lnTo>
                  <a:lnTo>
                    <a:pt x="437" y="238"/>
                  </a:lnTo>
                  <a:lnTo>
                    <a:pt x="459" y="252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1"/>
                  </a:lnTo>
                  <a:lnTo>
                    <a:pt x="566" y="253"/>
                  </a:lnTo>
                  <a:lnTo>
                    <a:pt x="588" y="242"/>
                  </a:lnTo>
                  <a:lnTo>
                    <a:pt x="607" y="224"/>
                  </a:lnTo>
                  <a:lnTo>
                    <a:pt x="624" y="205"/>
                  </a:lnTo>
                  <a:lnTo>
                    <a:pt x="636" y="183"/>
                  </a:lnTo>
                  <a:lnTo>
                    <a:pt x="644" y="158"/>
                  </a:lnTo>
                  <a:lnTo>
                    <a:pt x="647" y="131"/>
                  </a:lnTo>
                  <a:lnTo>
                    <a:pt x="644" y="104"/>
                  </a:lnTo>
                  <a:lnTo>
                    <a:pt x="636" y="80"/>
                  </a:lnTo>
                  <a:lnTo>
                    <a:pt x="624" y="57"/>
                  </a:lnTo>
                  <a:lnTo>
                    <a:pt x="607" y="38"/>
                  </a:lnTo>
                  <a:lnTo>
                    <a:pt x="588" y="22"/>
                  </a:lnTo>
                  <a:lnTo>
                    <a:pt x="566" y="9"/>
                  </a:lnTo>
                  <a:lnTo>
                    <a:pt x="541" y="2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1"/>
                  </a:lnTo>
                  <a:lnTo>
                    <a:pt x="437" y="24"/>
                  </a:lnTo>
                  <a:lnTo>
                    <a:pt x="416" y="42"/>
                  </a:lnTo>
                  <a:lnTo>
                    <a:pt x="400" y="6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Freeform 11"/>
            <p:cNvSpPr>
              <a:spLocks/>
            </p:cNvSpPr>
            <p:nvPr/>
          </p:nvSpPr>
          <p:spPr bwMode="auto">
            <a:xfrm>
              <a:off x="-413" y="2145"/>
              <a:ext cx="72" cy="30"/>
            </a:xfrm>
            <a:custGeom>
              <a:avLst/>
              <a:gdLst>
                <a:gd name="T0" fmla="*/ 400 w 647"/>
                <a:gd name="T1" fmla="*/ 66 h 265"/>
                <a:gd name="T2" fmla="*/ 68 w 647"/>
                <a:gd name="T3" fmla="*/ 66 h 265"/>
                <a:gd name="T4" fmla="*/ 51 w 647"/>
                <a:gd name="T5" fmla="*/ 68 h 265"/>
                <a:gd name="T6" fmla="*/ 35 w 647"/>
                <a:gd name="T7" fmla="*/ 74 h 265"/>
                <a:gd name="T8" fmla="*/ 21 w 647"/>
                <a:gd name="T9" fmla="*/ 85 h 265"/>
                <a:gd name="T10" fmla="*/ 10 w 647"/>
                <a:gd name="T11" fmla="*/ 99 h 265"/>
                <a:gd name="T12" fmla="*/ 4 w 647"/>
                <a:gd name="T13" fmla="*/ 115 h 265"/>
                <a:gd name="T14" fmla="*/ 0 w 647"/>
                <a:gd name="T15" fmla="*/ 132 h 265"/>
                <a:gd name="T16" fmla="*/ 4 w 647"/>
                <a:gd name="T17" fmla="*/ 151 h 265"/>
                <a:gd name="T18" fmla="*/ 10 w 647"/>
                <a:gd name="T19" fmla="*/ 167 h 265"/>
                <a:gd name="T20" fmla="*/ 21 w 647"/>
                <a:gd name="T21" fmla="*/ 181 h 265"/>
                <a:gd name="T22" fmla="*/ 35 w 647"/>
                <a:gd name="T23" fmla="*/ 191 h 265"/>
                <a:gd name="T24" fmla="*/ 51 w 647"/>
                <a:gd name="T25" fmla="*/ 198 h 265"/>
                <a:gd name="T26" fmla="*/ 68 w 647"/>
                <a:gd name="T27" fmla="*/ 200 h 265"/>
                <a:gd name="T28" fmla="*/ 400 w 647"/>
                <a:gd name="T29" fmla="*/ 200 h 265"/>
                <a:gd name="T30" fmla="*/ 416 w 647"/>
                <a:gd name="T31" fmla="*/ 222 h 265"/>
                <a:gd name="T32" fmla="*/ 437 w 647"/>
                <a:gd name="T33" fmla="*/ 240 h 265"/>
                <a:gd name="T34" fmla="*/ 460 w 647"/>
                <a:gd name="T35" fmla="*/ 253 h 265"/>
                <a:gd name="T36" fmla="*/ 486 w 647"/>
                <a:gd name="T37" fmla="*/ 262 h 265"/>
                <a:gd name="T38" fmla="*/ 514 w 647"/>
                <a:gd name="T39" fmla="*/ 265 h 265"/>
                <a:gd name="T40" fmla="*/ 541 w 647"/>
                <a:gd name="T41" fmla="*/ 263 h 265"/>
                <a:gd name="T42" fmla="*/ 566 w 647"/>
                <a:gd name="T43" fmla="*/ 255 h 265"/>
                <a:gd name="T44" fmla="*/ 588 w 647"/>
                <a:gd name="T45" fmla="*/ 242 h 265"/>
                <a:gd name="T46" fmla="*/ 607 w 647"/>
                <a:gd name="T47" fmla="*/ 226 h 265"/>
                <a:gd name="T48" fmla="*/ 624 w 647"/>
                <a:gd name="T49" fmla="*/ 207 h 265"/>
                <a:gd name="T50" fmla="*/ 636 w 647"/>
                <a:gd name="T51" fmla="*/ 184 h 265"/>
                <a:gd name="T52" fmla="*/ 644 w 647"/>
                <a:gd name="T53" fmla="*/ 160 h 265"/>
                <a:gd name="T54" fmla="*/ 647 w 647"/>
                <a:gd name="T55" fmla="*/ 132 h 265"/>
                <a:gd name="T56" fmla="*/ 644 w 647"/>
                <a:gd name="T57" fmla="*/ 106 h 265"/>
                <a:gd name="T58" fmla="*/ 636 w 647"/>
                <a:gd name="T59" fmla="*/ 82 h 265"/>
                <a:gd name="T60" fmla="*/ 624 w 647"/>
                <a:gd name="T61" fmla="*/ 59 h 265"/>
                <a:gd name="T62" fmla="*/ 607 w 647"/>
                <a:gd name="T63" fmla="*/ 40 h 265"/>
                <a:gd name="T64" fmla="*/ 588 w 647"/>
                <a:gd name="T65" fmla="*/ 24 h 265"/>
                <a:gd name="T66" fmla="*/ 566 w 647"/>
                <a:gd name="T67" fmla="*/ 11 h 265"/>
                <a:gd name="T68" fmla="*/ 541 w 647"/>
                <a:gd name="T69" fmla="*/ 3 h 265"/>
                <a:gd name="T70" fmla="*/ 514 w 647"/>
                <a:gd name="T71" fmla="*/ 0 h 265"/>
                <a:gd name="T72" fmla="*/ 486 w 647"/>
                <a:gd name="T73" fmla="*/ 3 h 265"/>
                <a:gd name="T74" fmla="*/ 460 w 647"/>
                <a:gd name="T75" fmla="*/ 12 h 265"/>
                <a:gd name="T76" fmla="*/ 437 w 647"/>
                <a:gd name="T77" fmla="*/ 26 h 265"/>
                <a:gd name="T78" fmla="*/ 416 w 647"/>
                <a:gd name="T79" fmla="*/ 44 h 265"/>
                <a:gd name="T80" fmla="*/ 400 w 647"/>
                <a:gd name="T81" fmla="*/ 66 h 2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5">
                  <a:moveTo>
                    <a:pt x="400" y="66"/>
                  </a:moveTo>
                  <a:lnTo>
                    <a:pt x="68" y="66"/>
                  </a:lnTo>
                  <a:lnTo>
                    <a:pt x="51" y="68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9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1"/>
                  </a:lnTo>
                  <a:lnTo>
                    <a:pt x="10" y="167"/>
                  </a:lnTo>
                  <a:lnTo>
                    <a:pt x="21" y="181"/>
                  </a:lnTo>
                  <a:lnTo>
                    <a:pt x="35" y="191"/>
                  </a:lnTo>
                  <a:lnTo>
                    <a:pt x="51" y="198"/>
                  </a:lnTo>
                  <a:lnTo>
                    <a:pt x="68" y="200"/>
                  </a:lnTo>
                  <a:lnTo>
                    <a:pt x="400" y="200"/>
                  </a:lnTo>
                  <a:lnTo>
                    <a:pt x="416" y="222"/>
                  </a:lnTo>
                  <a:lnTo>
                    <a:pt x="437" y="240"/>
                  </a:lnTo>
                  <a:lnTo>
                    <a:pt x="460" y="253"/>
                  </a:lnTo>
                  <a:lnTo>
                    <a:pt x="486" y="262"/>
                  </a:lnTo>
                  <a:lnTo>
                    <a:pt x="514" y="265"/>
                  </a:lnTo>
                  <a:lnTo>
                    <a:pt x="541" y="263"/>
                  </a:lnTo>
                  <a:lnTo>
                    <a:pt x="566" y="255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2"/>
                  </a:lnTo>
                  <a:lnTo>
                    <a:pt x="644" y="106"/>
                  </a:lnTo>
                  <a:lnTo>
                    <a:pt x="636" y="82"/>
                  </a:lnTo>
                  <a:lnTo>
                    <a:pt x="624" y="59"/>
                  </a:lnTo>
                  <a:lnTo>
                    <a:pt x="607" y="40"/>
                  </a:lnTo>
                  <a:lnTo>
                    <a:pt x="588" y="24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60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12"/>
            <p:cNvSpPr>
              <a:spLocks/>
            </p:cNvSpPr>
            <p:nvPr/>
          </p:nvSpPr>
          <p:spPr bwMode="auto">
            <a:xfrm>
              <a:off x="-413" y="2073"/>
              <a:ext cx="72" cy="29"/>
            </a:xfrm>
            <a:custGeom>
              <a:avLst/>
              <a:gdLst>
                <a:gd name="T0" fmla="*/ 400 w 647"/>
                <a:gd name="T1" fmla="*/ 65 h 264"/>
                <a:gd name="T2" fmla="*/ 68 w 647"/>
                <a:gd name="T3" fmla="*/ 65 h 264"/>
                <a:gd name="T4" fmla="*/ 51 w 647"/>
                <a:gd name="T5" fmla="*/ 67 h 264"/>
                <a:gd name="T6" fmla="*/ 35 w 647"/>
                <a:gd name="T7" fmla="*/ 74 h 264"/>
                <a:gd name="T8" fmla="*/ 21 w 647"/>
                <a:gd name="T9" fmla="*/ 85 h 264"/>
                <a:gd name="T10" fmla="*/ 10 w 647"/>
                <a:gd name="T11" fmla="*/ 98 h 264"/>
                <a:gd name="T12" fmla="*/ 4 w 647"/>
                <a:gd name="T13" fmla="*/ 115 h 264"/>
                <a:gd name="T14" fmla="*/ 0 w 647"/>
                <a:gd name="T15" fmla="*/ 132 h 264"/>
                <a:gd name="T16" fmla="*/ 4 w 647"/>
                <a:gd name="T17" fmla="*/ 150 h 264"/>
                <a:gd name="T18" fmla="*/ 10 w 647"/>
                <a:gd name="T19" fmla="*/ 166 h 264"/>
                <a:gd name="T20" fmla="*/ 21 w 647"/>
                <a:gd name="T21" fmla="*/ 180 h 264"/>
                <a:gd name="T22" fmla="*/ 35 w 647"/>
                <a:gd name="T23" fmla="*/ 191 h 264"/>
                <a:gd name="T24" fmla="*/ 51 w 647"/>
                <a:gd name="T25" fmla="*/ 197 h 264"/>
                <a:gd name="T26" fmla="*/ 68 w 647"/>
                <a:gd name="T27" fmla="*/ 199 h 264"/>
                <a:gd name="T28" fmla="*/ 400 w 647"/>
                <a:gd name="T29" fmla="*/ 199 h 264"/>
                <a:gd name="T30" fmla="*/ 416 w 647"/>
                <a:gd name="T31" fmla="*/ 222 h 264"/>
                <a:gd name="T32" fmla="*/ 437 w 647"/>
                <a:gd name="T33" fmla="*/ 239 h 264"/>
                <a:gd name="T34" fmla="*/ 459 w 647"/>
                <a:gd name="T35" fmla="*/ 253 h 264"/>
                <a:gd name="T36" fmla="*/ 486 w 647"/>
                <a:gd name="T37" fmla="*/ 261 h 264"/>
                <a:gd name="T38" fmla="*/ 514 w 647"/>
                <a:gd name="T39" fmla="*/ 264 h 264"/>
                <a:gd name="T40" fmla="*/ 541 w 647"/>
                <a:gd name="T41" fmla="*/ 262 h 264"/>
                <a:gd name="T42" fmla="*/ 566 w 647"/>
                <a:gd name="T43" fmla="*/ 254 h 264"/>
                <a:gd name="T44" fmla="*/ 588 w 647"/>
                <a:gd name="T45" fmla="*/ 242 h 264"/>
                <a:gd name="T46" fmla="*/ 607 w 647"/>
                <a:gd name="T47" fmla="*/ 226 h 264"/>
                <a:gd name="T48" fmla="*/ 624 w 647"/>
                <a:gd name="T49" fmla="*/ 207 h 264"/>
                <a:gd name="T50" fmla="*/ 636 w 647"/>
                <a:gd name="T51" fmla="*/ 184 h 264"/>
                <a:gd name="T52" fmla="*/ 644 w 647"/>
                <a:gd name="T53" fmla="*/ 160 h 264"/>
                <a:gd name="T54" fmla="*/ 647 w 647"/>
                <a:gd name="T55" fmla="*/ 133 h 264"/>
                <a:gd name="T56" fmla="*/ 644 w 647"/>
                <a:gd name="T57" fmla="*/ 106 h 264"/>
                <a:gd name="T58" fmla="*/ 636 w 647"/>
                <a:gd name="T59" fmla="*/ 81 h 264"/>
                <a:gd name="T60" fmla="*/ 624 w 647"/>
                <a:gd name="T61" fmla="*/ 59 h 264"/>
                <a:gd name="T62" fmla="*/ 607 w 647"/>
                <a:gd name="T63" fmla="*/ 39 h 264"/>
                <a:gd name="T64" fmla="*/ 588 w 647"/>
                <a:gd name="T65" fmla="*/ 22 h 264"/>
                <a:gd name="T66" fmla="*/ 566 w 647"/>
                <a:gd name="T67" fmla="*/ 11 h 264"/>
                <a:gd name="T68" fmla="*/ 541 w 647"/>
                <a:gd name="T69" fmla="*/ 3 h 264"/>
                <a:gd name="T70" fmla="*/ 514 w 647"/>
                <a:gd name="T71" fmla="*/ 0 h 264"/>
                <a:gd name="T72" fmla="*/ 486 w 647"/>
                <a:gd name="T73" fmla="*/ 3 h 264"/>
                <a:gd name="T74" fmla="*/ 459 w 647"/>
                <a:gd name="T75" fmla="*/ 12 h 264"/>
                <a:gd name="T76" fmla="*/ 437 w 647"/>
                <a:gd name="T77" fmla="*/ 26 h 264"/>
                <a:gd name="T78" fmla="*/ 416 w 647"/>
                <a:gd name="T79" fmla="*/ 44 h 264"/>
                <a:gd name="T80" fmla="*/ 400 w 647"/>
                <a:gd name="T81" fmla="*/ 65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647" h="264">
                  <a:moveTo>
                    <a:pt x="400" y="65"/>
                  </a:moveTo>
                  <a:lnTo>
                    <a:pt x="68" y="65"/>
                  </a:lnTo>
                  <a:lnTo>
                    <a:pt x="51" y="67"/>
                  </a:lnTo>
                  <a:lnTo>
                    <a:pt x="35" y="74"/>
                  </a:lnTo>
                  <a:lnTo>
                    <a:pt x="21" y="85"/>
                  </a:lnTo>
                  <a:lnTo>
                    <a:pt x="10" y="98"/>
                  </a:lnTo>
                  <a:lnTo>
                    <a:pt x="4" y="115"/>
                  </a:lnTo>
                  <a:lnTo>
                    <a:pt x="0" y="132"/>
                  </a:lnTo>
                  <a:lnTo>
                    <a:pt x="4" y="150"/>
                  </a:lnTo>
                  <a:lnTo>
                    <a:pt x="10" y="166"/>
                  </a:lnTo>
                  <a:lnTo>
                    <a:pt x="21" y="180"/>
                  </a:lnTo>
                  <a:lnTo>
                    <a:pt x="35" y="191"/>
                  </a:lnTo>
                  <a:lnTo>
                    <a:pt x="51" y="197"/>
                  </a:lnTo>
                  <a:lnTo>
                    <a:pt x="68" y="199"/>
                  </a:lnTo>
                  <a:lnTo>
                    <a:pt x="400" y="199"/>
                  </a:lnTo>
                  <a:lnTo>
                    <a:pt x="416" y="222"/>
                  </a:lnTo>
                  <a:lnTo>
                    <a:pt x="437" y="239"/>
                  </a:lnTo>
                  <a:lnTo>
                    <a:pt x="459" y="253"/>
                  </a:lnTo>
                  <a:lnTo>
                    <a:pt x="486" y="261"/>
                  </a:lnTo>
                  <a:lnTo>
                    <a:pt x="514" y="264"/>
                  </a:lnTo>
                  <a:lnTo>
                    <a:pt x="541" y="262"/>
                  </a:lnTo>
                  <a:lnTo>
                    <a:pt x="566" y="254"/>
                  </a:lnTo>
                  <a:lnTo>
                    <a:pt x="588" y="242"/>
                  </a:lnTo>
                  <a:lnTo>
                    <a:pt x="607" y="226"/>
                  </a:lnTo>
                  <a:lnTo>
                    <a:pt x="624" y="207"/>
                  </a:lnTo>
                  <a:lnTo>
                    <a:pt x="636" y="184"/>
                  </a:lnTo>
                  <a:lnTo>
                    <a:pt x="644" y="160"/>
                  </a:lnTo>
                  <a:lnTo>
                    <a:pt x="647" y="133"/>
                  </a:lnTo>
                  <a:lnTo>
                    <a:pt x="644" y="106"/>
                  </a:lnTo>
                  <a:lnTo>
                    <a:pt x="636" y="81"/>
                  </a:lnTo>
                  <a:lnTo>
                    <a:pt x="624" y="59"/>
                  </a:lnTo>
                  <a:lnTo>
                    <a:pt x="607" y="39"/>
                  </a:lnTo>
                  <a:lnTo>
                    <a:pt x="588" y="22"/>
                  </a:lnTo>
                  <a:lnTo>
                    <a:pt x="566" y="11"/>
                  </a:lnTo>
                  <a:lnTo>
                    <a:pt x="541" y="3"/>
                  </a:lnTo>
                  <a:lnTo>
                    <a:pt x="514" y="0"/>
                  </a:lnTo>
                  <a:lnTo>
                    <a:pt x="486" y="3"/>
                  </a:lnTo>
                  <a:lnTo>
                    <a:pt x="459" y="12"/>
                  </a:lnTo>
                  <a:lnTo>
                    <a:pt x="437" y="26"/>
                  </a:lnTo>
                  <a:lnTo>
                    <a:pt x="416" y="44"/>
                  </a:lnTo>
                  <a:lnTo>
                    <a:pt x="400" y="6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13"/>
            <p:cNvSpPr>
              <a:spLocks/>
            </p:cNvSpPr>
            <p:nvPr/>
          </p:nvSpPr>
          <p:spPr bwMode="auto">
            <a:xfrm>
              <a:off x="-118" y="2110"/>
              <a:ext cx="91" cy="90"/>
            </a:xfrm>
            <a:custGeom>
              <a:avLst/>
              <a:gdLst>
                <a:gd name="T0" fmla="*/ 537 w 816"/>
                <a:gd name="T1" fmla="*/ 547 h 805"/>
                <a:gd name="T2" fmla="*/ 497 w 816"/>
                <a:gd name="T3" fmla="*/ 587 h 805"/>
                <a:gd name="T4" fmla="*/ 468 w 816"/>
                <a:gd name="T5" fmla="*/ 616 h 805"/>
                <a:gd name="T6" fmla="*/ 447 w 816"/>
                <a:gd name="T7" fmla="*/ 636 h 805"/>
                <a:gd name="T8" fmla="*/ 433 w 816"/>
                <a:gd name="T9" fmla="*/ 650 h 805"/>
                <a:gd name="T10" fmla="*/ 421 w 816"/>
                <a:gd name="T11" fmla="*/ 662 h 805"/>
                <a:gd name="T12" fmla="*/ 410 w 816"/>
                <a:gd name="T13" fmla="*/ 673 h 805"/>
                <a:gd name="T14" fmla="*/ 395 w 816"/>
                <a:gd name="T15" fmla="*/ 688 h 805"/>
                <a:gd name="T16" fmla="*/ 374 w 816"/>
                <a:gd name="T17" fmla="*/ 708 h 805"/>
                <a:gd name="T18" fmla="*/ 345 w 816"/>
                <a:gd name="T19" fmla="*/ 737 h 805"/>
                <a:gd name="T20" fmla="*/ 303 w 816"/>
                <a:gd name="T21" fmla="*/ 779 h 805"/>
                <a:gd name="T22" fmla="*/ 208 w 816"/>
                <a:gd name="T23" fmla="*/ 736 h 805"/>
                <a:gd name="T24" fmla="*/ 68 w 816"/>
                <a:gd name="T25" fmla="*/ 607 h 805"/>
                <a:gd name="T26" fmla="*/ 0 w 816"/>
                <a:gd name="T27" fmla="*/ 538 h 805"/>
                <a:gd name="T28" fmla="*/ 2 w 816"/>
                <a:gd name="T29" fmla="*/ 535 h 805"/>
                <a:gd name="T30" fmla="*/ 37 w 816"/>
                <a:gd name="T31" fmla="*/ 499 h 805"/>
                <a:gd name="T32" fmla="*/ 92 w 816"/>
                <a:gd name="T33" fmla="*/ 446 h 805"/>
                <a:gd name="T34" fmla="*/ 135 w 816"/>
                <a:gd name="T35" fmla="*/ 403 h 805"/>
                <a:gd name="T36" fmla="*/ 169 w 816"/>
                <a:gd name="T37" fmla="*/ 369 h 805"/>
                <a:gd name="T38" fmla="*/ 197 w 816"/>
                <a:gd name="T39" fmla="*/ 341 h 805"/>
                <a:gd name="T40" fmla="*/ 223 w 816"/>
                <a:gd name="T41" fmla="*/ 315 h 805"/>
                <a:gd name="T42" fmla="*/ 248 w 816"/>
                <a:gd name="T43" fmla="*/ 291 h 805"/>
                <a:gd name="T44" fmla="*/ 277 w 816"/>
                <a:gd name="T45" fmla="*/ 263 h 805"/>
                <a:gd name="T46" fmla="*/ 312 w 816"/>
                <a:gd name="T47" fmla="*/ 228 h 805"/>
                <a:gd name="T48" fmla="*/ 356 w 816"/>
                <a:gd name="T49" fmla="*/ 187 h 805"/>
                <a:gd name="T50" fmla="*/ 411 w 816"/>
                <a:gd name="T51" fmla="*/ 133 h 805"/>
                <a:gd name="T52" fmla="*/ 473 w 816"/>
                <a:gd name="T53" fmla="*/ 75 h 805"/>
                <a:gd name="T54" fmla="*/ 540 w 816"/>
                <a:gd name="T55" fmla="*/ 31 h 805"/>
                <a:gd name="T56" fmla="*/ 602 w 816"/>
                <a:gd name="T57" fmla="*/ 4 h 805"/>
                <a:gd name="T58" fmla="*/ 657 w 816"/>
                <a:gd name="T59" fmla="*/ 1 h 805"/>
                <a:gd name="T60" fmla="*/ 709 w 816"/>
                <a:gd name="T61" fmla="*/ 22 h 805"/>
                <a:gd name="T62" fmla="*/ 759 w 816"/>
                <a:gd name="T63" fmla="*/ 60 h 805"/>
                <a:gd name="T64" fmla="*/ 796 w 816"/>
                <a:gd name="T65" fmla="*/ 108 h 805"/>
                <a:gd name="T66" fmla="*/ 815 w 816"/>
                <a:gd name="T67" fmla="*/ 161 h 805"/>
                <a:gd name="T68" fmla="*/ 810 w 816"/>
                <a:gd name="T69" fmla="*/ 217 h 805"/>
                <a:gd name="T70" fmla="*/ 773 w 816"/>
                <a:gd name="T71" fmla="*/ 283 h 805"/>
                <a:gd name="T72" fmla="*/ 717 w 816"/>
                <a:gd name="T73" fmla="*/ 354 h 805"/>
                <a:gd name="T74" fmla="*/ 681 w 816"/>
                <a:gd name="T75" fmla="*/ 398 h 805"/>
                <a:gd name="T76" fmla="*/ 656 w 816"/>
                <a:gd name="T77" fmla="*/ 424 h 8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816" h="805">
                  <a:moveTo>
                    <a:pt x="563" y="521"/>
                  </a:moveTo>
                  <a:lnTo>
                    <a:pt x="537" y="547"/>
                  </a:lnTo>
                  <a:lnTo>
                    <a:pt x="516" y="569"/>
                  </a:lnTo>
                  <a:lnTo>
                    <a:pt x="497" y="587"/>
                  </a:lnTo>
                  <a:lnTo>
                    <a:pt x="482" y="603"/>
                  </a:lnTo>
                  <a:lnTo>
                    <a:pt x="468" y="616"/>
                  </a:lnTo>
                  <a:lnTo>
                    <a:pt x="457" y="627"/>
                  </a:lnTo>
                  <a:lnTo>
                    <a:pt x="447" y="636"/>
                  </a:lnTo>
                  <a:lnTo>
                    <a:pt x="440" y="644"/>
                  </a:lnTo>
                  <a:lnTo>
                    <a:pt x="433" y="650"/>
                  </a:lnTo>
                  <a:lnTo>
                    <a:pt x="427" y="657"/>
                  </a:lnTo>
                  <a:lnTo>
                    <a:pt x="421" y="662"/>
                  </a:lnTo>
                  <a:lnTo>
                    <a:pt x="416" y="668"/>
                  </a:lnTo>
                  <a:lnTo>
                    <a:pt x="410" y="673"/>
                  </a:lnTo>
                  <a:lnTo>
                    <a:pt x="403" y="679"/>
                  </a:lnTo>
                  <a:lnTo>
                    <a:pt x="395" y="688"/>
                  </a:lnTo>
                  <a:lnTo>
                    <a:pt x="386" y="696"/>
                  </a:lnTo>
                  <a:lnTo>
                    <a:pt x="374" y="708"/>
                  </a:lnTo>
                  <a:lnTo>
                    <a:pt x="361" y="721"/>
                  </a:lnTo>
                  <a:lnTo>
                    <a:pt x="345" y="737"/>
                  </a:lnTo>
                  <a:lnTo>
                    <a:pt x="326" y="756"/>
                  </a:lnTo>
                  <a:lnTo>
                    <a:pt x="303" y="779"/>
                  </a:lnTo>
                  <a:lnTo>
                    <a:pt x="277" y="805"/>
                  </a:lnTo>
                  <a:lnTo>
                    <a:pt x="208" y="736"/>
                  </a:lnTo>
                  <a:lnTo>
                    <a:pt x="138" y="671"/>
                  </a:lnTo>
                  <a:lnTo>
                    <a:pt x="68" y="607"/>
                  </a:lnTo>
                  <a:lnTo>
                    <a:pt x="0" y="539"/>
                  </a:lnTo>
                  <a:lnTo>
                    <a:pt x="0" y="538"/>
                  </a:lnTo>
                  <a:lnTo>
                    <a:pt x="1" y="537"/>
                  </a:lnTo>
                  <a:lnTo>
                    <a:pt x="2" y="535"/>
                  </a:lnTo>
                  <a:lnTo>
                    <a:pt x="3" y="533"/>
                  </a:lnTo>
                  <a:lnTo>
                    <a:pt x="37" y="499"/>
                  </a:lnTo>
                  <a:lnTo>
                    <a:pt x="66" y="472"/>
                  </a:lnTo>
                  <a:lnTo>
                    <a:pt x="92" y="446"/>
                  </a:lnTo>
                  <a:lnTo>
                    <a:pt x="114" y="423"/>
                  </a:lnTo>
                  <a:lnTo>
                    <a:pt x="135" y="403"/>
                  </a:lnTo>
                  <a:lnTo>
                    <a:pt x="152" y="385"/>
                  </a:lnTo>
                  <a:lnTo>
                    <a:pt x="169" y="369"/>
                  </a:lnTo>
                  <a:lnTo>
                    <a:pt x="183" y="355"/>
                  </a:lnTo>
                  <a:lnTo>
                    <a:pt x="197" y="341"/>
                  </a:lnTo>
                  <a:lnTo>
                    <a:pt x="210" y="328"/>
                  </a:lnTo>
                  <a:lnTo>
                    <a:pt x="223" y="315"/>
                  </a:lnTo>
                  <a:lnTo>
                    <a:pt x="236" y="303"/>
                  </a:lnTo>
                  <a:lnTo>
                    <a:pt x="248" y="291"/>
                  </a:lnTo>
                  <a:lnTo>
                    <a:pt x="262" y="277"/>
                  </a:lnTo>
                  <a:lnTo>
                    <a:pt x="277" y="263"/>
                  </a:lnTo>
                  <a:lnTo>
                    <a:pt x="294" y="247"/>
                  </a:lnTo>
                  <a:lnTo>
                    <a:pt x="312" y="228"/>
                  </a:lnTo>
                  <a:lnTo>
                    <a:pt x="332" y="209"/>
                  </a:lnTo>
                  <a:lnTo>
                    <a:pt x="356" y="187"/>
                  </a:lnTo>
                  <a:lnTo>
                    <a:pt x="382" y="161"/>
                  </a:lnTo>
                  <a:lnTo>
                    <a:pt x="411" y="133"/>
                  </a:lnTo>
                  <a:lnTo>
                    <a:pt x="443" y="101"/>
                  </a:lnTo>
                  <a:lnTo>
                    <a:pt x="473" y="75"/>
                  </a:lnTo>
                  <a:lnTo>
                    <a:pt x="505" y="52"/>
                  </a:lnTo>
                  <a:lnTo>
                    <a:pt x="540" y="31"/>
                  </a:lnTo>
                  <a:lnTo>
                    <a:pt x="574" y="14"/>
                  </a:lnTo>
                  <a:lnTo>
                    <a:pt x="602" y="4"/>
                  </a:lnTo>
                  <a:lnTo>
                    <a:pt x="630" y="0"/>
                  </a:lnTo>
                  <a:lnTo>
                    <a:pt x="657" y="1"/>
                  </a:lnTo>
                  <a:lnTo>
                    <a:pt x="684" y="9"/>
                  </a:lnTo>
                  <a:lnTo>
                    <a:pt x="709" y="22"/>
                  </a:lnTo>
                  <a:lnTo>
                    <a:pt x="734" y="39"/>
                  </a:lnTo>
                  <a:lnTo>
                    <a:pt x="759" y="60"/>
                  </a:lnTo>
                  <a:lnTo>
                    <a:pt x="780" y="84"/>
                  </a:lnTo>
                  <a:lnTo>
                    <a:pt x="796" y="108"/>
                  </a:lnTo>
                  <a:lnTo>
                    <a:pt x="808" y="134"/>
                  </a:lnTo>
                  <a:lnTo>
                    <a:pt x="815" y="161"/>
                  </a:lnTo>
                  <a:lnTo>
                    <a:pt x="816" y="188"/>
                  </a:lnTo>
                  <a:lnTo>
                    <a:pt x="810" y="217"/>
                  </a:lnTo>
                  <a:lnTo>
                    <a:pt x="798" y="246"/>
                  </a:lnTo>
                  <a:lnTo>
                    <a:pt x="773" y="283"/>
                  </a:lnTo>
                  <a:lnTo>
                    <a:pt x="746" y="319"/>
                  </a:lnTo>
                  <a:lnTo>
                    <a:pt x="717" y="354"/>
                  </a:lnTo>
                  <a:lnTo>
                    <a:pt x="689" y="389"/>
                  </a:lnTo>
                  <a:lnTo>
                    <a:pt x="681" y="398"/>
                  </a:lnTo>
                  <a:lnTo>
                    <a:pt x="674" y="407"/>
                  </a:lnTo>
                  <a:lnTo>
                    <a:pt x="656" y="424"/>
                  </a:lnTo>
                  <a:lnTo>
                    <a:pt x="563" y="5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14"/>
            <p:cNvSpPr>
              <a:spLocks/>
            </p:cNvSpPr>
            <p:nvPr/>
          </p:nvSpPr>
          <p:spPr bwMode="auto">
            <a:xfrm>
              <a:off x="-89" y="2158"/>
              <a:ext cx="69" cy="70"/>
            </a:xfrm>
            <a:custGeom>
              <a:avLst/>
              <a:gdLst>
                <a:gd name="T0" fmla="*/ 606 w 629"/>
                <a:gd name="T1" fmla="*/ 105 h 630"/>
                <a:gd name="T2" fmla="*/ 517 w 629"/>
                <a:gd name="T3" fmla="*/ 196 h 630"/>
                <a:gd name="T4" fmla="*/ 427 w 629"/>
                <a:gd name="T5" fmla="*/ 286 h 630"/>
                <a:gd name="T6" fmla="*/ 106 w 629"/>
                <a:gd name="T7" fmla="*/ 605 h 630"/>
                <a:gd name="T8" fmla="*/ 94 w 629"/>
                <a:gd name="T9" fmla="*/ 618 h 630"/>
                <a:gd name="T10" fmla="*/ 78 w 629"/>
                <a:gd name="T11" fmla="*/ 625 h 630"/>
                <a:gd name="T12" fmla="*/ 63 w 629"/>
                <a:gd name="T13" fmla="*/ 630 h 630"/>
                <a:gd name="T14" fmla="*/ 47 w 629"/>
                <a:gd name="T15" fmla="*/ 630 h 630"/>
                <a:gd name="T16" fmla="*/ 30 w 629"/>
                <a:gd name="T17" fmla="*/ 622 h 630"/>
                <a:gd name="T18" fmla="*/ 16 w 629"/>
                <a:gd name="T19" fmla="*/ 613 h 630"/>
                <a:gd name="T20" fmla="*/ 6 w 629"/>
                <a:gd name="T21" fmla="*/ 601 h 630"/>
                <a:gd name="T22" fmla="*/ 1 w 629"/>
                <a:gd name="T23" fmla="*/ 588 h 630"/>
                <a:gd name="T24" fmla="*/ 0 w 629"/>
                <a:gd name="T25" fmla="*/ 573 h 630"/>
                <a:gd name="T26" fmla="*/ 3 w 629"/>
                <a:gd name="T27" fmla="*/ 557 h 630"/>
                <a:gd name="T28" fmla="*/ 10 w 629"/>
                <a:gd name="T29" fmla="*/ 543 h 630"/>
                <a:gd name="T30" fmla="*/ 20 w 629"/>
                <a:gd name="T31" fmla="*/ 530 h 630"/>
                <a:gd name="T32" fmla="*/ 32 w 629"/>
                <a:gd name="T33" fmla="*/ 517 h 630"/>
                <a:gd name="T34" fmla="*/ 48 w 629"/>
                <a:gd name="T35" fmla="*/ 501 h 630"/>
                <a:gd name="T36" fmla="*/ 68 w 629"/>
                <a:gd name="T37" fmla="*/ 482 h 630"/>
                <a:gd name="T38" fmla="*/ 88 w 629"/>
                <a:gd name="T39" fmla="*/ 461 h 630"/>
                <a:gd name="T40" fmla="*/ 112 w 629"/>
                <a:gd name="T41" fmla="*/ 438 h 630"/>
                <a:gd name="T42" fmla="*/ 136 w 629"/>
                <a:gd name="T43" fmla="*/ 413 h 630"/>
                <a:gd name="T44" fmla="*/ 162 w 629"/>
                <a:gd name="T45" fmla="*/ 387 h 630"/>
                <a:gd name="T46" fmla="*/ 189 w 629"/>
                <a:gd name="T47" fmla="*/ 360 h 630"/>
                <a:gd name="T48" fmla="*/ 217 w 629"/>
                <a:gd name="T49" fmla="*/ 332 h 630"/>
                <a:gd name="T50" fmla="*/ 246 w 629"/>
                <a:gd name="T51" fmla="*/ 303 h 630"/>
                <a:gd name="T52" fmla="*/ 275 w 629"/>
                <a:gd name="T53" fmla="*/ 274 h 630"/>
                <a:gd name="T54" fmla="*/ 303 w 629"/>
                <a:gd name="T55" fmla="*/ 246 h 630"/>
                <a:gd name="T56" fmla="*/ 331 w 629"/>
                <a:gd name="T57" fmla="*/ 217 h 630"/>
                <a:gd name="T58" fmla="*/ 359 w 629"/>
                <a:gd name="T59" fmla="*/ 191 h 630"/>
                <a:gd name="T60" fmla="*/ 385 w 629"/>
                <a:gd name="T61" fmla="*/ 164 h 630"/>
                <a:gd name="T62" fmla="*/ 409 w 629"/>
                <a:gd name="T63" fmla="*/ 139 h 630"/>
                <a:gd name="T64" fmla="*/ 433 w 629"/>
                <a:gd name="T65" fmla="*/ 116 h 630"/>
                <a:gd name="T66" fmla="*/ 455 w 629"/>
                <a:gd name="T67" fmla="*/ 94 h 630"/>
                <a:gd name="T68" fmla="*/ 474 w 629"/>
                <a:gd name="T69" fmla="*/ 75 h 630"/>
                <a:gd name="T70" fmla="*/ 491 w 629"/>
                <a:gd name="T71" fmla="*/ 59 h 630"/>
                <a:gd name="T72" fmla="*/ 505 w 629"/>
                <a:gd name="T73" fmla="*/ 45 h 630"/>
                <a:gd name="T74" fmla="*/ 516 w 629"/>
                <a:gd name="T75" fmla="*/ 34 h 630"/>
                <a:gd name="T76" fmla="*/ 523 w 629"/>
                <a:gd name="T77" fmla="*/ 27 h 630"/>
                <a:gd name="T78" fmla="*/ 527 w 629"/>
                <a:gd name="T79" fmla="*/ 22 h 630"/>
                <a:gd name="T80" fmla="*/ 546 w 629"/>
                <a:gd name="T81" fmla="*/ 9 h 630"/>
                <a:gd name="T82" fmla="*/ 564 w 629"/>
                <a:gd name="T83" fmla="*/ 1 h 630"/>
                <a:gd name="T84" fmla="*/ 581 w 629"/>
                <a:gd name="T85" fmla="*/ 0 h 630"/>
                <a:gd name="T86" fmla="*/ 599 w 629"/>
                <a:gd name="T87" fmla="*/ 6 h 630"/>
                <a:gd name="T88" fmla="*/ 615 w 629"/>
                <a:gd name="T89" fmla="*/ 19 h 630"/>
                <a:gd name="T90" fmla="*/ 623 w 629"/>
                <a:gd name="T91" fmla="*/ 31 h 630"/>
                <a:gd name="T92" fmla="*/ 629 w 629"/>
                <a:gd name="T93" fmla="*/ 45 h 630"/>
                <a:gd name="T94" fmla="*/ 629 w 629"/>
                <a:gd name="T95" fmla="*/ 60 h 630"/>
                <a:gd name="T96" fmla="*/ 625 w 629"/>
                <a:gd name="T97" fmla="*/ 75 h 630"/>
                <a:gd name="T98" fmla="*/ 618 w 629"/>
                <a:gd name="T99" fmla="*/ 90 h 630"/>
                <a:gd name="T100" fmla="*/ 606 w 629"/>
                <a:gd name="T101" fmla="*/ 105 h 6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29" h="630">
                  <a:moveTo>
                    <a:pt x="606" y="105"/>
                  </a:moveTo>
                  <a:lnTo>
                    <a:pt x="517" y="196"/>
                  </a:lnTo>
                  <a:lnTo>
                    <a:pt x="427" y="286"/>
                  </a:lnTo>
                  <a:lnTo>
                    <a:pt x="106" y="605"/>
                  </a:lnTo>
                  <a:lnTo>
                    <a:pt x="94" y="618"/>
                  </a:lnTo>
                  <a:lnTo>
                    <a:pt x="78" y="625"/>
                  </a:lnTo>
                  <a:lnTo>
                    <a:pt x="63" y="630"/>
                  </a:lnTo>
                  <a:lnTo>
                    <a:pt x="47" y="630"/>
                  </a:lnTo>
                  <a:lnTo>
                    <a:pt x="30" y="622"/>
                  </a:lnTo>
                  <a:lnTo>
                    <a:pt x="16" y="613"/>
                  </a:lnTo>
                  <a:lnTo>
                    <a:pt x="6" y="601"/>
                  </a:lnTo>
                  <a:lnTo>
                    <a:pt x="1" y="588"/>
                  </a:lnTo>
                  <a:lnTo>
                    <a:pt x="0" y="573"/>
                  </a:lnTo>
                  <a:lnTo>
                    <a:pt x="3" y="557"/>
                  </a:lnTo>
                  <a:lnTo>
                    <a:pt x="10" y="543"/>
                  </a:lnTo>
                  <a:lnTo>
                    <a:pt x="20" y="530"/>
                  </a:lnTo>
                  <a:lnTo>
                    <a:pt x="32" y="517"/>
                  </a:lnTo>
                  <a:lnTo>
                    <a:pt x="48" y="501"/>
                  </a:lnTo>
                  <a:lnTo>
                    <a:pt x="68" y="482"/>
                  </a:lnTo>
                  <a:lnTo>
                    <a:pt x="88" y="461"/>
                  </a:lnTo>
                  <a:lnTo>
                    <a:pt x="112" y="438"/>
                  </a:lnTo>
                  <a:lnTo>
                    <a:pt x="136" y="413"/>
                  </a:lnTo>
                  <a:lnTo>
                    <a:pt x="162" y="387"/>
                  </a:lnTo>
                  <a:lnTo>
                    <a:pt x="189" y="360"/>
                  </a:lnTo>
                  <a:lnTo>
                    <a:pt x="217" y="332"/>
                  </a:lnTo>
                  <a:lnTo>
                    <a:pt x="246" y="303"/>
                  </a:lnTo>
                  <a:lnTo>
                    <a:pt x="275" y="274"/>
                  </a:lnTo>
                  <a:lnTo>
                    <a:pt x="303" y="246"/>
                  </a:lnTo>
                  <a:lnTo>
                    <a:pt x="331" y="217"/>
                  </a:lnTo>
                  <a:lnTo>
                    <a:pt x="359" y="191"/>
                  </a:lnTo>
                  <a:lnTo>
                    <a:pt x="385" y="164"/>
                  </a:lnTo>
                  <a:lnTo>
                    <a:pt x="409" y="139"/>
                  </a:lnTo>
                  <a:lnTo>
                    <a:pt x="433" y="116"/>
                  </a:lnTo>
                  <a:lnTo>
                    <a:pt x="455" y="94"/>
                  </a:lnTo>
                  <a:lnTo>
                    <a:pt x="474" y="75"/>
                  </a:lnTo>
                  <a:lnTo>
                    <a:pt x="491" y="59"/>
                  </a:lnTo>
                  <a:lnTo>
                    <a:pt x="505" y="45"/>
                  </a:lnTo>
                  <a:lnTo>
                    <a:pt x="516" y="34"/>
                  </a:lnTo>
                  <a:lnTo>
                    <a:pt x="523" y="27"/>
                  </a:lnTo>
                  <a:lnTo>
                    <a:pt x="527" y="22"/>
                  </a:lnTo>
                  <a:lnTo>
                    <a:pt x="546" y="9"/>
                  </a:lnTo>
                  <a:lnTo>
                    <a:pt x="564" y="1"/>
                  </a:lnTo>
                  <a:lnTo>
                    <a:pt x="581" y="0"/>
                  </a:lnTo>
                  <a:lnTo>
                    <a:pt x="599" y="6"/>
                  </a:lnTo>
                  <a:lnTo>
                    <a:pt x="615" y="19"/>
                  </a:lnTo>
                  <a:lnTo>
                    <a:pt x="623" y="31"/>
                  </a:lnTo>
                  <a:lnTo>
                    <a:pt x="629" y="45"/>
                  </a:lnTo>
                  <a:lnTo>
                    <a:pt x="629" y="60"/>
                  </a:lnTo>
                  <a:lnTo>
                    <a:pt x="625" y="75"/>
                  </a:lnTo>
                  <a:lnTo>
                    <a:pt x="618" y="90"/>
                  </a:lnTo>
                  <a:lnTo>
                    <a:pt x="606" y="1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15"/>
            <p:cNvSpPr>
              <a:spLocks/>
            </p:cNvSpPr>
            <p:nvPr/>
          </p:nvSpPr>
          <p:spPr bwMode="auto">
            <a:xfrm>
              <a:off x="-312" y="2031"/>
              <a:ext cx="180" cy="13"/>
            </a:xfrm>
            <a:custGeom>
              <a:avLst/>
              <a:gdLst>
                <a:gd name="T0" fmla="*/ 1615 w 1615"/>
                <a:gd name="T1" fmla="*/ 61 h 123"/>
                <a:gd name="T2" fmla="*/ 1612 w 1615"/>
                <a:gd name="T3" fmla="*/ 81 h 123"/>
                <a:gd name="T4" fmla="*/ 1603 w 1615"/>
                <a:gd name="T5" fmla="*/ 98 h 123"/>
                <a:gd name="T6" fmla="*/ 1590 w 1615"/>
                <a:gd name="T7" fmla="*/ 111 h 123"/>
                <a:gd name="T8" fmla="*/ 1573 w 1615"/>
                <a:gd name="T9" fmla="*/ 120 h 123"/>
                <a:gd name="T10" fmla="*/ 1554 w 1615"/>
                <a:gd name="T11" fmla="*/ 123 h 123"/>
                <a:gd name="T12" fmla="*/ 61 w 1615"/>
                <a:gd name="T13" fmla="*/ 123 h 123"/>
                <a:gd name="T14" fmla="*/ 42 w 1615"/>
                <a:gd name="T15" fmla="*/ 120 h 123"/>
                <a:gd name="T16" fmla="*/ 25 w 1615"/>
                <a:gd name="T17" fmla="*/ 111 h 123"/>
                <a:gd name="T18" fmla="*/ 12 w 1615"/>
                <a:gd name="T19" fmla="*/ 98 h 123"/>
                <a:gd name="T20" fmla="*/ 3 w 1615"/>
                <a:gd name="T21" fmla="*/ 81 h 123"/>
                <a:gd name="T22" fmla="*/ 0 w 1615"/>
                <a:gd name="T23" fmla="*/ 61 h 123"/>
                <a:gd name="T24" fmla="*/ 3 w 1615"/>
                <a:gd name="T25" fmla="*/ 42 h 123"/>
                <a:gd name="T26" fmla="*/ 12 w 1615"/>
                <a:gd name="T27" fmla="*/ 25 h 123"/>
                <a:gd name="T28" fmla="*/ 25 w 1615"/>
                <a:gd name="T29" fmla="*/ 12 h 123"/>
                <a:gd name="T30" fmla="*/ 42 w 1615"/>
                <a:gd name="T31" fmla="*/ 3 h 123"/>
                <a:gd name="T32" fmla="*/ 61 w 1615"/>
                <a:gd name="T33" fmla="*/ 0 h 123"/>
                <a:gd name="T34" fmla="*/ 1554 w 1615"/>
                <a:gd name="T35" fmla="*/ 0 h 123"/>
                <a:gd name="T36" fmla="*/ 1573 w 1615"/>
                <a:gd name="T37" fmla="*/ 3 h 123"/>
                <a:gd name="T38" fmla="*/ 1590 w 1615"/>
                <a:gd name="T39" fmla="*/ 12 h 123"/>
                <a:gd name="T40" fmla="*/ 1603 w 1615"/>
                <a:gd name="T41" fmla="*/ 25 h 123"/>
                <a:gd name="T42" fmla="*/ 1612 w 1615"/>
                <a:gd name="T43" fmla="*/ 42 h 123"/>
                <a:gd name="T44" fmla="*/ 1615 w 1615"/>
                <a:gd name="T45" fmla="*/ 61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3">
                  <a:moveTo>
                    <a:pt x="1615" y="61"/>
                  </a:moveTo>
                  <a:lnTo>
                    <a:pt x="1612" y="81"/>
                  </a:lnTo>
                  <a:lnTo>
                    <a:pt x="1603" y="98"/>
                  </a:lnTo>
                  <a:lnTo>
                    <a:pt x="1590" y="111"/>
                  </a:lnTo>
                  <a:lnTo>
                    <a:pt x="1573" y="120"/>
                  </a:lnTo>
                  <a:lnTo>
                    <a:pt x="1554" y="123"/>
                  </a:lnTo>
                  <a:lnTo>
                    <a:pt x="61" y="123"/>
                  </a:lnTo>
                  <a:lnTo>
                    <a:pt x="42" y="120"/>
                  </a:lnTo>
                  <a:lnTo>
                    <a:pt x="25" y="111"/>
                  </a:lnTo>
                  <a:lnTo>
                    <a:pt x="12" y="98"/>
                  </a:lnTo>
                  <a:lnTo>
                    <a:pt x="3" y="81"/>
                  </a:lnTo>
                  <a:lnTo>
                    <a:pt x="0" y="61"/>
                  </a:lnTo>
                  <a:lnTo>
                    <a:pt x="3" y="42"/>
                  </a:lnTo>
                  <a:lnTo>
                    <a:pt x="12" y="25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3"/>
                  </a:lnTo>
                  <a:lnTo>
                    <a:pt x="1590" y="12"/>
                  </a:lnTo>
                  <a:lnTo>
                    <a:pt x="1603" y="25"/>
                  </a:lnTo>
                  <a:lnTo>
                    <a:pt x="1612" y="42"/>
                  </a:lnTo>
                  <a:lnTo>
                    <a:pt x="1615" y="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16"/>
            <p:cNvSpPr>
              <a:spLocks/>
            </p:cNvSpPr>
            <p:nvPr/>
          </p:nvSpPr>
          <p:spPr bwMode="auto">
            <a:xfrm>
              <a:off x="-312" y="2092"/>
              <a:ext cx="180" cy="14"/>
            </a:xfrm>
            <a:custGeom>
              <a:avLst/>
              <a:gdLst>
                <a:gd name="T0" fmla="*/ 1615 w 1615"/>
                <a:gd name="T1" fmla="*/ 63 h 124"/>
                <a:gd name="T2" fmla="*/ 1612 w 1615"/>
                <a:gd name="T3" fmla="*/ 82 h 124"/>
                <a:gd name="T4" fmla="*/ 1603 w 1615"/>
                <a:gd name="T5" fmla="*/ 99 h 124"/>
                <a:gd name="T6" fmla="*/ 1590 w 1615"/>
                <a:gd name="T7" fmla="*/ 112 h 124"/>
                <a:gd name="T8" fmla="*/ 1573 w 1615"/>
                <a:gd name="T9" fmla="*/ 120 h 124"/>
                <a:gd name="T10" fmla="*/ 1554 w 1615"/>
                <a:gd name="T11" fmla="*/ 124 h 124"/>
                <a:gd name="T12" fmla="*/ 61 w 1615"/>
                <a:gd name="T13" fmla="*/ 124 h 124"/>
                <a:gd name="T14" fmla="*/ 42 w 1615"/>
                <a:gd name="T15" fmla="*/ 120 h 124"/>
                <a:gd name="T16" fmla="*/ 25 w 1615"/>
                <a:gd name="T17" fmla="*/ 112 h 124"/>
                <a:gd name="T18" fmla="*/ 12 w 1615"/>
                <a:gd name="T19" fmla="*/ 99 h 124"/>
                <a:gd name="T20" fmla="*/ 3 w 1615"/>
                <a:gd name="T21" fmla="*/ 82 h 124"/>
                <a:gd name="T22" fmla="*/ 0 w 1615"/>
                <a:gd name="T23" fmla="*/ 63 h 124"/>
                <a:gd name="T24" fmla="*/ 3 w 1615"/>
                <a:gd name="T25" fmla="*/ 43 h 124"/>
                <a:gd name="T26" fmla="*/ 12 w 1615"/>
                <a:gd name="T27" fmla="*/ 26 h 124"/>
                <a:gd name="T28" fmla="*/ 25 w 1615"/>
                <a:gd name="T29" fmla="*/ 12 h 124"/>
                <a:gd name="T30" fmla="*/ 42 w 1615"/>
                <a:gd name="T31" fmla="*/ 4 h 124"/>
                <a:gd name="T32" fmla="*/ 61 w 1615"/>
                <a:gd name="T33" fmla="*/ 0 h 124"/>
                <a:gd name="T34" fmla="*/ 1554 w 1615"/>
                <a:gd name="T35" fmla="*/ 0 h 124"/>
                <a:gd name="T36" fmla="*/ 1573 w 1615"/>
                <a:gd name="T37" fmla="*/ 4 h 124"/>
                <a:gd name="T38" fmla="*/ 1590 w 1615"/>
                <a:gd name="T39" fmla="*/ 12 h 124"/>
                <a:gd name="T40" fmla="*/ 1603 w 1615"/>
                <a:gd name="T41" fmla="*/ 26 h 124"/>
                <a:gd name="T42" fmla="*/ 1612 w 1615"/>
                <a:gd name="T43" fmla="*/ 43 h 124"/>
                <a:gd name="T44" fmla="*/ 1615 w 1615"/>
                <a:gd name="T45" fmla="*/ 6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15" h="124">
                  <a:moveTo>
                    <a:pt x="1615" y="63"/>
                  </a:moveTo>
                  <a:lnTo>
                    <a:pt x="1612" y="82"/>
                  </a:lnTo>
                  <a:lnTo>
                    <a:pt x="1603" y="99"/>
                  </a:lnTo>
                  <a:lnTo>
                    <a:pt x="1590" y="112"/>
                  </a:lnTo>
                  <a:lnTo>
                    <a:pt x="1573" y="120"/>
                  </a:lnTo>
                  <a:lnTo>
                    <a:pt x="1554" y="124"/>
                  </a:lnTo>
                  <a:lnTo>
                    <a:pt x="61" y="124"/>
                  </a:lnTo>
                  <a:lnTo>
                    <a:pt x="42" y="120"/>
                  </a:lnTo>
                  <a:lnTo>
                    <a:pt x="25" y="112"/>
                  </a:lnTo>
                  <a:lnTo>
                    <a:pt x="12" y="99"/>
                  </a:lnTo>
                  <a:lnTo>
                    <a:pt x="3" y="82"/>
                  </a:lnTo>
                  <a:lnTo>
                    <a:pt x="0" y="63"/>
                  </a:lnTo>
                  <a:lnTo>
                    <a:pt x="3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4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3" y="4"/>
                  </a:lnTo>
                  <a:lnTo>
                    <a:pt x="1590" y="12"/>
                  </a:lnTo>
                  <a:lnTo>
                    <a:pt x="1603" y="26"/>
                  </a:lnTo>
                  <a:lnTo>
                    <a:pt x="1612" y="43"/>
                  </a:lnTo>
                  <a:lnTo>
                    <a:pt x="1615" y="6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7"/>
            <p:cNvSpPr>
              <a:spLocks/>
            </p:cNvSpPr>
            <p:nvPr/>
          </p:nvSpPr>
          <p:spPr bwMode="auto">
            <a:xfrm>
              <a:off x="-312" y="2153"/>
              <a:ext cx="179" cy="14"/>
            </a:xfrm>
            <a:custGeom>
              <a:avLst/>
              <a:gdLst>
                <a:gd name="T0" fmla="*/ 1614 w 1614"/>
                <a:gd name="T1" fmla="*/ 49 h 124"/>
                <a:gd name="T2" fmla="*/ 1540 w 1614"/>
                <a:gd name="T3" fmla="*/ 124 h 124"/>
                <a:gd name="T4" fmla="*/ 61 w 1614"/>
                <a:gd name="T5" fmla="*/ 124 h 124"/>
                <a:gd name="T6" fmla="*/ 42 w 1614"/>
                <a:gd name="T7" fmla="*/ 121 h 124"/>
                <a:gd name="T8" fmla="*/ 25 w 1614"/>
                <a:gd name="T9" fmla="*/ 112 h 124"/>
                <a:gd name="T10" fmla="*/ 12 w 1614"/>
                <a:gd name="T11" fmla="*/ 98 h 124"/>
                <a:gd name="T12" fmla="*/ 2 w 1614"/>
                <a:gd name="T13" fmla="*/ 81 h 124"/>
                <a:gd name="T14" fmla="*/ 0 w 1614"/>
                <a:gd name="T15" fmla="*/ 62 h 124"/>
                <a:gd name="T16" fmla="*/ 2 w 1614"/>
                <a:gd name="T17" fmla="*/ 43 h 124"/>
                <a:gd name="T18" fmla="*/ 12 w 1614"/>
                <a:gd name="T19" fmla="*/ 26 h 124"/>
                <a:gd name="T20" fmla="*/ 25 w 1614"/>
                <a:gd name="T21" fmla="*/ 12 h 124"/>
                <a:gd name="T22" fmla="*/ 42 w 1614"/>
                <a:gd name="T23" fmla="*/ 3 h 124"/>
                <a:gd name="T24" fmla="*/ 61 w 1614"/>
                <a:gd name="T25" fmla="*/ 0 h 124"/>
                <a:gd name="T26" fmla="*/ 1554 w 1614"/>
                <a:gd name="T27" fmla="*/ 0 h 124"/>
                <a:gd name="T28" fmla="*/ 1571 w 1614"/>
                <a:gd name="T29" fmla="*/ 3 h 124"/>
                <a:gd name="T30" fmla="*/ 1586 w 1614"/>
                <a:gd name="T31" fmla="*/ 10 h 124"/>
                <a:gd name="T32" fmla="*/ 1599 w 1614"/>
                <a:gd name="T33" fmla="*/ 20 h 124"/>
                <a:gd name="T34" fmla="*/ 1609 w 1614"/>
                <a:gd name="T35" fmla="*/ 33 h 124"/>
                <a:gd name="T36" fmla="*/ 1614 w 1614"/>
                <a:gd name="T37" fmla="*/ 49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14" h="124">
                  <a:moveTo>
                    <a:pt x="1614" y="49"/>
                  </a:moveTo>
                  <a:lnTo>
                    <a:pt x="1540" y="124"/>
                  </a:lnTo>
                  <a:lnTo>
                    <a:pt x="61" y="124"/>
                  </a:lnTo>
                  <a:lnTo>
                    <a:pt x="42" y="121"/>
                  </a:lnTo>
                  <a:lnTo>
                    <a:pt x="25" y="112"/>
                  </a:lnTo>
                  <a:lnTo>
                    <a:pt x="12" y="98"/>
                  </a:lnTo>
                  <a:lnTo>
                    <a:pt x="2" y="81"/>
                  </a:lnTo>
                  <a:lnTo>
                    <a:pt x="0" y="62"/>
                  </a:lnTo>
                  <a:lnTo>
                    <a:pt x="2" y="43"/>
                  </a:lnTo>
                  <a:lnTo>
                    <a:pt x="12" y="26"/>
                  </a:lnTo>
                  <a:lnTo>
                    <a:pt x="25" y="12"/>
                  </a:lnTo>
                  <a:lnTo>
                    <a:pt x="42" y="3"/>
                  </a:lnTo>
                  <a:lnTo>
                    <a:pt x="61" y="0"/>
                  </a:lnTo>
                  <a:lnTo>
                    <a:pt x="1554" y="0"/>
                  </a:lnTo>
                  <a:lnTo>
                    <a:pt x="1571" y="3"/>
                  </a:lnTo>
                  <a:lnTo>
                    <a:pt x="1586" y="10"/>
                  </a:lnTo>
                  <a:lnTo>
                    <a:pt x="1599" y="20"/>
                  </a:lnTo>
                  <a:lnTo>
                    <a:pt x="1609" y="33"/>
                  </a:lnTo>
                  <a:lnTo>
                    <a:pt x="1614" y="4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8"/>
            <p:cNvSpPr>
              <a:spLocks/>
            </p:cNvSpPr>
            <p:nvPr/>
          </p:nvSpPr>
          <p:spPr bwMode="auto">
            <a:xfrm>
              <a:off x="-224" y="2177"/>
              <a:ext cx="129" cy="132"/>
            </a:xfrm>
            <a:custGeom>
              <a:avLst/>
              <a:gdLst>
                <a:gd name="T0" fmla="*/ 1155 w 1157"/>
                <a:gd name="T1" fmla="*/ 280 h 1183"/>
                <a:gd name="T2" fmla="*/ 1140 w 1157"/>
                <a:gd name="T3" fmla="*/ 296 h 1183"/>
                <a:gd name="T4" fmla="*/ 1111 w 1157"/>
                <a:gd name="T5" fmla="*/ 325 h 1183"/>
                <a:gd name="T6" fmla="*/ 1070 w 1157"/>
                <a:gd name="T7" fmla="*/ 367 h 1183"/>
                <a:gd name="T8" fmla="*/ 1020 w 1157"/>
                <a:gd name="T9" fmla="*/ 417 h 1183"/>
                <a:gd name="T10" fmla="*/ 963 w 1157"/>
                <a:gd name="T11" fmla="*/ 475 h 1183"/>
                <a:gd name="T12" fmla="*/ 899 w 1157"/>
                <a:gd name="T13" fmla="*/ 537 h 1183"/>
                <a:gd name="T14" fmla="*/ 833 w 1157"/>
                <a:gd name="T15" fmla="*/ 603 h 1183"/>
                <a:gd name="T16" fmla="*/ 765 w 1157"/>
                <a:gd name="T17" fmla="*/ 670 h 1183"/>
                <a:gd name="T18" fmla="*/ 697 w 1157"/>
                <a:gd name="T19" fmla="*/ 736 h 1183"/>
                <a:gd name="T20" fmla="*/ 633 w 1157"/>
                <a:gd name="T21" fmla="*/ 798 h 1183"/>
                <a:gd name="T22" fmla="*/ 573 w 1157"/>
                <a:gd name="T23" fmla="*/ 855 h 1183"/>
                <a:gd name="T24" fmla="*/ 520 w 1157"/>
                <a:gd name="T25" fmla="*/ 904 h 1183"/>
                <a:gd name="T26" fmla="*/ 475 w 1157"/>
                <a:gd name="T27" fmla="*/ 945 h 1183"/>
                <a:gd name="T28" fmla="*/ 442 w 1157"/>
                <a:gd name="T29" fmla="*/ 973 h 1183"/>
                <a:gd name="T30" fmla="*/ 427 w 1157"/>
                <a:gd name="T31" fmla="*/ 983 h 1183"/>
                <a:gd name="T32" fmla="*/ 409 w 1157"/>
                <a:gd name="T33" fmla="*/ 995 h 1183"/>
                <a:gd name="T34" fmla="*/ 378 w 1157"/>
                <a:gd name="T35" fmla="*/ 1017 h 1183"/>
                <a:gd name="T36" fmla="*/ 336 w 1157"/>
                <a:gd name="T37" fmla="*/ 1042 h 1183"/>
                <a:gd name="T38" fmla="*/ 287 w 1157"/>
                <a:gd name="T39" fmla="*/ 1071 h 1183"/>
                <a:gd name="T40" fmla="*/ 234 w 1157"/>
                <a:gd name="T41" fmla="*/ 1099 h 1183"/>
                <a:gd name="T42" fmla="*/ 181 w 1157"/>
                <a:gd name="T43" fmla="*/ 1123 h 1183"/>
                <a:gd name="T44" fmla="*/ 129 w 1157"/>
                <a:gd name="T45" fmla="*/ 1139 h 1183"/>
                <a:gd name="T46" fmla="*/ 84 w 1157"/>
                <a:gd name="T47" fmla="*/ 1143 h 1183"/>
                <a:gd name="T48" fmla="*/ 78 w 1157"/>
                <a:gd name="T49" fmla="*/ 1144 h 1183"/>
                <a:gd name="T50" fmla="*/ 47 w 1157"/>
                <a:gd name="T51" fmla="*/ 1174 h 1183"/>
                <a:gd name="T52" fmla="*/ 27 w 1157"/>
                <a:gd name="T53" fmla="*/ 1183 h 1183"/>
                <a:gd name="T54" fmla="*/ 9 w 1157"/>
                <a:gd name="T55" fmla="*/ 1176 h 1183"/>
                <a:gd name="T56" fmla="*/ 0 w 1157"/>
                <a:gd name="T57" fmla="*/ 1157 h 1183"/>
                <a:gd name="T58" fmla="*/ 6 w 1157"/>
                <a:gd name="T59" fmla="*/ 1137 h 1183"/>
                <a:gd name="T60" fmla="*/ 29 w 1157"/>
                <a:gd name="T61" fmla="*/ 1091 h 1183"/>
                <a:gd name="T62" fmla="*/ 32 w 1157"/>
                <a:gd name="T63" fmla="*/ 1046 h 1183"/>
                <a:gd name="T64" fmla="*/ 46 w 1157"/>
                <a:gd name="T65" fmla="*/ 994 h 1183"/>
                <a:gd name="T66" fmla="*/ 68 w 1157"/>
                <a:gd name="T67" fmla="*/ 941 h 1183"/>
                <a:gd name="T68" fmla="*/ 93 w 1157"/>
                <a:gd name="T69" fmla="*/ 886 h 1183"/>
                <a:gd name="T70" fmla="*/ 120 w 1157"/>
                <a:gd name="T71" fmla="*/ 837 h 1183"/>
                <a:gd name="T72" fmla="*/ 146 w 1157"/>
                <a:gd name="T73" fmla="*/ 794 h 1183"/>
                <a:gd name="T74" fmla="*/ 167 w 1157"/>
                <a:gd name="T75" fmla="*/ 762 h 1183"/>
                <a:gd name="T76" fmla="*/ 177 w 1157"/>
                <a:gd name="T77" fmla="*/ 745 h 1183"/>
                <a:gd name="T78" fmla="*/ 188 w 1157"/>
                <a:gd name="T79" fmla="*/ 730 h 1183"/>
                <a:gd name="T80" fmla="*/ 215 w 1157"/>
                <a:gd name="T81" fmla="*/ 695 h 1183"/>
                <a:gd name="T82" fmla="*/ 254 w 1157"/>
                <a:gd name="T83" fmla="*/ 650 h 1183"/>
                <a:gd name="T84" fmla="*/ 302 w 1157"/>
                <a:gd name="T85" fmla="*/ 596 h 1183"/>
                <a:gd name="T86" fmla="*/ 358 w 1157"/>
                <a:gd name="T87" fmla="*/ 535 h 1183"/>
                <a:gd name="T88" fmla="*/ 419 w 1157"/>
                <a:gd name="T89" fmla="*/ 469 h 1183"/>
                <a:gd name="T90" fmla="*/ 484 w 1157"/>
                <a:gd name="T91" fmla="*/ 400 h 1183"/>
                <a:gd name="T92" fmla="*/ 549 w 1157"/>
                <a:gd name="T93" fmla="*/ 331 h 1183"/>
                <a:gd name="T94" fmla="*/ 614 w 1157"/>
                <a:gd name="T95" fmla="*/ 264 h 1183"/>
                <a:gd name="T96" fmla="*/ 675 w 1157"/>
                <a:gd name="T97" fmla="*/ 199 h 1183"/>
                <a:gd name="T98" fmla="*/ 732 w 1157"/>
                <a:gd name="T99" fmla="*/ 141 h 1183"/>
                <a:gd name="T100" fmla="*/ 781 w 1157"/>
                <a:gd name="T101" fmla="*/ 89 h 1183"/>
                <a:gd name="T102" fmla="*/ 821 w 1157"/>
                <a:gd name="T103" fmla="*/ 47 h 1183"/>
                <a:gd name="T104" fmla="*/ 850 w 1157"/>
                <a:gd name="T105" fmla="*/ 18 h 1183"/>
                <a:gd name="T106" fmla="*/ 865 w 1157"/>
                <a:gd name="T107" fmla="*/ 2 h 1183"/>
                <a:gd name="T108" fmla="*/ 1012 w 1157"/>
                <a:gd name="T109" fmla="*/ 137 h 1183"/>
                <a:gd name="T110" fmla="*/ 1020 w 1157"/>
                <a:gd name="T111" fmla="*/ 145 h 1183"/>
                <a:gd name="T112" fmla="*/ 1039 w 1157"/>
                <a:gd name="T113" fmla="*/ 162 h 1183"/>
                <a:gd name="T114" fmla="*/ 1064 w 1157"/>
                <a:gd name="T115" fmla="*/ 187 h 1183"/>
                <a:gd name="T116" fmla="*/ 1093 w 1157"/>
                <a:gd name="T117" fmla="*/ 214 h 1183"/>
                <a:gd name="T118" fmla="*/ 1121 w 1157"/>
                <a:gd name="T119" fmla="*/ 241 h 1183"/>
                <a:gd name="T120" fmla="*/ 1142 w 1157"/>
                <a:gd name="T121" fmla="*/ 264 h 1183"/>
                <a:gd name="T122" fmla="*/ 1155 w 1157"/>
                <a:gd name="T123" fmla="*/ 277 h 11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57" h="1183">
                  <a:moveTo>
                    <a:pt x="1157" y="278"/>
                  </a:moveTo>
                  <a:lnTo>
                    <a:pt x="1155" y="280"/>
                  </a:lnTo>
                  <a:lnTo>
                    <a:pt x="1150" y="286"/>
                  </a:lnTo>
                  <a:lnTo>
                    <a:pt x="1140" y="296"/>
                  </a:lnTo>
                  <a:lnTo>
                    <a:pt x="1127" y="309"/>
                  </a:lnTo>
                  <a:lnTo>
                    <a:pt x="1111" y="325"/>
                  </a:lnTo>
                  <a:lnTo>
                    <a:pt x="1092" y="344"/>
                  </a:lnTo>
                  <a:lnTo>
                    <a:pt x="1070" y="367"/>
                  </a:lnTo>
                  <a:lnTo>
                    <a:pt x="1047" y="390"/>
                  </a:lnTo>
                  <a:lnTo>
                    <a:pt x="1020" y="417"/>
                  </a:lnTo>
                  <a:lnTo>
                    <a:pt x="992" y="445"/>
                  </a:lnTo>
                  <a:lnTo>
                    <a:pt x="963" y="475"/>
                  </a:lnTo>
                  <a:lnTo>
                    <a:pt x="932" y="505"/>
                  </a:lnTo>
                  <a:lnTo>
                    <a:pt x="899" y="537"/>
                  </a:lnTo>
                  <a:lnTo>
                    <a:pt x="866" y="570"/>
                  </a:lnTo>
                  <a:lnTo>
                    <a:pt x="833" y="603"/>
                  </a:lnTo>
                  <a:lnTo>
                    <a:pt x="799" y="636"/>
                  </a:lnTo>
                  <a:lnTo>
                    <a:pt x="765" y="670"/>
                  </a:lnTo>
                  <a:lnTo>
                    <a:pt x="731" y="703"/>
                  </a:lnTo>
                  <a:lnTo>
                    <a:pt x="697" y="736"/>
                  </a:lnTo>
                  <a:lnTo>
                    <a:pt x="665" y="767"/>
                  </a:lnTo>
                  <a:lnTo>
                    <a:pt x="633" y="798"/>
                  </a:lnTo>
                  <a:lnTo>
                    <a:pt x="603" y="827"/>
                  </a:lnTo>
                  <a:lnTo>
                    <a:pt x="573" y="855"/>
                  </a:lnTo>
                  <a:lnTo>
                    <a:pt x="546" y="881"/>
                  </a:lnTo>
                  <a:lnTo>
                    <a:pt x="520" y="904"/>
                  </a:lnTo>
                  <a:lnTo>
                    <a:pt x="496" y="926"/>
                  </a:lnTo>
                  <a:lnTo>
                    <a:pt x="475" y="945"/>
                  </a:lnTo>
                  <a:lnTo>
                    <a:pt x="457" y="960"/>
                  </a:lnTo>
                  <a:lnTo>
                    <a:pt x="442" y="973"/>
                  </a:lnTo>
                  <a:lnTo>
                    <a:pt x="429" y="981"/>
                  </a:lnTo>
                  <a:lnTo>
                    <a:pt x="427" y="983"/>
                  </a:lnTo>
                  <a:lnTo>
                    <a:pt x="420" y="988"/>
                  </a:lnTo>
                  <a:lnTo>
                    <a:pt x="409" y="995"/>
                  </a:lnTo>
                  <a:lnTo>
                    <a:pt x="395" y="1005"/>
                  </a:lnTo>
                  <a:lnTo>
                    <a:pt x="378" y="1017"/>
                  </a:lnTo>
                  <a:lnTo>
                    <a:pt x="359" y="1029"/>
                  </a:lnTo>
                  <a:lnTo>
                    <a:pt x="336" y="1042"/>
                  </a:lnTo>
                  <a:lnTo>
                    <a:pt x="313" y="1057"/>
                  </a:lnTo>
                  <a:lnTo>
                    <a:pt x="287" y="1071"/>
                  </a:lnTo>
                  <a:lnTo>
                    <a:pt x="261" y="1086"/>
                  </a:lnTo>
                  <a:lnTo>
                    <a:pt x="234" y="1099"/>
                  </a:lnTo>
                  <a:lnTo>
                    <a:pt x="207" y="1112"/>
                  </a:lnTo>
                  <a:lnTo>
                    <a:pt x="181" y="1123"/>
                  </a:lnTo>
                  <a:lnTo>
                    <a:pt x="155" y="1131"/>
                  </a:lnTo>
                  <a:lnTo>
                    <a:pt x="129" y="1139"/>
                  </a:lnTo>
                  <a:lnTo>
                    <a:pt x="105" y="1142"/>
                  </a:lnTo>
                  <a:lnTo>
                    <a:pt x="84" y="1143"/>
                  </a:lnTo>
                  <a:lnTo>
                    <a:pt x="82" y="1144"/>
                  </a:lnTo>
                  <a:lnTo>
                    <a:pt x="78" y="1144"/>
                  </a:lnTo>
                  <a:lnTo>
                    <a:pt x="76" y="1144"/>
                  </a:lnTo>
                  <a:lnTo>
                    <a:pt x="47" y="1174"/>
                  </a:lnTo>
                  <a:lnTo>
                    <a:pt x="38" y="1180"/>
                  </a:lnTo>
                  <a:lnTo>
                    <a:pt x="27" y="1183"/>
                  </a:lnTo>
                  <a:lnTo>
                    <a:pt x="17" y="1182"/>
                  </a:lnTo>
                  <a:lnTo>
                    <a:pt x="9" y="1176"/>
                  </a:lnTo>
                  <a:lnTo>
                    <a:pt x="2" y="1167"/>
                  </a:lnTo>
                  <a:lnTo>
                    <a:pt x="0" y="1157"/>
                  </a:lnTo>
                  <a:lnTo>
                    <a:pt x="1" y="1146"/>
                  </a:lnTo>
                  <a:lnTo>
                    <a:pt x="6" y="1137"/>
                  </a:lnTo>
                  <a:lnTo>
                    <a:pt x="33" y="1109"/>
                  </a:lnTo>
                  <a:lnTo>
                    <a:pt x="29" y="1091"/>
                  </a:lnTo>
                  <a:lnTo>
                    <a:pt x="29" y="1069"/>
                  </a:lnTo>
                  <a:lnTo>
                    <a:pt x="32" y="1046"/>
                  </a:lnTo>
                  <a:lnTo>
                    <a:pt x="38" y="1021"/>
                  </a:lnTo>
                  <a:lnTo>
                    <a:pt x="46" y="994"/>
                  </a:lnTo>
                  <a:lnTo>
                    <a:pt x="56" y="967"/>
                  </a:lnTo>
                  <a:lnTo>
                    <a:pt x="68" y="941"/>
                  </a:lnTo>
                  <a:lnTo>
                    <a:pt x="81" y="913"/>
                  </a:lnTo>
                  <a:lnTo>
                    <a:pt x="93" y="886"/>
                  </a:lnTo>
                  <a:lnTo>
                    <a:pt x="107" y="860"/>
                  </a:lnTo>
                  <a:lnTo>
                    <a:pt x="120" y="837"/>
                  </a:lnTo>
                  <a:lnTo>
                    <a:pt x="134" y="814"/>
                  </a:lnTo>
                  <a:lnTo>
                    <a:pt x="146" y="794"/>
                  </a:lnTo>
                  <a:lnTo>
                    <a:pt x="157" y="777"/>
                  </a:lnTo>
                  <a:lnTo>
                    <a:pt x="167" y="762"/>
                  </a:lnTo>
                  <a:lnTo>
                    <a:pt x="173" y="751"/>
                  </a:lnTo>
                  <a:lnTo>
                    <a:pt x="177" y="745"/>
                  </a:lnTo>
                  <a:lnTo>
                    <a:pt x="179" y="742"/>
                  </a:lnTo>
                  <a:lnTo>
                    <a:pt x="188" y="730"/>
                  </a:lnTo>
                  <a:lnTo>
                    <a:pt x="200" y="715"/>
                  </a:lnTo>
                  <a:lnTo>
                    <a:pt x="215" y="695"/>
                  </a:lnTo>
                  <a:lnTo>
                    <a:pt x="233" y="674"/>
                  </a:lnTo>
                  <a:lnTo>
                    <a:pt x="254" y="650"/>
                  </a:lnTo>
                  <a:lnTo>
                    <a:pt x="277" y="624"/>
                  </a:lnTo>
                  <a:lnTo>
                    <a:pt x="302" y="596"/>
                  </a:lnTo>
                  <a:lnTo>
                    <a:pt x="329" y="566"/>
                  </a:lnTo>
                  <a:lnTo>
                    <a:pt x="358" y="535"/>
                  </a:lnTo>
                  <a:lnTo>
                    <a:pt x="388" y="503"/>
                  </a:lnTo>
                  <a:lnTo>
                    <a:pt x="419" y="469"/>
                  </a:lnTo>
                  <a:lnTo>
                    <a:pt x="451" y="435"/>
                  </a:lnTo>
                  <a:lnTo>
                    <a:pt x="484" y="400"/>
                  </a:lnTo>
                  <a:lnTo>
                    <a:pt x="516" y="365"/>
                  </a:lnTo>
                  <a:lnTo>
                    <a:pt x="549" y="331"/>
                  </a:lnTo>
                  <a:lnTo>
                    <a:pt x="581" y="297"/>
                  </a:lnTo>
                  <a:lnTo>
                    <a:pt x="614" y="264"/>
                  </a:lnTo>
                  <a:lnTo>
                    <a:pt x="645" y="230"/>
                  </a:lnTo>
                  <a:lnTo>
                    <a:pt x="675" y="199"/>
                  </a:lnTo>
                  <a:lnTo>
                    <a:pt x="704" y="168"/>
                  </a:lnTo>
                  <a:lnTo>
                    <a:pt x="732" y="141"/>
                  </a:lnTo>
                  <a:lnTo>
                    <a:pt x="758" y="114"/>
                  </a:lnTo>
                  <a:lnTo>
                    <a:pt x="781" y="89"/>
                  </a:lnTo>
                  <a:lnTo>
                    <a:pt x="803" y="68"/>
                  </a:lnTo>
                  <a:lnTo>
                    <a:pt x="821" y="47"/>
                  </a:lnTo>
                  <a:lnTo>
                    <a:pt x="837" y="31"/>
                  </a:lnTo>
                  <a:lnTo>
                    <a:pt x="850" y="18"/>
                  </a:lnTo>
                  <a:lnTo>
                    <a:pt x="860" y="9"/>
                  </a:lnTo>
                  <a:lnTo>
                    <a:pt x="865" y="2"/>
                  </a:lnTo>
                  <a:lnTo>
                    <a:pt x="867" y="0"/>
                  </a:lnTo>
                  <a:lnTo>
                    <a:pt x="1012" y="137"/>
                  </a:lnTo>
                  <a:lnTo>
                    <a:pt x="1014" y="139"/>
                  </a:lnTo>
                  <a:lnTo>
                    <a:pt x="1020" y="145"/>
                  </a:lnTo>
                  <a:lnTo>
                    <a:pt x="1028" y="152"/>
                  </a:lnTo>
                  <a:lnTo>
                    <a:pt x="1039" y="162"/>
                  </a:lnTo>
                  <a:lnTo>
                    <a:pt x="1051" y="174"/>
                  </a:lnTo>
                  <a:lnTo>
                    <a:pt x="1064" y="187"/>
                  </a:lnTo>
                  <a:lnTo>
                    <a:pt x="1079" y="201"/>
                  </a:lnTo>
                  <a:lnTo>
                    <a:pt x="1093" y="214"/>
                  </a:lnTo>
                  <a:lnTo>
                    <a:pt x="1107" y="228"/>
                  </a:lnTo>
                  <a:lnTo>
                    <a:pt x="1121" y="241"/>
                  </a:lnTo>
                  <a:lnTo>
                    <a:pt x="1133" y="253"/>
                  </a:lnTo>
                  <a:lnTo>
                    <a:pt x="1142" y="264"/>
                  </a:lnTo>
                  <a:lnTo>
                    <a:pt x="1151" y="271"/>
                  </a:lnTo>
                  <a:lnTo>
                    <a:pt x="1155" y="277"/>
                  </a:lnTo>
                  <a:lnTo>
                    <a:pt x="1157" y="27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" name="Group 48"/>
          <p:cNvGrpSpPr/>
          <p:nvPr/>
        </p:nvGrpSpPr>
        <p:grpSpPr>
          <a:xfrm>
            <a:off x="10873427" y="4569335"/>
            <a:ext cx="530465" cy="356173"/>
            <a:chOff x="1721801" y="2853410"/>
            <a:chExt cx="2101707" cy="1411170"/>
          </a:xfrm>
          <a:solidFill>
            <a:srgbClr val="26867C"/>
          </a:solidFill>
        </p:grpSpPr>
        <p:sp>
          <p:nvSpPr>
            <p:cNvPr id="50" name="Freeform 49"/>
            <p:cNvSpPr/>
            <p:nvPr/>
          </p:nvSpPr>
          <p:spPr>
            <a:xfrm rot="18045015">
              <a:off x="2182878" y="3021177"/>
              <a:ext cx="911102" cy="1297454"/>
            </a:xfrm>
            <a:custGeom>
              <a:avLst/>
              <a:gdLst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745536 w 911102"/>
                <a:gd name="connsiteY3" fmla="*/ 8370 h 1297454"/>
                <a:gd name="connsiteX4" fmla="*/ 824005 w 911102"/>
                <a:gd name="connsiteY4" fmla="*/ 195660 h 1297454"/>
                <a:gd name="connsiteX5" fmla="*/ 911102 w 911102"/>
                <a:gd name="connsiteY5" fmla="*/ 379668 h 1297454"/>
                <a:gd name="connsiteX6" fmla="*/ 907221 w 911102"/>
                <a:gd name="connsiteY6" fmla="*/ 382118 h 1297454"/>
                <a:gd name="connsiteX7" fmla="*/ 876660 w 911102"/>
                <a:gd name="connsiteY7" fmla="*/ 399710 h 1297454"/>
                <a:gd name="connsiteX8" fmla="*/ 490066 w 911102"/>
                <a:gd name="connsiteY8" fmla="*/ 297988 h 1297454"/>
                <a:gd name="connsiteX9" fmla="*/ 716083 w 911102"/>
                <a:gd name="connsiteY9" fmla="*/ 598865 h 1297454"/>
                <a:gd name="connsiteX10" fmla="*/ 777233 w 911102"/>
                <a:gd name="connsiteY10" fmla="*/ 615788 h 1297454"/>
                <a:gd name="connsiteX11" fmla="*/ 770153 w 911102"/>
                <a:gd name="connsiteY11" fmla="*/ 639019 h 1297454"/>
                <a:gd name="connsiteX12" fmla="*/ 753784 w 911102"/>
                <a:gd name="connsiteY12" fmla="*/ 665322 h 1297454"/>
                <a:gd name="connsiteX13" fmla="*/ 710088 w 911102"/>
                <a:gd name="connsiteY13" fmla="*/ 1078153 h 1297454"/>
                <a:gd name="connsiteX14" fmla="*/ 710501 w 911102"/>
                <a:gd name="connsiteY14" fmla="*/ 1086412 h 1297454"/>
                <a:gd name="connsiteX15" fmla="*/ 710454 w 911102"/>
                <a:gd name="connsiteY15" fmla="*/ 1087719 h 1297454"/>
                <a:gd name="connsiteX16" fmla="*/ 714164 w 911102"/>
                <a:gd name="connsiteY16" fmla="*/ 1201144 h 1297454"/>
                <a:gd name="connsiteX17" fmla="*/ 723293 w 911102"/>
                <a:gd name="connsiteY17" fmla="*/ 1277540 h 1297454"/>
                <a:gd name="connsiteX18" fmla="*/ 723407 w 911102"/>
                <a:gd name="connsiteY18" fmla="*/ 1278872 h 1297454"/>
                <a:gd name="connsiteX19" fmla="*/ 724025 w 911102"/>
                <a:gd name="connsiteY19" fmla="*/ 1283671 h 1297454"/>
                <a:gd name="connsiteX20" fmla="*/ 724876 w 911102"/>
                <a:gd name="connsiteY20" fmla="*/ 1290789 h 1297454"/>
                <a:gd name="connsiteX21" fmla="*/ 568039 w 911102"/>
                <a:gd name="connsiteY21" fmla="*/ 1230080 h 1297454"/>
                <a:gd name="connsiteX22" fmla="*/ 364868 w 911102"/>
                <a:gd name="connsiteY22" fmla="*/ 1184795 h 1297454"/>
                <a:gd name="connsiteX23" fmla="*/ 178811 w 911102"/>
                <a:gd name="connsiteY23" fmla="*/ 1123147 h 1297454"/>
                <a:gd name="connsiteX24" fmla="*/ 28040 w 911102"/>
                <a:gd name="connsiteY24" fmla="*/ 1036282 h 1297454"/>
                <a:gd name="connsiteX25" fmla="*/ 26077 w 911102"/>
                <a:gd name="connsiteY25" fmla="*/ 1027345 h 1297454"/>
                <a:gd name="connsiteX26" fmla="*/ 152633 w 911102"/>
                <a:gd name="connsiteY26" fmla="*/ 1035076 h 1297454"/>
                <a:gd name="connsiteX27" fmla="*/ 255738 w 911102"/>
                <a:gd name="connsiteY27" fmla="*/ 943843 h 1297454"/>
                <a:gd name="connsiteX28" fmla="*/ 231475 w 911102"/>
                <a:gd name="connsiteY28" fmla="*/ 873395 h 1297454"/>
                <a:gd name="connsiteX29" fmla="*/ 213502 w 911102"/>
                <a:gd name="connsiteY29" fmla="*/ 859613 h 1297454"/>
                <a:gd name="connsiteX30" fmla="*/ 216878 w 911102"/>
                <a:gd name="connsiteY30" fmla="*/ 859143 h 1297454"/>
                <a:gd name="connsiteX31" fmla="*/ 281693 w 911102"/>
                <a:gd name="connsiteY31" fmla="*/ 773235 h 1297454"/>
                <a:gd name="connsiteX32" fmla="*/ 227816 w 911102"/>
                <a:gd name="connsiteY32" fmla="*/ 680077 h 1297454"/>
                <a:gd name="connsiteX33" fmla="*/ 217008 w 911102"/>
                <a:gd name="connsiteY33" fmla="*/ 677199 h 1297454"/>
                <a:gd name="connsiteX34" fmla="*/ 226953 w 911102"/>
                <a:gd name="connsiteY34" fmla="*/ 675817 h 1297454"/>
                <a:gd name="connsiteX35" fmla="*/ 291768 w 911102"/>
                <a:gd name="connsiteY35" fmla="*/ 589909 h 1297454"/>
                <a:gd name="connsiteX36" fmla="*/ 237891 w 911102"/>
                <a:gd name="connsiteY36" fmla="*/ 496751 h 1297454"/>
                <a:gd name="connsiteX37" fmla="*/ 221568 w 911102"/>
                <a:gd name="connsiteY37" fmla="*/ 492404 h 1297454"/>
                <a:gd name="connsiteX38" fmla="*/ 249567 w 911102"/>
                <a:gd name="connsiteY38" fmla="*/ 475916 h 1297454"/>
                <a:gd name="connsiteX39" fmla="*/ 281129 w 911102"/>
                <a:gd name="connsiteY39" fmla="*/ 411193 h 1297454"/>
                <a:gd name="connsiteX40" fmla="*/ 281130 w 911102"/>
                <a:gd name="connsiteY40" fmla="*/ 411193 h 1297454"/>
                <a:gd name="connsiteX41" fmla="*/ 257681 w 911102"/>
                <a:gd name="connsiteY41" fmla="*/ 343108 h 1297454"/>
                <a:gd name="connsiteX42" fmla="*/ 192957 w 911102"/>
                <a:gd name="connsiteY42" fmla="*/ 311547 h 1297454"/>
                <a:gd name="connsiteX43" fmla="*/ 65424 w 911102"/>
                <a:gd name="connsiteY43" fmla="*/ 303757 h 1297454"/>
                <a:gd name="connsiteX44" fmla="*/ 41901 w 911102"/>
                <a:gd name="connsiteY44" fmla="*/ 309400 h 1297454"/>
                <a:gd name="connsiteX45" fmla="*/ 56412 w 911102"/>
                <a:gd name="connsiteY45" fmla="*/ 232310 h 1297454"/>
                <a:gd name="connsiteX46" fmla="*/ 127609 w 911102"/>
                <a:gd name="connsiteY46" fmla="*/ 8370 h 1297454"/>
                <a:gd name="connsiteX47" fmla="*/ 135979 w 911102"/>
                <a:gd name="connsiteY47" fmla="*/ 0 h 1297454"/>
                <a:gd name="connsiteX48" fmla="*/ 737166 w 911102"/>
                <a:gd name="connsiteY48" fmla="*/ 0 h 1297454"/>
                <a:gd name="connsiteX49" fmla="*/ 745536 w 911102"/>
                <a:gd name="connsiteY4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824005 w 911102"/>
                <a:gd name="connsiteY5" fmla="*/ 195660 h 1297454"/>
                <a:gd name="connsiteX6" fmla="*/ 911102 w 911102"/>
                <a:gd name="connsiteY6" fmla="*/ 379668 h 1297454"/>
                <a:gd name="connsiteX7" fmla="*/ 876660 w 911102"/>
                <a:gd name="connsiteY7" fmla="*/ 399710 h 1297454"/>
                <a:gd name="connsiteX8" fmla="*/ 490066 w 911102"/>
                <a:gd name="connsiteY8" fmla="*/ 297988 h 1297454"/>
                <a:gd name="connsiteX9" fmla="*/ 716083 w 911102"/>
                <a:gd name="connsiteY9" fmla="*/ 598865 h 1297454"/>
                <a:gd name="connsiteX10" fmla="*/ 777233 w 911102"/>
                <a:gd name="connsiteY10" fmla="*/ 615788 h 1297454"/>
                <a:gd name="connsiteX11" fmla="*/ 770153 w 911102"/>
                <a:gd name="connsiteY11" fmla="*/ 639019 h 1297454"/>
                <a:gd name="connsiteX12" fmla="*/ 753784 w 911102"/>
                <a:gd name="connsiteY12" fmla="*/ 665322 h 1297454"/>
                <a:gd name="connsiteX13" fmla="*/ 710088 w 911102"/>
                <a:gd name="connsiteY13" fmla="*/ 1078153 h 1297454"/>
                <a:gd name="connsiteX14" fmla="*/ 710501 w 911102"/>
                <a:gd name="connsiteY14" fmla="*/ 1086412 h 1297454"/>
                <a:gd name="connsiteX15" fmla="*/ 710454 w 911102"/>
                <a:gd name="connsiteY15" fmla="*/ 1087719 h 1297454"/>
                <a:gd name="connsiteX16" fmla="*/ 714164 w 911102"/>
                <a:gd name="connsiteY16" fmla="*/ 1201144 h 1297454"/>
                <a:gd name="connsiteX17" fmla="*/ 723293 w 911102"/>
                <a:gd name="connsiteY17" fmla="*/ 1277540 h 1297454"/>
                <a:gd name="connsiteX18" fmla="*/ 723407 w 911102"/>
                <a:gd name="connsiteY18" fmla="*/ 1278872 h 1297454"/>
                <a:gd name="connsiteX19" fmla="*/ 724025 w 911102"/>
                <a:gd name="connsiteY19" fmla="*/ 1283671 h 1297454"/>
                <a:gd name="connsiteX20" fmla="*/ 724876 w 911102"/>
                <a:gd name="connsiteY20" fmla="*/ 1290789 h 1297454"/>
                <a:gd name="connsiteX21" fmla="*/ 568039 w 911102"/>
                <a:gd name="connsiteY21" fmla="*/ 1230080 h 1297454"/>
                <a:gd name="connsiteX22" fmla="*/ 364868 w 911102"/>
                <a:gd name="connsiteY22" fmla="*/ 1184795 h 1297454"/>
                <a:gd name="connsiteX23" fmla="*/ 178811 w 911102"/>
                <a:gd name="connsiteY23" fmla="*/ 1123147 h 1297454"/>
                <a:gd name="connsiteX24" fmla="*/ 28040 w 911102"/>
                <a:gd name="connsiteY24" fmla="*/ 1036282 h 1297454"/>
                <a:gd name="connsiteX25" fmla="*/ 26077 w 911102"/>
                <a:gd name="connsiteY25" fmla="*/ 1027345 h 1297454"/>
                <a:gd name="connsiteX26" fmla="*/ 152633 w 911102"/>
                <a:gd name="connsiteY26" fmla="*/ 1035076 h 1297454"/>
                <a:gd name="connsiteX27" fmla="*/ 255738 w 911102"/>
                <a:gd name="connsiteY27" fmla="*/ 943843 h 1297454"/>
                <a:gd name="connsiteX28" fmla="*/ 231475 w 911102"/>
                <a:gd name="connsiteY28" fmla="*/ 873395 h 1297454"/>
                <a:gd name="connsiteX29" fmla="*/ 213502 w 911102"/>
                <a:gd name="connsiteY29" fmla="*/ 859613 h 1297454"/>
                <a:gd name="connsiteX30" fmla="*/ 216878 w 911102"/>
                <a:gd name="connsiteY30" fmla="*/ 859143 h 1297454"/>
                <a:gd name="connsiteX31" fmla="*/ 281693 w 911102"/>
                <a:gd name="connsiteY31" fmla="*/ 773235 h 1297454"/>
                <a:gd name="connsiteX32" fmla="*/ 227816 w 911102"/>
                <a:gd name="connsiteY32" fmla="*/ 680077 h 1297454"/>
                <a:gd name="connsiteX33" fmla="*/ 217008 w 911102"/>
                <a:gd name="connsiteY33" fmla="*/ 677199 h 1297454"/>
                <a:gd name="connsiteX34" fmla="*/ 226953 w 911102"/>
                <a:gd name="connsiteY34" fmla="*/ 675817 h 1297454"/>
                <a:gd name="connsiteX35" fmla="*/ 291768 w 911102"/>
                <a:gd name="connsiteY35" fmla="*/ 589909 h 1297454"/>
                <a:gd name="connsiteX36" fmla="*/ 237891 w 911102"/>
                <a:gd name="connsiteY36" fmla="*/ 496751 h 1297454"/>
                <a:gd name="connsiteX37" fmla="*/ 221568 w 911102"/>
                <a:gd name="connsiteY37" fmla="*/ 492404 h 1297454"/>
                <a:gd name="connsiteX38" fmla="*/ 249567 w 911102"/>
                <a:gd name="connsiteY38" fmla="*/ 475916 h 1297454"/>
                <a:gd name="connsiteX39" fmla="*/ 281129 w 911102"/>
                <a:gd name="connsiteY39" fmla="*/ 411193 h 1297454"/>
                <a:gd name="connsiteX40" fmla="*/ 281130 w 911102"/>
                <a:gd name="connsiteY40" fmla="*/ 411193 h 1297454"/>
                <a:gd name="connsiteX41" fmla="*/ 257681 w 911102"/>
                <a:gd name="connsiteY41" fmla="*/ 343108 h 1297454"/>
                <a:gd name="connsiteX42" fmla="*/ 192957 w 911102"/>
                <a:gd name="connsiteY42" fmla="*/ 311547 h 1297454"/>
                <a:gd name="connsiteX43" fmla="*/ 65424 w 911102"/>
                <a:gd name="connsiteY43" fmla="*/ 303757 h 1297454"/>
                <a:gd name="connsiteX44" fmla="*/ 41901 w 911102"/>
                <a:gd name="connsiteY44" fmla="*/ 309400 h 1297454"/>
                <a:gd name="connsiteX45" fmla="*/ 56412 w 911102"/>
                <a:gd name="connsiteY45" fmla="*/ 232310 h 1297454"/>
                <a:gd name="connsiteX46" fmla="*/ 127609 w 911102"/>
                <a:gd name="connsiteY46" fmla="*/ 8370 h 1297454"/>
                <a:gd name="connsiteX47" fmla="*/ 135979 w 911102"/>
                <a:gd name="connsiteY47" fmla="*/ 0 h 1297454"/>
                <a:gd name="connsiteX48" fmla="*/ 737166 w 911102"/>
                <a:gd name="connsiteY48" fmla="*/ 0 h 1297454"/>
                <a:gd name="connsiteX49" fmla="*/ 745536 w 911102"/>
                <a:gd name="connsiteY4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5765 w 911102"/>
                <a:gd name="connsiteY7" fmla="*/ 302911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53784 w 911102"/>
                <a:gd name="connsiteY10" fmla="*/ 665322 h 1297454"/>
                <a:gd name="connsiteX11" fmla="*/ 710088 w 911102"/>
                <a:gd name="connsiteY11" fmla="*/ 1078153 h 1297454"/>
                <a:gd name="connsiteX12" fmla="*/ 710501 w 911102"/>
                <a:gd name="connsiteY12" fmla="*/ 1086412 h 1297454"/>
                <a:gd name="connsiteX13" fmla="*/ 710454 w 911102"/>
                <a:gd name="connsiteY13" fmla="*/ 1087719 h 1297454"/>
                <a:gd name="connsiteX14" fmla="*/ 714164 w 911102"/>
                <a:gd name="connsiteY14" fmla="*/ 1201144 h 1297454"/>
                <a:gd name="connsiteX15" fmla="*/ 723293 w 911102"/>
                <a:gd name="connsiteY15" fmla="*/ 1277540 h 1297454"/>
                <a:gd name="connsiteX16" fmla="*/ 723407 w 911102"/>
                <a:gd name="connsiteY16" fmla="*/ 1278872 h 1297454"/>
                <a:gd name="connsiteX17" fmla="*/ 724025 w 911102"/>
                <a:gd name="connsiteY17" fmla="*/ 1283671 h 1297454"/>
                <a:gd name="connsiteX18" fmla="*/ 724876 w 911102"/>
                <a:gd name="connsiteY18" fmla="*/ 1290789 h 1297454"/>
                <a:gd name="connsiteX19" fmla="*/ 568039 w 911102"/>
                <a:gd name="connsiteY19" fmla="*/ 1230080 h 1297454"/>
                <a:gd name="connsiteX20" fmla="*/ 364868 w 911102"/>
                <a:gd name="connsiteY20" fmla="*/ 1184795 h 1297454"/>
                <a:gd name="connsiteX21" fmla="*/ 178811 w 911102"/>
                <a:gd name="connsiteY21" fmla="*/ 1123147 h 1297454"/>
                <a:gd name="connsiteX22" fmla="*/ 28040 w 911102"/>
                <a:gd name="connsiteY22" fmla="*/ 1036282 h 1297454"/>
                <a:gd name="connsiteX23" fmla="*/ 26077 w 911102"/>
                <a:gd name="connsiteY23" fmla="*/ 1027345 h 1297454"/>
                <a:gd name="connsiteX24" fmla="*/ 152633 w 911102"/>
                <a:gd name="connsiteY24" fmla="*/ 1035076 h 1297454"/>
                <a:gd name="connsiteX25" fmla="*/ 255738 w 911102"/>
                <a:gd name="connsiteY25" fmla="*/ 943843 h 1297454"/>
                <a:gd name="connsiteX26" fmla="*/ 231475 w 911102"/>
                <a:gd name="connsiteY26" fmla="*/ 873395 h 1297454"/>
                <a:gd name="connsiteX27" fmla="*/ 213502 w 911102"/>
                <a:gd name="connsiteY27" fmla="*/ 859613 h 1297454"/>
                <a:gd name="connsiteX28" fmla="*/ 216878 w 911102"/>
                <a:gd name="connsiteY28" fmla="*/ 859143 h 1297454"/>
                <a:gd name="connsiteX29" fmla="*/ 281693 w 911102"/>
                <a:gd name="connsiteY29" fmla="*/ 773235 h 1297454"/>
                <a:gd name="connsiteX30" fmla="*/ 227816 w 911102"/>
                <a:gd name="connsiteY30" fmla="*/ 680077 h 1297454"/>
                <a:gd name="connsiteX31" fmla="*/ 217008 w 911102"/>
                <a:gd name="connsiteY31" fmla="*/ 677199 h 1297454"/>
                <a:gd name="connsiteX32" fmla="*/ 226953 w 911102"/>
                <a:gd name="connsiteY32" fmla="*/ 675817 h 1297454"/>
                <a:gd name="connsiteX33" fmla="*/ 291768 w 911102"/>
                <a:gd name="connsiteY33" fmla="*/ 589909 h 1297454"/>
                <a:gd name="connsiteX34" fmla="*/ 237891 w 911102"/>
                <a:gd name="connsiteY34" fmla="*/ 496751 h 1297454"/>
                <a:gd name="connsiteX35" fmla="*/ 221568 w 911102"/>
                <a:gd name="connsiteY35" fmla="*/ 492404 h 1297454"/>
                <a:gd name="connsiteX36" fmla="*/ 249567 w 911102"/>
                <a:gd name="connsiteY36" fmla="*/ 475916 h 1297454"/>
                <a:gd name="connsiteX37" fmla="*/ 281129 w 911102"/>
                <a:gd name="connsiteY37" fmla="*/ 411193 h 1297454"/>
                <a:gd name="connsiteX38" fmla="*/ 281130 w 911102"/>
                <a:gd name="connsiteY38" fmla="*/ 411193 h 1297454"/>
                <a:gd name="connsiteX39" fmla="*/ 257681 w 911102"/>
                <a:gd name="connsiteY39" fmla="*/ 343108 h 1297454"/>
                <a:gd name="connsiteX40" fmla="*/ 192957 w 911102"/>
                <a:gd name="connsiteY40" fmla="*/ 311547 h 1297454"/>
                <a:gd name="connsiteX41" fmla="*/ 65424 w 911102"/>
                <a:gd name="connsiteY41" fmla="*/ 303757 h 1297454"/>
                <a:gd name="connsiteX42" fmla="*/ 41901 w 911102"/>
                <a:gd name="connsiteY42" fmla="*/ 309400 h 1297454"/>
                <a:gd name="connsiteX43" fmla="*/ 56412 w 911102"/>
                <a:gd name="connsiteY43" fmla="*/ 232310 h 1297454"/>
                <a:gd name="connsiteX44" fmla="*/ 127609 w 911102"/>
                <a:gd name="connsiteY44" fmla="*/ 8370 h 1297454"/>
                <a:gd name="connsiteX45" fmla="*/ 135979 w 911102"/>
                <a:gd name="connsiteY45" fmla="*/ 0 h 1297454"/>
                <a:gd name="connsiteX46" fmla="*/ 737166 w 911102"/>
                <a:gd name="connsiteY46" fmla="*/ 0 h 1297454"/>
                <a:gd name="connsiteX47" fmla="*/ 745536 w 911102"/>
                <a:gd name="connsiteY47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4164 w 911102"/>
                <a:gd name="connsiteY12" fmla="*/ 1201144 h 1297454"/>
                <a:gd name="connsiteX13" fmla="*/ 723293 w 911102"/>
                <a:gd name="connsiteY13" fmla="*/ 1277540 h 1297454"/>
                <a:gd name="connsiteX14" fmla="*/ 723407 w 911102"/>
                <a:gd name="connsiteY14" fmla="*/ 1278872 h 1297454"/>
                <a:gd name="connsiteX15" fmla="*/ 724025 w 911102"/>
                <a:gd name="connsiteY15" fmla="*/ 1283671 h 1297454"/>
                <a:gd name="connsiteX16" fmla="*/ 724876 w 911102"/>
                <a:gd name="connsiteY16" fmla="*/ 1290789 h 1297454"/>
                <a:gd name="connsiteX17" fmla="*/ 568039 w 911102"/>
                <a:gd name="connsiteY17" fmla="*/ 1230080 h 1297454"/>
                <a:gd name="connsiteX18" fmla="*/ 364868 w 911102"/>
                <a:gd name="connsiteY18" fmla="*/ 1184795 h 1297454"/>
                <a:gd name="connsiteX19" fmla="*/ 178811 w 911102"/>
                <a:gd name="connsiteY19" fmla="*/ 1123147 h 1297454"/>
                <a:gd name="connsiteX20" fmla="*/ 28040 w 911102"/>
                <a:gd name="connsiteY20" fmla="*/ 1036282 h 1297454"/>
                <a:gd name="connsiteX21" fmla="*/ 26077 w 911102"/>
                <a:gd name="connsiteY21" fmla="*/ 1027345 h 1297454"/>
                <a:gd name="connsiteX22" fmla="*/ 152633 w 911102"/>
                <a:gd name="connsiteY22" fmla="*/ 1035076 h 1297454"/>
                <a:gd name="connsiteX23" fmla="*/ 255738 w 911102"/>
                <a:gd name="connsiteY23" fmla="*/ 943843 h 1297454"/>
                <a:gd name="connsiteX24" fmla="*/ 231475 w 911102"/>
                <a:gd name="connsiteY24" fmla="*/ 873395 h 1297454"/>
                <a:gd name="connsiteX25" fmla="*/ 213502 w 911102"/>
                <a:gd name="connsiteY25" fmla="*/ 859613 h 1297454"/>
                <a:gd name="connsiteX26" fmla="*/ 216878 w 911102"/>
                <a:gd name="connsiteY26" fmla="*/ 859143 h 1297454"/>
                <a:gd name="connsiteX27" fmla="*/ 281693 w 911102"/>
                <a:gd name="connsiteY27" fmla="*/ 773235 h 1297454"/>
                <a:gd name="connsiteX28" fmla="*/ 227816 w 911102"/>
                <a:gd name="connsiteY28" fmla="*/ 680077 h 1297454"/>
                <a:gd name="connsiteX29" fmla="*/ 217008 w 911102"/>
                <a:gd name="connsiteY29" fmla="*/ 677199 h 1297454"/>
                <a:gd name="connsiteX30" fmla="*/ 226953 w 911102"/>
                <a:gd name="connsiteY30" fmla="*/ 675817 h 1297454"/>
                <a:gd name="connsiteX31" fmla="*/ 291768 w 911102"/>
                <a:gd name="connsiteY31" fmla="*/ 589909 h 1297454"/>
                <a:gd name="connsiteX32" fmla="*/ 237891 w 911102"/>
                <a:gd name="connsiteY32" fmla="*/ 496751 h 1297454"/>
                <a:gd name="connsiteX33" fmla="*/ 221568 w 911102"/>
                <a:gd name="connsiteY33" fmla="*/ 492404 h 1297454"/>
                <a:gd name="connsiteX34" fmla="*/ 249567 w 911102"/>
                <a:gd name="connsiteY34" fmla="*/ 475916 h 1297454"/>
                <a:gd name="connsiteX35" fmla="*/ 281129 w 911102"/>
                <a:gd name="connsiteY35" fmla="*/ 411193 h 1297454"/>
                <a:gd name="connsiteX36" fmla="*/ 281130 w 911102"/>
                <a:gd name="connsiteY36" fmla="*/ 411193 h 1297454"/>
                <a:gd name="connsiteX37" fmla="*/ 257681 w 911102"/>
                <a:gd name="connsiteY37" fmla="*/ 343108 h 1297454"/>
                <a:gd name="connsiteX38" fmla="*/ 192957 w 911102"/>
                <a:gd name="connsiteY38" fmla="*/ 311547 h 1297454"/>
                <a:gd name="connsiteX39" fmla="*/ 65424 w 911102"/>
                <a:gd name="connsiteY39" fmla="*/ 303757 h 1297454"/>
                <a:gd name="connsiteX40" fmla="*/ 41901 w 911102"/>
                <a:gd name="connsiteY40" fmla="*/ 309400 h 1297454"/>
                <a:gd name="connsiteX41" fmla="*/ 56412 w 911102"/>
                <a:gd name="connsiteY41" fmla="*/ 232310 h 1297454"/>
                <a:gd name="connsiteX42" fmla="*/ 127609 w 911102"/>
                <a:gd name="connsiteY42" fmla="*/ 8370 h 1297454"/>
                <a:gd name="connsiteX43" fmla="*/ 135979 w 911102"/>
                <a:gd name="connsiteY43" fmla="*/ 0 h 1297454"/>
                <a:gd name="connsiteX44" fmla="*/ 737166 w 911102"/>
                <a:gd name="connsiteY44" fmla="*/ 0 h 1297454"/>
                <a:gd name="connsiteX45" fmla="*/ 745536 w 911102"/>
                <a:gd name="connsiteY45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4164 w 911102"/>
                <a:gd name="connsiteY11" fmla="*/ 1201144 h 1297454"/>
                <a:gd name="connsiteX12" fmla="*/ 723293 w 911102"/>
                <a:gd name="connsiteY12" fmla="*/ 1277540 h 1297454"/>
                <a:gd name="connsiteX13" fmla="*/ 723407 w 911102"/>
                <a:gd name="connsiteY13" fmla="*/ 1278872 h 1297454"/>
                <a:gd name="connsiteX14" fmla="*/ 724025 w 911102"/>
                <a:gd name="connsiteY14" fmla="*/ 1283671 h 1297454"/>
                <a:gd name="connsiteX15" fmla="*/ 724876 w 911102"/>
                <a:gd name="connsiteY15" fmla="*/ 1290789 h 1297454"/>
                <a:gd name="connsiteX16" fmla="*/ 568039 w 911102"/>
                <a:gd name="connsiteY16" fmla="*/ 1230080 h 1297454"/>
                <a:gd name="connsiteX17" fmla="*/ 364868 w 911102"/>
                <a:gd name="connsiteY17" fmla="*/ 1184795 h 1297454"/>
                <a:gd name="connsiteX18" fmla="*/ 178811 w 911102"/>
                <a:gd name="connsiteY18" fmla="*/ 1123147 h 1297454"/>
                <a:gd name="connsiteX19" fmla="*/ 28040 w 911102"/>
                <a:gd name="connsiteY19" fmla="*/ 1036282 h 1297454"/>
                <a:gd name="connsiteX20" fmla="*/ 26077 w 911102"/>
                <a:gd name="connsiteY20" fmla="*/ 1027345 h 1297454"/>
                <a:gd name="connsiteX21" fmla="*/ 152633 w 911102"/>
                <a:gd name="connsiteY21" fmla="*/ 1035076 h 1297454"/>
                <a:gd name="connsiteX22" fmla="*/ 255738 w 911102"/>
                <a:gd name="connsiteY22" fmla="*/ 943843 h 1297454"/>
                <a:gd name="connsiteX23" fmla="*/ 231475 w 911102"/>
                <a:gd name="connsiteY23" fmla="*/ 873395 h 1297454"/>
                <a:gd name="connsiteX24" fmla="*/ 213502 w 911102"/>
                <a:gd name="connsiteY24" fmla="*/ 859613 h 1297454"/>
                <a:gd name="connsiteX25" fmla="*/ 216878 w 911102"/>
                <a:gd name="connsiteY25" fmla="*/ 859143 h 1297454"/>
                <a:gd name="connsiteX26" fmla="*/ 281693 w 911102"/>
                <a:gd name="connsiteY26" fmla="*/ 773235 h 1297454"/>
                <a:gd name="connsiteX27" fmla="*/ 227816 w 911102"/>
                <a:gd name="connsiteY27" fmla="*/ 680077 h 1297454"/>
                <a:gd name="connsiteX28" fmla="*/ 217008 w 911102"/>
                <a:gd name="connsiteY28" fmla="*/ 677199 h 1297454"/>
                <a:gd name="connsiteX29" fmla="*/ 226953 w 911102"/>
                <a:gd name="connsiteY29" fmla="*/ 675817 h 1297454"/>
                <a:gd name="connsiteX30" fmla="*/ 291768 w 911102"/>
                <a:gd name="connsiteY30" fmla="*/ 589909 h 1297454"/>
                <a:gd name="connsiteX31" fmla="*/ 237891 w 911102"/>
                <a:gd name="connsiteY31" fmla="*/ 496751 h 1297454"/>
                <a:gd name="connsiteX32" fmla="*/ 221568 w 911102"/>
                <a:gd name="connsiteY32" fmla="*/ 492404 h 1297454"/>
                <a:gd name="connsiteX33" fmla="*/ 249567 w 911102"/>
                <a:gd name="connsiteY33" fmla="*/ 475916 h 1297454"/>
                <a:gd name="connsiteX34" fmla="*/ 281129 w 911102"/>
                <a:gd name="connsiteY34" fmla="*/ 411193 h 1297454"/>
                <a:gd name="connsiteX35" fmla="*/ 281130 w 911102"/>
                <a:gd name="connsiteY35" fmla="*/ 411193 h 1297454"/>
                <a:gd name="connsiteX36" fmla="*/ 257681 w 911102"/>
                <a:gd name="connsiteY36" fmla="*/ 343108 h 1297454"/>
                <a:gd name="connsiteX37" fmla="*/ 192957 w 911102"/>
                <a:gd name="connsiteY37" fmla="*/ 311547 h 1297454"/>
                <a:gd name="connsiteX38" fmla="*/ 65424 w 911102"/>
                <a:gd name="connsiteY38" fmla="*/ 303757 h 1297454"/>
                <a:gd name="connsiteX39" fmla="*/ 41901 w 911102"/>
                <a:gd name="connsiteY39" fmla="*/ 309400 h 1297454"/>
                <a:gd name="connsiteX40" fmla="*/ 56412 w 911102"/>
                <a:gd name="connsiteY40" fmla="*/ 232310 h 1297454"/>
                <a:gd name="connsiteX41" fmla="*/ 127609 w 911102"/>
                <a:gd name="connsiteY41" fmla="*/ 8370 h 1297454"/>
                <a:gd name="connsiteX42" fmla="*/ 135979 w 911102"/>
                <a:gd name="connsiteY42" fmla="*/ 0 h 1297454"/>
                <a:gd name="connsiteX43" fmla="*/ 737166 w 911102"/>
                <a:gd name="connsiteY43" fmla="*/ 0 h 1297454"/>
                <a:gd name="connsiteX44" fmla="*/ 745536 w 911102"/>
                <a:gd name="connsiteY44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4164 w 911102"/>
                <a:gd name="connsiteY10" fmla="*/ 1201144 h 1297454"/>
                <a:gd name="connsiteX11" fmla="*/ 723293 w 911102"/>
                <a:gd name="connsiteY11" fmla="*/ 1277540 h 1297454"/>
                <a:gd name="connsiteX12" fmla="*/ 723407 w 911102"/>
                <a:gd name="connsiteY12" fmla="*/ 1278872 h 1297454"/>
                <a:gd name="connsiteX13" fmla="*/ 724025 w 911102"/>
                <a:gd name="connsiteY13" fmla="*/ 1283671 h 1297454"/>
                <a:gd name="connsiteX14" fmla="*/ 724876 w 911102"/>
                <a:gd name="connsiteY14" fmla="*/ 1290789 h 1297454"/>
                <a:gd name="connsiteX15" fmla="*/ 568039 w 911102"/>
                <a:gd name="connsiteY15" fmla="*/ 1230080 h 1297454"/>
                <a:gd name="connsiteX16" fmla="*/ 364868 w 911102"/>
                <a:gd name="connsiteY16" fmla="*/ 1184795 h 1297454"/>
                <a:gd name="connsiteX17" fmla="*/ 178811 w 911102"/>
                <a:gd name="connsiteY17" fmla="*/ 1123147 h 1297454"/>
                <a:gd name="connsiteX18" fmla="*/ 28040 w 911102"/>
                <a:gd name="connsiteY18" fmla="*/ 1036282 h 1297454"/>
                <a:gd name="connsiteX19" fmla="*/ 26077 w 911102"/>
                <a:gd name="connsiteY19" fmla="*/ 1027345 h 1297454"/>
                <a:gd name="connsiteX20" fmla="*/ 152633 w 911102"/>
                <a:gd name="connsiteY20" fmla="*/ 1035076 h 1297454"/>
                <a:gd name="connsiteX21" fmla="*/ 255738 w 911102"/>
                <a:gd name="connsiteY21" fmla="*/ 943843 h 1297454"/>
                <a:gd name="connsiteX22" fmla="*/ 231475 w 911102"/>
                <a:gd name="connsiteY22" fmla="*/ 873395 h 1297454"/>
                <a:gd name="connsiteX23" fmla="*/ 213502 w 911102"/>
                <a:gd name="connsiteY23" fmla="*/ 859613 h 1297454"/>
                <a:gd name="connsiteX24" fmla="*/ 216878 w 911102"/>
                <a:gd name="connsiteY24" fmla="*/ 859143 h 1297454"/>
                <a:gd name="connsiteX25" fmla="*/ 281693 w 911102"/>
                <a:gd name="connsiteY25" fmla="*/ 773235 h 1297454"/>
                <a:gd name="connsiteX26" fmla="*/ 227816 w 911102"/>
                <a:gd name="connsiteY26" fmla="*/ 680077 h 1297454"/>
                <a:gd name="connsiteX27" fmla="*/ 217008 w 911102"/>
                <a:gd name="connsiteY27" fmla="*/ 677199 h 1297454"/>
                <a:gd name="connsiteX28" fmla="*/ 226953 w 911102"/>
                <a:gd name="connsiteY28" fmla="*/ 675817 h 1297454"/>
                <a:gd name="connsiteX29" fmla="*/ 291768 w 911102"/>
                <a:gd name="connsiteY29" fmla="*/ 589909 h 1297454"/>
                <a:gd name="connsiteX30" fmla="*/ 237891 w 911102"/>
                <a:gd name="connsiteY30" fmla="*/ 496751 h 1297454"/>
                <a:gd name="connsiteX31" fmla="*/ 221568 w 911102"/>
                <a:gd name="connsiteY31" fmla="*/ 492404 h 1297454"/>
                <a:gd name="connsiteX32" fmla="*/ 249567 w 911102"/>
                <a:gd name="connsiteY32" fmla="*/ 475916 h 1297454"/>
                <a:gd name="connsiteX33" fmla="*/ 281129 w 911102"/>
                <a:gd name="connsiteY33" fmla="*/ 411193 h 1297454"/>
                <a:gd name="connsiteX34" fmla="*/ 281130 w 911102"/>
                <a:gd name="connsiteY34" fmla="*/ 411193 h 1297454"/>
                <a:gd name="connsiteX35" fmla="*/ 257681 w 911102"/>
                <a:gd name="connsiteY35" fmla="*/ 343108 h 1297454"/>
                <a:gd name="connsiteX36" fmla="*/ 192957 w 911102"/>
                <a:gd name="connsiteY36" fmla="*/ 311547 h 1297454"/>
                <a:gd name="connsiteX37" fmla="*/ 65424 w 911102"/>
                <a:gd name="connsiteY37" fmla="*/ 303757 h 1297454"/>
                <a:gd name="connsiteX38" fmla="*/ 41901 w 911102"/>
                <a:gd name="connsiteY38" fmla="*/ 309400 h 1297454"/>
                <a:gd name="connsiteX39" fmla="*/ 56412 w 911102"/>
                <a:gd name="connsiteY39" fmla="*/ 232310 h 1297454"/>
                <a:gd name="connsiteX40" fmla="*/ 127609 w 911102"/>
                <a:gd name="connsiteY40" fmla="*/ 8370 h 1297454"/>
                <a:gd name="connsiteX41" fmla="*/ 135979 w 911102"/>
                <a:gd name="connsiteY41" fmla="*/ 0 h 1297454"/>
                <a:gd name="connsiteX42" fmla="*/ 737166 w 911102"/>
                <a:gd name="connsiteY42" fmla="*/ 0 h 1297454"/>
                <a:gd name="connsiteX43" fmla="*/ 745536 w 911102"/>
                <a:gd name="connsiteY43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3407 w 911102"/>
                <a:gd name="connsiteY11" fmla="*/ 1278872 h 1297454"/>
                <a:gd name="connsiteX12" fmla="*/ 724025 w 911102"/>
                <a:gd name="connsiteY12" fmla="*/ 1283671 h 1297454"/>
                <a:gd name="connsiteX13" fmla="*/ 724876 w 911102"/>
                <a:gd name="connsiteY13" fmla="*/ 1290789 h 1297454"/>
                <a:gd name="connsiteX14" fmla="*/ 568039 w 911102"/>
                <a:gd name="connsiteY14" fmla="*/ 1230080 h 1297454"/>
                <a:gd name="connsiteX15" fmla="*/ 364868 w 911102"/>
                <a:gd name="connsiteY15" fmla="*/ 1184795 h 1297454"/>
                <a:gd name="connsiteX16" fmla="*/ 178811 w 911102"/>
                <a:gd name="connsiteY16" fmla="*/ 1123147 h 1297454"/>
                <a:gd name="connsiteX17" fmla="*/ 28040 w 911102"/>
                <a:gd name="connsiteY17" fmla="*/ 1036282 h 1297454"/>
                <a:gd name="connsiteX18" fmla="*/ 26077 w 911102"/>
                <a:gd name="connsiteY18" fmla="*/ 1027345 h 1297454"/>
                <a:gd name="connsiteX19" fmla="*/ 152633 w 911102"/>
                <a:gd name="connsiteY19" fmla="*/ 1035076 h 1297454"/>
                <a:gd name="connsiteX20" fmla="*/ 255738 w 911102"/>
                <a:gd name="connsiteY20" fmla="*/ 943843 h 1297454"/>
                <a:gd name="connsiteX21" fmla="*/ 231475 w 911102"/>
                <a:gd name="connsiteY21" fmla="*/ 873395 h 1297454"/>
                <a:gd name="connsiteX22" fmla="*/ 213502 w 911102"/>
                <a:gd name="connsiteY22" fmla="*/ 859613 h 1297454"/>
                <a:gd name="connsiteX23" fmla="*/ 216878 w 911102"/>
                <a:gd name="connsiteY23" fmla="*/ 859143 h 1297454"/>
                <a:gd name="connsiteX24" fmla="*/ 281693 w 911102"/>
                <a:gd name="connsiteY24" fmla="*/ 773235 h 1297454"/>
                <a:gd name="connsiteX25" fmla="*/ 227816 w 911102"/>
                <a:gd name="connsiteY25" fmla="*/ 680077 h 1297454"/>
                <a:gd name="connsiteX26" fmla="*/ 217008 w 911102"/>
                <a:gd name="connsiteY26" fmla="*/ 677199 h 1297454"/>
                <a:gd name="connsiteX27" fmla="*/ 226953 w 911102"/>
                <a:gd name="connsiteY27" fmla="*/ 675817 h 1297454"/>
                <a:gd name="connsiteX28" fmla="*/ 291768 w 911102"/>
                <a:gd name="connsiteY28" fmla="*/ 589909 h 1297454"/>
                <a:gd name="connsiteX29" fmla="*/ 237891 w 911102"/>
                <a:gd name="connsiteY29" fmla="*/ 496751 h 1297454"/>
                <a:gd name="connsiteX30" fmla="*/ 221568 w 911102"/>
                <a:gd name="connsiteY30" fmla="*/ 492404 h 1297454"/>
                <a:gd name="connsiteX31" fmla="*/ 249567 w 911102"/>
                <a:gd name="connsiteY31" fmla="*/ 475916 h 1297454"/>
                <a:gd name="connsiteX32" fmla="*/ 281129 w 911102"/>
                <a:gd name="connsiteY32" fmla="*/ 411193 h 1297454"/>
                <a:gd name="connsiteX33" fmla="*/ 281130 w 911102"/>
                <a:gd name="connsiteY33" fmla="*/ 411193 h 1297454"/>
                <a:gd name="connsiteX34" fmla="*/ 257681 w 911102"/>
                <a:gd name="connsiteY34" fmla="*/ 343108 h 1297454"/>
                <a:gd name="connsiteX35" fmla="*/ 192957 w 911102"/>
                <a:gd name="connsiteY35" fmla="*/ 311547 h 1297454"/>
                <a:gd name="connsiteX36" fmla="*/ 65424 w 911102"/>
                <a:gd name="connsiteY36" fmla="*/ 303757 h 1297454"/>
                <a:gd name="connsiteX37" fmla="*/ 41901 w 911102"/>
                <a:gd name="connsiteY37" fmla="*/ 309400 h 1297454"/>
                <a:gd name="connsiteX38" fmla="*/ 56412 w 911102"/>
                <a:gd name="connsiteY38" fmla="*/ 232310 h 1297454"/>
                <a:gd name="connsiteX39" fmla="*/ 127609 w 911102"/>
                <a:gd name="connsiteY39" fmla="*/ 8370 h 1297454"/>
                <a:gd name="connsiteX40" fmla="*/ 135979 w 911102"/>
                <a:gd name="connsiteY40" fmla="*/ 0 h 1297454"/>
                <a:gd name="connsiteX41" fmla="*/ 737166 w 911102"/>
                <a:gd name="connsiteY41" fmla="*/ 0 h 1297454"/>
                <a:gd name="connsiteX42" fmla="*/ 745536 w 911102"/>
                <a:gd name="connsiteY42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3407 w 911102"/>
                <a:gd name="connsiteY11" fmla="*/ 1278872 h 1297454"/>
                <a:gd name="connsiteX12" fmla="*/ 724876 w 911102"/>
                <a:gd name="connsiteY12" fmla="*/ 1290789 h 1297454"/>
                <a:gd name="connsiteX13" fmla="*/ 568039 w 911102"/>
                <a:gd name="connsiteY13" fmla="*/ 1230080 h 1297454"/>
                <a:gd name="connsiteX14" fmla="*/ 364868 w 911102"/>
                <a:gd name="connsiteY14" fmla="*/ 1184795 h 1297454"/>
                <a:gd name="connsiteX15" fmla="*/ 178811 w 911102"/>
                <a:gd name="connsiteY15" fmla="*/ 1123147 h 1297454"/>
                <a:gd name="connsiteX16" fmla="*/ 28040 w 911102"/>
                <a:gd name="connsiteY16" fmla="*/ 1036282 h 1297454"/>
                <a:gd name="connsiteX17" fmla="*/ 26077 w 911102"/>
                <a:gd name="connsiteY17" fmla="*/ 1027345 h 1297454"/>
                <a:gd name="connsiteX18" fmla="*/ 152633 w 911102"/>
                <a:gd name="connsiteY18" fmla="*/ 1035076 h 1297454"/>
                <a:gd name="connsiteX19" fmla="*/ 255738 w 911102"/>
                <a:gd name="connsiteY19" fmla="*/ 943843 h 1297454"/>
                <a:gd name="connsiteX20" fmla="*/ 231475 w 911102"/>
                <a:gd name="connsiteY20" fmla="*/ 873395 h 1297454"/>
                <a:gd name="connsiteX21" fmla="*/ 213502 w 911102"/>
                <a:gd name="connsiteY21" fmla="*/ 859613 h 1297454"/>
                <a:gd name="connsiteX22" fmla="*/ 216878 w 911102"/>
                <a:gd name="connsiteY22" fmla="*/ 859143 h 1297454"/>
                <a:gd name="connsiteX23" fmla="*/ 281693 w 911102"/>
                <a:gd name="connsiteY23" fmla="*/ 773235 h 1297454"/>
                <a:gd name="connsiteX24" fmla="*/ 227816 w 911102"/>
                <a:gd name="connsiteY24" fmla="*/ 680077 h 1297454"/>
                <a:gd name="connsiteX25" fmla="*/ 217008 w 911102"/>
                <a:gd name="connsiteY25" fmla="*/ 677199 h 1297454"/>
                <a:gd name="connsiteX26" fmla="*/ 226953 w 911102"/>
                <a:gd name="connsiteY26" fmla="*/ 675817 h 1297454"/>
                <a:gd name="connsiteX27" fmla="*/ 291768 w 911102"/>
                <a:gd name="connsiteY27" fmla="*/ 589909 h 1297454"/>
                <a:gd name="connsiteX28" fmla="*/ 237891 w 911102"/>
                <a:gd name="connsiteY28" fmla="*/ 496751 h 1297454"/>
                <a:gd name="connsiteX29" fmla="*/ 221568 w 911102"/>
                <a:gd name="connsiteY29" fmla="*/ 492404 h 1297454"/>
                <a:gd name="connsiteX30" fmla="*/ 249567 w 911102"/>
                <a:gd name="connsiteY30" fmla="*/ 475916 h 1297454"/>
                <a:gd name="connsiteX31" fmla="*/ 281129 w 911102"/>
                <a:gd name="connsiteY31" fmla="*/ 411193 h 1297454"/>
                <a:gd name="connsiteX32" fmla="*/ 281130 w 911102"/>
                <a:gd name="connsiteY32" fmla="*/ 411193 h 1297454"/>
                <a:gd name="connsiteX33" fmla="*/ 257681 w 911102"/>
                <a:gd name="connsiteY33" fmla="*/ 343108 h 1297454"/>
                <a:gd name="connsiteX34" fmla="*/ 192957 w 911102"/>
                <a:gd name="connsiteY34" fmla="*/ 311547 h 1297454"/>
                <a:gd name="connsiteX35" fmla="*/ 65424 w 911102"/>
                <a:gd name="connsiteY35" fmla="*/ 303757 h 1297454"/>
                <a:gd name="connsiteX36" fmla="*/ 41901 w 911102"/>
                <a:gd name="connsiteY36" fmla="*/ 309400 h 1297454"/>
                <a:gd name="connsiteX37" fmla="*/ 56412 w 911102"/>
                <a:gd name="connsiteY37" fmla="*/ 232310 h 1297454"/>
                <a:gd name="connsiteX38" fmla="*/ 127609 w 911102"/>
                <a:gd name="connsiteY38" fmla="*/ 8370 h 1297454"/>
                <a:gd name="connsiteX39" fmla="*/ 135979 w 911102"/>
                <a:gd name="connsiteY39" fmla="*/ 0 h 1297454"/>
                <a:gd name="connsiteX40" fmla="*/ 737166 w 911102"/>
                <a:gd name="connsiteY40" fmla="*/ 0 h 1297454"/>
                <a:gd name="connsiteX41" fmla="*/ 745536 w 911102"/>
                <a:gd name="connsiteY41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4876 w 911102"/>
                <a:gd name="connsiteY11" fmla="*/ 1290789 h 1297454"/>
                <a:gd name="connsiteX12" fmla="*/ 568039 w 911102"/>
                <a:gd name="connsiteY12" fmla="*/ 1230080 h 1297454"/>
                <a:gd name="connsiteX13" fmla="*/ 364868 w 911102"/>
                <a:gd name="connsiteY13" fmla="*/ 1184795 h 1297454"/>
                <a:gd name="connsiteX14" fmla="*/ 178811 w 911102"/>
                <a:gd name="connsiteY14" fmla="*/ 1123147 h 1297454"/>
                <a:gd name="connsiteX15" fmla="*/ 28040 w 911102"/>
                <a:gd name="connsiteY15" fmla="*/ 1036282 h 1297454"/>
                <a:gd name="connsiteX16" fmla="*/ 26077 w 911102"/>
                <a:gd name="connsiteY16" fmla="*/ 1027345 h 1297454"/>
                <a:gd name="connsiteX17" fmla="*/ 152633 w 911102"/>
                <a:gd name="connsiteY17" fmla="*/ 1035076 h 1297454"/>
                <a:gd name="connsiteX18" fmla="*/ 255738 w 911102"/>
                <a:gd name="connsiteY18" fmla="*/ 943843 h 1297454"/>
                <a:gd name="connsiteX19" fmla="*/ 231475 w 911102"/>
                <a:gd name="connsiteY19" fmla="*/ 873395 h 1297454"/>
                <a:gd name="connsiteX20" fmla="*/ 213502 w 911102"/>
                <a:gd name="connsiteY20" fmla="*/ 859613 h 1297454"/>
                <a:gd name="connsiteX21" fmla="*/ 216878 w 911102"/>
                <a:gd name="connsiteY21" fmla="*/ 859143 h 1297454"/>
                <a:gd name="connsiteX22" fmla="*/ 281693 w 911102"/>
                <a:gd name="connsiteY22" fmla="*/ 773235 h 1297454"/>
                <a:gd name="connsiteX23" fmla="*/ 227816 w 911102"/>
                <a:gd name="connsiteY23" fmla="*/ 680077 h 1297454"/>
                <a:gd name="connsiteX24" fmla="*/ 217008 w 911102"/>
                <a:gd name="connsiteY24" fmla="*/ 677199 h 1297454"/>
                <a:gd name="connsiteX25" fmla="*/ 226953 w 911102"/>
                <a:gd name="connsiteY25" fmla="*/ 675817 h 1297454"/>
                <a:gd name="connsiteX26" fmla="*/ 291768 w 911102"/>
                <a:gd name="connsiteY26" fmla="*/ 589909 h 1297454"/>
                <a:gd name="connsiteX27" fmla="*/ 237891 w 911102"/>
                <a:gd name="connsiteY27" fmla="*/ 496751 h 1297454"/>
                <a:gd name="connsiteX28" fmla="*/ 221568 w 911102"/>
                <a:gd name="connsiteY28" fmla="*/ 492404 h 1297454"/>
                <a:gd name="connsiteX29" fmla="*/ 249567 w 911102"/>
                <a:gd name="connsiteY29" fmla="*/ 475916 h 1297454"/>
                <a:gd name="connsiteX30" fmla="*/ 281129 w 911102"/>
                <a:gd name="connsiteY30" fmla="*/ 411193 h 1297454"/>
                <a:gd name="connsiteX31" fmla="*/ 281130 w 911102"/>
                <a:gd name="connsiteY31" fmla="*/ 411193 h 1297454"/>
                <a:gd name="connsiteX32" fmla="*/ 257681 w 911102"/>
                <a:gd name="connsiteY32" fmla="*/ 343108 h 1297454"/>
                <a:gd name="connsiteX33" fmla="*/ 192957 w 911102"/>
                <a:gd name="connsiteY33" fmla="*/ 311547 h 1297454"/>
                <a:gd name="connsiteX34" fmla="*/ 65424 w 911102"/>
                <a:gd name="connsiteY34" fmla="*/ 303757 h 1297454"/>
                <a:gd name="connsiteX35" fmla="*/ 41901 w 911102"/>
                <a:gd name="connsiteY35" fmla="*/ 309400 h 1297454"/>
                <a:gd name="connsiteX36" fmla="*/ 56412 w 911102"/>
                <a:gd name="connsiteY36" fmla="*/ 232310 h 1297454"/>
                <a:gd name="connsiteX37" fmla="*/ 127609 w 911102"/>
                <a:gd name="connsiteY37" fmla="*/ 8370 h 1297454"/>
                <a:gd name="connsiteX38" fmla="*/ 135979 w 911102"/>
                <a:gd name="connsiteY38" fmla="*/ 0 h 1297454"/>
                <a:gd name="connsiteX39" fmla="*/ 737166 w 911102"/>
                <a:gd name="connsiteY39" fmla="*/ 0 h 1297454"/>
                <a:gd name="connsiteX40" fmla="*/ 745536 w 911102"/>
                <a:gd name="connsiteY40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11102" h="1297454">
                  <a:moveTo>
                    <a:pt x="554" y="664205"/>
                  </a:moveTo>
                  <a:lnTo>
                    <a:pt x="0" y="664282"/>
                  </a:lnTo>
                  <a:cubicBezTo>
                    <a:pt x="5" y="664208"/>
                    <a:pt x="11" y="664135"/>
                    <a:pt x="16" y="664061"/>
                  </a:cubicBezTo>
                  <a:lnTo>
                    <a:pt x="554" y="664205"/>
                  </a:lnTo>
                  <a:close/>
                  <a:moveTo>
                    <a:pt x="745536" y="8370"/>
                  </a:moveTo>
                  <a:cubicBezTo>
                    <a:pt x="777296" y="94936"/>
                    <a:pt x="879455" y="311958"/>
                    <a:pt x="911102" y="379668"/>
                  </a:cubicBezTo>
                  <a:lnTo>
                    <a:pt x="876710" y="385825"/>
                  </a:lnTo>
                  <a:cubicBezTo>
                    <a:pt x="868621" y="377323"/>
                    <a:pt x="500563" y="302568"/>
                    <a:pt x="492061" y="310657"/>
                  </a:cubicBezTo>
                  <a:cubicBezTo>
                    <a:pt x="467650" y="368421"/>
                    <a:pt x="552876" y="601616"/>
                    <a:pt x="783320" y="626020"/>
                  </a:cubicBezTo>
                  <a:cubicBezTo>
                    <a:pt x="707017" y="751589"/>
                    <a:pt x="678492" y="1146233"/>
                    <a:pt x="724876" y="1290789"/>
                  </a:cubicBezTo>
                  <a:cubicBezTo>
                    <a:pt x="686289" y="1299923"/>
                    <a:pt x="599232" y="1312604"/>
                    <a:pt x="568039" y="1230080"/>
                  </a:cubicBezTo>
                  <a:cubicBezTo>
                    <a:pt x="505142" y="1271224"/>
                    <a:pt x="421109" y="1286153"/>
                    <a:pt x="364868" y="1184795"/>
                  </a:cubicBezTo>
                  <a:cubicBezTo>
                    <a:pt x="275380" y="1265558"/>
                    <a:pt x="187295" y="1190323"/>
                    <a:pt x="178811" y="1123147"/>
                  </a:cubicBezTo>
                  <a:cubicBezTo>
                    <a:pt x="136082" y="1156900"/>
                    <a:pt x="67183" y="1167242"/>
                    <a:pt x="28040" y="1036282"/>
                  </a:cubicBezTo>
                  <a:lnTo>
                    <a:pt x="26077" y="1027345"/>
                  </a:lnTo>
                  <a:lnTo>
                    <a:pt x="152633" y="1035076"/>
                  </a:lnTo>
                  <a:cubicBezTo>
                    <a:pt x="206298" y="1038354"/>
                    <a:pt x="252460" y="997507"/>
                    <a:pt x="255738" y="943843"/>
                  </a:cubicBezTo>
                  <a:cubicBezTo>
                    <a:pt x="257377" y="917011"/>
                    <a:pt x="247985" y="892054"/>
                    <a:pt x="231475" y="873395"/>
                  </a:cubicBezTo>
                  <a:lnTo>
                    <a:pt x="213502" y="859613"/>
                  </a:lnTo>
                  <a:lnTo>
                    <a:pt x="216878" y="859143"/>
                  </a:lnTo>
                  <a:cubicBezTo>
                    <a:pt x="252654" y="846522"/>
                    <a:pt x="279235" y="813484"/>
                    <a:pt x="281693" y="773235"/>
                  </a:cubicBezTo>
                  <a:cubicBezTo>
                    <a:pt x="284152" y="732987"/>
                    <a:pt x="261790" y="696958"/>
                    <a:pt x="227816" y="680077"/>
                  </a:cubicBezTo>
                  <a:lnTo>
                    <a:pt x="217008" y="677199"/>
                  </a:lnTo>
                  <a:lnTo>
                    <a:pt x="226953" y="675817"/>
                  </a:lnTo>
                  <a:cubicBezTo>
                    <a:pt x="262729" y="663196"/>
                    <a:pt x="289310" y="630158"/>
                    <a:pt x="291768" y="589909"/>
                  </a:cubicBezTo>
                  <a:cubicBezTo>
                    <a:pt x="294227" y="549660"/>
                    <a:pt x="271865" y="513632"/>
                    <a:pt x="237891" y="496751"/>
                  </a:cubicBezTo>
                  <a:lnTo>
                    <a:pt x="221568" y="492404"/>
                  </a:lnTo>
                  <a:lnTo>
                    <a:pt x="249567" y="475916"/>
                  </a:lnTo>
                  <a:cubicBezTo>
                    <a:pt x="267599" y="459959"/>
                    <a:pt x="279545" y="437125"/>
                    <a:pt x="281129" y="411193"/>
                  </a:cubicBezTo>
                  <a:lnTo>
                    <a:pt x="281130" y="411193"/>
                  </a:lnTo>
                  <a:cubicBezTo>
                    <a:pt x="282714" y="385260"/>
                    <a:pt x="273637" y="361142"/>
                    <a:pt x="257681" y="343108"/>
                  </a:cubicBezTo>
                  <a:cubicBezTo>
                    <a:pt x="241725" y="325077"/>
                    <a:pt x="218889" y="313132"/>
                    <a:pt x="192957" y="311547"/>
                  </a:cubicBezTo>
                  <a:lnTo>
                    <a:pt x="65424" y="303757"/>
                  </a:lnTo>
                  <a:lnTo>
                    <a:pt x="41901" y="309400"/>
                  </a:lnTo>
                  <a:lnTo>
                    <a:pt x="56412" y="232310"/>
                  </a:lnTo>
                  <a:cubicBezTo>
                    <a:pt x="76486" y="142148"/>
                    <a:pt x="100714" y="63554"/>
                    <a:pt x="127609" y="8370"/>
                  </a:cubicBezTo>
                  <a:cubicBezTo>
                    <a:pt x="127609" y="3747"/>
                    <a:pt x="131356" y="0"/>
                    <a:pt x="135979" y="0"/>
                  </a:cubicBezTo>
                  <a:lnTo>
                    <a:pt x="737166" y="0"/>
                  </a:lnTo>
                  <a:cubicBezTo>
                    <a:pt x="741789" y="0"/>
                    <a:pt x="745536" y="3747"/>
                    <a:pt x="745536" y="837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1" name="Rounded Rectangle 50"/>
            <p:cNvSpPr/>
            <p:nvPr/>
          </p:nvSpPr>
          <p:spPr>
            <a:xfrm rot="18254747">
              <a:off x="2121920" y="3773287"/>
              <a:ext cx="268275" cy="128977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2" name="Rounded Rectangle 51"/>
            <p:cNvSpPr/>
            <p:nvPr/>
          </p:nvSpPr>
          <p:spPr>
            <a:xfrm rot="18254747">
              <a:off x="2237781" y="3867949"/>
              <a:ext cx="311038" cy="143896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3" name="Rounded Rectangle 52"/>
            <p:cNvSpPr/>
            <p:nvPr/>
          </p:nvSpPr>
          <p:spPr>
            <a:xfrm rot="18254747">
              <a:off x="2396653" y="3967672"/>
              <a:ext cx="302453" cy="142014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4" name="Rounded Rectangle 53"/>
            <p:cNvSpPr/>
            <p:nvPr/>
          </p:nvSpPr>
          <p:spPr>
            <a:xfrm rot="18191826">
              <a:off x="2567056" y="4069412"/>
              <a:ext cx="257644" cy="132691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5" name="Rounded Rectangle 54"/>
            <p:cNvSpPr/>
            <p:nvPr/>
          </p:nvSpPr>
          <p:spPr>
            <a:xfrm rot="18170923">
              <a:off x="1446042" y="3129169"/>
              <a:ext cx="793564" cy="242045"/>
            </a:xfrm>
            <a:prstGeom prst="roundRect">
              <a:avLst>
                <a:gd name="adj" fmla="val 3458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6" name="Rounded Rectangle 55"/>
            <p:cNvSpPr/>
            <p:nvPr/>
          </p:nvSpPr>
          <p:spPr>
            <a:xfrm rot="18139869">
              <a:off x="1650404" y="3310198"/>
              <a:ext cx="701700" cy="59118"/>
            </a:xfrm>
            <a:prstGeom prst="roundRect">
              <a:avLst>
                <a:gd name="adj" fmla="val 5000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7" name="Rounded Rectangle 56"/>
            <p:cNvSpPr/>
            <p:nvPr/>
          </p:nvSpPr>
          <p:spPr>
            <a:xfrm rot="4209802">
              <a:off x="3305704" y="3176290"/>
              <a:ext cx="793564" cy="242045"/>
            </a:xfrm>
            <a:prstGeom prst="roundRect">
              <a:avLst>
                <a:gd name="adj" fmla="val 3458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8" name="Rounded Rectangle 57"/>
            <p:cNvSpPr/>
            <p:nvPr/>
          </p:nvSpPr>
          <p:spPr>
            <a:xfrm rot="4234155">
              <a:off x="3180849" y="3331995"/>
              <a:ext cx="701700" cy="59118"/>
            </a:xfrm>
            <a:prstGeom prst="roundRect">
              <a:avLst>
                <a:gd name="adj" fmla="val 5000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9" name="Freeform 58"/>
            <p:cNvSpPr/>
            <p:nvPr/>
          </p:nvSpPr>
          <p:spPr>
            <a:xfrm rot="20830502">
              <a:off x="2416807" y="3065880"/>
              <a:ext cx="1092446" cy="753122"/>
            </a:xfrm>
            <a:custGeom>
              <a:avLst/>
              <a:gdLst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1523 w 1092446"/>
                <a:gd name="connsiteY8" fmla="*/ 493267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99633 w 1092446"/>
                <a:gd name="connsiteY6" fmla="*/ 522004 h 741956"/>
                <a:gd name="connsiteX7" fmla="*/ 691523 w 1092446"/>
                <a:gd name="connsiteY7" fmla="*/ 493267 h 741956"/>
                <a:gd name="connsiteX8" fmla="*/ 576784 w 1092446"/>
                <a:gd name="connsiteY8" fmla="*/ 489842 h 741956"/>
                <a:gd name="connsiteX9" fmla="*/ 571648 w 1092446"/>
                <a:gd name="connsiteY9" fmla="*/ 489724 h 741956"/>
                <a:gd name="connsiteX10" fmla="*/ 481793 w 1092446"/>
                <a:gd name="connsiteY10" fmla="*/ 377963 h 741956"/>
                <a:gd name="connsiteX11" fmla="*/ 408161 w 1092446"/>
                <a:gd name="connsiteY11" fmla="*/ 225516 h 741956"/>
                <a:gd name="connsiteX12" fmla="*/ 0 w 1092446"/>
                <a:gd name="connsiteY12" fmla="*/ 271157 h 741956"/>
                <a:gd name="connsiteX13" fmla="*/ 393182 w 1092446"/>
                <a:gd name="connsiteY13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81793 w 1092446"/>
                <a:gd name="connsiteY8" fmla="*/ 377963 h 741956"/>
                <a:gd name="connsiteX9" fmla="*/ 408161 w 1092446"/>
                <a:gd name="connsiteY9" fmla="*/ 225516 h 741956"/>
                <a:gd name="connsiteX10" fmla="*/ 0 w 1092446"/>
                <a:gd name="connsiteY10" fmla="*/ 271157 h 741956"/>
                <a:gd name="connsiteX11" fmla="*/ 393182 w 1092446"/>
                <a:gd name="connsiteY11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53122"/>
                <a:gd name="connsiteX1" fmla="*/ 1030378 w 1092446"/>
                <a:gd name="connsiteY1" fmla="*/ 159143 h 753122"/>
                <a:gd name="connsiteX2" fmla="*/ 1092446 w 1092446"/>
                <a:gd name="connsiteY2" fmla="*/ 711193 h 753122"/>
                <a:gd name="connsiteX3" fmla="*/ 848296 w 1092446"/>
                <a:gd name="connsiteY3" fmla="*/ 752170 h 753122"/>
                <a:gd name="connsiteX4" fmla="*/ 600457 w 1092446"/>
                <a:gd name="connsiteY4" fmla="*/ 520096 h 753122"/>
                <a:gd name="connsiteX5" fmla="*/ 699633 w 1092446"/>
                <a:gd name="connsiteY5" fmla="*/ 522004 h 753122"/>
                <a:gd name="connsiteX6" fmla="*/ 689937 w 1092446"/>
                <a:gd name="connsiteY6" fmla="*/ 500232 h 753122"/>
                <a:gd name="connsiteX7" fmla="*/ 576784 w 1092446"/>
                <a:gd name="connsiteY7" fmla="*/ 489842 h 753122"/>
                <a:gd name="connsiteX8" fmla="*/ 408161 w 1092446"/>
                <a:gd name="connsiteY8" fmla="*/ 225516 h 753122"/>
                <a:gd name="connsiteX9" fmla="*/ 0 w 1092446"/>
                <a:gd name="connsiteY9" fmla="*/ 271157 h 753122"/>
                <a:gd name="connsiteX10" fmla="*/ 393182 w 1092446"/>
                <a:gd name="connsiteY10" fmla="*/ 0 h 753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92446" h="753122">
                  <a:moveTo>
                    <a:pt x="393182" y="0"/>
                  </a:moveTo>
                  <a:cubicBezTo>
                    <a:pt x="603014" y="50021"/>
                    <a:pt x="721952" y="145288"/>
                    <a:pt x="1030378" y="159143"/>
                  </a:cubicBezTo>
                  <a:cubicBezTo>
                    <a:pt x="1030378" y="348219"/>
                    <a:pt x="1061205" y="519889"/>
                    <a:pt x="1092446" y="711193"/>
                  </a:cubicBezTo>
                  <a:cubicBezTo>
                    <a:pt x="1032790" y="742751"/>
                    <a:pt x="923476" y="757108"/>
                    <a:pt x="848296" y="752170"/>
                  </a:cubicBezTo>
                  <a:cubicBezTo>
                    <a:pt x="798266" y="726242"/>
                    <a:pt x="684202" y="631576"/>
                    <a:pt x="600457" y="520096"/>
                  </a:cubicBezTo>
                  <a:cubicBezTo>
                    <a:pt x="633516" y="520732"/>
                    <a:pt x="684720" y="525315"/>
                    <a:pt x="699633" y="522004"/>
                  </a:cubicBezTo>
                  <a:cubicBezTo>
                    <a:pt x="714546" y="518693"/>
                    <a:pt x="725252" y="504787"/>
                    <a:pt x="689937" y="500232"/>
                  </a:cubicBezTo>
                  <a:cubicBezTo>
                    <a:pt x="654621" y="501428"/>
                    <a:pt x="614772" y="497298"/>
                    <a:pt x="576784" y="489842"/>
                  </a:cubicBezTo>
                  <a:cubicBezTo>
                    <a:pt x="507475" y="437824"/>
                    <a:pt x="432486" y="335672"/>
                    <a:pt x="408161" y="225516"/>
                  </a:cubicBezTo>
                  <a:cubicBezTo>
                    <a:pt x="253916" y="345672"/>
                    <a:pt x="75753" y="345602"/>
                    <a:pt x="0" y="271157"/>
                  </a:cubicBezTo>
                  <a:cubicBezTo>
                    <a:pt x="0" y="259422"/>
                    <a:pt x="381447" y="0"/>
                    <a:pt x="393182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61" name="Group 21"/>
          <p:cNvGrpSpPr>
            <a:grpSpLocks noChangeAspect="1"/>
          </p:cNvGrpSpPr>
          <p:nvPr/>
        </p:nvGrpSpPr>
        <p:grpSpPr bwMode="auto">
          <a:xfrm>
            <a:off x="10906749" y="3548572"/>
            <a:ext cx="463820" cy="462283"/>
            <a:chOff x="-425" y="2418"/>
            <a:chExt cx="302" cy="301"/>
          </a:xfrm>
          <a:solidFill>
            <a:srgbClr val="26867C"/>
          </a:solidFill>
        </p:grpSpPr>
        <p:sp>
          <p:nvSpPr>
            <p:cNvPr id="64" name="Freeform 23"/>
            <p:cNvSpPr>
              <a:spLocks/>
            </p:cNvSpPr>
            <p:nvPr/>
          </p:nvSpPr>
          <p:spPr bwMode="auto">
            <a:xfrm>
              <a:off x="-373" y="2472"/>
              <a:ext cx="130" cy="27"/>
            </a:xfrm>
            <a:custGeom>
              <a:avLst/>
              <a:gdLst>
                <a:gd name="T0" fmla="*/ 151 w 1438"/>
                <a:gd name="T1" fmla="*/ 0 h 302"/>
                <a:gd name="T2" fmla="*/ 1287 w 1438"/>
                <a:gd name="T3" fmla="*/ 0 h 302"/>
                <a:gd name="T4" fmla="*/ 1318 w 1438"/>
                <a:gd name="T5" fmla="*/ 3 h 302"/>
                <a:gd name="T6" fmla="*/ 1346 w 1438"/>
                <a:gd name="T7" fmla="*/ 12 h 302"/>
                <a:gd name="T8" fmla="*/ 1372 w 1438"/>
                <a:gd name="T9" fmla="*/ 26 h 302"/>
                <a:gd name="T10" fmla="*/ 1394 w 1438"/>
                <a:gd name="T11" fmla="*/ 45 h 302"/>
                <a:gd name="T12" fmla="*/ 1413 w 1438"/>
                <a:gd name="T13" fmla="*/ 67 h 302"/>
                <a:gd name="T14" fmla="*/ 1426 w 1438"/>
                <a:gd name="T15" fmla="*/ 93 h 302"/>
                <a:gd name="T16" fmla="*/ 1435 w 1438"/>
                <a:gd name="T17" fmla="*/ 121 h 302"/>
                <a:gd name="T18" fmla="*/ 1438 w 1438"/>
                <a:gd name="T19" fmla="*/ 151 h 302"/>
                <a:gd name="T20" fmla="*/ 1435 w 1438"/>
                <a:gd name="T21" fmla="*/ 181 h 302"/>
                <a:gd name="T22" fmla="*/ 1426 w 1438"/>
                <a:gd name="T23" fmla="*/ 209 h 302"/>
                <a:gd name="T24" fmla="*/ 1413 w 1438"/>
                <a:gd name="T25" fmla="*/ 235 h 302"/>
                <a:gd name="T26" fmla="*/ 1394 w 1438"/>
                <a:gd name="T27" fmla="*/ 257 h 302"/>
                <a:gd name="T28" fmla="*/ 1372 w 1438"/>
                <a:gd name="T29" fmla="*/ 276 h 302"/>
                <a:gd name="T30" fmla="*/ 1346 w 1438"/>
                <a:gd name="T31" fmla="*/ 289 h 302"/>
                <a:gd name="T32" fmla="*/ 1318 w 1438"/>
                <a:gd name="T33" fmla="*/ 298 h 302"/>
                <a:gd name="T34" fmla="*/ 1287 w 1438"/>
                <a:gd name="T35" fmla="*/ 302 h 302"/>
                <a:gd name="T36" fmla="*/ 151 w 1438"/>
                <a:gd name="T37" fmla="*/ 302 h 302"/>
                <a:gd name="T38" fmla="*/ 121 w 1438"/>
                <a:gd name="T39" fmla="*/ 298 h 302"/>
                <a:gd name="T40" fmla="*/ 93 w 1438"/>
                <a:gd name="T41" fmla="*/ 289 h 302"/>
                <a:gd name="T42" fmla="*/ 66 w 1438"/>
                <a:gd name="T43" fmla="*/ 276 h 302"/>
                <a:gd name="T44" fmla="*/ 44 w 1438"/>
                <a:gd name="T45" fmla="*/ 257 h 302"/>
                <a:gd name="T46" fmla="*/ 26 w 1438"/>
                <a:gd name="T47" fmla="*/ 235 h 302"/>
                <a:gd name="T48" fmla="*/ 12 w 1438"/>
                <a:gd name="T49" fmla="*/ 209 h 302"/>
                <a:gd name="T50" fmla="*/ 4 w 1438"/>
                <a:gd name="T51" fmla="*/ 181 h 302"/>
                <a:gd name="T52" fmla="*/ 0 w 1438"/>
                <a:gd name="T53" fmla="*/ 151 h 302"/>
                <a:gd name="T54" fmla="*/ 4 w 1438"/>
                <a:gd name="T55" fmla="*/ 121 h 302"/>
                <a:gd name="T56" fmla="*/ 12 w 1438"/>
                <a:gd name="T57" fmla="*/ 93 h 302"/>
                <a:gd name="T58" fmla="*/ 26 w 1438"/>
                <a:gd name="T59" fmla="*/ 67 h 302"/>
                <a:gd name="T60" fmla="*/ 44 w 1438"/>
                <a:gd name="T61" fmla="*/ 45 h 302"/>
                <a:gd name="T62" fmla="*/ 66 w 1438"/>
                <a:gd name="T63" fmla="*/ 26 h 302"/>
                <a:gd name="T64" fmla="*/ 93 w 1438"/>
                <a:gd name="T65" fmla="*/ 12 h 302"/>
                <a:gd name="T66" fmla="*/ 121 w 1438"/>
                <a:gd name="T67" fmla="*/ 3 h 302"/>
                <a:gd name="T68" fmla="*/ 151 w 1438"/>
                <a:gd name="T69" fmla="*/ 0 h 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8" h="302">
                  <a:moveTo>
                    <a:pt x="151" y="0"/>
                  </a:moveTo>
                  <a:lnTo>
                    <a:pt x="1287" y="0"/>
                  </a:lnTo>
                  <a:lnTo>
                    <a:pt x="1318" y="3"/>
                  </a:lnTo>
                  <a:lnTo>
                    <a:pt x="1346" y="12"/>
                  </a:lnTo>
                  <a:lnTo>
                    <a:pt x="1372" y="26"/>
                  </a:lnTo>
                  <a:lnTo>
                    <a:pt x="1394" y="45"/>
                  </a:lnTo>
                  <a:lnTo>
                    <a:pt x="1413" y="67"/>
                  </a:lnTo>
                  <a:lnTo>
                    <a:pt x="1426" y="93"/>
                  </a:lnTo>
                  <a:lnTo>
                    <a:pt x="1435" y="121"/>
                  </a:lnTo>
                  <a:lnTo>
                    <a:pt x="1438" y="151"/>
                  </a:lnTo>
                  <a:lnTo>
                    <a:pt x="1435" y="181"/>
                  </a:lnTo>
                  <a:lnTo>
                    <a:pt x="1426" y="209"/>
                  </a:lnTo>
                  <a:lnTo>
                    <a:pt x="1413" y="235"/>
                  </a:lnTo>
                  <a:lnTo>
                    <a:pt x="1394" y="257"/>
                  </a:lnTo>
                  <a:lnTo>
                    <a:pt x="1372" y="276"/>
                  </a:lnTo>
                  <a:lnTo>
                    <a:pt x="1346" y="289"/>
                  </a:lnTo>
                  <a:lnTo>
                    <a:pt x="1318" y="298"/>
                  </a:lnTo>
                  <a:lnTo>
                    <a:pt x="1287" y="302"/>
                  </a:lnTo>
                  <a:lnTo>
                    <a:pt x="151" y="302"/>
                  </a:lnTo>
                  <a:lnTo>
                    <a:pt x="121" y="298"/>
                  </a:lnTo>
                  <a:lnTo>
                    <a:pt x="93" y="289"/>
                  </a:lnTo>
                  <a:lnTo>
                    <a:pt x="66" y="276"/>
                  </a:lnTo>
                  <a:lnTo>
                    <a:pt x="44" y="257"/>
                  </a:lnTo>
                  <a:lnTo>
                    <a:pt x="26" y="235"/>
                  </a:lnTo>
                  <a:lnTo>
                    <a:pt x="12" y="209"/>
                  </a:lnTo>
                  <a:lnTo>
                    <a:pt x="4" y="181"/>
                  </a:lnTo>
                  <a:lnTo>
                    <a:pt x="0" y="151"/>
                  </a:lnTo>
                  <a:lnTo>
                    <a:pt x="4" y="121"/>
                  </a:lnTo>
                  <a:lnTo>
                    <a:pt x="12" y="93"/>
                  </a:lnTo>
                  <a:lnTo>
                    <a:pt x="26" y="67"/>
                  </a:lnTo>
                  <a:lnTo>
                    <a:pt x="44" y="45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24"/>
            <p:cNvSpPr>
              <a:spLocks/>
            </p:cNvSpPr>
            <p:nvPr/>
          </p:nvSpPr>
          <p:spPr bwMode="auto">
            <a:xfrm>
              <a:off x="-373" y="2523"/>
              <a:ext cx="130" cy="27"/>
            </a:xfrm>
            <a:custGeom>
              <a:avLst/>
              <a:gdLst>
                <a:gd name="T0" fmla="*/ 151 w 1438"/>
                <a:gd name="T1" fmla="*/ 0 h 301"/>
                <a:gd name="T2" fmla="*/ 1287 w 1438"/>
                <a:gd name="T3" fmla="*/ 0 h 301"/>
                <a:gd name="T4" fmla="*/ 1318 w 1438"/>
                <a:gd name="T5" fmla="*/ 3 h 301"/>
                <a:gd name="T6" fmla="*/ 1346 w 1438"/>
                <a:gd name="T7" fmla="*/ 12 h 301"/>
                <a:gd name="T8" fmla="*/ 1372 w 1438"/>
                <a:gd name="T9" fmla="*/ 26 h 301"/>
                <a:gd name="T10" fmla="*/ 1394 w 1438"/>
                <a:gd name="T11" fmla="*/ 44 h 301"/>
                <a:gd name="T12" fmla="*/ 1413 w 1438"/>
                <a:gd name="T13" fmla="*/ 66 h 301"/>
                <a:gd name="T14" fmla="*/ 1426 w 1438"/>
                <a:gd name="T15" fmla="*/ 92 h 301"/>
                <a:gd name="T16" fmla="*/ 1435 w 1438"/>
                <a:gd name="T17" fmla="*/ 120 h 301"/>
                <a:gd name="T18" fmla="*/ 1438 w 1438"/>
                <a:gd name="T19" fmla="*/ 150 h 301"/>
                <a:gd name="T20" fmla="*/ 1435 w 1438"/>
                <a:gd name="T21" fmla="*/ 181 h 301"/>
                <a:gd name="T22" fmla="*/ 1426 w 1438"/>
                <a:gd name="T23" fmla="*/ 210 h 301"/>
                <a:gd name="T24" fmla="*/ 1413 w 1438"/>
                <a:gd name="T25" fmla="*/ 235 h 301"/>
                <a:gd name="T26" fmla="*/ 1394 w 1438"/>
                <a:gd name="T27" fmla="*/ 258 h 301"/>
                <a:gd name="T28" fmla="*/ 1372 w 1438"/>
                <a:gd name="T29" fmla="*/ 275 h 301"/>
                <a:gd name="T30" fmla="*/ 1346 w 1438"/>
                <a:gd name="T31" fmla="*/ 290 h 301"/>
                <a:gd name="T32" fmla="*/ 1318 w 1438"/>
                <a:gd name="T33" fmla="*/ 298 h 301"/>
                <a:gd name="T34" fmla="*/ 1287 w 1438"/>
                <a:gd name="T35" fmla="*/ 301 h 301"/>
                <a:gd name="T36" fmla="*/ 151 w 1438"/>
                <a:gd name="T37" fmla="*/ 301 h 301"/>
                <a:gd name="T38" fmla="*/ 121 w 1438"/>
                <a:gd name="T39" fmla="*/ 298 h 301"/>
                <a:gd name="T40" fmla="*/ 93 w 1438"/>
                <a:gd name="T41" fmla="*/ 290 h 301"/>
                <a:gd name="T42" fmla="*/ 66 w 1438"/>
                <a:gd name="T43" fmla="*/ 275 h 301"/>
                <a:gd name="T44" fmla="*/ 44 w 1438"/>
                <a:gd name="T45" fmla="*/ 258 h 301"/>
                <a:gd name="T46" fmla="*/ 26 w 1438"/>
                <a:gd name="T47" fmla="*/ 235 h 301"/>
                <a:gd name="T48" fmla="*/ 12 w 1438"/>
                <a:gd name="T49" fmla="*/ 210 h 301"/>
                <a:gd name="T50" fmla="*/ 4 w 1438"/>
                <a:gd name="T51" fmla="*/ 181 h 301"/>
                <a:gd name="T52" fmla="*/ 0 w 1438"/>
                <a:gd name="T53" fmla="*/ 150 h 301"/>
                <a:gd name="T54" fmla="*/ 4 w 1438"/>
                <a:gd name="T55" fmla="*/ 120 h 301"/>
                <a:gd name="T56" fmla="*/ 12 w 1438"/>
                <a:gd name="T57" fmla="*/ 92 h 301"/>
                <a:gd name="T58" fmla="*/ 26 w 1438"/>
                <a:gd name="T59" fmla="*/ 66 h 301"/>
                <a:gd name="T60" fmla="*/ 44 w 1438"/>
                <a:gd name="T61" fmla="*/ 44 h 301"/>
                <a:gd name="T62" fmla="*/ 66 w 1438"/>
                <a:gd name="T63" fmla="*/ 26 h 301"/>
                <a:gd name="T64" fmla="*/ 93 w 1438"/>
                <a:gd name="T65" fmla="*/ 12 h 301"/>
                <a:gd name="T66" fmla="*/ 121 w 1438"/>
                <a:gd name="T67" fmla="*/ 3 h 301"/>
                <a:gd name="T68" fmla="*/ 151 w 1438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8" h="301">
                  <a:moveTo>
                    <a:pt x="151" y="0"/>
                  </a:moveTo>
                  <a:lnTo>
                    <a:pt x="1287" y="0"/>
                  </a:lnTo>
                  <a:lnTo>
                    <a:pt x="1318" y="3"/>
                  </a:lnTo>
                  <a:lnTo>
                    <a:pt x="1346" y="12"/>
                  </a:lnTo>
                  <a:lnTo>
                    <a:pt x="1372" y="26"/>
                  </a:lnTo>
                  <a:lnTo>
                    <a:pt x="1394" y="44"/>
                  </a:lnTo>
                  <a:lnTo>
                    <a:pt x="1413" y="66"/>
                  </a:lnTo>
                  <a:lnTo>
                    <a:pt x="1426" y="92"/>
                  </a:lnTo>
                  <a:lnTo>
                    <a:pt x="1435" y="120"/>
                  </a:lnTo>
                  <a:lnTo>
                    <a:pt x="1438" y="150"/>
                  </a:lnTo>
                  <a:lnTo>
                    <a:pt x="1435" y="181"/>
                  </a:lnTo>
                  <a:lnTo>
                    <a:pt x="1426" y="210"/>
                  </a:lnTo>
                  <a:lnTo>
                    <a:pt x="1413" y="235"/>
                  </a:lnTo>
                  <a:lnTo>
                    <a:pt x="1394" y="258"/>
                  </a:lnTo>
                  <a:lnTo>
                    <a:pt x="1372" y="275"/>
                  </a:lnTo>
                  <a:lnTo>
                    <a:pt x="1346" y="290"/>
                  </a:lnTo>
                  <a:lnTo>
                    <a:pt x="1318" y="298"/>
                  </a:lnTo>
                  <a:lnTo>
                    <a:pt x="1287" y="301"/>
                  </a:lnTo>
                  <a:lnTo>
                    <a:pt x="151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6" y="275"/>
                  </a:lnTo>
                  <a:lnTo>
                    <a:pt x="44" y="258"/>
                  </a:lnTo>
                  <a:lnTo>
                    <a:pt x="26" y="235"/>
                  </a:lnTo>
                  <a:lnTo>
                    <a:pt x="12" y="210"/>
                  </a:lnTo>
                  <a:lnTo>
                    <a:pt x="4" y="181"/>
                  </a:lnTo>
                  <a:lnTo>
                    <a:pt x="0" y="150"/>
                  </a:lnTo>
                  <a:lnTo>
                    <a:pt x="4" y="120"/>
                  </a:lnTo>
                  <a:lnTo>
                    <a:pt x="12" y="92"/>
                  </a:lnTo>
                  <a:lnTo>
                    <a:pt x="26" y="66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25"/>
            <p:cNvSpPr>
              <a:spLocks/>
            </p:cNvSpPr>
            <p:nvPr/>
          </p:nvSpPr>
          <p:spPr bwMode="auto">
            <a:xfrm>
              <a:off x="-373" y="2574"/>
              <a:ext cx="79" cy="28"/>
            </a:xfrm>
            <a:custGeom>
              <a:avLst/>
              <a:gdLst>
                <a:gd name="T0" fmla="*/ 151 w 870"/>
                <a:gd name="T1" fmla="*/ 0 h 301"/>
                <a:gd name="T2" fmla="*/ 720 w 870"/>
                <a:gd name="T3" fmla="*/ 0 h 301"/>
                <a:gd name="T4" fmla="*/ 750 w 870"/>
                <a:gd name="T5" fmla="*/ 4 h 301"/>
                <a:gd name="T6" fmla="*/ 778 w 870"/>
                <a:gd name="T7" fmla="*/ 12 h 301"/>
                <a:gd name="T8" fmla="*/ 805 w 870"/>
                <a:gd name="T9" fmla="*/ 26 h 301"/>
                <a:gd name="T10" fmla="*/ 827 w 870"/>
                <a:gd name="T11" fmla="*/ 44 h 301"/>
                <a:gd name="T12" fmla="*/ 845 w 870"/>
                <a:gd name="T13" fmla="*/ 67 h 301"/>
                <a:gd name="T14" fmla="*/ 859 w 870"/>
                <a:gd name="T15" fmla="*/ 92 h 301"/>
                <a:gd name="T16" fmla="*/ 867 w 870"/>
                <a:gd name="T17" fmla="*/ 120 h 301"/>
                <a:gd name="T18" fmla="*/ 870 w 870"/>
                <a:gd name="T19" fmla="*/ 151 h 301"/>
                <a:gd name="T20" fmla="*/ 867 w 870"/>
                <a:gd name="T21" fmla="*/ 181 h 301"/>
                <a:gd name="T22" fmla="*/ 859 w 870"/>
                <a:gd name="T23" fmla="*/ 209 h 301"/>
                <a:gd name="T24" fmla="*/ 845 w 870"/>
                <a:gd name="T25" fmla="*/ 234 h 301"/>
                <a:gd name="T26" fmla="*/ 827 w 870"/>
                <a:gd name="T27" fmla="*/ 257 h 301"/>
                <a:gd name="T28" fmla="*/ 805 w 870"/>
                <a:gd name="T29" fmla="*/ 275 h 301"/>
                <a:gd name="T30" fmla="*/ 778 w 870"/>
                <a:gd name="T31" fmla="*/ 290 h 301"/>
                <a:gd name="T32" fmla="*/ 750 w 870"/>
                <a:gd name="T33" fmla="*/ 298 h 301"/>
                <a:gd name="T34" fmla="*/ 720 w 870"/>
                <a:gd name="T35" fmla="*/ 301 h 301"/>
                <a:gd name="T36" fmla="*/ 151 w 870"/>
                <a:gd name="T37" fmla="*/ 301 h 301"/>
                <a:gd name="T38" fmla="*/ 121 w 870"/>
                <a:gd name="T39" fmla="*/ 298 h 301"/>
                <a:gd name="T40" fmla="*/ 93 w 870"/>
                <a:gd name="T41" fmla="*/ 290 h 301"/>
                <a:gd name="T42" fmla="*/ 66 w 870"/>
                <a:gd name="T43" fmla="*/ 275 h 301"/>
                <a:gd name="T44" fmla="*/ 44 w 870"/>
                <a:gd name="T45" fmla="*/ 257 h 301"/>
                <a:gd name="T46" fmla="*/ 26 w 870"/>
                <a:gd name="T47" fmla="*/ 234 h 301"/>
                <a:gd name="T48" fmla="*/ 12 w 870"/>
                <a:gd name="T49" fmla="*/ 209 h 301"/>
                <a:gd name="T50" fmla="*/ 4 w 870"/>
                <a:gd name="T51" fmla="*/ 181 h 301"/>
                <a:gd name="T52" fmla="*/ 0 w 870"/>
                <a:gd name="T53" fmla="*/ 151 h 301"/>
                <a:gd name="T54" fmla="*/ 4 w 870"/>
                <a:gd name="T55" fmla="*/ 120 h 301"/>
                <a:gd name="T56" fmla="*/ 12 w 870"/>
                <a:gd name="T57" fmla="*/ 92 h 301"/>
                <a:gd name="T58" fmla="*/ 26 w 870"/>
                <a:gd name="T59" fmla="*/ 67 h 301"/>
                <a:gd name="T60" fmla="*/ 44 w 870"/>
                <a:gd name="T61" fmla="*/ 44 h 301"/>
                <a:gd name="T62" fmla="*/ 66 w 870"/>
                <a:gd name="T63" fmla="*/ 26 h 301"/>
                <a:gd name="T64" fmla="*/ 93 w 870"/>
                <a:gd name="T65" fmla="*/ 12 h 301"/>
                <a:gd name="T66" fmla="*/ 121 w 870"/>
                <a:gd name="T67" fmla="*/ 4 h 301"/>
                <a:gd name="T68" fmla="*/ 151 w 870"/>
                <a:gd name="T69" fmla="*/ 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70" h="301">
                  <a:moveTo>
                    <a:pt x="151" y="0"/>
                  </a:moveTo>
                  <a:lnTo>
                    <a:pt x="720" y="0"/>
                  </a:lnTo>
                  <a:lnTo>
                    <a:pt x="750" y="4"/>
                  </a:lnTo>
                  <a:lnTo>
                    <a:pt x="778" y="12"/>
                  </a:lnTo>
                  <a:lnTo>
                    <a:pt x="805" y="26"/>
                  </a:lnTo>
                  <a:lnTo>
                    <a:pt x="827" y="44"/>
                  </a:lnTo>
                  <a:lnTo>
                    <a:pt x="845" y="67"/>
                  </a:lnTo>
                  <a:lnTo>
                    <a:pt x="859" y="92"/>
                  </a:lnTo>
                  <a:lnTo>
                    <a:pt x="867" y="120"/>
                  </a:lnTo>
                  <a:lnTo>
                    <a:pt x="870" y="151"/>
                  </a:lnTo>
                  <a:lnTo>
                    <a:pt x="867" y="181"/>
                  </a:lnTo>
                  <a:lnTo>
                    <a:pt x="859" y="209"/>
                  </a:lnTo>
                  <a:lnTo>
                    <a:pt x="845" y="234"/>
                  </a:lnTo>
                  <a:lnTo>
                    <a:pt x="827" y="257"/>
                  </a:lnTo>
                  <a:lnTo>
                    <a:pt x="805" y="275"/>
                  </a:lnTo>
                  <a:lnTo>
                    <a:pt x="778" y="290"/>
                  </a:lnTo>
                  <a:lnTo>
                    <a:pt x="750" y="298"/>
                  </a:lnTo>
                  <a:lnTo>
                    <a:pt x="720" y="301"/>
                  </a:lnTo>
                  <a:lnTo>
                    <a:pt x="151" y="301"/>
                  </a:lnTo>
                  <a:lnTo>
                    <a:pt x="121" y="298"/>
                  </a:lnTo>
                  <a:lnTo>
                    <a:pt x="93" y="290"/>
                  </a:lnTo>
                  <a:lnTo>
                    <a:pt x="66" y="275"/>
                  </a:lnTo>
                  <a:lnTo>
                    <a:pt x="44" y="257"/>
                  </a:lnTo>
                  <a:lnTo>
                    <a:pt x="26" y="234"/>
                  </a:lnTo>
                  <a:lnTo>
                    <a:pt x="12" y="209"/>
                  </a:lnTo>
                  <a:lnTo>
                    <a:pt x="4" y="181"/>
                  </a:lnTo>
                  <a:lnTo>
                    <a:pt x="0" y="151"/>
                  </a:lnTo>
                  <a:lnTo>
                    <a:pt x="4" y="120"/>
                  </a:lnTo>
                  <a:lnTo>
                    <a:pt x="12" y="92"/>
                  </a:lnTo>
                  <a:lnTo>
                    <a:pt x="26" y="67"/>
                  </a:lnTo>
                  <a:lnTo>
                    <a:pt x="44" y="44"/>
                  </a:lnTo>
                  <a:lnTo>
                    <a:pt x="66" y="26"/>
                  </a:lnTo>
                  <a:lnTo>
                    <a:pt x="93" y="12"/>
                  </a:lnTo>
                  <a:lnTo>
                    <a:pt x="121" y="4"/>
                  </a:lnTo>
                  <a:lnTo>
                    <a:pt x="15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26"/>
            <p:cNvSpPr>
              <a:spLocks/>
            </p:cNvSpPr>
            <p:nvPr/>
          </p:nvSpPr>
          <p:spPr bwMode="auto">
            <a:xfrm>
              <a:off x="-425" y="2418"/>
              <a:ext cx="234" cy="301"/>
            </a:xfrm>
            <a:custGeom>
              <a:avLst/>
              <a:gdLst>
                <a:gd name="T0" fmla="*/ 152 w 2574"/>
                <a:gd name="T1" fmla="*/ 0 h 3310"/>
                <a:gd name="T2" fmla="*/ 2423 w 2574"/>
                <a:gd name="T3" fmla="*/ 0 h 3310"/>
                <a:gd name="T4" fmla="*/ 2453 w 2574"/>
                <a:gd name="T5" fmla="*/ 3 h 3310"/>
                <a:gd name="T6" fmla="*/ 2481 w 2574"/>
                <a:gd name="T7" fmla="*/ 12 h 3310"/>
                <a:gd name="T8" fmla="*/ 2507 w 2574"/>
                <a:gd name="T9" fmla="*/ 26 h 3310"/>
                <a:gd name="T10" fmla="*/ 2529 w 2574"/>
                <a:gd name="T11" fmla="*/ 44 h 3310"/>
                <a:gd name="T12" fmla="*/ 2548 w 2574"/>
                <a:gd name="T13" fmla="*/ 67 h 3310"/>
                <a:gd name="T14" fmla="*/ 2562 w 2574"/>
                <a:gd name="T15" fmla="*/ 92 h 3310"/>
                <a:gd name="T16" fmla="*/ 2571 w 2574"/>
                <a:gd name="T17" fmla="*/ 120 h 3310"/>
                <a:gd name="T18" fmla="*/ 2574 w 2574"/>
                <a:gd name="T19" fmla="*/ 150 h 3310"/>
                <a:gd name="T20" fmla="*/ 2574 w 2574"/>
                <a:gd name="T21" fmla="*/ 374 h 3310"/>
                <a:gd name="T22" fmla="*/ 2272 w 2574"/>
                <a:gd name="T23" fmla="*/ 896 h 3310"/>
                <a:gd name="T24" fmla="*/ 2272 w 2574"/>
                <a:gd name="T25" fmla="*/ 301 h 3310"/>
                <a:gd name="T26" fmla="*/ 304 w 2574"/>
                <a:gd name="T27" fmla="*/ 301 h 3310"/>
                <a:gd name="T28" fmla="*/ 304 w 2574"/>
                <a:gd name="T29" fmla="*/ 3008 h 3310"/>
                <a:gd name="T30" fmla="*/ 2272 w 2574"/>
                <a:gd name="T31" fmla="*/ 3008 h 3310"/>
                <a:gd name="T32" fmla="*/ 2272 w 2574"/>
                <a:gd name="T33" fmla="*/ 2634 h 3310"/>
                <a:gd name="T34" fmla="*/ 2430 w 2574"/>
                <a:gd name="T35" fmla="*/ 2530 h 3310"/>
                <a:gd name="T36" fmla="*/ 2458 w 2574"/>
                <a:gd name="T37" fmla="*/ 2508 h 3310"/>
                <a:gd name="T38" fmla="*/ 2482 w 2574"/>
                <a:gd name="T39" fmla="*/ 2483 h 3310"/>
                <a:gd name="T40" fmla="*/ 2502 w 2574"/>
                <a:gd name="T41" fmla="*/ 2454 h 3310"/>
                <a:gd name="T42" fmla="*/ 2574 w 2574"/>
                <a:gd name="T43" fmla="*/ 2330 h 3310"/>
                <a:gd name="T44" fmla="*/ 2574 w 2574"/>
                <a:gd name="T45" fmla="*/ 3159 h 3310"/>
                <a:gd name="T46" fmla="*/ 2571 w 2574"/>
                <a:gd name="T47" fmla="*/ 3189 h 3310"/>
                <a:gd name="T48" fmla="*/ 2562 w 2574"/>
                <a:gd name="T49" fmla="*/ 3217 h 3310"/>
                <a:gd name="T50" fmla="*/ 2548 w 2574"/>
                <a:gd name="T51" fmla="*/ 3243 h 3310"/>
                <a:gd name="T52" fmla="*/ 2529 w 2574"/>
                <a:gd name="T53" fmla="*/ 3265 h 3310"/>
                <a:gd name="T54" fmla="*/ 2507 w 2574"/>
                <a:gd name="T55" fmla="*/ 3284 h 3310"/>
                <a:gd name="T56" fmla="*/ 2481 w 2574"/>
                <a:gd name="T57" fmla="*/ 3297 h 3310"/>
                <a:gd name="T58" fmla="*/ 2453 w 2574"/>
                <a:gd name="T59" fmla="*/ 3307 h 3310"/>
                <a:gd name="T60" fmla="*/ 2423 w 2574"/>
                <a:gd name="T61" fmla="*/ 3310 h 3310"/>
                <a:gd name="T62" fmla="*/ 152 w 2574"/>
                <a:gd name="T63" fmla="*/ 3310 h 3310"/>
                <a:gd name="T64" fmla="*/ 121 w 2574"/>
                <a:gd name="T65" fmla="*/ 3307 h 3310"/>
                <a:gd name="T66" fmla="*/ 93 w 2574"/>
                <a:gd name="T67" fmla="*/ 3297 h 3310"/>
                <a:gd name="T68" fmla="*/ 67 w 2574"/>
                <a:gd name="T69" fmla="*/ 3284 h 3310"/>
                <a:gd name="T70" fmla="*/ 45 w 2574"/>
                <a:gd name="T71" fmla="*/ 3265 h 3310"/>
                <a:gd name="T72" fmla="*/ 26 w 2574"/>
                <a:gd name="T73" fmla="*/ 3243 h 3310"/>
                <a:gd name="T74" fmla="*/ 13 w 2574"/>
                <a:gd name="T75" fmla="*/ 3217 h 3310"/>
                <a:gd name="T76" fmla="*/ 3 w 2574"/>
                <a:gd name="T77" fmla="*/ 3189 h 3310"/>
                <a:gd name="T78" fmla="*/ 0 w 2574"/>
                <a:gd name="T79" fmla="*/ 3159 h 3310"/>
                <a:gd name="T80" fmla="*/ 0 w 2574"/>
                <a:gd name="T81" fmla="*/ 150 h 3310"/>
                <a:gd name="T82" fmla="*/ 3 w 2574"/>
                <a:gd name="T83" fmla="*/ 120 h 3310"/>
                <a:gd name="T84" fmla="*/ 13 w 2574"/>
                <a:gd name="T85" fmla="*/ 92 h 3310"/>
                <a:gd name="T86" fmla="*/ 26 w 2574"/>
                <a:gd name="T87" fmla="*/ 67 h 3310"/>
                <a:gd name="T88" fmla="*/ 45 w 2574"/>
                <a:gd name="T89" fmla="*/ 44 h 3310"/>
                <a:gd name="T90" fmla="*/ 67 w 2574"/>
                <a:gd name="T91" fmla="*/ 26 h 3310"/>
                <a:gd name="T92" fmla="*/ 93 w 2574"/>
                <a:gd name="T93" fmla="*/ 12 h 3310"/>
                <a:gd name="T94" fmla="*/ 121 w 2574"/>
                <a:gd name="T95" fmla="*/ 3 h 3310"/>
                <a:gd name="T96" fmla="*/ 152 w 2574"/>
                <a:gd name="T97" fmla="*/ 0 h 3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574" h="3310">
                  <a:moveTo>
                    <a:pt x="152" y="0"/>
                  </a:moveTo>
                  <a:lnTo>
                    <a:pt x="2423" y="0"/>
                  </a:lnTo>
                  <a:lnTo>
                    <a:pt x="2453" y="3"/>
                  </a:lnTo>
                  <a:lnTo>
                    <a:pt x="2481" y="12"/>
                  </a:lnTo>
                  <a:lnTo>
                    <a:pt x="2507" y="26"/>
                  </a:lnTo>
                  <a:lnTo>
                    <a:pt x="2529" y="44"/>
                  </a:lnTo>
                  <a:lnTo>
                    <a:pt x="2548" y="67"/>
                  </a:lnTo>
                  <a:lnTo>
                    <a:pt x="2562" y="92"/>
                  </a:lnTo>
                  <a:lnTo>
                    <a:pt x="2571" y="120"/>
                  </a:lnTo>
                  <a:lnTo>
                    <a:pt x="2574" y="150"/>
                  </a:lnTo>
                  <a:lnTo>
                    <a:pt x="2574" y="374"/>
                  </a:lnTo>
                  <a:lnTo>
                    <a:pt x="2272" y="896"/>
                  </a:lnTo>
                  <a:lnTo>
                    <a:pt x="2272" y="301"/>
                  </a:lnTo>
                  <a:lnTo>
                    <a:pt x="304" y="301"/>
                  </a:lnTo>
                  <a:lnTo>
                    <a:pt x="304" y="3008"/>
                  </a:lnTo>
                  <a:lnTo>
                    <a:pt x="2272" y="3008"/>
                  </a:lnTo>
                  <a:lnTo>
                    <a:pt x="2272" y="2634"/>
                  </a:lnTo>
                  <a:lnTo>
                    <a:pt x="2430" y="2530"/>
                  </a:lnTo>
                  <a:lnTo>
                    <a:pt x="2458" y="2508"/>
                  </a:lnTo>
                  <a:lnTo>
                    <a:pt x="2482" y="2483"/>
                  </a:lnTo>
                  <a:lnTo>
                    <a:pt x="2502" y="2454"/>
                  </a:lnTo>
                  <a:lnTo>
                    <a:pt x="2574" y="2330"/>
                  </a:lnTo>
                  <a:lnTo>
                    <a:pt x="2574" y="3159"/>
                  </a:lnTo>
                  <a:lnTo>
                    <a:pt x="2571" y="3189"/>
                  </a:lnTo>
                  <a:lnTo>
                    <a:pt x="2562" y="3217"/>
                  </a:lnTo>
                  <a:lnTo>
                    <a:pt x="2548" y="3243"/>
                  </a:lnTo>
                  <a:lnTo>
                    <a:pt x="2529" y="3265"/>
                  </a:lnTo>
                  <a:lnTo>
                    <a:pt x="2507" y="3284"/>
                  </a:lnTo>
                  <a:lnTo>
                    <a:pt x="2481" y="3297"/>
                  </a:lnTo>
                  <a:lnTo>
                    <a:pt x="2453" y="3307"/>
                  </a:lnTo>
                  <a:lnTo>
                    <a:pt x="2423" y="3310"/>
                  </a:lnTo>
                  <a:lnTo>
                    <a:pt x="152" y="3310"/>
                  </a:lnTo>
                  <a:lnTo>
                    <a:pt x="121" y="3307"/>
                  </a:lnTo>
                  <a:lnTo>
                    <a:pt x="93" y="3297"/>
                  </a:lnTo>
                  <a:lnTo>
                    <a:pt x="67" y="3284"/>
                  </a:lnTo>
                  <a:lnTo>
                    <a:pt x="45" y="3265"/>
                  </a:lnTo>
                  <a:lnTo>
                    <a:pt x="26" y="3243"/>
                  </a:lnTo>
                  <a:lnTo>
                    <a:pt x="13" y="3217"/>
                  </a:lnTo>
                  <a:lnTo>
                    <a:pt x="3" y="3189"/>
                  </a:lnTo>
                  <a:lnTo>
                    <a:pt x="0" y="3159"/>
                  </a:lnTo>
                  <a:lnTo>
                    <a:pt x="0" y="150"/>
                  </a:lnTo>
                  <a:lnTo>
                    <a:pt x="3" y="120"/>
                  </a:lnTo>
                  <a:lnTo>
                    <a:pt x="13" y="92"/>
                  </a:lnTo>
                  <a:lnTo>
                    <a:pt x="26" y="67"/>
                  </a:lnTo>
                  <a:lnTo>
                    <a:pt x="45" y="44"/>
                  </a:lnTo>
                  <a:lnTo>
                    <a:pt x="67" y="26"/>
                  </a:lnTo>
                  <a:lnTo>
                    <a:pt x="93" y="12"/>
                  </a:lnTo>
                  <a:lnTo>
                    <a:pt x="121" y="3"/>
                  </a:lnTo>
                  <a:lnTo>
                    <a:pt x="15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27"/>
            <p:cNvSpPr>
              <a:spLocks noEditPoints="1"/>
            </p:cNvSpPr>
            <p:nvPr/>
          </p:nvSpPr>
          <p:spPr bwMode="auto">
            <a:xfrm>
              <a:off x="-267" y="2452"/>
              <a:ext cx="144" cy="215"/>
            </a:xfrm>
            <a:custGeom>
              <a:avLst/>
              <a:gdLst>
                <a:gd name="T0" fmla="*/ 131 w 1591"/>
                <a:gd name="T1" fmla="*/ 1996 h 2370"/>
                <a:gd name="T2" fmla="*/ 223 w 1591"/>
                <a:gd name="T3" fmla="*/ 2040 h 2370"/>
                <a:gd name="T4" fmla="*/ 308 w 1591"/>
                <a:gd name="T5" fmla="*/ 2097 h 2370"/>
                <a:gd name="T6" fmla="*/ 439 w 1591"/>
                <a:gd name="T7" fmla="*/ 1980 h 2370"/>
                <a:gd name="T8" fmla="*/ 389 w 1591"/>
                <a:gd name="T9" fmla="*/ 1934 h 2370"/>
                <a:gd name="T10" fmla="*/ 314 w 1591"/>
                <a:gd name="T11" fmla="*/ 1883 h 2370"/>
                <a:gd name="T12" fmla="*/ 245 w 1591"/>
                <a:gd name="T13" fmla="*/ 1849 h 2370"/>
                <a:gd name="T14" fmla="*/ 187 w 1591"/>
                <a:gd name="T15" fmla="*/ 1829 h 2370"/>
                <a:gd name="T16" fmla="*/ 141 w 1591"/>
                <a:gd name="T17" fmla="*/ 1820 h 2370"/>
                <a:gd name="T18" fmla="*/ 1118 w 1591"/>
                <a:gd name="T19" fmla="*/ 0 h 2370"/>
                <a:gd name="T20" fmla="*/ 1173 w 1591"/>
                <a:gd name="T21" fmla="*/ 7 h 2370"/>
                <a:gd name="T22" fmla="*/ 1240 w 1591"/>
                <a:gd name="T23" fmla="*/ 25 h 2370"/>
                <a:gd name="T24" fmla="*/ 1319 w 1591"/>
                <a:gd name="T25" fmla="*/ 57 h 2370"/>
                <a:gd name="T26" fmla="*/ 1407 w 1591"/>
                <a:gd name="T27" fmla="*/ 108 h 2370"/>
                <a:gd name="T28" fmla="*/ 1478 w 1591"/>
                <a:gd name="T29" fmla="*/ 163 h 2370"/>
                <a:gd name="T30" fmla="*/ 1528 w 1591"/>
                <a:gd name="T31" fmla="*/ 215 h 2370"/>
                <a:gd name="T32" fmla="*/ 1561 w 1591"/>
                <a:gd name="T33" fmla="*/ 261 h 2370"/>
                <a:gd name="T34" fmla="*/ 1580 w 1591"/>
                <a:gd name="T35" fmla="*/ 297 h 2370"/>
                <a:gd name="T36" fmla="*/ 1588 w 1591"/>
                <a:gd name="T37" fmla="*/ 320 h 2370"/>
                <a:gd name="T38" fmla="*/ 1591 w 1591"/>
                <a:gd name="T39" fmla="*/ 344 h 2370"/>
                <a:gd name="T40" fmla="*/ 1581 w 1591"/>
                <a:gd name="T41" fmla="*/ 379 h 2370"/>
                <a:gd name="T42" fmla="*/ 625 w 1591"/>
                <a:gd name="T43" fmla="*/ 2021 h 2370"/>
                <a:gd name="T44" fmla="*/ 116 w 1591"/>
                <a:gd name="T45" fmla="*/ 2357 h 2370"/>
                <a:gd name="T46" fmla="*/ 77 w 1591"/>
                <a:gd name="T47" fmla="*/ 2370 h 2370"/>
                <a:gd name="T48" fmla="*/ 36 w 1591"/>
                <a:gd name="T49" fmla="*/ 2359 h 2370"/>
                <a:gd name="T50" fmla="*/ 12 w 1591"/>
                <a:gd name="T51" fmla="*/ 2338 h 2370"/>
                <a:gd name="T52" fmla="*/ 0 w 1591"/>
                <a:gd name="T53" fmla="*/ 2306 h 2370"/>
                <a:gd name="T54" fmla="*/ 34 w 1591"/>
                <a:gd name="T55" fmla="*/ 1702 h 2370"/>
                <a:gd name="T56" fmla="*/ 45 w 1591"/>
                <a:gd name="T57" fmla="*/ 1670 h 2370"/>
                <a:gd name="T58" fmla="*/ 1002 w 1591"/>
                <a:gd name="T59" fmla="*/ 27 h 2370"/>
                <a:gd name="T60" fmla="*/ 1034 w 1591"/>
                <a:gd name="T61" fmla="*/ 7 h 2370"/>
                <a:gd name="T62" fmla="*/ 1048 w 1591"/>
                <a:gd name="T63" fmla="*/ 4 h 2370"/>
                <a:gd name="T64" fmla="*/ 1076 w 1591"/>
                <a:gd name="T65" fmla="*/ 0 h 2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591" h="2370">
                  <a:moveTo>
                    <a:pt x="141" y="1820"/>
                  </a:moveTo>
                  <a:lnTo>
                    <a:pt x="131" y="1996"/>
                  </a:lnTo>
                  <a:lnTo>
                    <a:pt x="177" y="2016"/>
                  </a:lnTo>
                  <a:lnTo>
                    <a:pt x="223" y="2040"/>
                  </a:lnTo>
                  <a:lnTo>
                    <a:pt x="267" y="2067"/>
                  </a:lnTo>
                  <a:lnTo>
                    <a:pt x="308" y="2097"/>
                  </a:lnTo>
                  <a:lnTo>
                    <a:pt x="455" y="2000"/>
                  </a:lnTo>
                  <a:lnTo>
                    <a:pt x="439" y="1980"/>
                  </a:lnTo>
                  <a:lnTo>
                    <a:pt x="417" y="1958"/>
                  </a:lnTo>
                  <a:lnTo>
                    <a:pt x="389" y="1934"/>
                  </a:lnTo>
                  <a:lnTo>
                    <a:pt x="355" y="1909"/>
                  </a:lnTo>
                  <a:lnTo>
                    <a:pt x="314" y="1883"/>
                  </a:lnTo>
                  <a:lnTo>
                    <a:pt x="278" y="1864"/>
                  </a:lnTo>
                  <a:lnTo>
                    <a:pt x="245" y="1849"/>
                  </a:lnTo>
                  <a:lnTo>
                    <a:pt x="214" y="1837"/>
                  </a:lnTo>
                  <a:lnTo>
                    <a:pt x="187" y="1829"/>
                  </a:lnTo>
                  <a:lnTo>
                    <a:pt x="163" y="1824"/>
                  </a:lnTo>
                  <a:lnTo>
                    <a:pt x="141" y="1820"/>
                  </a:lnTo>
                  <a:close/>
                  <a:moveTo>
                    <a:pt x="1095" y="0"/>
                  </a:moveTo>
                  <a:lnTo>
                    <a:pt x="1118" y="0"/>
                  </a:lnTo>
                  <a:lnTo>
                    <a:pt x="1144" y="2"/>
                  </a:lnTo>
                  <a:lnTo>
                    <a:pt x="1173" y="7"/>
                  </a:lnTo>
                  <a:lnTo>
                    <a:pt x="1205" y="14"/>
                  </a:lnTo>
                  <a:lnTo>
                    <a:pt x="1240" y="25"/>
                  </a:lnTo>
                  <a:lnTo>
                    <a:pt x="1278" y="39"/>
                  </a:lnTo>
                  <a:lnTo>
                    <a:pt x="1319" y="57"/>
                  </a:lnTo>
                  <a:lnTo>
                    <a:pt x="1362" y="81"/>
                  </a:lnTo>
                  <a:lnTo>
                    <a:pt x="1407" y="108"/>
                  </a:lnTo>
                  <a:lnTo>
                    <a:pt x="1446" y="136"/>
                  </a:lnTo>
                  <a:lnTo>
                    <a:pt x="1478" y="163"/>
                  </a:lnTo>
                  <a:lnTo>
                    <a:pt x="1505" y="190"/>
                  </a:lnTo>
                  <a:lnTo>
                    <a:pt x="1528" y="215"/>
                  </a:lnTo>
                  <a:lnTo>
                    <a:pt x="1546" y="239"/>
                  </a:lnTo>
                  <a:lnTo>
                    <a:pt x="1561" y="261"/>
                  </a:lnTo>
                  <a:lnTo>
                    <a:pt x="1571" y="280"/>
                  </a:lnTo>
                  <a:lnTo>
                    <a:pt x="1580" y="297"/>
                  </a:lnTo>
                  <a:lnTo>
                    <a:pt x="1585" y="311"/>
                  </a:lnTo>
                  <a:lnTo>
                    <a:pt x="1588" y="320"/>
                  </a:lnTo>
                  <a:lnTo>
                    <a:pt x="1589" y="325"/>
                  </a:lnTo>
                  <a:lnTo>
                    <a:pt x="1591" y="344"/>
                  </a:lnTo>
                  <a:lnTo>
                    <a:pt x="1588" y="363"/>
                  </a:lnTo>
                  <a:lnTo>
                    <a:pt x="1581" y="379"/>
                  </a:lnTo>
                  <a:lnTo>
                    <a:pt x="634" y="2008"/>
                  </a:lnTo>
                  <a:lnTo>
                    <a:pt x="625" y="2021"/>
                  </a:lnTo>
                  <a:lnTo>
                    <a:pt x="611" y="2033"/>
                  </a:lnTo>
                  <a:lnTo>
                    <a:pt x="116" y="2357"/>
                  </a:lnTo>
                  <a:lnTo>
                    <a:pt x="97" y="2367"/>
                  </a:lnTo>
                  <a:lnTo>
                    <a:pt x="77" y="2370"/>
                  </a:lnTo>
                  <a:lnTo>
                    <a:pt x="56" y="2368"/>
                  </a:lnTo>
                  <a:lnTo>
                    <a:pt x="36" y="2359"/>
                  </a:lnTo>
                  <a:lnTo>
                    <a:pt x="23" y="2350"/>
                  </a:lnTo>
                  <a:lnTo>
                    <a:pt x="12" y="2338"/>
                  </a:lnTo>
                  <a:lnTo>
                    <a:pt x="5" y="2323"/>
                  </a:lnTo>
                  <a:lnTo>
                    <a:pt x="0" y="2306"/>
                  </a:lnTo>
                  <a:lnTo>
                    <a:pt x="0" y="2290"/>
                  </a:lnTo>
                  <a:lnTo>
                    <a:pt x="34" y="1702"/>
                  </a:lnTo>
                  <a:lnTo>
                    <a:pt x="38" y="1685"/>
                  </a:lnTo>
                  <a:lnTo>
                    <a:pt x="45" y="1670"/>
                  </a:lnTo>
                  <a:lnTo>
                    <a:pt x="991" y="41"/>
                  </a:lnTo>
                  <a:lnTo>
                    <a:pt x="1002" y="27"/>
                  </a:lnTo>
                  <a:lnTo>
                    <a:pt x="1016" y="15"/>
                  </a:lnTo>
                  <a:lnTo>
                    <a:pt x="1034" y="7"/>
                  </a:lnTo>
                  <a:lnTo>
                    <a:pt x="1038" y="6"/>
                  </a:lnTo>
                  <a:lnTo>
                    <a:pt x="1048" y="4"/>
                  </a:lnTo>
                  <a:lnTo>
                    <a:pt x="1060" y="2"/>
                  </a:lnTo>
                  <a:lnTo>
                    <a:pt x="1076" y="0"/>
                  </a:lnTo>
                  <a:lnTo>
                    <a:pt x="109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28"/>
            <p:cNvSpPr>
              <a:spLocks/>
            </p:cNvSpPr>
            <p:nvPr/>
          </p:nvSpPr>
          <p:spPr bwMode="auto">
            <a:xfrm>
              <a:off x="-381" y="2625"/>
              <a:ext cx="105" cy="53"/>
            </a:xfrm>
            <a:custGeom>
              <a:avLst/>
              <a:gdLst>
                <a:gd name="T0" fmla="*/ 557 w 1155"/>
                <a:gd name="T1" fmla="*/ 5 h 591"/>
                <a:gd name="T2" fmla="*/ 583 w 1155"/>
                <a:gd name="T3" fmla="*/ 28 h 591"/>
                <a:gd name="T4" fmla="*/ 591 w 1155"/>
                <a:gd name="T5" fmla="*/ 111 h 591"/>
                <a:gd name="T6" fmla="*/ 560 w 1155"/>
                <a:gd name="T7" fmla="*/ 199 h 591"/>
                <a:gd name="T8" fmla="*/ 569 w 1155"/>
                <a:gd name="T9" fmla="*/ 242 h 591"/>
                <a:gd name="T10" fmla="*/ 587 w 1155"/>
                <a:gd name="T11" fmla="*/ 270 h 591"/>
                <a:gd name="T12" fmla="*/ 637 w 1155"/>
                <a:gd name="T13" fmla="*/ 278 h 591"/>
                <a:gd name="T14" fmla="*/ 681 w 1155"/>
                <a:gd name="T15" fmla="*/ 323 h 591"/>
                <a:gd name="T16" fmla="*/ 693 w 1155"/>
                <a:gd name="T17" fmla="*/ 357 h 591"/>
                <a:gd name="T18" fmla="*/ 847 w 1155"/>
                <a:gd name="T19" fmla="*/ 351 h 591"/>
                <a:gd name="T20" fmla="*/ 996 w 1155"/>
                <a:gd name="T21" fmla="*/ 366 h 591"/>
                <a:gd name="T22" fmla="*/ 1118 w 1155"/>
                <a:gd name="T23" fmla="*/ 373 h 591"/>
                <a:gd name="T24" fmla="*/ 1149 w 1155"/>
                <a:gd name="T25" fmla="*/ 400 h 591"/>
                <a:gd name="T26" fmla="*/ 1154 w 1155"/>
                <a:gd name="T27" fmla="*/ 441 h 591"/>
                <a:gd name="T28" fmla="*/ 1131 w 1155"/>
                <a:gd name="T29" fmla="*/ 475 h 591"/>
                <a:gd name="T30" fmla="*/ 1066 w 1155"/>
                <a:gd name="T31" fmla="*/ 482 h 591"/>
                <a:gd name="T32" fmla="*/ 957 w 1155"/>
                <a:gd name="T33" fmla="*/ 467 h 591"/>
                <a:gd name="T34" fmla="*/ 843 w 1155"/>
                <a:gd name="T35" fmla="*/ 452 h 591"/>
                <a:gd name="T36" fmla="*/ 738 w 1155"/>
                <a:gd name="T37" fmla="*/ 461 h 591"/>
                <a:gd name="T38" fmla="*/ 679 w 1155"/>
                <a:gd name="T39" fmla="*/ 486 h 591"/>
                <a:gd name="T40" fmla="*/ 636 w 1155"/>
                <a:gd name="T41" fmla="*/ 492 h 591"/>
                <a:gd name="T42" fmla="*/ 603 w 1155"/>
                <a:gd name="T43" fmla="*/ 477 h 591"/>
                <a:gd name="T44" fmla="*/ 576 w 1155"/>
                <a:gd name="T45" fmla="*/ 454 h 591"/>
                <a:gd name="T46" fmla="*/ 571 w 1155"/>
                <a:gd name="T47" fmla="*/ 407 h 591"/>
                <a:gd name="T48" fmla="*/ 537 w 1155"/>
                <a:gd name="T49" fmla="*/ 457 h 591"/>
                <a:gd name="T50" fmla="*/ 495 w 1155"/>
                <a:gd name="T51" fmla="*/ 471 h 591"/>
                <a:gd name="T52" fmla="*/ 455 w 1155"/>
                <a:gd name="T53" fmla="*/ 456 h 591"/>
                <a:gd name="T54" fmla="*/ 439 w 1155"/>
                <a:gd name="T55" fmla="*/ 419 h 591"/>
                <a:gd name="T56" fmla="*/ 450 w 1155"/>
                <a:gd name="T57" fmla="*/ 390 h 591"/>
                <a:gd name="T58" fmla="*/ 458 w 1155"/>
                <a:gd name="T59" fmla="*/ 369 h 591"/>
                <a:gd name="T60" fmla="*/ 422 w 1155"/>
                <a:gd name="T61" fmla="*/ 404 h 591"/>
                <a:gd name="T62" fmla="*/ 379 w 1155"/>
                <a:gd name="T63" fmla="*/ 428 h 591"/>
                <a:gd name="T64" fmla="*/ 335 w 1155"/>
                <a:gd name="T65" fmla="*/ 417 h 591"/>
                <a:gd name="T66" fmla="*/ 314 w 1155"/>
                <a:gd name="T67" fmla="*/ 379 h 591"/>
                <a:gd name="T68" fmla="*/ 364 w 1155"/>
                <a:gd name="T69" fmla="*/ 288 h 591"/>
                <a:gd name="T70" fmla="*/ 252 w 1155"/>
                <a:gd name="T71" fmla="*/ 393 h 591"/>
                <a:gd name="T72" fmla="*/ 96 w 1155"/>
                <a:gd name="T73" fmla="*/ 581 h 591"/>
                <a:gd name="T74" fmla="*/ 49 w 1155"/>
                <a:gd name="T75" fmla="*/ 590 h 591"/>
                <a:gd name="T76" fmla="*/ 9 w 1155"/>
                <a:gd name="T77" fmla="*/ 569 h 591"/>
                <a:gd name="T78" fmla="*/ 2 w 1155"/>
                <a:gd name="T79" fmla="*/ 527 h 591"/>
                <a:gd name="T80" fmla="*/ 138 w 1155"/>
                <a:gd name="T81" fmla="*/ 351 h 591"/>
                <a:gd name="T82" fmla="*/ 344 w 1155"/>
                <a:gd name="T83" fmla="*/ 123 h 591"/>
                <a:gd name="T84" fmla="*/ 398 w 1155"/>
                <a:gd name="T85" fmla="*/ 70 h 591"/>
                <a:gd name="T86" fmla="*/ 462 w 1155"/>
                <a:gd name="T87" fmla="*/ 20 h 591"/>
                <a:gd name="T88" fmla="*/ 534 w 1155"/>
                <a:gd name="T89" fmla="*/ 0 h 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155" h="591">
                  <a:moveTo>
                    <a:pt x="534" y="0"/>
                  </a:moveTo>
                  <a:lnTo>
                    <a:pt x="545" y="2"/>
                  </a:lnTo>
                  <a:lnTo>
                    <a:pt x="557" y="5"/>
                  </a:lnTo>
                  <a:lnTo>
                    <a:pt x="567" y="10"/>
                  </a:lnTo>
                  <a:lnTo>
                    <a:pt x="576" y="18"/>
                  </a:lnTo>
                  <a:lnTo>
                    <a:pt x="583" y="28"/>
                  </a:lnTo>
                  <a:lnTo>
                    <a:pt x="591" y="54"/>
                  </a:lnTo>
                  <a:lnTo>
                    <a:pt x="593" y="82"/>
                  </a:lnTo>
                  <a:lnTo>
                    <a:pt x="591" y="111"/>
                  </a:lnTo>
                  <a:lnTo>
                    <a:pt x="584" y="140"/>
                  </a:lnTo>
                  <a:lnTo>
                    <a:pt x="573" y="170"/>
                  </a:lnTo>
                  <a:lnTo>
                    <a:pt x="560" y="199"/>
                  </a:lnTo>
                  <a:lnTo>
                    <a:pt x="543" y="230"/>
                  </a:lnTo>
                  <a:lnTo>
                    <a:pt x="557" y="235"/>
                  </a:lnTo>
                  <a:lnTo>
                    <a:pt x="569" y="242"/>
                  </a:lnTo>
                  <a:lnTo>
                    <a:pt x="579" y="254"/>
                  </a:lnTo>
                  <a:lnTo>
                    <a:pt x="583" y="263"/>
                  </a:lnTo>
                  <a:lnTo>
                    <a:pt x="587" y="270"/>
                  </a:lnTo>
                  <a:lnTo>
                    <a:pt x="604" y="269"/>
                  </a:lnTo>
                  <a:lnTo>
                    <a:pt x="620" y="272"/>
                  </a:lnTo>
                  <a:lnTo>
                    <a:pt x="637" y="278"/>
                  </a:lnTo>
                  <a:lnTo>
                    <a:pt x="653" y="289"/>
                  </a:lnTo>
                  <a:lnTo>
                    <a:pt x="668" y="303"/>
                  </a:lnTo>
                  <a:lnTo>
                    <a:pt x="681" y="323"/>
                  </a:lnTo>
                  <a:lnTo>
                    <a:pt x="689" y="338"/>
                  </a:lnTo>
                  <a:lnTo>
                    <a:pt x="692" y="349"/>
                  </a:lnTo>
                  <a:lnTo>
                    <a:pt x="693" y="357"/>
                  </a:lnTo>
                  <a:lnTo>
                    <a:pt x="746" y="351"/>
                  </a:lnTo>
                  <a:lnTo>
                    <a:pt x="797" y="350"/>
                  </a:lnTo>
                  <a:lnTo>
                    <a:pt x="847" y="351"/>
                  </a:lnTo>
                  <a:lnTo>
                    <a:pt x="897" y="355"/>
                  </a:lnTo>
                  <a:lnTo>
                    <a:pt x="946" y="361"/>
                  </a:lnTo>
                  <a:lnTo>
                    <a:pt x="996" y="366"/>
                  </a:lnTo>
                  <a:lnTo>
                    <a:pt x="1048" y="369"/>
                  </a:lnTo>
                  <a:lnTo>
                    <a:pt x="1101" y="371"/>
                  </a:lnTo>
                  <a:lnTo>
                    <a:pt x="1118" y="373"/>
                  </a:lnTo>
                  <a:lnTo>
                    <a:pt x="1131" y="379"/>
                  </a:lnTo>
                  <a:lnTo>
                    <a:pt x="1142" y="389"/>
                  </a:lnTo>
                  <a:lnTo>
                    <a:pt x="1149" y="400"/>
                  </a:lnTo>
                  <a:lnTo>
                    <a:pt x="1154" y="413"/>
                  </a:lnTo>
                  <a:lnTo>
                    <a:pt x="1155" y="427"/>
                  </a:lnTo>
                  <a:lnTo>
                    <a:pt x="1154" y="441"/>
                  </a:lnTo>
                  <a:lnTo>
                    <a:pt x="1149" y="454"/>
                  </a:lnTo>
                  <a:lnTo>
                    <a:pt x="1142" y="466"/>
                  </a:lnTo>
                  <a:lnTo>
                    <a:pt x="1131" y="475"/>
                  </a:lnTo>
                  <a:lnTo>
                    <a:pt x="1118" y="481"/>
                  </a:lnTo>
                  <a:lnTo>
                    <a:pt x="1101" y="483"/>
                  </a:lnTo>
                  <a:lnTo>
                    <a:pt x="1066" y="482"/>
                  </a:lnTo>
                  <a:lnTo>
                    <a:pt x="1031" y="478"/>
                  </a:lnTo>
                  <a:lnTo>
                    <a:pt x="993" y="473"/>
                  </a:lnTo>
                  <a:lnTo>
                    <a:pt x="957" y="467"/>
                  </a:lnTo>
                  <a:lnTo>
                    <a:pt x="919" y="460"/>
                  </a:lnTo>
                  <a:lnTo>
                    <a:pt x="881" y="455"/>
                  </a:lnTo>
                  <a:lnTo>
                    <a:pt x="843" y="452"/>
                  </a:lnTo>
                  <a:lnTo>
                    <a:pt x="807" y="451"/>
                  </a:lnTo>
                  <a:lnTo>
                    <a:pt x="771" y="454"/>
                  </a:lnTo>
                  <a:lnTo>
                    <a:pt x="738" y="461"/>
                  </a:lnTo>
                  <a:lnTo>
                    <a:pt x="705" y="474"/>
                  </a:lnTo>
                  <a:lnTo>
                    <a:pt x="693" y="480"/>
                  </a:lnTo>
                  <a:lnTo>
                    <a:pt x="679" y="486"/>
                  </a:lnTo>
                  <a:lnTo>
                    <a:pt x="664" y="492"/>
                  </a:lnTo>
                  <a:lnTo>
                    <a:pt x="651" y="494"/>
                  </a:lnTo>
                  <a:lnTo>
                    <a:pt x="636" y="492"/>
                  </a:lnTo>
                  <a:lnTo>
                    <a:pt x="626" y="487"/>
                  </a:lnTo>
                  <a:lnTo>
                    <a:pt x="614" y="482"/>
                  </a:lnTo>
                  <a:lnTo>
                    <a:pt x="603" y="477"/>
                  </a:lnTo>
                  <a:lnTo>
                    <a:pt x="592" y="471"/>
                  </a:lnTo>
                  <a:lnTo>
                    <a:pt x="584" y="464"/>
                  </a:lnTo>
                  <a:lnTo>
                    <a:pt x="576" y="454"/>
                  </a:lnTo>
                  <a:lnTo>
                    <a:pt x="572" y="442"/>
                  </a:lnTo>
                  <a:lnTo>
                    <a:pt x="571" y="423"/>
                  </a:lnTo>
                  <a:lnTo>
                    <a:pt x="571" y="407"/>
                  </a:lnTo>
                  <a:lnTo>
                    <a:pt x="560" y="427"/>
                  </a:lnTo>
                  <a:lnTo>
                    <a:pt x="547" y="446"/>
                  </a:lnTo>
                  <a:lnTo>
                    <a:pt x="537" y="457"/>
                  </a:lnTo>
                  <a:lnTo>
                    <a:pt x="524" y="466"/>
                  </a:lnTo>
                  <a:lnTo>
                    <a:pt x="509" y="470"/>
                  </a:lnTo>
                  <a:lnTo>
                    <a:pt x="495" y="471"/>
                  </a:lnTo>
                  <a:lnTo>
                    <a:pt x="480" y="469"/>
                  </a:lnTo>
                  <a:lnTo>
                    <a:pt x="467" y="464"/>
                  </a:lnTo>
                  <a:lnTo>
                    <a:pt x="455" y="456"/>
                  </a:lnTo>
                  <a:lnTo>
                    <a:pt x="446" y="446"/>
                  </a:lnTo>
                  <a:lnTo>
                    <a:pt x="440" y="433"/>
                  </a:lnTo>
                  <a:lnTo>
                    <a:pt x="439" y="419"/>
                  </a:lnTo>
                  <a:lnTo>
                    <a:pt x="444" y="402"/>
                  </a:lnTo>
                  <a:lnTo>
                    <a:pt x="447" y="396"/>
                  </a:lnTo>
                  <a:lnTo>
                    <a:pt x="450" y="390"/>
                  </a:lnTo>
                  <a:lnTo>
                    <a:pt x="450" y="390"/>
                  </a:lnTo>
                  <a:lnTo>
                    <a:pt x="449" y="390"/>
                  </a:lnTo>
                  <a:lnTo>
                    <a:pt x="458" y="369"/>
                  </a:lnTo>
                  <a:lnTo>
                    <a:pt x="445" y="378"/>
                  </a:lnTo>
                  <a:lnTo>
                    <a:pt x="432" y="390"/>
                  </a:lnTo>
                  <a:lnTo>
                    <a:pt x="422" y="404"/>
                  </a:lnTo>
                  <a:lnTo>
                    <a:pt x="409" y="417"/>
                  </a:lnTo>
                  <a:lnTo>
                    <a:pt x="394" y="425"/>
                  </a:lnTo>
                  <a:lnTo>
                    <a:pt x="379" y="428"/>
                  </a:lnTo>
                  <a:lnTo>
                    <a:pt x="363" y="428"/>
                  </a:lnTo>
                  <a:lnTo>
                    <a:pt x="348" y="424"/>
                  </a:lnTo>
                  <a:lnTo>
                    <a:pt x="335" y="417"/>
                  </a:lnTo>
                  <a:lnTo>
                    <a:pt x="324" y="406"/>
                  </a:lnTo>
                  <a:lnTo>
                    <a:pt x="317" y="394"/>
                  </a:lnTo>
                  <a:lnTo>
                    <a:pt x="314" y="379"/>
                  </a:lnTo>
                  <a:lnTo>
                    <a:pt x="316" y="364"/>
                  </a:lnTo>
                  <a:lnTo>
                    <a:pt x="323" y="347"/>
                  </a:lnTo>
                  <a:lnTo>
                    <a:pt x="364" y="288"/>
                  </a:lnTo>
                  <a:lnTo>
                    <a:pt x="404" y="226"/>
                  </a:lnTo>
                  <a:lnTo>
                    <a:pt x="326" y="309"/>
                  </a:lnTo>
                  <a:lnTo>
                    <a:pt x="252" y="393"/>
                  </a:lnTo>
                  <a:lnTo>
                    <a:pt x="179" y="480"/>
                  </a:lnTo>
                  <a:lnTo>
                    <a:pt x="108" y="569"/>
                  </a:lnTo>
                  <a:lnTo>
                    <a:pt x="96" y="581"/>
                  </a:lnTo>
                  <a:lnTo>
                    <a:pt x="80" y="588"/>
                  </a:lnTo>
                  <a:lnTo>
                    <a:pt x="65" y="591"/>
                  </a:lnTo>
                  <a:lnTo>
                    <a:pt x="49" y="590"/>
                  </a:lnTo>
                  <a:lnTo>
                    <a:pt x="33" y="586"/>
                  </a:lnTo>
                  <a:lnTo>
                    <a:pt x="21" y="579"/>
                  </a:lnTo>
                  <a:lnTo>
                    <a:pt x="9" y="569"/>
                  </a:lnTo>
                  <a:lnTo>
                    <a:pt x="2" y="556"/>
                  </a:lnTo>
                  <a:lnTo>
                    <a:pt x="0" y="542"/>
                  </a:lnTo>
                  <a:lnTo>
                    <a:pt x="2" y="527"/>
                  </a:lnTo>
                  <a:lnTo>
                    <a:pt x="11" y="511"/>
                  </a:lnTo>
                  <a:lnTo>
                    <a:pt x="74" y="431"/>
                  </a:lnTo>
                  <a:lnTo>
                    <a:pt x="138" y="351"/>
                  </a:lnTo>
                  <a:lnTo>
                    <a:pt x="204" y="273"/>
                  </a:lnTo>
                  <a:lnTo>
                    <a:pt x="273" y="196"/>
                  </a:lnTo>
                  <a:lnTo>
                    <a:pt x="344" y="123"/>
                  </a:lnTo>
                  <a:lnTo>
                    <a:pt x="361" y="107"/>
                  </a:lnTo>
                  <a:lnTo>
                    <a:pt x="380" y="89"/>
                  </a:lnTo>
                  <a:lnTo>
                    <a:pt x="398" y="70"/>
                  </a:lnTo>
                  <a:lnTo>
                    <a:pt x="418" y="52"/>
                  </a:lnTo>
                  <a:lnTo>
                    <a:pt x="439" y="35"/>
                  </a:lnTo>
                  <a:lnTo>
                    <a:pt x="462" y="20"/>
                  </a:lnTo>
                  <a:lnTo>
                    <a:pt x="485" y="9"/>
                  </a:lnTo>
                  <a:lnTo>
                    <a:pt x="509" y="2"/>
                  </a:lnTo>
                  <a:lnTo>
                    <a:pt x="53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71" name="Group 31"/>
          <p:cNvGrpSpPr>
            <a:grpSpLocks noChangeAspect="1"/>
          </p:cNvGrpSpPr>
          <p:nvPr/>
        </p:nvGrpSpPr>
        <p:grpSpPr bwMode="auto">
          <a:xfrm>
            <a:off x="10945605" y="2588278"/>
            <a:ext cx="386108" cy="525710"/>
            <a:chOff x="-395" y="1802"/>
            <a:chExt cx="614" cy="836"/>
          </a:xfrm>
          <a:solidFill>
            <a:srgbClr val="26867C"/>
          </a:solidFill>
        </p:grpSpPr>
        <p:sp>
          <p:nvSpPr>
            <p:cNvPr id="74" name="Freeform 33"/>
            <p:cNvSpPr>
              <a:spLocks/>
            </p:cNvSpPr>
            <p:nvPr/>
          </p:nvSpPr>
          <p:spPr bwMode="auto">
            <a:xfrm>
              <a:off x="-121" y="1981"/>
              <a:ext cx="340" cy="657"/>
            </a:xfrm>
            <a:custGeom>
              <a:avLst/>
              <a:gdLst>
                <a:gd name="T0" fmla="*/ 1121 w 1360"/>
                <a:gd name="T1" fmla="*/ 3 h 2628"/>
                <a:gd name="T2" fmla="*/ 1232 w 1360"/>
                <a:gd name="T3" fmla="*/ 45 h 2628"/>
                <a:gd name="T4" fmla="*/ 1315 w 1360"/>
                <a:gd name="T5" fmla="*/ 127 h 2628"/>
                <a:gd name="T6" fmla="*/ 1357 w 1360"/>
                <a:gd name="T7" fmla="*/ 239 h 2628"/>
                <a:gd name="T8" fmla="*/ 1360 w 1360"/>
                <a:gd name="T9" fmla="*/ 427 h 2628"/>
                <a:gd name="T10" fmla="*/ 1360 w 1360"/>
                <a:gd name="T11" fmla="*/ 668 h 2628"/>
                <a:gd name="T12" fmla="*/ 1360 w 1360"/>
                <a:gd name="T13" fmla="*/ 925 h 2628"/>
                <a:gd name="T14" fmla="*/ 1360 w 1360"/>
                <a:gd name="T15" fmla="*/ 1189 h 2628"/>
                <a:gd name="T16" fmla="*/ 1360 w 1360"/>
                <a:gd name="T17" fmla="*/ 1451 h 2628"/>
                <a:gd name="T18" fmla="*/ 1360 w 1360"/>
                <a:gd name="T19" fmla="*/ 1700 h 2628"/>
                <a:gd name="T20" fmla="*/ 1359 w 1360"/>
                <a:gd name="T21" fmla="*/ 1930 h 2628"/>
                <a:gd name="T22" fmla="*/ 1359 w 1360"/>
                <a:gd name="T23" fmla="*/ 2130 h 2628"/>
                <a:gd name="T24" fmla="*/ 1359 w 1360"/>
                <a:gd name="T25" fmla="*/ 2290 h 2628"/>
                <a:gd name="T26" fmla="*/ 1359 w 1360"/>
                <a:gd name="T27" fmla="*/ 2402 h 2628"/>
                <a:gd name="T28" fmla="*/ 1359 w 1360"/>
                <a:gd name="T29" fmla="*/ 2456 h 2628"/>
                <a:gd name="T30" fmla="*/ 1349 w 1360"/>
                <a:gd name="T31" fmla="*/ 2519 h 2628"/>
                <a:gd name="T32" fmla="*/ 1299 w 1360"/>
                <a:gd name="T33" fmla="*/ 2588 h 2628"/>
                <a:gd name="T34" fmla="*/ 1222 w 1360"/>
                <a:gd name="T35" fmla="*/ 2625 h 2628"/>
                <a:gd name="T36" fmla="*/ 1133 w 1360"/>
                <a:gd name="T37" fmla="*/ 2617 h 2628"/>
                <a:gd name="T38" fmla="*/ 1064 w 1360"/>
                <a:gd name="T39" fmla="*/ 2568 h 2628"/>
                <a:gd name="T40" fmla="*/ 1027 w 1360"/>
                <a:gd name="T41" fmla="*/ 2491 h 2628"/>
                <a:gd name="T42" fmla="*/ 912 w 1360"/>
                <a:gd name="T43" fmla="*/ 1463 h 2628"/>
                <a:gd name="T44" fmla="*/ 921 w 1360"/>
                <a:gd name="T45" fmla="*/ 2530 h 2628"/>
                <a:gd name="T46" fmla="*/ 925 w 1360"/>
                <a:gd name="T47" fmla="*/ 2608 h 2628"/>
                <a:gd name="T48" fmla="*/ 846 w 1360"/>
                <a:gd name="T49" fmla="*/ 2628 h 2628"/>
                <a:gd name="T50" fmla="*/ 761 w 1360"/>
                <a:gd name="T51" fmla="*/ 2604 h 2628"/>
                <a:gd name="T52" fmla="*/ 701 w 1360"/>
                <a:gd name="T53" fmla="*/ 2544 h 2628"/>
                <a:gd name="T54" fmla="*/ 679 w 1360"/>
                <a:gd name="T55" fmla="*/ 2460 h 2628"/>
                <a:gd name="T56" fmla="*/ 748 w 1360"/>
                <a:gd name="T57" fmla="*/ 795 h 2628"/>
                <a:gd name="T58" fmla="*/ 793 w 1360"/>
                <a:gd name="T59" fmla="*/ 763 h 2628"/>
                <a:gd name="T60" fmla="*/ 1223 w 1360"/>
                <a:gd name="T61" fmla="*/ 253 h 2628"/>
                <a:gd name="T62" fmla="*/ 736 w 1360"/>
                <a:gd name="T63" fmla="*/ 701 h 2628"/>
                <a:gd name="T64" fmla="*/ 193 w 1360"/>
                <a:gd name="T65" fmla="*/ 941 h 2628"/>
                <a:gd name="T66" fmla="*/ 116 w 1360"/>
                <a:gd name="T67" fmla="*/ 950 h 2628"/>
                <a:gd name="T68" fmla="*/ 54 w 1360"/>
                <a:gd name="T69" fmla="*/ 922 h 2628"/>
                <a:gd name="T70" fmla="*/ 11 w 1360"/>
                <a:gd name="T71" fmla="*/ 866 h 2628"/>
                <a:gd name="T72" fmla="*/ 1 w 1360"/>
                <a:gd name="T73" fmla="*/ 794 h 2628"/>
                <a:gd name="T74" fmla="*/ 27 w 1360"/>
                <a:gd name="T75" fmla="*/ 729 h 2628"/>
                <a:gd name="T76" fmla="*/ 84 w 1360"/>
                <a:gd name="T77" fmla="*/ 684 h 2628"/>
                <a:gd name="T78" fmla="*/ 1034 w 1360"/>
                <a:gd name="T79" fmla="*/ 49 h 2628"/>
                <a:gd name="T80" fmla="*/ 678 w 1360"/>
                <a:gd name="T81" fmla="*/ 281 h 2628"/>
                <a:gd name="T82" fmla="*/ 704 w 1360"/>
                <a:gd name="T83" fmla="*/ 162 h 2628"/>
                <a:gd name="T84" fmla="*/ 775 w 1360"/>
                <a:gd name="T85" fmla="*/ 68 h 2628"/>
                <a:gd name="T86" fmla="*/ 878 w 1360"/>
                <a:gd name="T87" fmla="*/ 11 h 2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60" h="2628">
                  <a:moveTo>
                    <a:pt x="959" y="0"/>
                  </a:moveTo>
                  <a:lnTo>
                    <a:pt x="1079" y="0"/>
                  </a:lnTo>
                  <a:lnTo>
                    <a:pt x="1121" y="3"/>
                  </a:lnTo>
                  <a:lnTo>
                    <a:pt x="1160" y="11"/>
                  </a:lnTo>
                  <a:lnTo>
                    <a:pt x="1198" y="25"/>
                  </a:lnTo>
                  <a:lnTo>
                    <a:pt x="1232" y="45"/>
                  </a:lnTo>
                  <a:lnTo>
                    <a:pt x="1263" y="68"/>
                  </a:lnTo>
                  <a:lnTo>
                    <a:pt x="1291" y="97"/>
                  </a:lnTo>
                  <a:lnTo>
                    <a:pt x="1315" y="127"/>
                  </a:lnTo>
                  <a:lnTo>
                    <a:pt x="1335" y="162"/>
                  </a:lnTo>
                  <a:lnTo>
                    <a:pt x="1348" y="199"/>
                  </a:lnTo>
                  <a:lnTo>
                    <a:pt x="1357" y="239"/>
                  </a:lnTo>
                  <a:lnTo>
                    <a:pt x="1360" y="281"/>
                  </a:lnTo>
                  <a:lnTo>
                    <a:pt x="1360" y="353"/>
                  </a:lnTo>
                  <a:lnTo>
                    <a:pt x="1360" y="427"/>
                  </a:lnTo>
                  <a:lnTo>
                    <a:pt x="1360" y="505"/>
                  </a:lnTo>
                  <a:lnTo>
                    <a:pt x="1360" y="586"/>
                  </a:lnTo>
                  <a:lnTo>
                    <a:pt x="1360" y="668"/>
                  </a:lnTo>
                  <a:lnTo>
                    <a:pt x="1360" y="753"/>
                  </a:lnTo>
                  <a:lnTo>
                    <a:pt x="1360" y="839"/>
                  </a:lnTo>
                  <a:lnTo>
                    <a:pt x="1360" y="925"/>
                  </a:lnTo>
                  <a:lnTo>
                    <a:pt x="1360" y="1013"/>
                  </a:lnTo>
                  <a:lnTo>
                    <a:pt x="1360" y="1101"/>
                  </a:lnTo>
                  <a:lnTo>
                    <a:pt x="1360" y="1189"/>
                  </a:lnTo>
                  <a:lnTo>
                    <a:pt x="1360" y="1277"/>
                  </a:lnTo>
                  <a:lnTo>
                    <a:pt x="1360" y="1365"/>
                  </a:lnTo>
                  <a:lnTo>
                    <a:pt x="1360" y="1451"/>
                  </a:lnTo>
                  <a:lnTo>
                    <a:pt x="1360" y="1536"/>
                  </a:lnTo>
                  <a:lnTo>
                    <a:pt x="1360" y="1619"/>
                  </a:lnTo>
                  <a:lnTo>
                    <a:pt x="1360" y="1700"/>
                  </a:lnTo>
                  <a:lnTo>
                    <a:pt x="1359" y="1780"/>
                  </a:lnTo>
                  <a:lnTo>
                    <a:pt x="1359" y="1857"/>
                  </a:lnTo>
                  <a:lnTo>
                    <a:pt x="1359" y="1930"/>
                  </a:lnTo>
                  <a:lnTo>
                    <a:pt x="1359" y="2000"/>
                  </a:lnTo>
                  <a:lnTo>
                    <a:pt x="1359" y="2066"/>
                  </a:lnTo>
                  <a:lnTo>
                    <a:pt x="1359" y="2130"/>
                  </a:lnTo>
                  <a:lnTo>
                    <a:pt x="1359" y="2188"/>
                  </a:lnTo>
                  <a:lnTo>
                    <a:pt x="1359" y="2241"/>
                  </a:lnTo>
                  <a:lnTo>
                    <a:pt x="1359" y="2290"/>
                  </a:lnTo>
                  <a:lnTo>
                    <a:pt x="1359" y="2333"/>
                  </a:lnTo>
                  <a:lnTo>
                    <a:pt x="1359" y="2371"/>
                  </a:lnTo>
                  <a:lnTo>
                    <a:pt x="1359" y="2402"/>
                  </a:lnTo>
                  <a:lnTo>
                    <a:pt x="1359" y="2427"/>
                  </a:lnTo>
                  <a:lnTo>
                    <a:pt x="1359" y="2445"/>
                  </a:lnTo>
                  <a:lnTo>
                    <a:pt x="1359" y="2456"/>
                  </a:lnTo>
                  <a:lnTo>
                    <a:pt x="1359" y="2460"/>
                  </a:lnTo>
                  <a:lnTo>
                    <a:pt x="1356" y="2491"/>
                  </a:lnTo>
                  <a:lnTo>
                    <a:pt x="1349" y="2519"/>
                  </a:lnTo>
                  <a:lnTo>
                    <a:pt x="1336" y="2544"/>
                  </a:lnTo>
                  <a:lnTo>
                    <a:pt x="1319" y="2568"/>
                  </a:lnTo>
                  <a:lnTo>
                    <a:pt x="1299" y="2588"/>
                  </a:lnTo>
                  <a:lnTo>
                    <a:pt x="1275" y="2604"/>
                  </a:lnTo>
                  <a:lnTo>
                    <a:pt x="1250" y="2617"/>
                  </a:lnTo>
                  <a:lnTo>
                    <a:pt x="1222" y="2625"/>
                  </a:lnTo>
                  <a:lnTo>
                    <a:pt x="1191" y="2628"/>
                  </a:lnTo>
                  <a:lnTo>
                    <a:pt x="1161" y="2625"/>
                  </a:lnTo>
                  <a:lnTo>
                    <a:pt x="1133" y="2617"/>
                  </a:lnTo>
                  <a:lnTo>
                    <a:pt x="1106" y="2604"/>
                  </a:lnTo>
                  <a:lnTo>
                    <a:pt x="1083" y="2588"/>
                  </a:lnTo>
                  <a:lnTo>
                    <a:pt x="1064" y="2568"/>
                  </a:lnTo>
                  <a:lnTo>
                    <a:pt x="1046" y="2544"/>
                  </a:lnTo>
                  <a:lnTo>
                    <a:pt x="1034" y="2519"/>
                  </a:lnTo>
                  <a:lnTo>
                    <a:pt x="1027" y="2491"/>
                  </a:lnTo>
                  <a:lnTo>
                    <a:pt x="1024" y="2460"/>
                  </a:lnTo>
                  <a:lnTo>
                    <a:pt x="1024" y="1463"/>
                  </a:lnTo>
                  <a:lnTo>
                    <a:pt x="912" y="1463"/>
                  </a:lnTo>
                  <a:lnTo>
                    <a:pt x="912" y="2460"/>
                  </a:lnTo>
                  <a:lnTo>
                    <a:pt x="915" y="2496"/>
                  </a:lnTo>
                  <a:lnTo>
                    <a:pt x="921" y="2530"/>
                  </a:lnTo>
                  <a:lnTo>
                    <a:pt x="932" y="2562"/>
                  </a:lnTo>
                  <a:lnTo>
                    <a:pt x="947" y="2592"/>
                  </a:lnTo>
                  <a:lnTo>
                    <a:pt x="925" y="2608"/>
                  </a:lnTo>
                  <a:lnTo>
                    <a:pt x="901" y="2619"/>
                  </a:lnTo>
                  <a:lnTo>
                    <a:pt x="874" y="2625"/>
                  </a:lnTo>
                  <a:lnTo>
                    <a:pt x="846" y="2628"/>
                  </a:lnTo>
                  <a:lnTo>
                    <a:pt x="816" y="2625"/>
                  </a:lnTo>
                  <a:lnTo>
                    <a:pt x="788" y="2617"/>
                  </a:lnTo>
                  <a:lnTo>
                    <a:pt x="761" y="2604"/>
                  </a:lnTo>
                  <a:lnTo>
                    <a:pt x="738" y="2588"/>
                  </a:lnTo>
                  <a:lnTo>
                    <a:pt x="717" y="2568"/>
                  </a:lnTo>
                  <a:lnTo>
                    <a:pt x="701" y="2544"/>
                  </a:lnTo>
                  <a:lnTo>
                    <a:pt x="689" y="2519"/>
                  </a:lnTo>
                  <a:lnTo>
                    <a:pt x="681" y="2491"/>
                  </a:lnTo>
                  <a:lnTo>
                    <a:pt x="679" y="2460"/>
                  </a:lnTo>
                  <a:lnTo>
                    <a:pt x="678" y="826"/>
                  </a:lnTo>
                  <a:lnTo>
                    <a:pt x="729" y="803"/>
                  </a:lnTo>
                  <a:lnTo>
                    <a:pt x="748" y="795"/>
                  </a:lnTo>
                  <a:lnTo>
                    <a:pt x="764" y="787"/>
                  </a:lnTo>
                  <a:lnTo>
                    <a:pt x="780" y="776"/>
                  </a:lnTo>
                  <a:lnTo>
                    <a:pt x="793" y="763"/>
                  </a:lnTo>
                  <a:lnTo>
                    <a:pt x="1222" y="255"/>
                  </a:lnTo>
                  <a:lnTo>
                    <a:pt x="1223" y="254"/>
                  </a:lnTo>
                  <a:lnTo>
                    <a:pt x="1223" y="253"/>
                  </a:lnTo>
                  <a:lnTo>
                    <a:pt x="1223" y="254"/>
                  </a:lnTo>
                  <a:lnTo>
                    <a:pt x="1222" y="254"/>
                  </a:lnTo>
                  <a:lnTo>
                    <a:pt x="736" y="701"/>
                  </a:lnTo>
                  <a:lnTo>
                    <a:pt x="717" y="716"/>
                  </a:lnTo>
                  <a:lnTo>
                    <a:pt x="696" y="727"/>
                  </a:lnTo>
                  <a:lnTo>
                    <a:pt x="193" y="941"/>
                  </a:lnTo>
                  <a:lnTo>
                    <a:pt x="167" y="949"/>
                  </a:lnTo>
                  <a:lnTo>
                    <a:pt x="139" y="952"/>
                  </a:lnTo>
                  <a:lnTo>
                    <a:pt x="116" y="950"/>
                  </a:lnTo>
                  <a:lnTo>
                    <a:pt x="93" y="944"/>
                  </a:lnTo>
                  <a:lnTo>
                    <a:pt x="73" y="935"/>
                  </a:lnTo>
                  <a:lnTo>
                    <a:pt x="54" y="922"/>
                  </a:lnTo>
                  <a:lnTo>
                    <a:pt x="36" y="907"/>
                  </a:lnTo>
                  <a:lnTo>
                    <a:pt x="22" y="888"/>
                  </a:lnTo>
                  <a:lnTo>
                    <a:pt x="11" y="866"/>
                  </a:lnTo>
                  <a:lnTo>
                    <a:pt x="3" y="843"/>
                  </a:lnTo>
                  <a:lnTo>
                    <a:pt x="0" y="819"/>
                  </a:lnTo>
                  <a:lnTo>
                    <a:pt x="1" y="794"/>
                  </a:lnTo>
                  <a:lnTo>
                    <a:pt x="6" y="771"/>
                  </a:lnTo>
                  <a:lnTo>
                    <a:pt x="14" y="750"/>
                  </a:lnTo>
                  <a:lnTo>
                    <a:pt x="27" y="729"/>
                  </a:lnTo>
                  <a:lnTo>
                    <a:pt x="42" y="711"/>
                  </a:lnTo>
                  <a:lnTo>
                    <a:pt x="62" y="696"/>
                  </a:lnTo>
                  <a:lnTo>
                    <a:pt x="84" y="684"/>
                  </a:lnTo>
                  <a:lnTo>
                    <a:pt x="565" y="480"/>
                  </a:lnTo>
                  <a:lnTo>
                    <a:pt x="1033" y="50"/>
                  </a:lnTo>
                  <a:lnTo>
                    <a:pt x="1034" y="49"/>
                  </a:lnTo>
                  <a:lnTo>
                    <a:pt x="1033" y="50"/>
                  </a:lnTo>
                  <a:lnTo>
                    <a:pt x="678" y="301"/>
                  </a:lnTo>
                  <a:lnTo>
                    <a:pt x="678" y="281"/>
                  </a:lnTo>
                  <a:lnTo>
                    <a:pt x="681" y="239"/>
                  </a:lnTo>
                  <a:lnTo>
                    <a:pt x="690" y="199"/>
                  </a:lnTo>
                  <a:lnTo>
                    <a:pt x="704" y="162"/>
                  </a:lnTo>
                  <a:lnTo>
                    <a:pt x="724" y="127"/>
                  </a:lnTo>
                  <a:lnTo>
                    <a:pt x="747" y="97"/>
                  </a:lnTo>
                  <a:lnTo>
                    <a:pt x="775" y="68"/>
                  </a:lnTo>
                  <a:lnTo>
                    <a:pt x="806" y="45"/>
                  </a:lnTo>
                  <a:lnTo>
                    <a:pt x="841" y="25"/>
                  </a:lnTo>
                  <a:lnTo>
                    <a:pt x="878" y="11"/>
                  </a:lnTo>
                  <a:lnTo>
                    <a:pt x="918" y="3"/>
                  </a:lnTo>
                  <a:lnTo>
                    <a:pt x="9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34"/>
            <p:cNvSpPr>
              <a:spLocks/>
            </p:cNvSpPr>
            <p:nvPr/>
          </p:nvSpPr>
          <p:spPr bwMode="auto">
            <a:xfrm>
              <a:off x="52" y="1802"/>
              <a:ext cx="163" cy="163"/>
            </a:xfrm>
            <a:custGeom>
              <a:avLst/>
              <a:gdLst>
                <a:gd name="T0" fmla="*/ 326 w 653"/>
                <a:gd name="T1" fmla="*/ 0 h 652"/>
                <a:gd name="T2" fmla="*/ 371 w 653"/>
                <a:gd name="T3" fmla="*/ 3 h 652"/>
                <a:gd name="T4" fmla="*/ 413 w 653"/>
                <a:gd name="T5" fmla="*/ 12 h 652"/>
                <a:gd name="T6" fmla="*/ 453 w 653"/>
                <a:gd name="T7" fmla="*/ 26 h 652"/>
                <a:gd name="T8" fmla="*/ 491 w 653"/>
                <a:gd name="T9" fmla="*/ 45 h 652"/>
                <a:gd name="T10" fmla="*/ 525 w 653"/>
                <a:gd name="T11" fmla="*/ 68 h 652"/>
                <a:gd name="T12" fmla="*/ 557 w 653"/>
                <a:gd name="T13" fmla="*/ 96 h 652"/>
                <a:gd name="T14" fmla="*/ 585 w 653"/>
                <a:gd name="T15" fmla="*/ 127 h 652"/>
                <a:gd name="T16" fmla="*/ 608 w 653"/>
                <a:gd name="T17" fmla="*/ 162 h 652"/>
                <a:gd name="T18" fmla="*/ 627 w 653"/>
                <a:gd name="T19" fmla="*/ 199 h 652"/>
                <a:gd name="T20" fmla="*/ 641 w 653"/>
                <a:gd name="T21" fmla="*/ 239 h 652"/>
                <a:gd name="T22" fmla="*/ 650 w 653"/>
                <a:gd name="T23" fmla="*/ 282 h 652"/>
                <a:gd name="T24" fmla="*/ 653 w 653"/>
                <a:gd name="T25" fmla="*/ 327 h 652"/>
                <a:gd name="T26" fmla="*/ 650 w 653"/>
                <a:gd name="T27" fmla="*/ 370 h 652"/>
                <a:gd name="T28" fmla="*/ 641 w 653"/>
                <a:gd name="T29" fmla="*/ 413 h 652"/>
                <a:gd name="T30" fmla="*/ 627 w 653"/>
                <a:gd name="T31" fmla="*/ 453 h 652"/>
                <a:gd name="T32" fmla="*/ 608 w 653"/>
                <a:gd name="T33" fmla="*/ 490 h 652"/>
                <a:gd name="T34" fmla="*/ 585 w 653"/>
                <a:gd name="T35" fmla="*/ 525 h 652"/>
                <a:gd name="T36" fmla="*/ 557 w 653"/>
                <a:gd name="T37" fmla="*/ 556 h 652"/>
                <a:gd name="T38" fmla="*/ 525 w 653"/>
                <a:gd name="T39" fmla="*/ 584 h 652"/>
                <a:gd name="T40" fmla="*/ 491 w 653"/>
                <a:gd name="T41" fmla="*/ 607 h 652"/>
                <a:gd name="T42" fmla="*/ 453 w 653"/>
                <a:gd name="T43" fmla="*/ 627 h 652"/>
                <a:gd name="T44" fmla="*/ 413 w 653"/>
                <a:gd name="T45" fmla="*/ 641 h 652"/>
                <a:gd name="T46" fmla="*/ 371 w 653"/>
                <a:gd name="T47" fmla="*/ 649 h 652"/>
                <a:gd name="T48" fmla="*/ 326 w 653"/>
                <a:gd name="T49" fmla="*/ 652 h 652"/>
                <a:gd name="T50" fmla="*/ 282 w 653"/>
                <a:gd name="T51" fmla="*/ 649 h 652"/>
                <a:gd name="T52" fmla="*/ 239 w 653"/>
                <a:gd name="T53" fmla="*/ 641 h 652"/>
                <a:gd name="T54" fmla="*/ 200 w 653"/>
                <a:gd name="T55" fmla="*/ 627 h 652"/>
                <a:gd name="T56" fmla="*/ 162 w 653"/>
                <a:gd name="T57" fmla="*/ 607 h 652"/>
                <a:gd name="T58" fmla="*/ 127 w 653"/>
                <a:gd name="T59" fmla="*/ 584 h 652"/>
                <a:gd name="T60" fmla="*/ 96 w 653"/>
                <a:gd name="T61" fmla="*/ 556 h 652"/>
                <a:gd name="T62" fmla="*/ 68 w 653"/>
                <a:gd name="T63" fmla="*/ 525 h 652"/>
                <a:gd name="T64" fmla="*/ 45 w 653"/>
                <a:gd name="T65" fmla="*/ 490 h 652"/>
                <a:gd name="T66" fmla="*/ 26 w 653"/>
                <a:gd name="T67" fmla="*/ 453 h 652"/>
                <a:gd name="T68" fmla="*/ 11 w 653"/>
                <a:gd name="T69" fmla="*/ 413 h 652"/>
                <a:gd name="T70" fmla="*/ 3 w 653"/>
                <a:gd name="T71" fmla="*/ 370 h 652"/>
                <a:gd name="T72" fmla="*/ 0 w 653"/>
                <a:gd name="T73" fmla="*/ 327 h 652"/>
                <a:gd name="T74" fmla="*/ 3 w 653"/>
                <a:gd name="T75" fmla="*/ 282 h 652"/>
                <a:gd name="T76" fmla="*/ 11 w 653"/>
                <a:gd name="T77" fmla="*/ 239 h 652"/>
                <a:gd name="T78" fmla="*/ 26 w 653"/>
                <a:gd name="T79" fmla="*/ 199 h 652"/>
                <a:gd name="T80" fmla="*/ 45 w 653"/>
                <a:gd name="T81" fmla="*/ 162 h 652"/>
                <a:gd name="T82" fmla="*/ 68 w 653"/>
                <a:gd name="T83" fmla="*/ 127 h 652"/>
                <a:gd name="T84" fmla="*/ 96 w 653"/>
                <a:gd name="T85" fmla="*/ 96 h 652"/>
                <a:gd name="T86" fmla="*/ 127 w 653"/>
                <a:gd name="T87" fmla="*/ 68 h 652"/>
                <a:gd name="T88" fmla="*/ 162 w 653"/>
                <a:gd name="T89" fmla="*/ 45 h 652"/>
                <a:gd name="T90" fmla="*/ 200 w 653"/>
                <a:gd name="T91" fmla="*/ 26 h 652"/>
                <a:gd name="T92" fmla="*/ 239 w 653"/>
                <a:gd name="T93" fmla="*/ 12 h 652"/>
                <a:gd name="T94" fmla="*/ 282 w 653"/>
                <a:gd name="T95" fmla="*/ 3 h 652"/>
                <a:gd name="T96" fmla="*/ 326 w 653"/>
                <a:gd name="T97" fmla="*/ 0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653" h="652">
                  <a:moveTo>
                    <a:pt x="326" y="0"/>
                  </a:moveTo>
                  <a:lnTo>
                    <a:pt x="371" y="3"/>
                  </a:lnTo>
                  <a:lnTo>
                    <a:pt x="413" y="12"/>
                  </a:lnTo>
                  <a:lnTo>
                    <a:pt x="453" y="26"/>
                  </a:lnTo>
                  <a:lnTo>
                    <a:pt x="491" y="45"/>
                  </a:lnTo>
                  <a:lnTo>
                    <a:pt x="525" y="68"/>
                  </a:lnTo>
                  <a:lnTo>
                    <a:pt x="557" y="96"/>
                  </a:lnTo>
                  <a:lnTo>
                    <a:pt x="585" y="127"/>
                  </a:lnTo>
                  <a:lnTo>
                    <a:pt x="608" y="162"/>
                  </a:lnTo>
                  <a:lnTo>
                    <a:pt x="627" y="199"/>
                  </a:lnTo>
                  <a:lnTo>
                    <a:pt x="641" y="239"/>
                  </a:lnTo>
                  <a:lnTo>
                    <a:pt x="650" y="282"/>
                  </a:lnTo>
                  <a:lnTo>
                    <a:pt x="653" y="327"/>
                  </a:lnTo>
                  <a:lnTo>
                    <a:pt x="650" y="370"/>
                  </a:lnTo>
                  <a:lnTo>
                    <a:pt x="641" y="413"/>
                  </a:lnTo>
                  <a:lnTo>
                    <a:pt x="627" y="453"/>
                  </a:lnTo>
                  <a:lnTo>
                    <a:pt x="608" y="490"/>
                  </a:lnTo>
                  <a:lnTo>
                    <a:pt x="585" y="525"/>
                  </a:lnTo>
                  <a:lnTo>
                    <a:pt x="557" y="556"/>
                  </a:lnTo>
                  <a:lnTo>
                    <a:pt x="525" y="584"/>
                  </a:lnTo>
                  <a:lnTo>
                    <a:pt x="491" y="607"/>
                  </a:lnTo>
                  <a:lnTo>
                    <a:pt x="453" y="627"/>
                  </a:lnTo>
                  <a:lnTo>
                    <a:pt x="413" y="641"/>
                  </a:lnTo>
                  <a:lnTo>
                    <a:pt x="371" y="649"/>
                  </a:lnTo>
                  <a:lnTo>
                    <a:pt x="326" y="652"/>
                  </a:lnTo>
                  <a:lnTo>
                    <a:pt x="282" y="649"/>
                  </a:lnTo>
                  <a:lnTo>
                    <a:pt x="239" y="641"/>
                  </a:lnTo>
                  <a:lnTo>
                    <a:pt x="200" y="627"/>
                  </a:lnTo>
                  <a:lnTo>
                    <a:pt x="162" y="607"/>
                  </a:lnTo>
                  <a:lnTo>
                    <a:pt x="127" y="584"/>
                  </a:lnTo>
                  <a:lnTo>
                    <a:pt x="96" y="556"/>
                  </a:lnTo>
                  <a:lnTo>
                    <a:pt x="68" y="525"/>
                  </a:lnTo>
                  <a:lnTo>
                    <a:pt x="45" y="490"/>
                  </a:lnTo>
                  <a:lnTo>
                    <a:pt x="26" y="453"/>
                  </a:lnTo>
                  <a:lnTo>
                    <a:pt x="11" y="413"/>
                  </a:lnTo>
                  <a:lnTo>
                    <a:pt x="3" y="370"/>
                  </a:lnTo>
                  <a:lnTo>
                    <a:pt x="0" y="327"/>
                  </a:lnTo>
                  <a:lnTo>
                    <a:pt x="3" y="282"/>
                  </a:lnTo>
                  <a:lnTo>
                    <a:pt x="11" y="239"/>
                  </a:lnTo>
                  <a:lnTo>
                    <a:pt x="26" y="199"/>
                  </a:lnTo>
                  <a:lnTo>
                    <a:pt x="45" y="162"/>
                  </a:lnTo>
                  <a:lnTo>
                    <a:pt x="68" y="127"/>
                  </a:lnTo>
                  <a:lnTo>
                    <a:pt x="96" y="96"/>
                  </a:lnTo>
                  <a:lnTo>
                    <a:pt x="127" y="68"/>
                  </a:lnTo>
                  <a:lnTo>
                    <a:pt x="162" y="45"/>
                  </a:lnTo>
                  <a:lnTo>
                    <a:pt x="200" y="26"/>
                  </a:lnTo>
                  <a:lnTo>
                    <a:pt x="239" y="12"/>
                  </a:lnTo>
                  <a:lnTo>
                    <a:pt x="282" y="3"/>
                  </a:lnTo>
                  <a:lnTo>
                    <a:pt x="3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35"/>
            <p:cNvSpPr>
              <a:spLocks/>
            </p:cNvSpPr>
            <p:nvPr/>
          </p:nvSpPr>
          <p:spPr bwMode="auto">
            <a:xfrm>
              <a:off x="-391" y="1802"/>
              <a:ext cx="163" cy="163"/>
            </a:xfrm>
            <a:custGeom>
              <a:avLst/>
              <a:gdLst>
                <a:gd name="T0" fmla="*/ 326 w 653"/>
                <a:gd name="T1" fmla="*/ 0 h 652"/>
                <a:gd name="T2" fmla="*/ 371 w 653"/>
                <a:gd name="T3" fmla="*/ 3 h 652"/>
                <a:gd name="T4" fmla="*/ 414 w 653"/>
                <a:gd name="T5" fmla="*/ 12 h 652"/>
                <a:gd name="T6" fmla="*/ 453 w 653"/>
                <a:gd name="T7" fmla="*/ 26 h 652"/>
                <a:gd name="T8" fmla="*/ 491 w 653"/>
                <a:gd name="T9" fmla="*/ 45 h 652"/>
                <a:gd name="T10" fmla="*/ 526 w 653"/>
                <a:gd name="T11" fmla="*/ 68 h 652"/>
                <a:gd name="T12" fmla="*/ 557 w 653"/>
                <a:gd name="T13" fmla="*/ 96 h 652"/>
                <a:gd name="T14" fmla="*/ 585 w 653"/>
                <a:gd name="T15" fmla="*/ 127 h 652"/>
                <a:gd name="T16" fmla="*/ 608 w 653"/>
                <a:gd name="T17" fmla="*/ 162 h 652"/>
                <a:gd name="T18" fmla="*/ 627 w 653"/>
                <a:gd name="T19" fmla="*/ 199 h 652"/>
                <a:gd name="T20" fmla="*/ 641 w 653"/>
                <a:gd name="T21" fmla="*/ 239 h 652"/>
                <a:gd name="T22" fmla="*/ 650 w 653"/>
                <a:gd name="T23" fmla="*/ 282 h 652"/>
                <a:gd name="T24" fmla="*/ 653 w 653"/>
                <a:gd name="T25" fmla="*/ 327 h 652"/>
                <a:gd name="T26" fmla="*/ 650 w 653"/>
                <a:gd name="T27" fmla="*/ 370 h 652"/>
                <a:gd name="T28" fmla="*/ 641 w 653"/>
                <a:gd name="T29" fmla="*/ 413 h 652"/>
                <a:gd name="T30" fmla="*/ 627 w 653"/>
                <a:gd name="T31" fmla="*/ 453 h 652"/>
                <a:gd name="T32" fmla="*/ 608 w 653"/>
                <a:gd name="T33" fmla="*/ 490 h 652"/>
                <a:gd name="T34" fmla="*/ 585 w 653"/>
                <a:gd name="T35" fmla="*/ 525 h 652"/>
                <a:gd name="T36" fmla="*/ 557 w 653"/>
                <a:gd name="T37" fmla="*/ 556 h 652"/>
                <a:gd name="T38" fmla="*/ 526 w 653"/>
                <a:gd name="T39" fmla="*/ 584 h 652"/>
                <a:gd name="T40" fmla="*/ 491 w 653"/>
                <a:gd name="T41" fmla="*/ 607 h 652"/>
                <a:gd name="T42" fmla="*/ 453 w 653"/>
                <a:gd name="T43" fmla="*/ 627 h 652"/>
                <a:gd name="T44" fmla="*/ 414 w 653"/>
                <a:gd name="T45" fmla="*/ 641 h 652"/>
                <a:gd name="T46" fmla="*/ 371 w 653"/>
                <a:gd name="T47" fmla="*/ 649 h 652"/>
                <a:gd name="T48" fmla="*/ 326 w 653"/>
                <a:gd name="T49" fmla="*/ 652 h 652"/>
                <a:gd name="T50" fmla="*/ 282 w 653"/>
                <a:gd name="T51" fmla="*/ 649 h 652"/>
                <a:gd name="T52" fmla="*/ 240 w 653"/>
                <a:gd name="T53" fmla="*/ 641 h 652"/>
                <a:gd name="T54" fmla="*/ 200 w 653"/>
                <a:gd name="T55" fmla="*/ 627 h 652"/>
                <a:gd name="T56" fmla="*/ 162 w 653"/>
                <a:gd name="T57" fmla="*/ 607 h 652"/>
                <a:gd name="T58" fmla="*/ 127 w 653"/>
                <a:gd name="T59" fmla="*/ 584 h 652"/>
                <a:gd name="T60" fmla="*/ 96 w 653"/>
                <a:gd name="T61" fmla="*/ 556 h 652"/>
                <a:gd name="T62" fmla="*/ 68 w 653"/>
                <a:gd name="T63" fmla="*/ 525 h 652"/>
                <a:gd name="T64" fmla="*/ 45 w 653"/>
                <a:gd name="T65" fmla="*/ 490 h 652"/>
                <a:gd name="T66" fmla="*/ 26 w 653"/>
                <a:gd name="T67" fmla="*/ 453 h 652"/>
                <a:gd name="T68" fmla="*/ 11 w 653"/>
                <a:gd name="T69" fmla="*/ 413 h 652"/>
                <a:gd name="T70" fmla="*/ 3 w 653"/>
                <a:gd name="T71" fmla="*/ 370 h 652"/>
                <a:gd name="T72" fmla="*/ 0 w 653"/>
                <a:gd name="T73" fmla="*/ 327 h 652"/>
                <a:gd name="T74" fmla="*/ 3 w 653"/>
                <a:gd name="T75" fmla="*/ 282 h 652"/>
                <a:gd name="T76" fmla="*/ 11 w 653"/>
                <a:gd name="T77" fmla="*/ 239 h 652"/>
                <a:gd name="T78" fmla="*/ 26 w 653"/>
                <a:gd name="T79" fmla="*/ 199 h 652"/>
                <a:gd name="T80" fmla="*/ 45 w 653"/>
                <a:gd name="T81" fmla="*/ 162 h 652"/>
                <a:gd name="T82" fmla="*/ 68 w 653"/>
                <a:gd name="T83" fmla="*/ 127 h 652"/>
                <a:gd name="T84" fmla="*/ 96 w 653"/>
                <a:gd name="T85" fmla="*/ 96 h 652"/>
                <a:gd name="T86" fmla="*/ 127 w 653"/>
                <a:gd name="T87" fmla="*/ 68 h 652"/>
                <a:gd name="T88" fmla="*/ 162 w 653"/>
                <a:gd name="T89" fmla="*/ 45 h 652"/>
                <a:gd name="T90" fmla="*/ 200 w 653"/>
                <a:gd name="T91" fmla="*/ 26 h 652"/>
                <a:gd name="T92" fmla="*/ 240 w 653"/>
                <a:gd name="T93" fmla="*/ 12 h 652"/>
                <a:gd name="T94" fmla="*/ 282 w 653"/>
                <a:gd name="T95" fmla="*/ 3 h 652"/>
                <a:gd name="T96" fmla="*/ 326 w 653"/>
                <a:gd name="T97" fmla="*/ 0 h 652"/>
                <a:gd name="T98" fmla="*/ 326 w 653"/>
                <a:gd name="T99" fmla="*/ 0 h 6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53" h="652">
                  <a:moveTo>
                    <a:pt x="326" y="0"/>
                  </a:moveTo>
                  <a:lnTo>
                    <a:pt x="371" y="3"/>
                  </a:lnTo>
                  <a:lnTo>
                    <a:pt x="414" y="12"/>
                  </a:lnTo>
                  <a:lnTo>
                    <a:pt x="453" y="26"/>
                  </a:lnTo>
                  <a:lnTo>
                    <a:pt x="491" y="45"/>
                  </a:lnTo>
                  <a:lnTo>
                    <a:pt x="526" y="68"/>
                  </a:lnTo>
                  <a:lnTo>
                    <a:pt x="557" y="96"/>
                  </a:lnTo>
                  <a:lnTo>
                    <a:pt x="585" y="127"/>
                  </a:lnTo>
                  <a:lnTo>
                    <a:pt x="608" y="162"/>
                  </a:lnTo>
                  <a:lnTo>
                    <a:pt x="627" y="199"/>
                  </a:lnTo>
                  <a:lnTo>
                    <a:pt x="641" y="239"/>
                  </a:lnTo>
                  <a:lnTo>
                    <a:pt x="650" y="282"/>
                  </a:lnTo>
                  <a:lnTo>
                    <a:pt x="653" y="327"/>
                  </a:lnTo>
                  <a:lnTo>
                    <a:pt x="650" y="370"/>
                  </a:lnTo>
                  <a:lnTo>
                    <a:pt x="641" y="413"/>
                  </a:lnTo>
                  <a:lnTo>
                    <a:pt x="627" y="453"/>
                  </a:lnTo>
                  <a:lnTo>
                    <a:pt x="608" y="490"/>
                  </a:lnTo>
                  <a:lnTo>
                    <a:pt x="585" y="525"/>
                  </a:lnTo>
                  <a:lnTo>
                    <a:pt x="557" y="556"/>
                  </a:lnTo>
                  <a:lnTo>
                    <a:pt x="526" y="584"/>
                  </a:lnTo>
                  <a:lnTo>
                    <a:pt x="491" y="607"/>
                  </a:lnTo>
                  <a:lnTo>
                    <a:pt x="453" y="627"/>
                  </a:lnTo>
                  <a:lnTo>
                    <a:pt x="414" y="641"/>
                  </a:lnTo>
                  <a:lnTo>
                    <a:pt x="371" y="649"/>
                  </a:lnTo>
                  <a:lnTo>
                    <a:pt x="326" y="652"/>
                  </a:lnTo>
                  <a:lnTo>
                    <a:pt x="282" y="649"/>
                  </a:lnTo>
                  <a:lnTo>
                    <a:pt x="240" y="641"/>
                  </a:lnTo>
                  <a:lnTo>
                    <a:pt x="200" y="627"/>
                  </a:lnTo>
                  <a:lnTo>
                    <a:pt x="162" y="607"/>
                  </a:lnTo>
                  <a:lnTo>
                    <a:pt x="127" y="584"/>
                  </a:lnTo>
                  <a:lnTo>
                    <a:pt x="96" y="556"/>
                  </a:lnTo>
                  <a:lnTo>
                    <a:pt x="68" y="525"/>
                  </a:lnTo>
                  <a:lnTo>
                    <a:pt x="45" y="490"/>
                  </a:lnTo>
                  <a:lnTo>
                    <a:pt x="26" y="453"/>
                  </a:lnTo>
                  <a:lnTo>
                    <a:pt x="11" y="413"/>
                  </a:lnTo>
                  <a:lnTo>
                    <a:pt x="3" y="370"/>
                  </a:lnTo>
                  <a:lnTo>
                    <a:pt x="0" y="327"/>
                  </a:lnTo>
                  <a:lnTo>
                    <a:pt x="3" y="282"/>
                  </a:lnTo>
                  <a:lnTo>
                    <a:pt x="11" y="239"/>
                  </a:lnTo>
                  <a:lnTo>
                    <a:pt x="26" y="199"/>
                  </a:lnTo>
                  <a:lnTo>
                    <a:pt x="45" y="162"/>
                  </a:lnTo>
                  <a:lnTo>
                    <a:pt x="68" y="127"/>
                  </a:lnTo>
                  <a:lnTo>
                    <a:pt x="96" y="96"/>
                  </a:lnTo>
                  <a:lnTo>
                    <a:pt x="127" y="68"/>
                  </a:lnTo>
                  <a:lnTo>
                    <a:pt x="162" y="45"/>
                  </a:lnTo>
                  <a:lnTo>
                    <a:pt x="200" y="26"/>
                  </a:lnTo>
                  <a:lnTo>
                    <a:pt x="240" y="12"/>
                  </a:lnTo>
                  <a:lnTo>
                    <a:pt x="282" y="3"/>
                  </a:lnTo>
                  <a:lnTo>
                    <a:pt x="326" y="0"/>
                  </a:lnTo>
                  <a:lnTo>
                    <a:pt x="326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36"/>
            <p:cNvSpPr>
              <a:spLocks/>
            </p:cNvSpPr>
            <p:nvPr/>
          </p:nvSpPr>
          <p:spPr bwMode="auto">
            <a:xfrm>
              <a:off x="-395" y="1981"/>
              <a:ext cx="272" cy="657"/>
            </a:xfrm>
            <a:custGeom>
              <a:avLst/>
              <a:gdLst>
                <a:gd name="T0" fmla="*/ 400 w 1089"/>
                <a:gd name="T1" fmla="*/ 0 h 2628"/>
                <a:gd name="T2" fmla="*/ 482 w 1089"/>
                <a:gd name="T3" fmla="*/ 11 h 2628"/>
                <a:gd name="T4" fmla="*/ 554 w 1089"/>
                <a:gd name="T5" fmla="*/ 45 h 2628"/>
                <a:gd name="T6" fmla="*/ 613 w 1089"/>
                <a:gd name="T7" fmla="*/ 97 h 2628"/>
                <a:gd name="T8" fmla="*/ 656 w 1089"/>
                <a:gd name="T9" fmla="*/ 162 h 2628"/>
                <a:gd name="T10" fmla="*/ 678 w 1089"/>
                <a:gd name="T11" fmla="*/ 239 h 2628"/>
                <a:gd name="T12" fmla="*/ 681 w 1089"/>
                <a:gd name="T13" fmla="*/ 333 h 2628"/>
                <a:gd name="T14" fmla="*/ 750 w 1089"/>
                <a:gd name="T15" fmla="*/ 458 h 2628"/>
                <a:gd name="T16" fmla="*/ 1064 w 1089"/>
                <a:gd name="T17" fmla="*/ 670 h 2628"/>
                <a:gd name="T18" fmla="*/ 1028 w 1089"/>
                <a:gd name="T19" fmla="*/ 729 h 2628"/>
                <a:gd name="T20" fmla="*/ 1012 w 1089"/>
                <a:gd name="T21" fmla="*/ 795 h 2628"/>
                <a:gd name="T22" fmla="*/ 1018 w 1089"/>
                <a:gd name="T23" fmla="*/ 865 h 2628"/>
                <a:gd name="T24" fmla="*/ 1043 w 1089"/>
                <a:gd name="T25" fmla="*/ 925 h 2628"/>
                <a:gd name="T26" fmla="*/ 599 w 1089"/>
                <a:gd name="T27" fmla="*/ 693 h 2628"/>
                <a:gd name="T28" fmla="*/ 570 w 1089"/>
                <a:gd name="T29" fmla="*/ 671 h 2628"/>
                <a:gd name="T30" fmla="*/ 528 w 1089"/>
                <a:gd name="T31" fmla="*/ 714 h 2628"/>
                <a:gd name="T32" fmla="*/ 535 w 1089"/>
                <a:gd name="T33" fmla="*/ 719 h 2628"/>
                <a:gd name="T34" fmla="*/ 681 w 1089"/>
                <a:gd name="T35" fmla="*/ 824 h 2628"/>
                <a:gd name="T36" fmla="*/ 679 w 1089"/>
                <a:gd name="T37" fmla="*/ 2491 h 2628"/>
                <a:gd name="T38" fmla="*/ 659 w 1089"/>
                <a:gd name="T39" fmla="*/ 2544 h 2628"/>
                <a:gd name="T40" fmla="*/ 622 w 1089"/>
                <a:gd name="T41" fmla="*/ 2588 h 2628"/>
                <a:gd name="T42" fmla="*/ 572 w 1089"/>
                <a:gd name="T43" fmla="*/ 2617 h 2628"/>
                <a:gd name="T44" fmla="*/ 514 w 1089"/>
                <a:gd name="T45" fmla="*/ 2628 h 2628"/>
                <a:gd name="T46" fmla="*/ 459 w 1089"/>
                <a:gd name="T47" fmla="*/ 2619 h 2628"/>
                <a:gd name="T48" fmla="*/ 412 w 1089"/>
                <a:gd name="T49" fmla="*/ 2592 h 2628"/>
                <a:gd name="T50" fmla="*/ 438 w 1089"/>
                <a:gd name="T51" fmla="*/ 2530 h 2628"/>
                <a:gd name="T52" fmla="*/ 448 w 1089"/>
                <a:gd name="T53" fmla="*/ 2460 h 2628"/>
                <a:gd name="T54" fmla="*/ 336 w 1089"/>
                <a:gd name="T55" fmla="*/ 1463 h 2628"/>
                <a:gd name="T56" fmla="*/ 333 w 1089"/>
                <a:gd name="T57" fmla="*/ 2491 h 2628"/>
                <a:gd name="T58" fmla="*/ 313 w 1089"/>
                <a:gd name="T59" fmla="*/ 2544 h 2628"/>
                <a:gd name="T60" fmla="*/ 276 w 1089"/>
                <a:gd name="T61" fmla="*/ 2588 h 2628"/>
                <a:gd name="T62" fmla="*/ 227 w 1089"/>
                <a:gd name="T63" fmla="*/ 2617 h 2628"/>
                <a:gd name="T64" fmla="*/ 168 w 1089"/>
                <a:gd name="T65" fmla="*/ 2628 h 2628"/>
                <a:gd name="T66" fmla="*/ 110 w 1089"/>
                <a:gd name="T67" fmla="*/ 2617 h 2628"/>
                <a:gd name="T68" fmla="*/ 60 w 1089"/>
                <a:gd name="T69" fmla="*/ 2588 h 2628"/>
                <a:gd name="T70" fmla="*/ 23 w 1089"/>
                <a:gd name="T71" fmla="*/ 2544 h 2628"/>
                <a:gd name="T72" fmla="*/ 4 w 1089"/>
                <a:gd name="T73" fmla="*/ 2491 h 2628"/>
                <a:gd name="T74" fmla="*/ 1 w 1089"/>
                <a:gd name="T75" fmla="*/ 2456 h 2628"/>
                <a:gd name="T76" fmla="*/ 1 w 1089"/>
                <a:gd name="T77" fmla="*/ 2425 h 2628"/>
                <a:gd name="T78" fmla="*/ 1 w 1089"/>
                <a:gd name="T79" fmla="*/ 2367 h 2628"/>
                <a:gd name="T80" fmla="*/ 1 w 1089"/>
                <a:gd name="T81" fmla="*/ 2282 h 2628"/>
                <a:gd name="T82" fmla="*/ 1 w 1089"/>
                <a:gd name="T83" fmla="*/ 2176 h 2628"/>
                <a:gd name="T84" fmla="*/ 1 w 1089"/>
                <a:gd name="T85" fmla="*/ 2050 h 2628"/>
                <a:gd name="T86" fmla="*/ 0 w 1089"/>
                <a:gd name="T87" fmla="*/ 1908 h 2628"/>
                <a:gd name="T88" fmla="*/ 0 w 1089"/>
                <a:gd name="T89" fmla="*/ 1752 h 2628"/>
                <a:gd name="T90" fmla="*/ 0 w 1089"/>
                <a:gd name="T91" fmla="*/ 1585 h 2628"/>
                <a:gd name="T92" fmla="*/ 0 w 1089"/>
                <a:gd name="T93" fmla="*/ 1411 h 2628"/>
                <a:gd name="T94" fmla="*/ 0 w 1089"/>
                <a:gd name="T95" fmla="*/ 1231 h 2628"/>
                <a:gd name="T96" fmla="*/ 0 w 1089"/>
                <a:gd name="T97" fmla="*/ 1049 h 2628"/>
                <a:gd name="T98" fmla="*/ 0 w 1089"/>
                <a:gd name="T99" fmla="*/ 867 h 2628"/>
                <a:gd name="T100" fmla="*/ 0 w 1089"/>
                <a:gd name="T101" fmla="*/ 690 h 2628"/>
                <a:gd name="T102" fmla="*/ 0 w 1089"/>
                <a:gd name="T103" fmla="*/ 519 h 2628"/>
                <a:gd name="T104" fmla="*/ 0 w 1089"/>
                <a:gd name="T105" fmla="*/ 357 h 2628"/>
                <a:gd name="T106" fmla="*/ 3 w 1089"/>
                <a:gd name="T107" fmla="*/ 239 h 2628"/>
                <a:gd name="T108" fmla="*/ 25 w 1089"/>
                <a:gd name="T109" fmla="*/ 162 h 2628"/>
                <a:gd name="T110" fmla="*/ 68 w 1089"/>
                <a:gd name="T111" fmla="*/ 97 h 2628"/>
                <a:gd name="T112" fmla="*/ 127 w 1089"/>
                <a:gd name="T113" fmla="*/ 45 h 2628"/>
                <a:gd name="T114" fmla="*/ 200 w 1089"/>
                <a:gd name="T115" fmla="*/ 11 h 2628"/>
                <a:gd name="T116" fmla="*/ 281 w 1089"/>
                <a:gd name="T117" fmla="*/ 0 h 26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89" h="2628">
                  <a:moveTo>
                    <a:pt x="281" y="0"/>
                  </a:moveTo>
                  <a:lnTo>
                    <a:pt x="400" y="0"/>
                  </a:lnTo>
                  <a:lnTo>
                    <a:pt x="442" y="3"/>
                  </a:lnTo>
                  <a:lnTo>
                    <a:pt x="482" y="11"/>
                  </a:lnTo>
                  <a:lnTo>
                    <a:pt x="519" y="25"/>
                  </a:lnTo>
                  <a:lnTo>
                    <a:pt x="554" y="45"/>
                  </a:lnTo>
                  <a:lnTo>
                    <a:pt x="584" y="68"/>
                  </a:lnTo>
                  <a:lnTo>
                    <a:pt x="613" y="97"/>
                  </a:lnTo>
                  <a:lnTo>
                    <a:pt x="636" y="127"/>
                  </a:lnTo>
                  <a:lnTo>
                    <a:pt x="656" y="162"/>
                  </a:lnTo>
                  <a:lnTo>
                    <a:pt x="670" y="199"/>
                  </a:lnTo>
                  <a:lnTo>
                    <a:pt x="678" y="239"/>
                  </a:lnTo>
                  <a:lnTo>
                    <a:pt x="681" y="281"/>
                  </a:lnTo>
                  <a:lnTo>
                    <a:pt x="681" y="333"/>
                  </a:lnTo>
                  <a:lnTo>
                    <a:pt x="378" y="99"/>
                  </a:lnTo>
                  <a:lnTo>
                    <a:pt x="750" y="458"/>
                  </a:lnTo>
                  <a:lnTo>
                    <a:pt x="1089" y="646"/>
                  </a:lnTo>
                  <a:lnTo>
                    <a:pt x="1064" y="670"/>
                  </a:lnTo>
                  <a:lnTo>
                    <a:pt x="1044" y="699"/>
                  </a:lnTo>
                  <a:lnTo>
                    <a:pt x="1028" y="729"/>
                  </a:lnTo>
                  <a:lnTo>
                    <a:pt x="1018" y="762"/>
                  </a:lnTo>
                  <a:lnTo>
                    <a:pt x="1012" y="795"/>
                  </a:lnTo>
                  <a:lnTo>
                    <a:pt x="1012" y="830"/>
                  </a:lnTo>
                  <a:lnTo>
                    <a:pt x="1018" y="865"/>
                  </a:lnTo>
                  <a:lnTo>
                    <a:pt x="1029" y="900"/>
                  </a:lnTo>
                  <a:lnTo>
                    <a:pt x="1043" y="925"/>
                  </a:lnTo>
                  <a:lnTo>
                    <a:pt x="1059" y="949"/>
                  </a:lnTo>
                  <a:lnTo>
                    <a:pt x="599" y="693"/>
                  </a:lnTo>
                  <a:lnTo>
                    <a:pt x="583" y="682"/>
                  </a:lnTo>
                  <a:lnTo>
                    <a:pt x="570" y="671"/>
                  </a:lnTo>
                  <a:lnTo>
                    <a:pt x="184" y="300"/>
                  </a:lnTo>
                  <a:lnTo>
                    <a:pt x="528" y="714"/>
                  </a:lnTo>
                  <a:lnTo>
                    <a:pt x="532" y="716"/>
                  </a:lnTo>
                  <a:lnTo>
                    <a:pt x="535" y="719"/>
                  </a:lnTo>
                  <a:lnTo>
                    <a:pt x="570" y="744"/>
                  </a:lnTo>
                  <a:lnTo>
                    <a:pt x="681" y="824"/>
                  </a:lnTo>
                  <a:lnTo>
                    <a:pt x="681" y="2460"/>
                  </a:lnTo>
                  <a:lnTo>
                    <a:pt x="679" y="2491"/>
                  </a:lnTo>
                  <a:lnTo>
                    <a:pt x="671" y="2519"/>
                  </a:lnTo>
                  <a:lnTo>
                    <a:pt x="659" y="2544"/>
                  </a:lnTo>
                  <a:lnTo>
                    <a:pt x="641" y="2568"/>
                  </a:lnTo>
                  <a:lnTo>
                    <a:pt x="622" y="2588"/>
                  </a:lnTo>
                  <a:lnTo>
                    <a:pt x="599" y="2604"/>
                  </a:lnTo>
                  <a:lnTo>
                    <a:pt x="572" y="2617"/>
                  </a:lnTo>
                  <a:lnTo>
                    <a:pt x="544" y="2625"/>
                  </a:lnTo>
                  <a:lnTo>
                    <a:pt x="514" y="2628"/>
                  </a:lnTo>
                  <a:lnTo>
                    <a:pt x="486" y="2625"/>
                  </a:lnTo>
                  <a:lnTo>
                    <a:pt x="459" y="2619"/>
                  </a:lnTo>
                  <a:lnTo>
                    <a:pt x="435" y="2608"/>
                  </a:lnTo>
                  <a:lnTo>
                    <a:pt x="412" y="2592"/>
                  </a:lnTo>
                  <a:lnTo>
                    <a:pt x="428" y="2562"/>
                  </a:lnTo>
                  <a:lnTo>
                    <a:pt x="438" y="2530"/>
                  </a:lnTo>
                  <a:lnTo>
                    <a:pt x="445" y="2496"/>
                  </a:lnTo>
                  <a:lnTo>
                    <a:pt x="448" y="2460"/>
                  </a:lnTo>
                  <a:lnTo>
                    <a:pt x="448" y="1463"/>
                  </a:lnTo>
                  <a:lnTo>
                    <a:pt x="336" y="1463"/>
                  </a:lnTo>
                  <a:lnTo>
                    <a:pt x="336" y="2460"/>
                  </a:lnTo>
                  <a:lnTo>
                    <a:pt x="333" y="2491"/>
                  </a:lnTo>
                  <a:lnTo>
                    <a:pt x="326" y="2519"/>
                  </a:lnTo>
                  <a:lnTo>
                    <a:pt x="313" y="2544"/>
                  </a:lnTo>
                  <a:lnTo>
                    <a:pt x="296" y="2568"/>
                  </a:lnTo>
                  <a:lnTo>
                    <a:pt x="276" y="2588"/>
                  </a:lnTo>
                  <a:lnTo>
                    <a:pt x="253" y="2604"/>
                  </a:lnTo>
                  <a:lnTo>
                    <a:pt x="227" y="2617"/>
                  </a:lnTo>
                  <a:lnTo>
                    <a:pt x="199" y="2625"/>
                  </a:lnTo>
                  <a:lnTo>
                    <a:pt x="168" y="2628"/>
                  </a:lnTo>
                  <a:lnTo>
                    <a:pt x="138" y="2625"/>
                  </a:lnTo>
                  <a:lnTo>
                    <a:pt x="110" y="2617"/>
                  </a:lnTo>
                  <a:lnTo>
                    <a:pt x="83" y="2604"/>
                  </a:lnTo>
                  <a:lnTo>
                    <a:pt x="60" y="2588"/>
                  </a:lnTo>
                  <a:lnTo>
                    <a:pt x="41" y="2568"/>
                  </a:lnTo>
                  <a:lnTo>
                    <a:pt x="23" y="2544"/>
                  </a:lnTo>
                  <a:lnTo>
                    <a:pt x="11" y="2519"/>
                  </a:lnTo>
                  <a:lnTo>
                    <a:pt x="4" y="2491"/>
                  </a:lnTo>
                  <a:lnTo>
                    <a:pt x="1" y="2460"/>
                  </a:lnTo>
                  <a:lnTo>
                    <a:pt x="1" y="2456"/>
                  </a:lnTo>
                  <a:lnTo>
                    <a:pt x="1" y="2445"/>
                  </a:lnTo>
                  <a:lnTo>
                    <a:pt x="1" y="2425"/>
                  </a:lnTo>
                  <a:lnTo>
                    <a:pt x="1" y="2399"/>
                  </a:lnTo>
                  <a:lnTo>
                    <a:pt x="1" y="2367"/>
                  </a:lnTo>
                  <a:lnTo>
                    <a:pt x="1" y="2328"/>
                  </a:lnTo>
                  <a:lnTo>
                    <a:pt x="1" y="2282"/>
                  </a:lnTo>
                  <a:lnTo>
                    <a:pt x="1" y="2232"/>
                  </a:lnTo>
                  <a:lnTo>
                    <a:pt x="1" y="2176"/>
                  </a:lnTo>
                  <a:lnTo>
                    <a:pt x="1" y="2115"/>
                  </a:lnTo>
                  <a:lnTo>
                    <a:pt x="1" y="2050"/>
                  </a:lnTo>
                  <a:lnTo>
                    <a:pt x="0" y="1981"/>
                  </a:lnTo>
                  <a:lnTo>
                    <a:pt x="0" y="1908"/>
                  </a:lnTo>
                  <a:lnTo>
                    <a:pt x="0" y="1832"/>
                  </a:lnTo>
                  <a:lnTo>
                    <a:pt x="0" y="1752"/>
                  </a:lnTo>
                  <a:lnTo>
                    <a:pt x="0" y="1670"/>
                  </a:lnTo>
                  <a:lnTo>
                    <a:pt x="0" y="1585"/>
                  </a:lnTo>
                  <a:lnTo>
                    <a:pt x="0" y="1498"/>
                  </a:lnTo>
                  <a:lnTo>
                    <a:pt x="0" y="1411"/>
                  </a:lnTo>
                  <a:lnTo>
                    <a:pt x="0" y="1321"/>
                  </a:lnTo>
                  <a:lnTo>
                    <a:pt x="0" y="1231"/>
                  </a:lnTo>
                  <a:lnTo>
                    <a:pt x="0" y="1140"/>
                  </a:lnTo>
                  <a:lnTo>
                    <a:pt x="0" y="1049"/>
                  </a:lnTo>
                  <a:lnTo>
                    <a:pt x="0" y="957"/>
                  </a:lnTo>
                  <a:lnTo>
                    <a:pt x="0" y="867"/>
                  </a:lnTo>
                  <a:lnTo>
                    <a:pt x="0" y="778"/>
                  </a:lnTo>
                  <a:lnTo>
                    <a:pt x="0" y="690"/>
                  </a:lnTo>
                  <a:lnTo>
                    <a:pt x="0" y="603"/>
                  </a:lnTo>
                  <a:lnTo>
                    <a:pt x="0" y="519"/>
                  </a:lnTo>
                  <a:lnTo>
                    <a:pt x="0" y="436"/>
                  </a:lnTo>
                  <a:lnTo>
                    <a:pt x="0" y="357"/>
                  </a:lnTo>
                  <a:lnTo>
                    <a:pt x="0" y="281"/>
                  </a:lnTo>
                  <a:lnTo>
                    <a:pt x="3" y="239"/>
                  </a:lnTo>
                  <a:lnTo>
                    <a:pt x="11" y="199"/>
                  </a:lnTo>
                  <a:lnTo>
                    <a:pt x="25" y="162"/>
                  </a:lnTo>
                  <a:lnTo>
                    <a:pt x="45" y="127"/>
                  </a:lnTo>
                  <a:lnTo>
                    <a:pt x="68" y="97"/>
                  </a:lnTo>
                  <a:lnTo>
                    <a:pt x="97" y="68"/>
                  </a:lnTo>
                  <a:lnTo>
                    <a:pt x="127" y="45"/>
                  </a:lnTo>
                  <a:lnTo>
                    <a:pt x="162" y="25"/>
                  </a:lnTo>
                  <a:lnTo>
                    <a:pt x="200" y="11"/>
                  </a:lnTo>
                  <a:lnTo>
                    <a:pt x="239" y="3"/>
                  </a:lnTo>
                  <a:lnTo>
                    <a:pt x="2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609747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203227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4" name="think-cell Slide" r:id="rId4" imgW="381" imgH="318" progId="TCLayout.ActiveDocument.1">
                  <p:embed/>
                </p:oleObj>
              </mc:Choice>
              <mc:Fallback>
                <p:oleObj name="think-cell Slide" r:id="rId4" imgW="381" imgH="31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Picture 1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1" t="31816" r="351" b="16939"/>
          <a:stretch>
            <a:fillRect/>
          </a:stretch>
        </p:blipFill>
        <p:spPr>
          <a:xfrm>
            <a:off x="0" y="1447800"/>
            <a:ext cx="12192000" cy="4724401"/>
          </a:xfrm>
          <a:custGeom>
            <a:avLst/>
            <a:gdLst>
              <a:gd name="connsiteX0" fmla="*/ 0 w 12192000"/>
              <a:gd name="connsiteY0" fmla="*/ 0 h 4724401"/>
              <a:gd name="connsiteX1" fmla="*/ 12192000 w 12192000"/>
              <a:gd name="connsiteY1" fmla="*/ 0 h 4724401"/>
              <a:gd name="connsiteX2" fmla="*/ 12192000 w 12192000"/>
              <a:gd name="connsiteY2" fmla="*/ 4724401 h 4724401"/>
              <a:gd name="connsiteX3" fmla="*/ 0 w 12192000"/>
              <a:gd name="connsiteY3" fmla="*/ 4724401 h 4724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4724401">
                <a:moveTo>
                  <a:pt x="0" y="0"/>
                </a:moveTo>
                <a:lnTo>
                  <a:pt x="12192000" y="0"/>
                </a:lnTo>
                <a:lnTo>
                  <a:pt x="12192000" y="4724401"/>
                </a:lnTo>
                <a:lnTo>
                  <a:pt x="0" y="4724401"/>
                </a:lnTo>
                <a:close/>
              </a:path>
            </a:pathLst>
          </a:custGeom>
        </p:spPr>
      </p:pic>
      <p:sp>
        <p:nvSpPr>
          <p:cNvPr id="15" name="Rectangle 14"/>
          <p:cNvSpPr/>
          <p:nvPr/>
        </p:nvSpPr>
        <p:spPr>
          <a:xfrm>
            <a:off x="0" y="1447799"/>
            <a:ext cx="12192000" cy="4724401"/>
          </a:xfrm>
          <a:prstGeom prst="rect">
            <a:avLst/>
          </a:prstGeom>
          <a:solidFill>
            <a:schemeClr val="tx1">
              <a:alpha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Freeform 6"/>
          <p:cNvSpPr/>
          <p:nvPr/>
        </p:nvSpPr>
        <p:spPr>
          <a:xfrm>
            <a:off x="1" y="1440829"/>
            <a:ext cx="1641419" cy="4731371"/>
          </a:xfrm>
          <a:custGeom>
            <a:avLst/>
            <a:gdLst>
              <a:gd name="connsiteX0" fmla="*/ 0 w 1641419"/>
              <a:gd name="connsiteY0" fmla="*/ 0 h 5552580"/>
              <a:gd name="connsiteX1" fmla="*/ 244137 w 1641419"/>
              <a:gd name="connsiteY1" fmla="*/ 148317 h 5552580"/>
              <a:gd name="connsiteX2" fmla="*/ 1641419 w 1641419"/>
              <a:gd name="connsiteY2" fmla="*/ 2776290 h 5552580"/>
              <a:gd name="connsiteX3" fmla="*/ 244137 w 1641419"/>
              <a:gd name="connsiteY3" fmla="*/ 5404264 h 5552580"/>
              <a:gd name="connsiteX4" fmla="*/ 0 w 1641419"/>
              <a:gd name="connsiteY4" fmla="*/ 5552580 h 5552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641419" h="5552580">
                <a:moveTo>
                  <a:pt x="0" y="0"/>
                </a:moveTo>
                <a:lnTo>
                  <a:pt x="244137" y="148317"/>
                </a:lnTo>
                <a:cubicBezTo>
                  <a:pt x="1087157" y="717850"/>
                  <a:pt x="1641419" y="1682343"/>
                  <a:pt x="1641419" y="2776290"/>
                </a:cubicBezTo>
                <a:cubicBezTo>
                  <a:pt x="1641419" y="3870238"/>
                  <a:pt x="1087157" y="4834731"/>
                  <a:pt x="244137" y="5404264"/>
                </a:cubicBezTo>
                <a:lnTo>
                  <a:pt x="0" y="5552580"/>
                </a:lnTo>
                <a:close/>
              </a:path>
            </a:pathLst>
          </a:custGeom>
          <a:solidFill>
            <a:schemeClr val="bg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550545" y="1859040"/>
            <a:ext cx="3813810" cy="3813810"/>
          </a:xfrm>
          <a:prstGeom prst="ellipse">
            <a:avLst/>
          </a:prstGeom>
          <a:solidFill>
            <a:srgbClr val="00569B">
              <a:alpha val="50000"/>
            </a:srgbClr>
          </a:solidFill>
          <a:ln>
            <a:solidFill>
              <a:srgbClr val="26867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569B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72001" y="2642561"/>
            <a:ext cx="70104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</a:rPr>
              <a:t>Marriage is a joint effort in which each party contributes his or her financial resources and personal efforts.  It also provides a premise for distributing property should the partners terminate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TRODUC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3</a:t>
            </a:fld>
            <a:endParaRPr lang="en-US"/>
          </a:p>
        </p:txBody>
      </p:sp>
      <p:grpSp>
        <p:nvGrpSpPr>
          <p:cNvPr id="5" name="Group 25"/>
          <p:cNvGrpSpPr>
            <a:grpSpLocks noChangeAspect="1"/>
          </p:cNvGrpSpPr>
          <p:nvPr/>
        </p:nvGrpSpPr>
        <p:grpSpPr bwMode="auto">
          <a:xfrm>
            <a:off x="1090136" y="2502933"/>
            <a:ext cx="2734628" cy="2526823"/>
            <a:chOff x="765" y="1649"/>
            <a:chExt cx="1566" cy="1447"/>
          </a:xfrm>
          <a:solidFill>
            <a:schemeClr val="bg1">
              <a:alpha val="10000"/>
            </a:schemeClr>
          </a:solidFill>
        </p:grpSpPr>
        <p:sp>
          <p:nvSpPr>
            <p:cNvPr id="13" name="Rectangle 27"/>
            <p:cNvSpPr>
              <a:spLocks noChangeArrowheads="1"/>
            </p:cNvSpPr>
            <p:nvPr/>
          </p:nvSpPr>
          <p:spPr bwMode="auto">
            <a:xfrm>
              <a:off x="857" y="2148"/>
              <a:ext cx="69" cy="16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Rectangle 28"/>
            <p:cNvSpPr>
              <a:spLocks noChangeArrowheads="1"/>
            </p:cNvSpPr>
            <p:nvPr/>
          </p:nvSpPr>
          <p:spPr bwMode="auto">
            <a:xfrm>
              <a:off x="857" y="2438"/>
              <a:ext cx="69" cy="161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29"/>
            <p:cNvSpPr>
              <a:spLocks/>
            </p:cNvSpPr>
            <p:nvPr/>
          </p:nvSpPr>
          <p:spPr bwMode="auto">
            <a:xfrm>
              <a:off x="857" y="1649"/>
              <a:ext cx="1216" cy="613"/>
            </a:xfrm>
            <a:custGeom>
              <a:avLst/>
              <a:gdLst>
                <a:gd name="T0" fmla="*/ 3648 w 3648"/>
                <a:gd name="T1" fmla="*/ 1256 h 1839"/>
                <a:gd name="T2" fmla="*/ 3648 w 3648"/>
                <a:gd name="T3" fmla="*/ 1633 h 1839"/>
                <a:gd name="T4" fmla="*/ 3439 w 3648"/>
                <a:gd name="T5" fmla="*/ 1839 h 1839"/>
                <a:gd name="T6" fmla="*/ 3439 w 3648"/>
                <a:gd name="T7" fmla="*/ 382 h 1839"/>
                <a:gd name="T8" fmla="*/ 3435 w 3648"/>
                <a:gd name="T9" fmla="*/ 347 h 1839"/>
                <a:gd name="T10" fmla="*/ 3425 w 3648"/>
                <a:gd name="T11" fmla="*/ 314 h 1839"/>
                <a:gd name="T12" fmla="*/ 3409 w 3648"/>
                <a:gd name="T13" fmla="*/ 285 h 1839"/>
                <a:gd name="T14" fmla="*/ 3388 w 3648"/>
                <a:gd name="T15" fmla="*/ 260 h 1839"/>
                <a:gd name="T16" fmla="*/ 3362 w 3648"/>
                <a:gd name="T17" fmla="*/ 238 h 1839"/>
                <a:gd name="T18" fmla="*/ 3332 w 3648"/>
                <a:gd name="T19" fmla="*/ 221 h 1839"/>
                <a:gd name="T20" fmla="*/ 3299 w 3648"/>
                <a:gd name="T21" fmla="*/ 211 h 1839"/>
                <a:gd name="T22" fmla="*/ 3265 w 3648"/>
                <a:gd name="T23" fmla="*/ 208 h 1839"/>
                <a:gd name="T24" fmla="*/ 381 w 3648"/>
                <a:gd name="T25" fmla="*/ 208 h 1839"/>
                <a:gd name="T26" fmla="*/ 346 w 3648"/>
                <a:gd name="T27" fmla="*/ 211 h 1839"/>
                <a:gd name="T28" fmla="*/ 314 w 3648"/>
                <a:gd name="T29" fmla="*/ 221 h 1839"/>
                <a:gd name="T30" fmla="*/ 284 w 3648"/>
                <a:gd name="T31" fmla="*/ 238 h 1839"/>
                <a:gd name="T32" fmla="*/ 258 w 3648"/>
                <a:gd name="T33" fmla="*/ 260 h 1839"/>
                <a:gd name="T34" fmla="*/ 237 w 3648"/>
                <a:gd name="T35" fmla="*/ 285 h 1839"/>
                <a:gd name="T36" fmla="*/ 221 w 3648"/>
                <a:gd name="T37" fmla="*/ 314 h 1839"/>
                <a:gd name="T38" fmla="*/ 211 w 3648"/>
                <a:gd name="T39" fmla="*/ 347 h 1839"/>
                <a:gd name="T40" fmla="*/ 207 w 3648"/>
                <a:gd name="T41" fmla="*/ 382 h 1839"/>
                <a:gd name="T42" fmla="*/ 207 w 3648"/>
                <a:gd name="T43" fmla="*/ 1109 h 1839"/>
                <a:gd name="T44" fmla="*/ 0 w 3648"/>
                <a:gd name="T45" fmla="*/ 1109 h 1839"/>
                <a:gd name="T46" fmla="*/ 0 w 3648"/>
                <a:gd name="T47" fmla="*/ 382 h 1839"/>
                <a:gd name="T48" fmla="*/ 4 w 3648"/>
                <a:gd name="T49" fmla="*/ 325 h 1839"/>
                <a:gd name="T50" fmla="*/ 15 w 3648"/>
                <a:gd name="T51" fmla="*/ 273 h 1839"/>
                <a:gd name="T52" fmla="*/ 35 w 3648"/>
                <a:gd name="T53" fmla="*/ 221 h 1839"/>
                <a:gd name="T54" fmla="*/ 61 w 3648"/>
                <a:gd name="T55" fmla="*/ 174 h 1839"/>
                <a:gd name="T56" fmla="*/ 92 w 3648"/>
                <a:gd name="T57" fmla="*/ 131 h 1839"/>
                <a:gd name="T58" fmla="*/ 131 w 3648"/>
                <a:gd name="T59" fmla="*/ 94 h 1839"/>
                <a:gd name="T60" fmla="*/ 174 w 3648"/>
                <a:gd name="T61" fmla="*/ 61 h 1839"/>
                <a:gd name="T62" fmla="*/ 219 w 3648"/>
                <a:gd name="T63" fmla="*/ 36 h 1839"/>
                <a:gd name="T64" fmla="*/ 271 w 3648"/>
                <a:gd name="T65" fmla="*/ 17 h 1839"/>
                <a:gd name="T66" fmla="*/ 325 w 3648"/>
                <a:gd name="T67" fmla="*/ 4 h 1839"/>
                <a:gd name="T68" fmla="*/ 381 w 3648"/>
                <a:gd name="T69" fmla="*/ 0 h 1839"/>
                <a:gd name="T70" fmla="*/ 3265 w 3648"/>
                <a:gd name="T71" fmla="*/ 0 h 1839"/>
                <a:gd name="T72" fmla="*/ 3321 w 3648"/>
                <a:gd name="T73" fmla="*/ 4 h 1839"/>
                <a:gd name="T74" fmla="*/ 3375 w 3648"/>
                <a:gd name="T75" fmla="*/ 17 h 1839"/>
                <a:gd name="T76" fmla="*/ 3425 w 3648"/>
                <a:gd name="T77" fmla="*/ 36 h 1839"/>
                <a:gd name="T78" fmla="*/ 3472 w 3648"/>
                <a:gd name="T79" fmla="*/ 61 h 1839"/>
                <a:gd name="T80" fmla="*/ 3515 w 3648"/>
                <a:gd name="T81" fmla="*/ 94 h 1839"/>
                <a:gd name="T82" fmla="*/ 3552 w 3648"/>
                <a:gd name="T83" fmla="*/ 131 h 1839"/>
                <a:gd name="T84" fmla="*/ 3585 w 3648"/>
                <a:gd name="T85" fmla="*/ 174 h 1839"/>
                <a:gd name="T86" fmla="*/ 3611 w 3648"/>
                <a:gd name="T87" fmla="*/ 221 h 1839"/>
                <a:gd name="T88" fmla="*/ 3631 w 3648"/>
                <a:gd name="T89" fmla="*/ 273 h 1839"/>
                <a:gd name="T90" fmla="*/ 3642 w 3648"/>
                <a:gd name="T91" fmla="*/ 325 h 1839"/>
                <a:gd name="T92" fmla="*/ 3646 w 3648"/>
                <a:gd name="T93" fmla="*/ 382 h 1839"/>
                <a:gd name="T94" fmla="*/ 3646 w 3648"/>
                <a:gd name="T95" fmla="*/ 1256 h 1839"/>
                <a:gd name="T96" fmla="*/ 3648 w 3648"/>
                <a:gd name="T97" fmla="*/ 1256 h 1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48" h="1839">
                  <a:moveTo>
                    <a:pt x="3648" y="1256"/>
                  </a:moveTo>
                  <a:lnTo>
                    <a:pt x="3648" y="1633"/>
                  </a:lnTo>
                  <a:lnTo>
                    <a:pt x="3439" y="1839"/>
                  </a:lnTo>
                  <a:lnTo>
                    <a:pt x="3439" y="382"/>
                  </a:lnTo>
                  <a:lnTo>
                    <a:pt x="3435" y="347"/>
                  </a:lnTo>
                  <a:lnTo>
                    <a:pt x="3425" y="314"/>
                  </a:lnTo>
                  <a:lnTo>
                    <a:pt x="3409" y="285"/>
                  </a:lnTo>
                  <a:lnTo>
                    <a:pt x="3388" y="260"/>
                  </a:lnTo>
                  <a:lnTo>
                    <a:pt x="3362" y="238"/>
                  </a:lnTo>
                  <a:lnTo>
                    <a:pt x="3332" y="221"/>
                  </a:lnTo>
                  <a:lnTo>
                    <a:pt x="3299" y="211"/>
                  </a:lnTo>
                  <a:lnTo>
                    <a:pt x="3265" y="208"/>
                  </a:lnTo>
                  <a:lnTo>
                    <a:pt x="381" y="208"/>
                  </a:lnTo>
                  <a:lnTo>
                    <a:pt x="346" y="211"/>
                  </a:lnTo>
                  <a:lnTo>
                    <a:pt x="314" y="221"/>
                  </a:lnTo>
                  <a:lnTo>
                    <a:pt x="284" y="238"/>
                  </a:lnTo>
                  <a:lnTo>
                    <a:pt x="258" y="260"/>
                  </a:lnTo>
                  <a:lnTo>
                    <a:pt x="237" y="285"/>
                  </a:lnTo>
                  <a:lnTo>
                    <a:pt x="221" y="314"/>
                  </a:lnTo>
                  <a:lnTo>
                    <a:pt x="211" y="347"/>
                  </a:lnTo>
                  <a:lnTo>
                    <a:pt x="207" y="382"/>
                  </a:lnTo>
                  <a:lnTo>
                    <a:pt x="207" y="1109"/>
                  </a:lnTo>
                  <a:lnTo>
                    <a:pt x="0" y="1109"/>
                  </a:lnTo>
                  <a:lnTo>
                    <a:pt x="0" y="382"/>
                  </a:lnTo>
                  <a:lnTo>
                    <a:pt x="4" y="325"/>
                  </a:lnTo>
                  <a:lnTo>
                    <a:pt x="15" y="273"/>
                  </a:lnTo>
                  <a:lnTo>
                    <a:pt x="35" y="221"/>
                  </a:lnTo>
                  <a:lnTo>
                    <a:pt x="61" y="174"/>
                  </a:lnTo>
                  <a:lnTo>
                    <a:pt x="92" y="131"/>
                  </a:lnTo>
                  <a:lnTo>
                    <a:pt x="131" y="94"/>
                  </a:lnTo>
                  <a:lnTo>
                    <a:pt x="174" y="61"/>
                  </a:lnTo>
                  <a:lnTo>
                    <a:pt x="219" y="36"/>
                  </a:lnTo>
                  <a:lnTo>
                    <a:pt x="271" y="17"/>
                  </a:lnTo>
                  <a:lnTo>
                    <a:pt x="325" y="4"/>
                  </a:lnTo>
                  <a:lnTo>
                    <a:pt x="381" y="0"/>
                  </a:lnTo>
                  <a:lnTo>
                    <a:pt x="3265" y="0"/>
                  </a:lnTo>
                  <a:lnTo>
                    <a:pt x="3321" y="4"/>
                  </a:lnTo>
                  <a:lnTo>
                    <a:pt x="3375" y="17"/>
                  </a:lnTo>
                  <a:lnTo>
                    <a:pt x="3425" y="36"/>
                  </a:lnTo>
                  <a:lnTo>
                    <a:pt x="3472" y="61"/>
                  </a:lnTo>
                  <a:lnTo>
                    <a:pt x="3515" y="94"/>
                  </a:lnTo>
                  <a:lnTo>
                    <a:pt x="3552" y="131"/>
                  </a:lnTo>
                  <a:lnTo>
                    <a:pt x="3585" y="174"/>
                  </a:lnTo>
                  <a:lnTo>
                    <a:pt x="3611" y="221"/>
                  </a:lnTo>
                  <a:lnTo>
                    <a:pt x="3631" y="273"/>
                  </a:lnTo>
                  <a:lnTo>
                    <a:pt x="3642" y="325"/>
                  </a:lnTo>
                  <a:lnTo>
                    <a:pt x="3646" y="382"/>
                  </a:lnTo>
                  <a:lnTo>
                    <a:pt x="3646" y="1256"/>
                  </a:lnTo>
                  <a:lnTo>
                    <a:pt x="3648" y="125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30"/>
            <p:cNvSpPr>
              <a:spLocks/>
            </p:cNvSpPr>
            <p:nvPr/>
          </p:nvSpPr>
          <p:spPr bwMode="auto">
            <a:xfrm>
              <a:off x="857" y="2672"/>
              <a:ext cx="1216" cy="424"/>
            </a:xfrm>
            <a:custGeom>
              <a:avLst/>
              <a:gdLst>
                <a:gd name="T0" fmla="*/ 3536 w 3648"/>
                <a:gd name="T1" fmla="*/ 71 h 1271"/>
                <a:gd name="T2" fmla="*/ 3572 w 3648"/>
                <a:gd name="T3" fmla="*/ 88 h 1271"/>
                <a:gd name="T4" fmla="*/ 3609 w 3648"/>
                <a:gd name="T5" fmla="*/ 98 h 1271"/>
                <a:gd name="T6" fmla="*/ 3648 w 3648"/>
                <a:gd name="T7" fmla="*/ 104 h 1271"/>
                <a:gd name="T8" fmla="*/ 3648 w 3648"/>
                <a:gd name="T9" fmla="*/ 889 h 1271"/>
                <a:gd name="T10" fmla="*/ 3643 w 3648"/>
                <a:gd name="T11" fmla="*/ 946 h 1271"/>
                <a:gd name="T12" fmla="*/ 3631 w 3648"/>
                <a:gd name="T13" fmla="*/ 998 h 1271"/>
                <a:gd name="T14" fmla="*/ 3612 w 3648"/>
                <a:gd name="T15" fmla="*/ 1050 h 1271"/>
                <a:gd name="T16" fmla="*/ 3585 w 3648"/>
                <a:gd name="T17" fmla="*/ 1097 h 1271"/>
                <a:gd name="T18" fmla="*/ 3554 w 3648"/>
                <a:gd name="T19" fmla="*/ 1138 h 1271"/>
                <a:gd name="T20" fmla="*/ 3515 w 3648"/>
                <a:gd name="T21" fmla="*/ 1177 h 1271"/>
                <a:gd name="T22" fmla="*/ 3472 w 3648"/>
                <a:gd name="T23" fmla="*/ 1208 h 1271"/>
                <a:gd name="T24" fmla="*/ 3425 w 3648"/>
                <a:gd name="T25" fmla="*/ 1235 h 1271"/>
                <a:gd name="T26" fmla="*/ 3375 w 3648"/>
                <a:gd name="T27" fmla="*/ 1254 h 1271"/>
                <a:gd name="T28" fmla="*/ 3321 w 3648"/>
                <a:gd name="T29" fmla="*/ 1267 h 1271"/>
                <a:gd name="T30" fmla="*/ 3265 w 3648"/>
                <a:gd name="T31" fmla="*/ 1271 h 1271"/>
                <a:gd name="T32" fmla="*/ 381 w 3648"/>
                <a:gd name="T33" fmla="*/ 1271 h 1271"/>
                <a:gd name="T34" fmla="*/ 325 w 3648"/>
                <a:gd name="T35" fmla="*/ 1267 h 1271"/>
                <a:gd name="T36" fmla="*/ 271 w 3648"/>
                <a:gd name="T37" fmla="*/ 1254 h 1271"/>
                <a:gd name="T38" fmla="*/ 219 w 3648"/>
                <a:gd name="T39" fmla="*/ 1235 h 1271"/>
                <a:gd name="T40" fmla="*/ 174 w 3648"/>
                <a:gd name="T41" fmla="*/ 1208 h 1271"/>
                <a:gd name="T42" fmla="*/ 131 w 3648"/>
                <a:gd name="T43" fmla="*/ 1177 h 1271"/>
                <a:gd name="T44" fmla="*/ 92 w 3648"/>
                <a:gd name="T45" fmla="*/ 1138 h 1271"/>
                <a:gd name="T46" fmla="*/ 61 w 3648"/>
                <a:gd name="T47" fmla="*/ 1097 h 1271"/>
                <a:gd name="T48" fmla="*/ 35 w 3648"/>
                <a:gd name="T49" fmla="*/ 1050 h 1271"/>
                <a:gd name="T50" fmla="*/ 15 w 3648"/>
                <a:gd name="T51" fmla="*/ 998 h 1271"/>
                <a:gd name="T52" fmla="*/ 4 w 3648"/>
                <a:gd name="T53" fmla="*/ 946 h 1271"/>
                <a:gd name="T54" fmla="*/ 0 w 3648"/>
                <a:gd name="T55" fmla="*/ 889 h 1271"/>
                <a:gd name="T56" fmla="*/ 0 w 3648"/>
                <a:gd name="T57" fmla="*/ 164 h 1271"/>
                <a:gd name="T58" fmla="*/ 207 w 3648"/>
                <a:gd name="T59" fmla="*/ 164 h 1271"/>
                <a:gd name="T60" fmla="*/ 207 w 3648"/>
                <a:gd name="T61" fmla="*/ 889 h 1271"/>
                <a:gd name="T62" fmla="*/ 211 w 3648"/>
                <a:gd name="T63" fmla="*/ 924 h 1271"/>
                <a:gd name="T64" fmla="*/ 221 w 3648"/>
                <a:gd name="T65" fmla="*/ 957 h 1271"/>
                <a:gd name="T66" fmla="*/ 237 w 3648"/>
                <a:gd name="T67" fmla="*/ 986 h 1271"/>
                <a:gd name="T68" fmla="*/ 258 w 3648"/>
                <a:gd name="T69" fmla="*/ 1011 h 1271"/>
                <a:gd name="T70" fmla="*/ 284 w 3648"/>
                <a:gd name="T71" fmla="*/ 1033 h 1271"/>
                <a:gd name="T72" fmla="*/ 314 w 3648"/>
                <a:gd name="T73" fmla="*/ 1050 h 1271"/>
                <a:gd name="T74" fmla="*/ 346 w 3648"/>
                <a:gd name="T75" fmla="*/ 1060 h 1271"/>
                <a:gd name="T76" fmla="*/ 381 w 3648"/>
                <a:gd name="T77" fmla="*/ 1063 h 1271"/>
                <a:gd name="T78" fmla="*/ 3265 w 3648"/>
                <a:gd name="T79" fmla="*/ 1063 h 1271"/>
                <a:gd name="T80" fmla="*/ 3299 w 3648"/>
                <a:gd name="T81" fmla="*/ 1060 h 1271"/>
                <a:gd name="T82" fmla="*/ 3332 w 3648"/>
                <a:gd name="T83" fmla="*/ 1050 h 1271"/>
                <a:gd name="T84" fmla="*/ 3362 w 3648"/>
                <a:gd name="T85" fmla="*/ 1033 h 1271"/>
                <a:gd name="T86" fmla="*/ 3388 w 3648"/>
                <a:gd name="T87" fmla="*/ 1011 h 1271"/>
                <a:gd name="T88" fmla="*/ 3409 w 3648"/>
                <a:gd name="T89" fmla="*/ 986 h 1271"/>
                <a:gd name="T90" fmla="*/ 3425 w 3648"/>
                <a:gd name="T91" fmla="*/ 957 h 1271"/>
                <a:gd name="T92" fmla="*/ 3436 w 3648"/>
                <a:gd name="T93" fmla="*/ 924 h 1271"/>
                <a:gd name="T94" fmla="*/ 3439 w 3648"/>
                <a:gd name="T95" fmla="*/ 889 h 1271"/>
                <a:gd name="T96" fmla="*/ 3439 w 3648"/>
                <a:gd name="T97" fmla="*/ 241 h 1271"/>
                <a:gd name="T98" fmla="*/ 3439 w 3648"/>
                <a:gd name="T99" fmla="*/ 241 h 1271"/>
                <a:gd name="T100" fmla="*/ 3439 w 3648"/>
                <a:gd name="T101" fmla="*/ 12 h 1271"/>
                <a:gd name="T102" fmla="*/ 3452 w 3648"/>
                <a:gd name="T103" fmla="*/ 0 h 1271"/>
                <a:gd name="T104" fmla="*/ 3476 w 3648"/>
                <a:gd name="T105" fmla="*/ 27 h 1271"/>
                <a:gd name="T106" fmla="*/ 3505 w 3648"/>
                <a:gd name="T107" fmla="*/ 51 h 1271"/>
                <a:gd name="T108" fmla="*/ 3536 w 3648"/>
                <a:gd name="T109" fmla="*/ 71 h 1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648" h="1271">
                  <a:moveTo>
                    <a:pt x="3536" y="71"/>
                  </a:moveTo>
                  <a:lnTo>
                    <a:pt x="3572" y="88"/>
                  </a:lnTo>
                  <a:lnTo>
                    <a:pt x="3609" y="98"/>
                  </a:lnTo>
                  <a:lnTo>
                    <a:pt x="3648" y="104"/>
                  </a:lnTo>
                  <a:lnTo>
                    <a:pt x="3648" y="889"/>
                  </a:lnTo>
                  <a:lnTo>
                    <a:pt x="3643" y="946"/>
                  </a:lnTo>
                  <a:lnTo>
                    <a:pt x="3631" y="998"/>
                  </a:lnTo>
                  <a:lnTo>
                    <a:pt x="3612" y="1050"/>
                  </a:lnTo>
                  <a:lnTo>
                    <a:pt x="3585" y="1097"/>
                  </a:lnTo>
                  <a:lnTo>
                    <a:pt x="3554" y="1138"/>
                  </a:lnTo>
                  <a:lnTo>
                    <a:pt x="3515" y="1177"/>
                  </a:lnTo>
                  <a:lnTo>
                    <a:pt x="3472" y="1208"/>
                  </a:lnTo>
                  <a:lnTo>
                    <a:pt x="3425" y="1235"/>
                  </a:lnTo>
                  <a:lnTo>
                    <a:pt x="3375" y="1254"/>
                  </a:lnTo>
                  <a:lnTo>
                    <a:pt x="3321" y="1267"/>
                  </a:lnTo>
                  <a:lnTo>
                    <a:pt x="3265" y="1271"/>
                  </a:lnTo>
                  <a:lnTo>
                    <a:pt x="381" y="1271"/>
                  </a:lnTo>
                  <a:lnTo>
                    <a:pt x="325" y="1267"/>
                  </a:lnTo>
                  <a:lnTo>
                    <a:pt x="271" y="1254"/>
                  </a:lnTo>
                  <a:lnTo>
                    <a:pt x="219" y="1235"/>
                  </a:lnTo>
                  <a:lnTo>
                    <a:pt x="174" y="1208"/>
                  </a:lnTo>
                  <a:lnTo>
                    <a:pt x="131" y="1177"/>
                  </a:lnTo>
                  <a:lnTo>
                    <a:pt x="92" y="1138"/>
                  </a:lnTo>
                  <a:lnTo>
                    <a:pt x="61" y="1097"/>
                  </a:lnTo>
                  <a:lnTo>
                    <a:pt x="35" y="1050"/>
                  </a:lnTo>
                  <a:lnTo>
                    <a:pt x="15" y="998"/>
                  </a:lnTo>
                  <a:lnTo>
                    <a:pt x="4" y="946"/>
                  </a:lnTo>
                  <a:lnTo>
                    <a:pt x="0" y="889"/>
                  </a:lnTo>
                  <a:lnTo>
                    <a:pt x="0" y="164"/>
                  </a:lnTo>
                  <a:lnTo>
                    <a:pt x="207" y="164"/>
                  </a:lnTo>
                  <a:lnTo>
                    <a:pt x="207" y="889"/>
                  </a:lnTo>
                  <a:lnTo>
                    <a:pt x="211" y="924"/>
                  </a:lnTo>
                  <a:lnTo>
                    <a:pt x="221" y="957"/>
                  </a:lnTo>
                  <a:lnTo>
                    <a:pt x="237" y="986"/>
                  </a:lnTo>
                  <a:lnTo>
                    <a:pt x="258" y="1011"/>
                  </a:lnTo>
                  <a:lnTo>
                    <a:pt x="284" y="1033"/>
                  </a:lnTo>
                  <a:lnTo>
                    <a:pt x="314" y="1050"/>
                  </a:lnTo>
                  <a:lnTo>
                    <a:pt x="346" y="1060"/>
                  </a:lnTo>
                  <a:lnTo>
                    <a:pt x="381" y="1063"/>
                  </a:lnTo>
                  <a:lnTo>
                    <a:pt x="3265" y="1063"/>
                  </a:lnTo>
                  <a:lnTo>
                    <a:pt x="3299" y="1060"/>
                  </a:lnTo>
                  <a:lnTo>
                    <a:pt x="3332" y="1050"/>
                  </a:lnTo>
                  <a:lnTo>
                    <a:pt x="3362" y="1033"/>
                  </a:lnTo>
                  <a:lnTo>
                    <a:pt x="3388" y="1011"/>
                  </a:lnTo>
                  <a:lnTo>
                    <a:pt x="3409" y="986"/>
                  </a:lnTo>
                  <a:lnTo>
                    <a:pt x="3425" y="957"/>
                  </a:lnTo>
                  <a:lnTo>
                    <a:pt x="3436" y="924"/>
                  </a:lnTo>
                  <a:lnTo>
                    <a:pt x="3439" y="889"/>
                  </a:lnTo>
                  <a:lnTo>
                    <a:pt x="3439" y="241"/>
                  </a:lnTo>
                  <a:lnTo>
                    <a:pt x="3439" y="241"/>
                  </a:lnTo>
                  <a:lnTo>
                    <a:pt x="3439" y="12"/>
                  </a:lnTo>
                  <a:lnTo>
                    <a:pt x="3452" y="0"/>
                  </a:lnTo>
                  <a:lnTo>
                    <a:pt x="3476" y="27"/>
                  </a:lnTo>
                  <a:lnTo>
                    <a:pt x="3505" y="51"/>
                  </a:lnTo>
                  <a:lnTo>
                    <a:pt x="3536" y="7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31"/>
            <p:cNvSpPr>
              <a:spLocks/>
            </p:cNvSpPr>
            <p:nvPr/>
          </p:nvSpPr>
          <p:spPr bwMode="auto">
            <a:xfrm>
              <a:off x="765" y="2604"/>
              <a:ext cx="286" cy="117"/>
            </a:xfrm>
            <a:custGeom>
              <a:avLst/>
              <a:gdLst>
                <a:gd name="T0" fmla="*/ 531 w 859"/>
                <a:gd name="T1" fmla="*/ 86 h 353"/>
                <a:gd name="T2" fmla="*/ 90 w 859"/>
                <a:gd name="T3" fmla="*/ 86 h 353"/>
                <a:gd name="T4" fmla="*/ 67 w 859"/>
                <a:gd name="T5" fmla="*/ 90 h 353"/>
                <a:gd name="T6" fmla="*/ 45 w 859"/>
                <a:gd name="T7" fmla="*/ 98 h 353"/>
                <a:gd name="T8" fmla="*/ 27 w 859"/>
                <a:gd name="T9" fmla="*/ 113 h 353"/>
                <a:gd name="T10" fmla="*/ 13 w 859"/>
                <a:gd name="T11" fmla="*/ 130 h 353"/>
                <a:gd name="T12" fmla="*/ 4 w 859"/>
                <a:gd name="T13" fmla="*/ 153 h 353"/>
                <a:gd name="T14" fmla="*/ 0 w 859"/>
                <a:gd name="T15" fmla="*/ 176 h 353"/>
                <a:gd name="T16" fmla="*/ 4 w 859"/>
                <a:gd name="T17" fmla="*/ 200 h 353"/>
                <a:gd name="T18" fmla="*/ 13 w 859"/>
                <a:gd name="T19" fmla="*/ 221 h 353"/>
                <a:gd name="T20" fmla="*/ 27 w 859"/>
                <a:gd name="T21" fmla="*/ 240 h 353"/>
                <a:gd name="T22" fmla="*/ 45 w 859"/>
                <a:gd name="T23" fmla="*/ 254 h 353"/>
                <a:gd name="T24" fmla="*/ 67 w 859"/>
                <a:gd name="T25" fmla="*/ 263 h 353"/>
                <a:gd name="T26" fmla="*/ 90 w 859"/>
                <a:gd name="T27" fmla="*/ 265 h 353"/>
                <a:gd name="T28" fmla="*/ 531 w 859"/>
                <a:gd name="T29" fmla="*/ 265 h 353"/>
                <a:gd name="T30" fmla="*/ 552 w 859"/>
                <a:gd name="T31" fmla="*/ 294 h 353"/>
                <a:gd name="T32" fmla="*/ 579 w 859"/>
                <a:gd name="T33" fmla="*/ 318 h 353"/>
                <a:gd name="T34" fmla="*/ 609 w 859"/>
                <a:gd name="T35" fmla="*/ 337 h 353"/>
                <a:gd name="T36" fmla="*/ 645 w 859"/>
                <a:gd name="T37" fmla="*/ 348 h 353"/>
                <a:gd name="T38" fmla="*/ 682 w 859"/>
                <a:gd name="T39" fmla="*/ 353 h 353"/>
                <a:gd name="T40" fmla="*/ 718 w 859"/>
                <a:gd name="T41" fmla="*/ 348 h 353"/>
                <a:gd name="T42" fmla="*/ 750 w 859"/>
                <a:gd name="T43" fmla="*/ 338 h 353"/>
                <a:gd name="T44" fmla="*/ 780 w 859"/>
                <a:gd name="T45" fmla="*/ 323 h 353"/>
                <a:gd name="T46" fmla="*/ 806 w 859"/>
                <a:gd name="T47" fmla="*/ 300 h 353"/>
                <a:gd name="T48" fmla="*/ 828 w 859"/>
                <a:gd name="T49" fmla="*/ 274 h 353"/>
                <a:gd name="T50" fmla="*/ 845 w 859"/>
                <a:gd name="T51" fmla="*/ 244 h 353"/>
                <a:gd name="T52" fmla="*/ 855 w 859"/>
                <a:gd name="T53" fmla="*/ 211 h 353"/>
                <a:gd name="T54" fmla="*/ 859 w 859"/>
                <a:gd name="T55" fmla="*/ 176 h 353"/>
                <a:gd name="T56" fmla="*/ 855 w 859"/>
                <a:gd name="T57" fmla="*/ 140 h 353"/>
                <a:gd name="T58" fmla="*/ 845 w 859"/>
                <a:gd name="T59" fmla="*/ 107 h 353"/>
                <a:gd name="T60" fmla="*/ 828 w 859"/>
                <a:gd name="T61" fmla="*/ 77 h 353"/>
                <a:gd name="T62" fmla="*/ 806 w 859"/>
                <a:gd name="T63" fmla="*/ 51 h 353"/>
                <a:gd name="T64" fmla="*/ 780 w 859"/>
                <a:gd name="T65" fmla="*/ 30 h 353"/>
                <a:gd name="T66" fmla="*/ 750 w 859"/>
                <a:gd name="T67" fmla="*/ 13 h 353"/>
                <a:gd name="T68" fmla="*/ 718 w 859"/>
                <a:gd name="T69" fmla="*/ 3 h 353"/>
                <a:gd name="T70" fmla="*/ 682 w 859"/>
                <a:gd name="T71" fmla="*/ 0 h 353"/>
                <a:gd name="T72" fmla="*/ 645 w 859"/>
                <a:gd name="T73" fmla="*/ 4 h 353"/>
                <a:gd name="T74" fmla="*/ 609 w 859"/>
                <a:gd name="T75" fmla="*/ 16 h 353"/>
                <a:gd name="T76" fmla="*/ 579 w 859"/>
                <a:gd name="T77" fmla="*/ 33 h 353"/>
                <a:gd name="T78" fmla="*/ 552 w 859"/>
                <a:gd name="T79" fmla="*/ 57 h 353"/>
                <a:gd name="T80" fmla="*/ 531 w 859"/>
                <a:gd name="T81" fmla="*/ 86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353">
                  <a:moveTo>
                    <a:pt x="531" y="86"/>
                  </a:moveTo>
                  <a:lnTo>
                    <a:pt x="90" y="86"/>
                  </a:lnTo>
                  <a:lnTo>
                    <a:pt x="67" y="90"/>
                  </a:lnTo>
                  <a:lnTo>
                    <a:pt x="45" y="98"/>
                  </a:lnTo>
                  <a:lnTo>
                    <a:pt x="27" y="113"/>
                  </a:lnTo>
                  <a:lnTo>
                    <a:pt x="13" y="130"/>
                  </a:lnTo>
                  <a:lnTo>
                    <a:pt x="4" y="153"/>
                  </a:lnTo>
                  <a:lnTo>
                    <a:pt x="0" y="176"/>
                  </a:lnTo>
                  <a:lnTo>
                    <a:pt x="4" y="200"/>
                  </a:lnTo>
                  <a:lnTo>
                    <a:pt x="13" y="221"/>
                  </a:lnTo>
                  <a:lnTo>
                    <a:pt x="27" y="240"/>
                  </a:lnTo>
                  <a:lnTo>
                    <a:pt x="45" y="254"/>
                  </a:lnTo>
                  <a:lnTo>
                    <a:pt x="67" y="263"/>
                  </a:lnTo>
                  <a:lnTo>
                    <a:pt x="90" y="265"/>
                  </a:lnTo>
                  <a:lnTo>
                    <a:pt x="531" y="265"/>
                  </a:lnTo>
                  <a:lnTo>
                    <a:pt x="552" y="294"/>
                  </a:lnTo>
                  <a:lnTo>
                    <a:pt x="579" y="318"/>
                  </a:lnTo>
                  <a:lnTo>
                    <a:pt x="609" y="337"/>
                  </a:lnTo>
                  <a:lnTo>
                    <a:pt x="645" y="348"/>
                  </a:lnTo>
                  <a:lnTo>
                    <a:pt x="682" y="353"/>
                  </a:lnTo>
                  <a:lnTo>
                    <a:pt x="718" y="348"/>
                  </a:lnTo>
                  <a:lnTo>
                    <a:pt x="750" y="338"/>
                  </a:lnTo>
                  <a:lnTo>
                    <a:pt x="780" y="323"/>
                  </a:lnTo>
                  <a:lnTo>
                    <a:pt x="806" y="300"/>
                  </a:lnTo>
                  <a:lnTo>
                    <a:pt x="828" y="274"/>
                  </a:lnTo>
                  <a:lnTo>
                    <a:pt x="845" y="244"/>
                  </a:lnTo>
                  <a:lnTo>
                    <a:pt x="855" y="211"/>
                  </a:lnTo>
                  <a:lnTo>
                    <a:pt x="859" y="176"/>
                  </a:lnTo>
                  <a:lnTo>
                    <a:pt x="855" y="140"/>
                  </a:lnTo>
                  <a:lnTo>
                    <a:pt x="845" y="107"/>
                  </a:lnTo>
                  <a:lnTo>
                    <a:pt x="828" y="77"/>
                  </a:lnTo>
                  <a:lnTo>
                    <a:pt x="806" y="51"/>
                  </a:lnTo>
                  <a:lnTo>
                    <a:pt x="780" y="30"/>
                  </a:lnTo>
                  <a:lnTo>
                    <a:pt x="750" y="13"/>
                  </a:lnTo>
                  <a:lnTo>
                    <a:pt x="718" y="3"/>
                  </a:lnTo>
                  <a:lnTo>
                    <a:pt x="682" y="0"/>
                  </a:lnTo>
                  <a:lnTo>
                    <a:pt x="645" y="4"/>
                  </a:lnTo>
                  <a:lnTo>
                    <a:pt x="609" y="16"/>
                  </a:lnTo>
                  <a:lnTo>
                    <a:pt x="579" y="33"/>
                  </a:lnTo>
                  <a:lnTo>
                    <a:pt x="552" y="57"/>
                  </a:lnTo>
                  <a:lnTo>
                    <a:pt x="531" y="8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32"/>
            <p:cNvSpPr>
              <a:spLocks/>
            </p:cNvSpPr>
            <p:nvPr/>
          </p:nvSpPr>
          <p:spPr bwMode="auto">
            <a:xfrm>
              <a:off x="765" y="2314"/>
              <a:ext cx="286" cy="117"/>
            </a:xfrm>
            <a:custGeom>
              <a:avLst/>
              <a:gdLst>
                <a:gd name="T0" fmla="*/ 531 w 859"/>
                <a:gd name="T1" fmla="*/ 87 h 352"/>
                <a:gd name="T2" fmla="*/ 90 w 859"/>
                <a:gd name="T3" fmla="*/ 87 h 352"/>
                <a:gd name="T4" fmla="*/ 67 w 859"/>
                <a:gd name="T5" fmla="*/ 89 h 352"/>
                <a:gd name="T6" fmla="*/ 45 w 859"/>
                <a:gd name="T7" fmla="*/ 98 h 352"/>
                <a:gd name="T8" fmla="*/ 27 w 859"/>
                <a:gd name="T9" fmla="*/ 112 h 352"/>
                <a:gd name="T10" fmla="*/ 13 w 859"/>
                <a:gd name="T11" fmla="*/ 131 h 352"/>
                <a:gd name="T12" fmla="*/ 4 w 859"/>
                <a:gd name="T13" fmla="*/ 152 h 352"/>
                <a:gd name="T14" fmla="*/ 0 w 859"/>
                <a:gd name="T15" fmla="*/ 175 h 352"/>
                <a:gd name="T16" fmla="*/ 4 w 859"/>
                <a:gd name="T17" fmla="*/ 201 h 352"/>
                <a:gd name="T18" fmla="*/ 13 w 859"/>
                <a:gd name="T19" fmla="*/ 222 h 352"/>
                <a:gd name="T20" fmla="*/ 27 w 859"/>
                <a:gd name="T21" fmla="*/ 241 h 352"/>
                <a:gd name="T22" fmla="*/ 45 w 859"/>
                <a:gd name="T23" fmla="*/ 254 h 352"/>
                <a:gd name="T24" fmla="*/ 67 w 859"/>
                <a:gd name="T25" fmla="*/ 264 h 352"/>
                <a:gd name="T26" fmla="*/ 90 w 859"/>
                <a:gd name="T27" fmla="*/ 266 h 352"/>
                <a:gd name="T28" fmla="*/ 531 w 859"/>
                <a:gd name="T29" fmla="*/ 266 h 352"/>
                <a:gd name="T30" fmla="*/ 552 w 859"/>
                <a:gd name="T31" fmla="*/ 295 h 352"/>
                <a:gd name="T32" fmla="*/ 579 w 859"/>
                <a:gd name="T33" fmla="*/ 319 h 352"/>
                <a:gd name="T34" fmla="*/ 611 w 859"/>
                <a:gd name="T35" fmla="*/ 336 h 352"/>
                <a:gd name="T36" fmla="*/ 645 w 859"/>
                <a:gd name="T37" fmla="*/ 348 h 352"/>
                <a:gd name="T38" fmla="*/ 682 w 859"/>
                <a:gd name="T39" fmla="*/ 352 h 352"/>
                <a:gd name="T40" fmla="*/ 718 w 859"/>
                <a:gd name="T41" fmla="*/ 349 h 352"/>
                <a:gd name="T42" fmla="*/ 750 w 859"/>
                <a:gd name="T43" fmla="*/ 339 h 352"/>
                <a:gd name="T44" fmla="*/ 780 w 859"/>
                <a:gd name="T45" fmla="*/ 322 h 352"/>
                <a:gd name="T46" fmla="*/ 806 w 859"/>
                <a:gd name="T47" fmla="*/ 301 h 352"/>
                <a:gd name="T48" fmla="*/ 828 w 859"/>
                <a:gd name="T49" fmla="*/ 275 h 352"/>
                <a:gd name="T50" fmla="*/ 845 w 859"/>
                <a:gd name="T51" fmla="*/ 245 h 352"/>
                <a:gd name="T52" fmla="*/ 855 w 859"/>
                <a:gd name="T53" fmla="*/ 212 h 352"/>
                <a:gd name="T54" fmla="*/ 859 w 859"/>
                <a:gd name="T55" fmla="*/ 175 h 352"/>
                <a:gd name="T56" fmla="*/ 855 w 859"/>
                <a:gd name="T57" fmla="*/ 141 h 352"/>
                <a:gd name="T58" fmla="*/ 845 w 859"/>
                <a:gd name="T59" fmla="*/ 108 h 352"/>
                <a:gd name="T60" fmla="*/ 828 w 859"/>
                <a:gd name="T61" fmla="*/ 78 h 352"/>
                <a:gd name="T62" fmla="*/ 806 w 859"/>
                <a:gd name="T63" fmla="*/ 52 h 352"/>
                <a:gd name="T64" fmla="*/ 780 w 859"/>
                <a:gd name="T65" fmla="*/ 31 h 352"/>
                <a:gd name="T66" fmla="*/ 750 w 859"/>
                <a:gd name="T67" fmla="*/ 14 h 352"/>
                <a:gd name="T68" fmla="*/ 718 w 859"/>
                <a:gd name="T69" fmla="*/ 4 h 352"/>
                <a:gd name="T70" fmla="*/ 682 w 859"/>
                <a:gd name="T71" fmla="*/ 0 h 352"/>
                <a:gd name="T72" fmla="*/ 645 w 859"/>
                <a:gd name="T73" fmla="*/ 4 h 352"/>
                <a:gd name="T74" fmla="*/ 611 w 859"/>
                <a:gd name="T75" fmla="*/ 15 h 352"/>
                <a:gd name="T76" fmla="*/ 579 w 859"/>
                <a:gd name="T77" fmla="*/ 34 h 352"/>
                <a:gd name="T78" fmla="*/ 552 w 859"/>
                <a:gd name="T79" fmla="*/ 58 h 352"/>
                <a:gd name="T80" fmla="*/ 531 w 859"/>
                <a:gd name="T81" fmla="*/ 87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352">
                  <a:moveTo>
                    <a:pt x="531" y="87"/>
                  </a:moveTo>
                  <a:lnTo>
                    <a:pt x="90" y="87"/>
                  </a:lnTo>
                  <a:lnTo>
                    <a:pt x="67" y="89"/>
                  </a:lnTo>
                  <a:lnTo>
                    <a:pt x="45" y="98"/>
                  </a:lnTo>
                  <a:lnTo>
                    <a:pt x="27" y="112"/>
                  </a:lnTo>
                  <a:lnTo>
                    <a:pt x="13" y="131"/>
                  </a:lnTo>
                  <a:lnTo>
                    <a:pt x="4" y="152"/>
                  </a:lnTo>
                  <a:lnTo>
                    <a:pt x="0" y="175"/>
                  </a:lnTo>
                  <a:lnTo>
                    <a:pt x="4" y="201"/>
                  </a:lnTo>
                  <a:lnTo>
                    <a:pt x="13" y="222"/>
                  </a:lnTo>
                  <a:lnTo>
                    <a:pt x="27" y="241"/>
                  </a:lnTo>
                  <a:lnTo>
                    <a:pt x="45" y="254"/>
                  </a:lnTo>
                  <a:lnTo>
                    <a:pt x="67" y="264"/>
                  </a:lnTo>
                  <a:lnTo>
                    <a:pt x="90" y="266"/>
                  </a:lnTo>
                  <a:lnTo>
                    <a:pt x="531" y="266"/>
                  </a:lnTo>
                  <a:lnTo>
                    <a:pt x="552" y="295"/>
                  </a:lnTo>
                  <a:lnTo>
                    <a:pt x="579" y="319"/>
                  </a:lnTo>
                  <a:lnTo>
                    <a:pt x="611" y="336"/>
                  </a:lnTo>
                  <a:lnTo>
                    <a:pt x="645" y="348"/>
                  </a:lnTo>
                  <a:lnTo>
                    <a:pt x="682" y="352"/>
                  </a:lnTo>
                  <a:lnTo>
                    <a:pt x="718" y="349"/>
                  </a:lnTo>
                  <a:lnTo>
                    <a:pt x="750" y="339"/>
                  </a:lnTo>
                  <a:lnTo>
                    <a:pt x="780" y="322"/>
                  </a:lnTo>
                  <a:lnTo>
                    <a:pt x="806" y="301"/>
                  </a:lnTo>
                  <a:lnTo>
                    <a:pt x="828" y="275"/>
                  </a:lnTo>
                  <a:lnTo>
                    <a:pt x="845" y="245"/>
                  </a:lnTo>
                  <a:lnTo>
                    <a:pt x="855" y="212"/>
                  </a:lnTo>
                  <a:lnTo>
                    <a:pt x="859" y="175"/>
                  </a:lnTo>
                  <a:lnTo>
                    <a:pt x="855" y="141"/>
                  </a:lnTo>
                  <a:lnTo>
                    <a:pt x="845" y="108"/>
                  </a:lnTo>
                  <a:lnTo>
                    <a:pt x="828" y="78"/>
                  </a:lnTo>
                  <a:lnTo>
                    <a:pt x="806" y="52"/>
                  </a:lnTo>
                  <a:lnTo>
                    <a:pt x="780" y="31"/>
                  </a:lnTo>
                  <a:lnTo>
                    <a:pt x="750" y="14"/>
                  </a:lnTo>
                  <a:lnTo>
                    <a:pt x="718" y="4"/>
                  </a:lnTo>
                  <a:lnTo>
                    <a:pt x="682" y="0"/>
                  </a:lnTo>
                  <a:lnTo>
                    <a:pt x="645" y="4"/>
                  </a:lnTo>
                  <a:lnTo>
                    <a:pt x="611" y="15"/>
                  </a:lnTo>
                  <a:lnTo>
                    <a:pt x="579" y="34"/>
                  </a:lnTo>
                  <a:lnTo>
                    <a:pt x="552" y="58"/>
                  </a:lnTo>
                  <a:lnTo>
                    <a:pt x="531" y="87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33"/>
            <p:cNvSpPr>
              <a:spLocks/>
            </p:cNvSpPr>
            <p:nvPr/>
          </p:nvSpPr>
          <p:spPr bwMode="auto">
            <a:xfrm>
              <a:off x="765" y="2024"/>
              <a:ext cx="286" cy="117"/>
            </a:xfrm>
            <a:custGeom>
              <a:avLst/>
              <a:gdLst>
                <a:gd name="T0" fmla="*/ 531 w 859"/>
                <a:gd name="T1" fmla="*/ 88 h 353"/>
                <a:gd name="T2" fmla="*/ 90 w 859"/>
                <a:gd name="T3" fmla="*/ 88 h 353"/>
                <a:gd name="T4" fmla="*/ 67 w 859"/>
                <a:gd name="T5" fmla="*/ 90 h 353"/>
                <a:gd name="T6" fmla="*/ 45 w 859"/>
                <a:gd name="T7" fmla="*/ 99 h 353"/>
                <a:gd name="T8" fmla="*/ 27 w 859"/>
                <a:gd name="T9" fmla="*/ 113 h 353"/>
                <a:gd name="T10" fmla="*/ 13 w 859"/>
                <a:gd name="T11" fmla="*/ 132 h 353"/>
                <a:gd name="T12" fmla="*/ 4 w 859"/>
                <a:gd name="T13" fmla="*/ 153 h 353"/>
                <a:gd name="T14" fmla="*/ 0 w 859"/>
                <a:gd name="T15" fmla="*/ 176 h 353"/>
                <a:gd name="T16" fmla="*/ 4 w 859"/>
                <a:gd name="T17" fmla="*/ 200 h 353"/>
                <a:gd name="T18" fmla="*/ 13 w 859"/>
                <a:gd name="T19" fmla="*/ 222 h 353"/>
                <a:gd name="T20" fmla="*/ 27 w 859"/>
                <a:gd name="T21" fmla="*/ 240 h 353"/>
                <a:gd name="T22" fmla="*/ 45 w 859"/>
                <a:gd name="T23" fmla="*/ 255 h 353"/>
                <a:gd name="T24" fmla="*/ 67 w 859"/>
                <a:gd name="T25" fmla="*/ 263 h 353"/>
                <a:gd name="T26" fmla="*/ 90 w 859"/>
                <a:gd name="T27" fmla="*/ 266 h 353"/>
                <a:gd name="T28" fmla="*/ 531 w 859"/>
                <a:gd name="T29" fmla="*/ 266 h 353"/>
                <a:gd name="T30" fmla="*/ 552 w 859"/>
                <a:gd name="T31" fmla="*/ 296 h 353"/>
                <a:gd name="T32" fmla="*/ 579 w 859"/>
                <a:gd name="T33" fmla="*/ 319 h 353"/>
                <a:gd name="T34" fmla="*/ 609 w 859"/>
                <a:gd name="T35" fmla="*/ 337 h 353"/>
                <a:gd name="T36" fmla="*/ 645 w 859"/>
                <a:gd name="T37" fmla="*/ 349 h 353"/>
                <a:gd name="T38" fmla="*/ 682 w 859"/>
                <a:gd name="T39" fmla="*/ 353 h 353"/>
                <a:gd name="T40" fmla="*/ 718 w 859"/>
                <a:gd name="T41" fmla="*/ 350 h 353"/>
                <a:gd name="T42" fmla="*/ 750 w 859"/>
                <a:gd name="T43" fmla="*/ 339 h 353"/>
                <a:gd name="T44" fmla="*/ 780 w 859"/>
                <a:gd name="T45" fmla="*/ 323 h 353"/>
                <a:gd name="T46" fmla="*/ 806 w 859"/>
                <a:gd name="T47" fmla="*/ 302 h 353"/>
                <a:gd name="T48" fmla="*/ 828 w 859"/>
                <a:gd name="T49" fmla="*/ 276 h 353"/>
                <a:gd name="T50" fmla="*/ 845 w 859"/>
                <a:gd name="T51" fmla="*/ 246 h 353"/>
                <a:gd name="T52" fmla="*/ 855 w 859"/>
                <a:gd name="T53" fmla="*/ 213 h 353"/>
                <a:gd name="T54" fmla="*/ 859 w 859"/>
                <a:gd name="T55" fmla="*/ 177 h 353"/>
                <a:gd name="T56" fmla="*/ 855 w 859"/>
                <a:gd name="T57" fmla="*/ 142 h 353"/>
                <a:gd name="T58" fmla="*/ 845 w 859"/>
                <a:gd name="T59" fmla="*/ 109 h 353"/>
                <a:gd name="T60" fmla="*/ 828 w 859"/>
                <a:gd name="T61" fmla="*/ 79 h 353"/>
                <a:gd name="T62" fmla="*/ 806 w 859"/>
                <a:gd name="T63" fmla="*/ 52 h 353"/>
                <a:gd name="T64" fmla="*/ 780 w 859"/>
                <a:gd name="T65" fmla="*/ 30 h 353"/>
                <a:gd name="T66" fmla="*/ 750 w 859"/>
                <a:gd name="T67" fmla="*/ 15 h 353"/>
                <a:gd name="T68" fmla="*/ 718 w 859"/>
                <a:gd name="T69" fmla="*/ 5 h 353"/>
                <a:gd name="T70" fmla="*/ 682 w 859"/>
                <a:gd name="T71" fmla="*/ 0 h 353"/>
                <a:gd name="T72" fmla="*/ 645 w 859"/>
                <a:gd name="T73" fmla="*/ 5 h 353"/>
                <a:gd name="T74" fmla="*/ 609 w 859"/>
                <a:gd name="T75" fmla="*/ 16 h 353"/>
                <a:gd name="T76" fmla="*/ 579 w 859"/>
                <a:gd name="T77" fmla="*/ 35 h 353"/>
                <a:gd name="T78" fmla="*/ 552 w 859"/>
                <a:gd name="T79" fmla="*/ 59 h 353"/>
                <a:gd name="T80" fmla="*/ 531 w 859"/>
                <a:gd name="T81" fmla="*/ 88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859" h="353">
                  <a:moveTo>
                    <a:pt x="531" y="88"/>
                  </a:moveTo>
                  <a:lnTo>
                    <a:pt x="90" y="88"/>
                  </a:lnTo>
                  <a:lnTo>
                    <a:pt x="67" y="90"/>
                  </a:lnTo>
                  <a:lnTo>
                    <a:pt x="45" y="99"/>
                  </a:lnTo>
                  <a:lnTo>
                    <a:pt x="27" y="113"/>
                  </a:lnTo>
                  <a:lnTo>
                    <a:pt x="13" y="132"/>
                  </a:lnTo>
                  <a:lnTo>
                    <a:pt x="4" y="153"/>
                  </a:lnTo>
                  <a:lnTo>
                    <a:pt x="0" y="176"/>
                  </a:lnTo>
                  <a:lnTo>
                    <a:pt x="4" y="200"/>
                  </a:lnTo>
                  <a:lnTo>
                    <a:pt x="13" y="222"/>
                  </a:lnTo>
                  <a:lnTo>
                    <a:pt x="27" y="240"/>
                  </a:lnTo>
                  <a:lnTo>
                    <a:pt x="45" y="255"/>
                  </a:lnTo>
                  <a:lnTo>
                    <a:pt x="67" y="263"/>
                  </a:lnTo>
                  <a:lnTo>
                    <a:pt x="90" y="266"/>
                  </a:lnTo>
                  <a:lnTo>
                    <a:pt x="531" y="266"/>
                  </a:lnTo>
                  <a:lnTo>
                    <a:pt x="552" y="296"/>
                  </a:lnTo>
                  <a:lnTo>
                    <a:pt x="579" y="319"/>
                  </a:lnTo>
                  <a:lnTo>
                    <a:pt x="609" y="337"/>
                  </a:lnTo>
                  <a:lnTo>
                    <a:pt x="645" y="349"/>
                  </a:lnTo>
                  <a:lnTo>
                    <a:pt x="682" y="353"/>
                  </a:lnTo>
                  <a:lnTo>
                    <a:pt x="718" y="350"/>
                  </a:lnTo>
                  <a:lnTo>
                    <a:pt x="750" y="339"/>
                  </a:lnTo>
                  <a:lnTo>
                    <a:pt x="780" y="323"/>
                  </a:lnTo>
                  <a:lnTo>
                    <a:pt x="806" y="302"/>
                  </a:lnTo>
                  <a:lnTo>
                    <a:pt x="828" y="276"/>
                  </a:lnTo>
                  <a:lnTo>
                    <a:pt x="845" y="246"/>
                  </a:lnTo>
                  <a:lnTo>
                    <a:pt x="855" y="213"/>
                  </a:lnTo>
                  <a:lnTo>
                    <a:pt x="859" y="177"/>
                  </a:lnTo>
                  <a:lnTo>
                    <a:pt x="855" y="142"/>
                  </a:lnTo>
                  <a:lnTo>
                    <a:pt x="845" y="109"/>
                  </a:lnTo>
                  <a:lnTo>
                    <a:pt x="828" y="79"/>
                  </a:lnTo>
                  <a:lnTo>
                    <a:pt x="806" y="52"/>
                  </a:lnTo>
                  <a:lnTo>
                    <a:pt x="780" y="30"/>
                  </a:lnTo>
                  <a:lnTo>
                    <a:pt x="750" y="15"/>
                  </a:lnTo>
                  <a:lnTo>
                    <a:pt x="718" y="5"/>
                  </a:lnTo>
                  <a:lnTo>
                    <a:pt x="682" y="0"/>
                  </a:lnTo>
                  <a:lnTo>
                    <a:pt x="645" y="5"/>
                  </a:lnTo>
                  <a:lnTo>
                    <a:pt x="609" y="16"/>
                  </a:lnTo>
                  <a:lnTo>
                    <a:pt x="579" y="35"/>
                  </a:lnTo>
                  <a:lnTo>
                    <a:pt x="552" y="59"/>
                  </a:lnTo>
                  <a:lnTo>
                    <a:pt x="531" y="8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34"/>
            <p:cNvSpPr>
              <a:spLocks/>
            </p:cNvSpPr>
            <p:nvPr/>
          </p:nvSpPr>
          <p:spPr bwMode="auto">
            <a:xfrm>
              <a:off x="1939" y="2174"/>
              <a:ext cx="361" cy="357"/>
            </a:xfrm>
            <a:custGeom>
              <a:avLst/>
              <a:gdLst>
                <a:gd name="T0" fmla="*/ 713 w 1083"/>
                <a:gd name="T1" fmla="*/ 728 h 1072"/>
                <a:gd name="T2" fmla="*/ 659 w 1083"/>
                <a:gd name="T3" fmla="*/ 782 h 1072"/>
                <a:gd name="T4" fmla="*/ 621 w 1083"/>
                <a:gd name="T5" fmla="*/ 821 h 1072"/>
                <a:gd name="T6" fmla="*/ 594 w 1083"/>
                <a:gd name="T7" fmla="*/ 848 h 1072"/>
                <a:gd name="T8" fmla="*/ 575 w 1083"/>
                <a:gd name="T9" fmla="*/ 866 h 1072"/>
                <a:gd name="T10" fmla="*/ 559 w 1083"/>
                <a:gd name="T11" fmla="*/ 882 h 1072"/>
                <a:gd name="T12" fmla="*/ 544 w 1083"/>
                <a:gd name="T13" fmla="*/ 896 h 1072"/>
                <a:gd name="T14" fmla="*/ 524 w 1083"/>
                <a:gd name="T15" fmla="*/ 916 h 1072"/>
                <a:gd name="T16" fmla="*/ 496 w 1083"/>
                <a:gd name="T17" fmla="*/ 943 h 1072"/>
                <a:gd name="T18" fmla="*/ 458 w 1083"/>
                <a:gd name="T19" fmla="*/ 982 h 1072"/>
                <a:gd name="T20" fmla="*/ 402 w 1083"/>
                <a:gd name="T21" fmla="*/ 1037 h 1072"/>
                <a:gd name="T22" fmla="*/ 275 w 1083"/>
                <a:gd name="T23" fmla="*/ 980 h 1072"/>
                <a:gd name="T24" fmla="*/ 90 w 1083"/>
                <a:gd name="T25" fmla="*/ 808 h 1072"/>
                <a:gd name="T26" fmla="*/ 0 w 1083"/>
                <a:gd name="T27" fmla="*/ 716 h 1072"/>
                <a:gd name="T28" fmla="*/ 3 w 1083"/>
                <a:gd name="T29" fmla="*/ 712 h 1072"/>
                <a:gd name="T30" fmla="*/ 48 w 1083"/>
                <a:gd name="T31" fmla="*/ 665 h 1072"/>
                <a:gd name="T32" fmla="*/ 121 w 1083"/>
                <a:gd name="T33" fmla="*/ 594 h 1072"/>
                <a:gd name="T34" fmla="*/ 178 w 1083"/>
                <a:gd name="T35" fmla="*/ 537 h 1072"/>
                <a:gd name="T36" fmla="*/ 224 w 1083"/>
                <a:gd name="T37" fmla="*/ 491 h 1072"/>
                <a:gd name="T38" fmla="*/ 261 w 1083"/>
                <a:gd name="T39" fmla="*/ 454 h 1072"/>
                <a:gd name="T40" fmla="*/ 295 w 1083"/>
                <a:gd name="T41" fmla="*/ 420 h 1072"/>
                <a:gd name="T42" fmla="*/ 329 w 1083"/>
                <a:gd name="T43" fmla="*/ 387 h 1072"/>
                <a:gd name="T44" fmla="*/ 368 w 1083"/>
                <a:gd name="T45" fmla="*/ 350 h 1072"/>
                <a:gd name="T46" fmla="*/ 414 w 1083"/>
                <a:gd name="T47" fmla="*/ 304 h 1072"/>
                <a:gd name="T48" fmla="*/ 472 w 1083"/>
                <a:gd name="T49" fmla="*/ 248 h 1072"/>
                <a:gd name="T50" fmla="*/ 545 w 1083"/>
                <a:gd name="T51" fmla="*/ 177 h 1072"/>
                <a:gd name="T52" fmla="*/ 628 w 1083"/>
                <a:gd name="T53" fmla="*/ 100 h 1072"/>
                <a:gd name="T54" fmla="*/ 716 w 1083"/>
                <a:gd name="T55" fmla="*/ 41 h 1072"/>
                <a:gd name="T56" fmla="*/ 799 w 1083"/>
                <a:gd name="T57" fmla="*/ 4 h 1072"/>
                <a:gd name="T58" fmla="*/ 872 w 1083"/>
                <a:gd name="T59" fmla="*/ 1 h 1072"/>
                <a:gd name="T60" fmla="*/ 942 w 1083"/>
                <a:gd name="T61" fmla="*/ 29 h 1072"/>
                <a:gd name="T62" fmla="*/ 1007 w 1083"/>
                <a:gd name="T63" fmla="*/ 80 h 1072"/>
                <a:gd name="T64" fmla="*/ 1057 w 1083"/>
                <a:gd name="T65" fmla="*/ 144 h 1072"/>
                <a:gd name="T66" fmla="*/ 1082 w 1083"/>
                <a:gd name="T67" fmla="*/ 214 h 1072"/>
                <a:gd name="T68" fmla="*/ 1076 w 1083"/>
                <a:gd name="T69" fmla="*/ 288 h 1072"/>
                <a:gd name="T70" fmla="*/ 1026 w 1083"/>
                <a:gd name="T71" fmla="*/ 377 h 1072"/>
                <a:gd name="T72" fmla="*/ 952 w 1083"/>
                <a:gd name="T73" fmla="*/ 471 h 1072"/>
                <a:gd name="T74" fmla="*/ 905 w 1083"/>
                <a:gd name="T75" fmla="*/ 529 h 1072"/>
                <a:gd name="T76" fmla="*/ 870 w 1083"/>
                <a:gd name="T77" fmla="*/ 565 h 10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83" h="1072">
                  <a:moveTo>
                    <a:pt x="748" y="694"/>
                  </a:moveTo>
                  <a:lnTo>
                    <a:pt x="713" y="728"/>
                  </a:lnTo>
                  <a:lnTo>
                    <a:pt x="685" y="758"/>
                  </a:lnTo>
                  <a:lnTo>
                    <a:pt x="659" y="782"/>
                  </a:lnTo>
                  <a:lnTo>
                    <a:pt x="639" y="803"/>
                  </a:lnTo>
                  <a:lnTo>
                    <a:pt x="621" y="821"/>
                  </a:lnTo>
                  <a:lnTo>
                    <a:pt x="606" y="835"/>
                  </a:lnTo>
                  <a:lnTo>
                    <a:pt x="594" y="848"/>
                  </a:lnTo>
                  <a:lnTo>
                    <a:pt x="584" y="858"/>
                  </a:lnTo>
                  <a:lnTo>
                    <a:pt x="575" y="866"/>
                  </a:lnTo>
                  <a:lnTo>
                    <a:pt x="566" y="875"/>
                  </a:lnTo>
                  <a:lnTo>
                    <a:pt x="559" y="882"/>
                  </a:lnTo>
                  <a:lnTo>
                    <a:pt x="552" y="889"/>
                  </a:lnTo>
                  <a:lnTo>
                    <a:pt x="544" y="896"/>
                  </a:lnTo>
                  <a:lnTo>
                    <a:pt x="535" y="905"/>
                  </a:lnTo>
                  <a:lnTo>
                    <a:pt x="524" y="916"/>
                  </a:lnTo>
                  <a:lnTo>
                    <a:pt x="512" y="928"/>
                  </a:lnTo>
                  <a:lnTo>
                    <a:pt x="496" y="943"/>
                  </a:lnTo>
                  <a:lnTo>
                    <a:pt x="479" y="960"/>
                  </a:lnTo>
                  <a:lnTo>
                    <a:pt x="458" y="982"/>
                  </a:lnTo>
                  <a:lnTo>
                    <a:pt x="432" y="1007"/>
                  </a:lnTo>
                  <a:lnTo>
                    <a:pt x="402" y="1037"/>
                  </a:lnTo>
                  <a:lnTo>
                    <a:pt x="368" y="1072"/>
                  </a:lnTo>
                  <a:lnTo>
                    <a:pt x="275" y="980"/>
                  </a:lnTo>
                  <a:lnTo>
                    <a:pt x="182" y="893"/>
                  </a:lnTo>
                  <a:lnTo>
                    <a:pt x="90" y="808"/>
                  </a:lnTo>
                  <a:lnTo>
                    <a:pt x="0" y="718"/>
                  </a:lnTo>
                  <a:lnTo>
                    <a:pt x="0" y="716"/>
                  </a:lnTo>
                  <a:lnTo>
                    <a:pt x="1" y="715"/>
                  </a:lnTo>
                  <a:lnTo>
                    <a:pt x="3" y="712"/>
                  </a:lnTo>
                  <a:lnTo>
                    <a:pt x="4" y="709"/>
                  </a:lnTo>
                  <a:lnTo>
                    <a:pt x="48" y="665"/>
                  </a:lnTo>
                  <a:lnTo>
                    <a:pt x="87" y="628"/>
                  </a:lnTo>
                  <a:lnTo>
                    <a:pt x="121" y="594"/>
                  </a:lnTo>
                  <a:lnTo>
                    <a:pt x="151" y="564"/>
                  </a:lnTo>
                  <a:lnTo>
                    <a:pt x="178" y="537"/>
                  </a:lnTo>
                  <a:lnTo>
                    <a:pt x="201" y="512"/>
                  </a:lnTo>
                  <a:lnTo>
                    <a:pt x="224" y="491"/>
                  </a:lnTo>
                  <a:lnTo>
                    <a:pt x="242" y="472"/>
                  </a:lnTo>
                  <a:lnTo>
                    <a:pt x="261" y="454"/>
                  </a:lnTo>
                  <a:lnTo>
                    <a:pt x="278" y="437"/>
                  </a:lnTo>
                  <a:lnTo>
                    <a:pt x="295" y="420"/>
                  </a:lnTo>
                  <a:lnTo>
                    <a:pt x="312" y="404"/>
                  </a:lnTo>
                  <a:lnTo>
                    <a:pt x="329" y="387"/>
                  </a:lnTo>
                  <a:lnTo>
                    <a:pt x="348" y="368"/>
                  </a:lnTo>
                  <a:lnTo>
                    <a:pt x="368" y="350"/>
                  </a:lnTo>
                  <a:lnTo>
                    <a:pt x="389" y="328"/>
                  </a:lnTo>
                  <a:lnTo>
                    <a:pt x="414" y="304"/>
                  </a:lnTo>
                  <a:lnTo>
                    <a:pt x="441" y="278"/>
                  </a:lnTo>
                  <a:lnTo>
                    <a:pt x="472" y="248"/>
                  </a:lnTo>
                  <a:lnTo>
                    <a:pt x="506" y="214"/>
                  </a:lnTo>
                  <a:lnTo>
                    <a:pt x="545" y="177"/>
                  </a:lnTo>
                  <a:lnTo>
                    <a:pt x="588" y="134"/>
                  </a:lnTo>
                  <a:lnTo>
                    <a:pt x="628" y="100"/>
                  </a:lnTo>
                  <a:lnTo>
                    <a:pt x="671" y="69"/>
                  </a:lnTo>
                  <a:lnTo>
                    <a:pt x="716" y="41"/>
                  </a:lnTo>
                  <a:lnTo>
                    <a:pt x="762" y="19"/>
                  </a:lnTo>
                  <a:lnTo>
                    <a:pt x="799" y="4"/>
                  </a:lnTo>
                  <a:lnTo>
                    <a:pt x="836" y="0"/>
                  </a:lnTo>
                  <a:lnTo>
                    <a:pt x="872" y="1"/>
                  </a:lnTo>
                  <a:lnTo>
                    <a:pt x="908" y="11"/>
                  </a:lnTo>
                  <a:lnTo>
                    <a:pt x="942" y="29"/>
                  </a:lnTo>
                  <a:lnTo>
                    <a:pt x="975" y="51"/>
                  </a:lnTo>
                  <a:lnTo>
                    <a:pt x="1007" y="80"/>
                  </a:lnTo>
                  <a:lnTo>
                    <a:pt x="1036" y="111"/>
                  </a:lnTo>
                  <a:lnTo>
                    <a:pt x="1057" y="144"/>
                  </a:lnTo>
                  <a:lnTo>
                    <a:pt x="1073" y="178"/>
                  </a:lnTo>
                  <a:lnTo>
                    <a:pt x="1082" y="214"/>
                  </a:lnTo>
                  <a:lnTo>
                    <a:pt x="1083" y="250"/>
                  </a:lnTo>
                  <a:lnTo>
                    <a:pt x="1076" y="288"/>
                  </a:lnTo>
                  <a:lnTo>
                    <a:pt x="1059" y="327"/>
                  </a:lnTo>
                  <a:lnTo>
                    <a:pt x="1026" y="377"/>
                  </a:lnTo>
                  <a:lnTo>
                    <a:pt x="990" y="425"/>
                  </a:lnTo>
                  <a:lnTo>
                    <a:pt x="952" y="471"/>
                  </a:lnTo>
                  <a:lnTo>
                    <a:pt x="915" y="518"/>
                  </a:lnTo>
                  <a:lnTo>
                    <a:pt x="905" y="529"/>
                  </a:lnTo>
                  <a:lnTo>
                    <a:pt x="895" y="542"/>
                  </a:lnTo>
                  <a:lnTo>
                    <a:pt x="870" y="565"/>
                  </a:lnTo>
                  <a:lnTo>
                    <a:pt x="748" y="69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35"/>
            <p:cNvSpPr>
              <a:spLocks/>
            </p:cNvSpPr>
            <p:nvPr/>
          </p:nvSpPr>
          <p:spPr bwMode="auto">
            <a:xfrm>
              <a:off x="2052" y="2366"/>
              <a:ext cx="279" cy="280"/>
            </a:xfrm>
            <a:custGeom>
              <a:avLst/>
              <a:gdLst>
                <a:gd name="T0" fmla="*/ 805 w 835"/>
                <a:gd name="T1" fmla="*/ 139 h 839"/>
                <a:gd name="T2" fmla="*/ 686 w 835"/>
                <a:gd name="T3" fmla="*/ 261 h 839"/>
                <a:gd name="T4" fmla="*/ 567 w 835"/>
                <a:gd name="T5" fmla="*/ 381 h 839"/>
                <a:gd name="T6" fmla="*/ 141 w 835"/>
                <a:gd name="T7" fmla="*/ 806 h 839"/>
                <a:gd name="T8" fmla="*/ 124 w 835"/>
                <a:gd name="T9" fmla="*/ 823 h 839"/>
                <a:gd name="T10" fmla="*/ 104 w 835"/>
                <a:gd name="T11" fmla="*/ 833 h 839"/>
                <a:gd name="T12" fmla="*/ 84 w 835"/>
                <a:gd name="T13" fmla="*/ 839 h 839"/>
                <a:gd name="T14" fmla="*/ 63 w 835"/>
                <a:gd name="T15" fmla="*/ 839 h 839"/>
                <a:gd name="T16" fmla="*/ 40 w 835"/>
                <a:gd name="T17" fmla="*/ 829 h 839"/>
                <a:gd name="T18" fmla="*/ 21 w 835"/>
                <a:gd name="T19" fmla="*/ 816 h 839"/>
                <a:gd name="T20" fmla="*/ 8 w 835"/>
                <a:gd name="T21" fmla="*/ 800 h 839"/>
                <a:gd name="T22" fmla="*/ 1 w 835"/>
                <a:gd name="T23" fmla="*/ 783 h 839"/>
                <a:gd name="T24" fmla="*/ 0 w 835"/>
                <a:gd name="T25" fmla="*/ 763 h 839"/>
                <a:gd name="T26" fmla="*/ 4 w 835"/>
                <a:gd name="T27" fmla="*/ 742 h 839"/>
                <a:gd name="T28" fmla="*/ 13 w 835"/>
                <a:gd name="T29" fmla="*/ 723 h 839"/>
                <a:gd name="T30" fmla="*/ 27 w 835"/>
                <a:gd name="T31" fmla="*/ 706 h 839"/>
                <a:gd name="T32" fmla="*/ 43 w 835"/>
                <a:gd name="T33" fmla="*/ 689 h 839"/>
                <a:gd name="T34" fmla="*/ 64 w 835"/>
                <a:gd name="T35" fmla="*/ 667 h 839"/>
                <a:gd name="T36" fmla="*/ 90 w 835"/>
                <a:gd name="T37" fmla="*/ 642 h 839"/>
                <a:gd name="T38" fmla="*/ 117 w 835"/>
                <a:gd name="T39" fmla="*/ 613 h 839"/>
                <a:gd name="T40" fmla="*/ 148 w 835"/>
                <a:gd name="T41" fmla="*/ 583 h 839"/>
                <a:gd name="T42" fmla="*/ 181 w 835"/>
                <a:gd name="T43" fmla="*/ 550 h 839"/>
                <a:gd name="T44" fmla="*/ 215 w 835"/>
                <a:gd name="T45" fmla="*/ 515 h 839"/>
                <a:gd name="T46" fmla="*/ 251 w 835"/>
                <a:gd name="T47" fmla="*/ 479 h 839"/>
                <a:gd name="T48" fmla="*/ 288 w 835"/>
                <a:gd name="T49" fmla="*/ 442 h 839"/>
                <a:gd name="T50" fmla="*/ 327 w 835"/>
                <a:gd name="T51" fmla="*/ 403 h 839"/>
                <a:gd name="T52" fmla="*/ 365 w 835"/>
                <a:gd name="T53" fmla="*/ 365 h 839"/>
                <a:gd name="T54" fmla="*/ 402 w 835"/>
                <a:gd name="T55" fmla="*/ 328 h 839"/>
                <a:gd name="T56" fmla="*/ 440 w 835"/>
                <a:gd name="T57" fmla="*/ 289 h 839"/>
                <a:gd name="T58" fmla="*/ 477 w 835"/>
                <a:gd name="T59" fmla="*/ 254 h 839"/>
                <a:gd name="T60" fmla="*/ 511 w 835"/>
                <a:gd name="T61" fmla="*/ 218 h 839"/>
                <a:gd name="T62" fmla="*/ 544 w 835"/>
                <a:gd name="T63" fmla="*/ 185 h 839"/>
                <a:gd name="T64" fmla="*/ 575 w 835"/>
                <a:gd name="T65" fmla="*/ 154 h 839"/>
                <a:gd name="T66" fmla="*/ 604 w 835"/>
                <a:gd name="T67" fmla="*/ 125 h 839"/>
                <a:gd name="T68" fmla="*/ 629 w 835"/>
                <a:gd name="T69" fmla="*/ 99 h 839"/>
                <a:gd name="T70" fmla="*/ 652 w 835"/>
                <a:gd name="T71" fmla="*/ 78 h 839"/>
                <a:gd name="T72" fmla="*/ 671 w 835"/>
                <a:gd name="T73" fmla="*/ 59 h 839"/>
                <a:gd name="T74" fmla="*/ 685 w 835"/>
                <a:gd name="T75" fmla="*/ 45 h 839"/>
                <a:gd name="T76" fmla="*/ 695 w 835"/>
                <a:gd name="T77" fmla="*/ 35 h 839"/>
                <a:gd name="T78" fmla="*/ 699 w 835"/>
                <a:gd name="T79" fmla="*/ 29 h 839"/>
                <a:gd name="T80" fmla="*/ 725 w 835"/>
                <a:gd name="T81" fmla="*/ 11 h 839"/>
                <a:gd name="T82" fmla="*/ 749 w 835"/>
                <a:gd name="T83" fmla="*/ 1 h 839"/>
                <a:gd name="T84" fmla="*/ 772 w 835"/>
                <a:gd name="T85" fmla="*/ 0 h 839"/>
                <a:gd name="T86" fmla="*/ 795 w 835"/>
                <a:gd name="T87" fmla="*/ 8 h 839"/>
                <a:gd name="T88" fmla="*/ 816 w 835"/>
                <a:gd name="T89" fmla="*/ 25 h 839"/>
                <a:gd name="T90" fmla="*/ 828 w 835"/>
                <a:gd name="T91" fmla="*/ 41 h 839"/>
                <a:gd name="T92" fmla="*/ 835 w 835"/>
                <a:gd name="T93" fmla="*/ 59 h 839"/>
                <a:gd name="T94" fmla="*/ 835 w 835"/>
                <a:gd name="T95" fmla="*/ 79 h 839"/>
                <a:gd name="T96" fmla="*/ 831 w 835"/>
                <a:gd name="T97" fmla="*/ 99 h 839"/>
                <a:gd name="T98" fmla="*/ 821 w 835"/>
                <a:gd name="T99" fmla="*/ 119 h 839"/>
                <a:gd name="T100" fmla="*/ 805 w 835"/>
                <a:gd name="T101" fmla="*/ 139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35" h="839">
                  <a:moveTo>
                    <a:pt x="805" y="139"/>
                  </a:moveTo>
                  <a:lnTo>
                    <a:pt x="686" y="261"/>
                  </a:lnTo>
                  <a:lnTo>
                    <a:pt x="567" y="381"/>
                  </a:lnTo>
                  <a:lnTo>
                    <a:pt x="141" y="806"/>
                  </a:lnTo>
                  <a:lnTo>
                    <a:pt x="124" y="823"/>
                  </a:lnTo>
                  <a:lnTo>
                    <a:pt x="104" y="833"/>
                  </a:lnTo>
                  <a:lnTo>
                    <a:pt x="84" y="839"/>
                  </a:lnTo>
                  <a:lnTo>
                    <a:pt x="63" y="839"/>
                  </a:lnTo>
                  <a:lnTo>
                    <a:pt x="40" y="829"/>
                  </a:lnTo>
                  <a:lnTo>
                    <a:pt x="21" y="816"/>
                  </a:lnTo>
                  <a:lnTo>
                    <a:pt x="8" y="800"/>
                  </a:lnTo>
                  <a:lnTo>
                    <a:pt x="1" y="783"/>
                  </a:lnTo>
                  <a:lnTo>
                    <a:pt x="0" y="763"/>
                  </a:lnTo>
                  <a:lnTo>
                    <a:pt x="4" y="742"/>
                  </a:lnTo>
                  <a:lnTo>
                    <a:pt x="13" y="723"/>
                  </a:lnTo>
                  <a:lnTo>
                    <a:pt x="27" y="706"/>
                  </a:lnTo>
                  <a:lnTo>
                    <a:pt x="43" y="689"/>
                  </a:lnTo>
                  <a:lnTo>
                    <a:pt x="64" y="667"/>
                  </a:lnTo>
                  <a:lnTo>
                    <a:pt x="90" y="642"/>
                  </a:lnTo>
                  <a:lnTo>
                    <a:pt x="117" y="613"/>
                  </a:lnTo>
                  <a:lnTo>
                    <a:pt x="148" y="583"/>
                  </a:lnTo>
                  <a:lnTo>
                    <a:pt x="181" y="550"/>
                  </a:lnTo>
                  <a:lnTo>
                    <a:pt x="215" y="515"/>
                  </a:lnTo>
                  <a:lnTo>
                    <a:pt x="251" y="479"/>
                  </a:lnTo>
                  <a:lnTo>
                    <a:pt x="288" y="442"/>
                  </a:lnTo>
                  <a:lnTo>
                    <a:pt x="327" y="403"/>
                  </a:lnTo>
                  <a:lnTo>
                    <a:pt x="365" y="365"/>
                  </a:lnTo>
                  <a:lnTo>
                    <a:pt x="402" y="328"/>
                  </a:lnTo>
                  <a:lnTo>
                    <a:pt x="440" y="289"/>
                  </a:lnTo>
                  <a:lnTo>
                    <a:pt x="477" y="254"/>
                  </a:lnTo>
                  <a:lnTo>
                    <a:pt x="511" y="218"/>
                  </a:lnTo>
                  <a:lnTo>
                    <a:pt x="544" y="185"/>
                  </a:lnTo>
                  <a:lnTo>
                    <a:pt x="575" y="154"/>
                  </a:lnTo>
                  <a:lnTo>
                    <a:pt x="604" y="125"/>
                  </a:lnTo>
                  <a:lnTo>
                    <a:pt x="629" y="99"/>
                  </a:lnTo>
                  <a:lnTo>
                    <a:pt x="652" y="78"/>
                  </a:lnTo>
                  <a:lnTo>
                    <a:pt x="671" y="59"/>
                  </a:lnTo>
                  <a:lnTo>
                    <a:pt x="685" y="45"/>
                  </a:lnTo>
                  <a:lnTo>
                    <a:pt x="695" y="35"/>
                  </a:lnTo>
                  <a:lnTo>
                    <a:pt x="699" y="29"/>
                  </a:lnTo>
                  <a:lnTo>
                    <a:pt x="725" y="11"/>
                  </a:lnTo>
                  <a:lnTo>
                    <a:pt x="749" y="1"/>
                  </a:lnTo>
                  <a:lnTo>
                    <a:pt x="772" y="0"/>
                  </a:lnTo>
                  <a:lnTo>
                    <a:pt x="795" y="8"/>
                  </a:lnTo>
                  <a:lnTo>
                    <a:pt x="816" y="25"/>
                  </a:lnTo>
                  <a:lnTo>
                    <a:pt x="828" y="41"/>
                  </a:lnTo>
                  <a:lnTo>
                    <a:pt x="835" y="59"/>
                  </a:lnTo>
                  <a:lnTo>
                    <a:pt x="835" y="79"/>
                  </a:lnTo>
                  <a:lnTo>
                    <a:pt x="831" y="99"/>
                  </a:lnTo>
                  <a:lnTo>
                    <a:pt x="821" y="119"/>
                  </a:lnTo>
                  <a:lnTo>
                    <a:pt x="805" y="13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36"/>
            <p:cNvSpPr>
              <a:spLocks/>
            </p:cNvSpPr>
            <p:nvPr/>
          </p:nvSpPr>
          <p:spPr bwMode="auto">
            <a:xfrm>
              <a:off x="1166" y="1856"/>
              <a:ext cx="715" cy="55"/>
            </a:xfrm>
            <a:custGeom>
              <a:avLst/>
              <a:gdLst>
                <a:gd name="T0" fmla="*/ 2145 w 2145"/>
                <a:gd name="T1" fmla="*/ 81 h 164"/>
                <a:gd name="T2" fmla="*/ 2141 w 2145"/>
                <a:gd name="T3" fmla="*/ 108 h 164"/>
                <a:gd name="T4" fmla="*/ 2129 w 2145"/>
                <a:gd name="T5" fmla="*/ 131 h 164"/>
                <a:gd name="T6" fmla="*/ 2112 w 2145"/>
                <a:gd name="T7" fmla="*/ 148 h 164"/>
                <a:gd name="T8" fmla="*/ 2089 w 2145"/>
                <a:gd name="T9" fmla="*/ 160 h 164"/>
                <a:gd name="T10" fmla="*/ 2064 w 2145"/>
                <a:gd name="T11" fmla="*/ 164 h 164"/>
                <a:gd name="T12" fmla="*/ 81 w 2145"/>
                <a:gd name="T13" fmla="*/ 164 h 164"/>
                <a:gd name="T14" fmla="*/ 56 w 2145"/>
                <a:gd name="T15" fmla="*/ 160 h 164"/>
                <a:gd name="T16" fmla="*/ 33 w 2145"/>
                <a:gd name="T17" fmla="*/ 148 h 164"/>
                <a:gd name="T18" fmla="*/ 16 w 2145"/>
                <a:gd name="T19" fmla="*/ 131 h 164"/>
                <a:gd name="T20" fmla="*/ 4 w 2145"/>
                <a:gd name="T21" fmla="*/ 108 h 164"/>
                <a:gd name="T22" fmla="*/ 0 w 2145"/>
                <a:gd name="T23" fmla="*/ 81 h 164"/>
                <a:gd name="T24" fmla="*/ 4 w 2145"/>
                <a:gd name="T25" fmla="*/ 55 h 164"/>
                <a:gd name="T26" fmla="*/ 16 w 2145"/>
                <a:gd name="T27" fmla="*/ 33 h 164"/>
                <a:gd name="T28" fmla="*/ 33 w 2145"/>
                <a:gd name="T29" fmla="*/ 15 h 164"/>
                <a:gd name="T30" fmla="*/ 56 w 2145"/>
                <a:gd name="T31" fmla="*/ 4 h 164"/>
                <a:gd name="T32" fmla="*/ 81 w 2145"/>
                <a:gd name="T33" fmla="*/ 0 h 164"/>
                <a:gd name="T34" fmla="*/ 2064 w 2145"/>
                <a:gd name="T35" fmla="*/ 0 h 164"/>
                <a:gd name="T36" fmla="*/ 2089 w 2145"/>
                <a:gd name="T37" fmla="*/ 4 h 164"/>
                <a:gd name="T38" fmla="*/ 2112 w 2145"/>
                <a:gd name="T39" fmla="*/ 15 h 164"/>
                <a:gd name="T40" fmla="*/ 2129 w 2145"/>
                <a:gd name="T41" fmla="*/ 33 h 164"/>
                <a:gd name="T42" fmla="*/ 2141 w 2145"/>
                <a:gd name="T43" fmla="*/ 55 h 164"/>
                <a:gd name="T44" fmla="*/ 2145 w 2145"/>
                <a:gd name="T45" fmla="*/ 8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45" h="164">
                  <a:moveTo>
                    <a:pt x="2145" y="81"/>
                  </a:moveTo>
                  <a:lnTo>
                    <a:pt x="2141" y="108"/>
                  </a:lnTo>
                  <a:lnTo>
                    <a:pt x="2129" y="131"/>
                  </a:lnTo>
                  <a:lnTo>
                    <a:pt x="2112" y="148"/>
                  </a:lnTo>
                  <a:lnTo>
                    <a:pt x="2089" y="160"/>
                  </a:lnTo>
                  <a:lnTo>
                    <a:pt x="2064" y="164"/>
                  </a:lnTo>
                  <a:lnTo>
                    <a:pt x="81" y="164"/>
                  </a:lnTo>
                  <a:lnTo>
                    <a:pt x="56" y="160"/>
                  </a:lnTo>
                  <a:lnTo>
                    <a:pt x="33" y="148"/>
                  </a:lnTo>
                  <a:lnTo>
                    <a:pt x="16" y="131"/>
                  </a:lnTo>
                  <a:lnTo>
                    <a:pt x="4" y="108"/>
                  </a:lnTo>
                  <a:lnTo>
                    <a:pt x="0" y="81"/>
                  </a:lnTo>
                  <a:lnTo>
                    <a:pt x="4" y="55"/>
                  </a:lnTo>
                  <a:lnTo>
                    <a:pt x="16" y="33"/>
                  </a:lnTo>
                  <a:lnTo>
                    <a:pt x="33" y="15"/>
                  </a:lnTo>
                  <a:lnTo>
                    <a:pt x="56" y="4"/>
                  </a:lnTo>
                  <a:lnTo>
                    <a:pt x="81" y="0"/>
                  </a:lnTo>
                  <a:lnTo>
                    <a:pt x="2064" y="0"/>
                  </a:lnTo>
                  <a:lnTo>
                    <a:pt x="2089" y="4"/>
                  </a:lnTo>
                  <a:lnTo>
                    <a:pt x="2112" y="15"/>
                  </a:lnTo>
                  <a:lnTo>
                    <a:pt x="2129" y="33"/>
                  </a:lnTo>
                  <a:lnTo>
                    <a:pt x="2141" y="55"/>
                  </a:lnTo>
                  <a:lnTo>
                    <a:pt x="2145" y="8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37"/>
            <p:cNvSpPr>
              <a:spLocks/>
            </p:cNvSpPr>
            <p:nvPr/>
          </p:nvSpPr>
          <p:spPr bwMode="auto">
            <a:xfrm>
              <a:off x="1166" y="2100"/>
              <a:ext cx="715" cy="55"/>
            </a:xfrm>
            <a:custGeom>
              <a:avLst/>
              <a:gdLst>
                <a:gd name="T0" fmla="*/ 2145 w 2145"/>
                <a:gd name="T1" fmla="*/ 83 h 164"/>
                <a:gd name="T2" fmla="*/ 2141 w 2145"/>
                <a:gd name="T3" fmla="*/ 109 h 164"/>
                <a:gd name="T4" fmla="*/ 2129 w 2145"/>
                <a:gd name="T5" fmla="*/ 132 h 164"/>
                <a:gd name="T6" fmla="*/ 2112 w 2145"/>
                <a:gd name="T7" fmla="*/ 149 h 164"/>
                <a:gd name="T8" fmla="*/ 2089 w 2145"/>
                <a:gd name="T9" fmla="*/ 160 h 164"/>
                <a:gd name="T10" fmla="*/ 2064 w 2145"/>
                <a:gd name="T11" fmla="*/ 164 h 164"/>
                <a:gd name="T12" fmla="*/ 81 w 2145"/>
                <a:gd name="T13" fmla="*/ 164 h 164"/>
                <a:gd name="T14" fmla="*/ 56 w 2145"/>
                <a:gd name="T15" fmla="*/ 160 h 164"/>
                <a:gd name="T16" fmla="*/ 33 w 2145"/>
                <a:gd name="T17" fmla="*/ 149 h 164"/>
                <a:gd name="T18" fmla="*/ 16 w 2145"/>
                <a:gd name="T19" fmla="*/ 132 h 164"/>
                <a:gd name="T20" fmla="*/ 4 w 2145"/>
                <a:gd name="T21" fmla="*/ 109 h 164"/>
                <a:gd name="T22" fmla="*/ 0 w 2145"/>
                <a:gd name="T23" fmla="*/ 83 h 164"/>
                <a:gd name="T24" fmla="*/ 4 w 2145"/>
                <a:gd name="T25" fmla="*/ 57 h 164"/>
                <a:gd name="T26" fmla="*/ 16 w 2145"/>
                <a:gd name="T27" fmla="*/ 34 h 164"/>
                <a:gd name="T28" fmla="*/ 33 w 2145"/>
                <a:gd name="T29" fmla="*/ 16 h 164"/>
                <a:gd name="T30" fmla="*/ 56 w 2145"/>
                <a:gd name="T31" fmla="*/ 5 h 164"/>
                <a:gd name="T32" fmla="*/ 81 w 2145"/>
                <a:gd name="T33" fmla="*/ 0 h 164"/>
                <a:gd name="T34" fmla="*/ 2064 w 2145"/>
                <a:gd name="T35" fmla="*/ 0 h 164"/>
                <a:gd name="T36" fmla="*/ 2089 w 2145"/>
                <a:gd name="T37" fmla="*/ 5 h 164"/>
                <a:gd name="T38" fmla="*/ 2112 w 2145"/>
                <a:gd name="T39" fmla="*/ 16 h 164"/>
                <a:gd name="T40" fmla="*/ 2129 w 2145"/>
                <a:gd name="T41" fmla="*/ 34 h 164"/>
                <a:gd name="T42" fmla="*/ 2141 w 2145"/>
                <a:gd name="T43" fmla="*/ 57 h 164"/>
                <a:gd name="T44" fmla="*/ 2145 w 2145"/>
                <a:gd name="T45" fmla="*/ 83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2145" h="164">
                  <a:moveTo>
                    <a:pt x="2145" y="83"/>
                  </a:moveTo>
                  <a:lnTo>
                    <a:pt x="2141" y="109"/>
                  </a:lnTo>
                  <a:lnTo>
                    <a:pt x="2129" y="132"/>
                  </a:lnTo>
                  <a:lnTo>
                    <a:pt x="2112" y="149"/>
                  </a:lnTo>
                  <a:lnTo>
                    <a:pt x="2089" y="160"/>
                  </a:lnTo>
                  <a:lnTo>
                    <a:pt x="2064" y="164"/>
                  </a:lnTo>
                  <a:lnTo>
                    <a:pt x="81" y="164"/>
                  </a:lnTo>
                  <a:lnTo>
                    <a:pt x="56" y="160"/>
                  </a:lnTo>
                  <a:lnTo>
                    <a:pt x="33" y="149"/>
                  </a:lnTo>
                  <a:lnTo>
                    <a:pt x="16" y="132"/>
                  </a:lnTo>
                  <a:lnTo>
                    <a:pt x="4" y="109"/>
                  </a:lnTo>
                  <a:lnTo>
                    <a:pt x="0" y="83"/>
                  </a:lnTo>
                  <a:lnTo>
                    <a:pt x="4" y="57"/>
                  </a:lnTo>
                  <a:lnTo>
                    <a:pt x="16" y="34"/>
                  </a:lnTo>
                  <a:lnTo>
                    <a:pt x="33" y="16"/>
                  </a:lnTo>
                  <a:lnTo>
                    <a:pt x="56" y="5"/>
                  </a:lnTo>
                  <a:lnTo>
                    <a:pt x="81" y="0"/>
                  </a:lnTo>
                  <a:lnTo>
                    <a:pt x="2064" y="0"/>
                  </a:lnTo>
                  <a:lnTo>
                    <a:pt x="2089" y="5"/>
                  </a:lnTo>
                  <a:lnTo>
                    <a:pt x="2112" y="16"/>
                  </a:lnTo>
                  <a:lnTo>
                    <a:pt x="2129" y="34"/>
                  </a:lnTo>
                  <a:lnTo>
                    <a:pt x="2141" y="57"/>
                  </a:lnTo>
                  <a:lnTo>
                    <a:pt x="2145" y="83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38"/>
            <p:cNvSpPr>
              <a:spLocks/>
            </p:cNvSpPr>
            <p:nvPr/>
          </p:nvSpPr>
          <p:spPr bwMode="auto">
            <a:xfrm>
              <a:off x="1166" y="2345"/>
              <a:ext cx="715" cy="55"/>
            </a:xfrm>
            <a:custGeom>
              <a:avLst/>
              <a:gdLst>
                <a:gd name="T0" fmla="*/ 2144 w 2144"/>
                <a:gd name="T1" fmla="*/ 65 h 165"/>
                <a:gd name="T2" fmla="*/ 2045 w 2144"/>
                <a:gd name="T3" fmla="*/ 165 h 165"/>
                <a:gd name="T4" fmla="*/ 81 w 2144"/>
                <a:gd name="T5" fmla="*/ 165 h 165"/>
                <a:gd name="T6" fmla="*/ 56 w 2144"/>
                <a:gd name="T7" fmla="*/ 161 h 165"/>
                <a:gd name="T8" fmla="*/ 33 w 2144"/>
                <a:gd name="T9" fmla="*/ 150 h 165"/>
                <a:gd name="T10" fmla="*/ 16 w 2144"/>
                <a:gd name="T11" fmla="*/ 131 h 165"/>
                <a:gd name="T12" fmla="*/ 3 w 2144"/>
                <a:gd name="T13" fmla="*/ 108 h 165"/>
                <a:gd name="T14" fmla="*/ 0 w 2144"/>
                <a:gd name="T15" fmla="*/ 83 h 165"/>
                <a:gd name="T16" fmla="*/ 3 w 2144"/>
                <a:gd name="T17" fmla="*/ 57 h 165"/>
                <a:gd name="T18" fmla="*/ 16 w 2144"/>
                <a:gd name="T19" fmla="*/ 34 h 165"/>
                <a:gd name="T20" fmla="*/ 33 w 2144"/>
                <a:gd name="T21" fmla="*/ 15 h 165"/>
                <a:gd name="T22" fmla="*/ 56 w 2144"/>
                <a:gd name="T23" fmla="*/ 4 h 165"/>
                <a:gd name="T24" fmla="*/ 81 w 2144"/>
                <a:gd name="T25" fmla="*/ 0 h 165"/>
                <a:gd name="T26" fmla="*/ 2064 w 2144"/>
                <a:gd name="T27" fmla="*/ 0 h 165"/>
                <a:gd name="T28" fmla="*/ 2087 w 2144"/>
                <a:gd name="T29" fmla="*/ 4 h 165"/>
                <a:gd name="T30" fmla="*/ 2107 w 2144"/>
                <a:gd name="T31" fmla="*/ 13 h 165"/>
                <a:gd name="T32" fmla="*/ 2124 w 2144"/>
                <a:gd name="T33" fmla="*/ 27 h 165"/>
                <a:gd name="T34" fmla="*/ 2137 w 2144"/>
                <a:gd name="T35" fmla="*/ 44 h 165"/>
                <a:gd name="T36" fmla="*/ 2144 w 2144"/>
                <a:gd name="T37" fmla="*/ 65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144" h="165">
                  <a:moveTo>
                    <a:pt x="2144" y="65"/>
                  </a:moveTo>
                  <a:lnTo>
                    <a:pt x="2045" y="165"/>
                  </a:lnTo>
                  <a:lnTo>
                    <a:pt x="81" y="165"/>
                  </a:lnTo>
                  <a:lnTo>
                    <a:pt x="56" y="161"/>
                  </a:lnTo>
                  <a:lnTo>
                    <a:pt x="33" y="150"/>
                  </a:lnTo>
                  <a:lnTo>
                    <a:pt x="16" y="131"/>
                  </a:lnTo>
                  <a:lnTo>
                    <a:pt x="3" y="108"/>
                  </a:lnTo>
                  <a:lnTo>
                    <a:pt x="0" y="83"/>
                  </a:lnTo>
                  <a:lnTo>
                    <a:pt x="3" y="57"/>
                  </a:lnTo>
                  <a:lnTo>
                    <a:pt x="16" y="34"/>
                  </a:lnTo>
                  <a:lnTo>
                    <a:pt x="33" y="15"/>
                  </a:lnTo>
                  <a:lnTo>
                    <a:pt x="56" y="4"/>
                  </a:lnTo>
                  <a:lnTo>
                    <a:pt x="81" y="0"/>
                  </a:lnTo>
                  <a:lnTo>
                    <a:pt x="2064" y="0"/>
                  </a:lnTo>
                  <a:lnTo>
                    <a:pt x="2087" y="4"/>
                  </a:lnTo>
                  <a:lnTo>
                    <a:pt x="2107" y="13"/>
                  </a:lnTo>
                  <a:lnTo>
                    <a:pt x="2124" y="27"/>
                  </a:lnTo>
                  <a:lnTo>
                    <a:pt x="2137" y="44"/>
                  </a:lnTo>
                  <a:lnTo>
                    <a:pt x="2144" y="6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39"/>
            <p:cNvSpPr>
              <a:spLocks/>
            </p:cNvSpPr>
            <p:nvPr/>
          </p:nvSpPr>
          <p:spPr bwMode="auto">
            <a:xfrm>
              <a:off x="1516" y="2441"/>
              <a:ext cx="513" cy="525"/>
            </a:xfrm>
            <a:custGeom>
              <a:avLst/>
              <a:gdLst>
                <a:gd name="T0" fmla="*/ 1535 w 1538"/>
                <a:gd name="T1" fmla="*/ 372 h 1575"/>
                <a:gd name="T2" fmla="*/ 1515 w 1538"/>
                <a:gd name="T3" fmla="*/ 394 h 1575"/>
                <a:gd name="T4" fmla="*/ 1476 w 1538"/>
                <a:gd name="T5" fmla="*/ 432 h 1575"/>
                <a:gd name="T6" fmla="*/ 1422 w 1538"/>
                <a:gd name="T7" fmla="*/ 488 h 1575"/>
                <a:gd name="T8" fmla="*/ 1355 w 1538"/>
                <a:gd name="T9" fmla="*/ 555 h 1575"/>
                <a:gd name="T10" fmla="*/ 1279 w 1538"/>
                <a:gd name="T11" fmla="*/ 632 h 1575"/>
                <a:gd name="T12" fmla="*/ 1195 w 1538"/>
                <a:gd name="T13" fmla="*/ 715 h 1575"/>
                <a:gd name="T14" fmla="*/ 1107 w 1538"/>
                <a:gd name="T15" fmla="*/ 803 h 1575"/>
                <a:gd name="T16" fmla="*/ 1017 w 1538"/>
                <a:gd name="T17" fmla="*/ 892 h 1575"/>
                <a:gd name="T18" fmla="*/ 927 w 1538"/>
                <a:gd name="T19" fmla="*/ 980 h 1575"/>
                <a:gd name="T20" fmla="*/ 841 w 1538"/>
                <a:gd name="T21" fmla="*/ 1063 h 1575"/>
                <a:gd name="T22" fmla="*/ 761 w 1538"/>
                <a:gd name="T23" fmla="*/ 1139 h 1575"/>
                <a:gd name="T24" fmla="*/ 691 w 1538"/>
                <a:gd name="T25" fmla="*/ 1204 h 1575"/>
                <a:gd name="T26" fmla="*/ 631 w 1538"/>
                <a:gd name="T27" fmla="*/ 1259 h 1575"/>
                <a:gd name="T28" fmla="*/ 587 w 1538"/>
                <a:gd name="T29" fmla="*/ 1296 h 1575"/>
                <a:gd name="T30" fmla="*/ 567 w 1538"/>
                <a:gd name="T31" fmla="*/ 1310 h 1575"/>
                <a:gd name="T32" fmla="*/ 544 w 1538"/>
                <a:gd name="T33" fmla="*/ 1326 h 1575"/>
                <a:gd name="T34" fmla="*/ 503 w 1538"/>
                <a:gd name="T35" fmla="*/ 1354 h 1575"/>
                <a:gd name="T36" fmla="*/ 447 w 1538"/>
                <a:gd name="T37" fmla="*/ 1388 h 1575"/>
                <a:gd name="T38" fmla="*/ 381 w 1538"/>
                <a:gd name="T39" fmla="*/ 1427 h 1575"/>
                <a:gd name="T40" fmla="*/ 312 w 1538"/>
                <a:gd name="T41" fmla="*/ 1464 h 1575"/>
                <a:gd name="T42" fmla="*/ 240 w 1538"/>
                <a:gd name="T43" fmla="*/ 1496 h 1575"/>
                <a:gd name="T44" fmla="*/ 172 w 1538"/>
                <a:gd name="T45" fmla="*/ 1517 h 1575"/>
                <a:gd name="T46" fmla="*/ 112 w 1538"/>
                <a:gd name="T47" fmla="*/ 1523 h 1575"/>
                <a:gd name="T48" fmla="*/ 105 w 1538"/>
                <a:gd name="T49" fmla="*/ 1524 h 1575"/>
                <a:gd name="T50" fmla="*/ 63 w 1538"/>
                <a:gd name="T51" fmla="*/ 1564 h 1575"/>
                <a:gd name="T52" fmla="*/ 36 w 1538"/>
                <a:gd name="T53" fmla="*/ 1575 h 1575"/>
                <a:gd name="T54" fmla="*/ 12 w 1538"/>
                <a:gd name="T55" fmla="*/ 1567 h 1575"/>
                <a:gd name="T56" fmla="*/ 0 w 1538"/>
                <a:gd name="T57" fmla="*/ 1541 h 1575"/>
                <a:gd name="T58" fmla="*/ 9 w 1538"/>
                <a:gd name="T59" fmla="*/ 1514 h 1575"/>
                <a:gd name="T60" fmla="*/ 39 w 1538"/>
                <a:gd name="T61" fmla="*/ 1453 h 1575"/>
                <a:gd name="T62" fmla="*/ 43 w 1538"/>
                <a:gd name="T63" fmla="*/ 1393 h 1575"/>
                <a:gd name="T64" fmla="*/ 62 w 1538"/>
                <a:gd name="T65" fmla="*/ 1324 h 1575"/>
                <a:gd name="T66" fmla="*/ 90 w 1538"/>
                <a:gd name="T67" fmla="*/ 1253 h 1575"/>
                <a:gd name="T68" fmla="*/ 125 w 1538"/>
                <a:gd name="T69" fmla="*/ 1180 h 1575"/>
                <a:gd name="T70" fmla="*/ 160 w 1538"/>
                <a:gd name="T71" fmla="*/ 1114 h 1575"/>
                <a:gd name="T72" fmla="*/ 194 w 1538"/>
                <a:gd name="T73" fmla="*/ 1057 h 1575"/>
                <a:gd name="T74" fmla="*/ 222 w 1538"/>
                <a:gd name="T75" fmla="*/ 1015 h 1575"/>
                <a:gd name="T76" fmla="*/ 236 w 1538"/>
                <a:gd name="T77" fmla="*/ 992 h 1575"/>
                <a:gd name="T78" fmla="*/ 250 w 1538"/>
                <a:gd name="T79" fmla="*/ 972 h 1575"/>
                <a:gd name="T80" fmla="*/ 286 w 1538"/>
                <a:gd name="T81" fmla="*/ 926 h 1575"/>
                <a:gd name="T82" fmla="*/ 337 w 1538"/>
                <a:gd name="T83" fmla="*/ 866 h 1575"/>
                <a:gd name="T84" fmla="*/ 401 w 1538"/>
                <a:gd name="T85" fmla="*/ 793 h 1575"/>
                <a:gd name="T86" fmla="*/ 476 w 1538"/>
                <a:gd name="T87" fmla="*/ 712 h 1575"/>
                <a:gd name="T88" fmla="*/ 557 w 1538"/>
                <a:gd name="T89" fmla="*/ 625 h 1575"/>
                <a:gd name="T90" fmla="*/ 643 w 1538"/>
                <a:gd name="T91" fmla="*/ 532 h 1575"/>
                <a:gd name="T92" fmla="*/ 730 w 1538"/>
                <a:gd name="T93" fmla="*/ 441 h 1575"/>
                <a:gd name="T94" fmla="*/ 815 w 1538"/>
                <a:gd name="T95" fmla="*/ 351 h 1575"/>
                <a:gd name="T96" fmla="*/ 897 w 1538"/>
                <a:gd name="T97" fmla="*/ 265 h 1575"/>
                <a:gd name="T98" fmla="*/ 972 w 1538"/>
                <a:gd name="T99" fmla="*/ 187 h 1575"/>
                <a:gd name="T100" fmla="*/ 1038 w 1538"/>
                <a:gd name="T101" fmla="*/ 118 h 1575"/>
                <a:gd name="T102" fmla="*/ 1091 w 1538"/>
                <a:gd name="T103" fmla="*/ 63 h 1575"/>
                <a:gd name="T104" fmla="*/ 1129 w 1538"/>
                <a:gd name="T105" fmla="*/ 24 h 1575"/>
                <a:gd name="T106" fmla="*/ 1149 w 1538"/>
                <a:gd name="T107" fmla="*/ 3 h 1575"/>
                <a:gd name="T108" fmla="*/ 1345 w 1538"/>
                <a:gd name="T109" fmla="*/ 183 h 1575"/>
                <a:gd name="T110" fmla="*/ 1355 w 1538"/>
                <a:gd name="T111" fmla="*/ 193 h 1575"/>
                <a:gd name="T112" fmla="*/ 1381 w 1538"/>
                <a:gd name="T113" fmla="*/ 215 h 1575"/>
                <a:gd name="T114" fmla="*/ 1413 w 1538"/>
                <a:gd name="T115" fmla="*/ 248 h 1575"/>
                <a:gd name="T116" fmla="*/ 1452 w 1538"/>
                <a:gd name="T117" fmla="*/ 285 h 1575"/>
                <a:gd name="T118" fmla="*/ 1489 w 1538"/>
                <a:gd name="T119" fmla="*/ 321 h 1575"/>
                <a:gd name="T120" fmla="*/ 1518 w 1538"/>
                <a:gd name="T121" fmla="*/ 351 h 1575"/>
                <a:gd name="T122" fmla="*/ 1535 w 1538"/>
                <a:gd name="T123" fmla="*/ 368 h 15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38" h="1575">
                  <a:moveTo>
                    <a:pt x="1538" y="370"/>
                  </a:moveTo>
                  <a:lnTo>
                    <a:pt x="1535" y="372"/>
                  </a:lnTo>
                  <a:lnTo>
                    <a:pt x="1528" y="381"/>
                  </a:lnTo>
                  <a:lnTo>
                    <a:pt x="1515" y="394"/>
                  </a:lnTo>
                  <a:lnTo>
                    <a:pt x="1498" y="411"/>
                  </a:lnTo>
                  <a:lnTo>
                    <a:pt x="1476" y="432"/>
                  </a:lnTo>
                  <a:lnTo>
                    <a:pt x="1450" y="458"/>
                  </a:lnTo>
                  <a:lnTo>
                    <a:pt x="1422" y="488"/>
                  </a:lnTo>
                  <a:lnTo>
                    <a:pt x="1391" y="519"/>
                  </a:lnTo>
                  <a:lnTo>
                    <a:pt x="1355" y="555"/>
                  </a:lnTo>
                  <a:lnTo>
                    <a:pt x="1318" y="592"/>
                  </a:lnTo>
                  <a:lnTo>
                    <a:pt x="1279" y="632"/>
                  </a:lnTo>
                  <a:lnTo>
                    <a:pt x="1238" y="672"/>
                  </a:lnTo>
                  <a:lnTo>
                    <a:pt x="1195" y="715"/>
                  </a:lnTo>
                  <a:lnTo>
                    <a:pt x="1151" y="759"/>
                  </a:lnTo>
                  <a:lnTo>
                    <a:pt x="1107" y="803"/>
                  </a:lnTo>
                  <a:lnTo>
                    <a:pt x="1062" y="848"/>
                  </a:lnTo>
                  <a:lnTo>
                    <a:pt x="1017" y="892"/>
                  </a:lnTo>
                  <a:lnTo>
                    <a:pt x="971" y="936"/>
                  </a:lnTo>
                  <a:lnTo>
                    <a:pt x="927" y="980"/>
                  </a:lnTo>
                  <a:lnTo>
                    <a:pt x="884" y="1022"/>
                  </a:lnTo>
                  <a:lnTo>
                    <a:pt x="841" y="1063"/>
                  </a:lnTo>
                  <a:lnTo>
                    <a:pt x="801" y="1102"/>
                  </a:lnTo>
                  <a:lnTo>
                    <a:pt x="761" y="1139"/>
                  </a:lnTo>
                  <a:lnTo>
                    <a:pt x="725" y="1173"/>
                  </a:lnTo>
                  <a:lnTo>
                    <a:pt x="691" y="1204"/>
                  </a:lnTo>
                  <a:lnTo>
                    <a:pt x="660" y="1233"/>
                  </a:lnTo>
                  <a:lnTo>
                    <a:pt x="631" y="1259"/>
                  </a:lnTo>
                  <a:lnTo>
                    <a:pt x="607" y="1279"/>
                  </a:lnTo>
                  <a:lnTo>
                    <a:pt x="587" y="1296"/>
                  </a:lnTo>
                  <a:lnTo>
                    <a:pt x="570" y="1307"/>
                  </a:lnTo>
                  <a:lnTo>
                    <a:pt x="567" y="1310"/>
                  </a:lnTo>
                  <a:lnTo>
                    <a:pt x="558" y="1316"/>
                  </a:lnTo>
                  <a:lnTo>
                    <a:pt x="544" y="1326"/>
                  </a:lnTo>
                  <a:lnTo>
                    <a:pt x="526" y="1339"/>
                  </a:lnTo>
                  <a:lnTo>
                    <a:pt x="503" y="1354"/>
                  </a:lnTo>
                  <a:lnTo>
                    <a:pt x="477" y="1371"/>
                  </a:lnTo>
                  <a:lnTo>
                    <a:pt x="447" y="1388"/>
                  </a:lnTo>
                  <a:lnTo>
                    <a:pt x="416" y="1408"/>
                  </a:lnTo>
                  <a:lnTo>
                    <a:pt x="381" y="1427"/>
                  </a:lnTo>
                  <a:lnTo>
                    <a:pt x="347" y="1447"/>
                  </a:lnTo>
                  <a:lnTo>
                    <a:pt x="312" y="1464"/>
                  </a:lnTo>
                  <a:lnTo>
                    <a:pt x="276" y="1481"/>
                  </a:lnTo>
                  <a:lnTo>
                    <a:pt x="240" y="1496"/>
                  </a:lnTo>
                  <a:lnTo>
                    <a:pt x="206" y="1507"/>
                  </a:lnTo>
                  <a:lnTo>
                    <a:pt x="172" y="1517"/>
                  </a:lnTo>
                  <a:lnTo>
                    <a:pt x="140" y="1521"/>
                  </a:lnTo>
                  <a:lnTo>
                    <a:pt x="112" y="1523"/>
                  </a:lnTo>
                  <a:lnTo>
                    <a:pt x="109" y="1524"/>
                  </a:lnTo>
                  <a:lnTo>
                    <a:pt x="105" y="1524"/>
                  </a:lnTo>
                  <a:lnTo>
                    <a:pt x="102" y="1524"/>
                  </a:lnTo>
                  <a:lnTo>
                    <a:pt x="63" y="1564"/>
                  </a:lnTo>
                  <a:lnTo>
                    <a:pt x="50" y="1573"/>
                  </a:lnTo>
                  <a:lnTo>
                    <a:pt x="36" y="1575"/>
                  </a:lnTo>
                  <a:lnTo>
                    <a:pt x="23" y="1574"/>
                  </a:lnTo>
                  <a:lnTo>
                    <a:pt x="12" y="1567"/>
                  </a:lnTo>
                  <a:lnTo>
                    <a:pt x="3" y="1554"/>
                  </a:lnTo>
                  <a:lnTo>
                    <a:pt x="0" y="1541"/>
                  </a:lnTo>
                  <a:lnTo>
                    <a:pt x="2" y="1527"/>
                  </a:lnTo>
                  <a:lnTo>
                    <a:pt x="9" y="1514"/>
                  </a:lnTo>
                  <a:lnTo>
                    <a:pt x="45" y="1477"/>
                  </a:lnTo>
                  <a:lnTo>
                    <a:pt x="39" y="1453"/>
                  </a:lnTo>
                  <a:lnTo>
                    <a:pt x="39" y="1424"/>
                  </a:lnTo>
                  <a:lnTo>
                    <a:pt x="43" y="1393"/>
                  </a:lnTo>
                  <a:lnTo>
                    <a:pt x="50" y="1360"/>
                  </a:lnTo>
                  <a:lnTo>
                    <a:pt x="62" y="1324"/>
                  </a:lnTo>
                  <a:lnTo>
                    <a:pt x="75" y="1289"/>
                  </a:lnTo>
                  <a:lnTo>
                    <a:pt x="90" y="1253"/>
                  </a:lnTo>
                  <a:lnTo>
                    <a:pt x="107" y="1216"/>
                  </a:lnTo>
                  <a:lnTo>
                    <a:pt x="125" y="1180"/>
                  </a:lnTo>
                  <a:lnTo>
                    <a:pt x="143" y="1146"/>
                  </a:lnTo>
                  <a:lnTo>
                    <a:pt x="160" y="1114"/>
                  </a:lnTo>
                  <a:lnTo>
                    <a:pt x="179" y="1085"/>
                  </a:lnTo>
                  <a:lnTo>
                    <a:pt x="194" y="1057"/>
                  </a:lnTo>
                  <a:lnTo>
                    <a:pt x="209" y="1035"/>
                  </a:lnTo>
                  <a:lnTo>
                    <a:pt x="222" y="1015"/>
                  </a:lnTo>
                  <a:lnTo>
                    <a:pt x="230" y="1000"/>
                  </a:lnTo>
                  <a:lnTo>
                    <a:pt x="236" y="992"/>
                  </a:lnTo>
                  <a:lnTo>
                    <a:pt x="239" y="989"/>
                  </a:lnTo>
                  <a:lnTo>
                    <a:pt x="250" y="972"/>
                  </a:lnTo>
                  <a:lnTo>
                    <a:pt x="266" y="952"/>
                  </a:lnTo>
                  <a:lnTo>
                    <a:pt x="286" y="926"/>
                  </a:lnTo>
                  <a:lnTo>
                    <a:pt x="310" y="898"/>
                  </a:lnTo>
                  <a:lnTo>
                    <a:pt x="337" y="866"/>
                  </a:lnTo>
                  <a:lnTo>
                    <a:pt x="369" y="831"/>
                  </a:lnTo>
                  <a:lnTo>
                    <a:pt x="401" y="793"/>
                  </a:lnTo>
                  <a:lnTo>
                    <a:pt x="437" y="753"/>
                  </a:lnTo>
                  <a:lnTo>
                    <a:pt x="476" y="712"/>
                  </a:lnTo>
                  <a:lnTo>
                    <a:pt x="516" y="669"/>
                  </a:lnTo>
                  <a:lnTo>
                    <a:pt x="557" y="625"/>
                  </a:lnTo>
                  <a:lnTo>
                    <a:pt x="600" y="579"/>
                  </a:lnTo>
                  <a:lnTo>
                    <a:pt x="643" y="532"/>
                  </a:lnTo>
                  <a:lnTo>
                    <a:pt x="685" y="487"/>
                  </a:lnTo>
                  <a:lnTo>
                    <a:pt x="730" y="441"/>
                  </a:lnTo>
                  <a:lnTo>
                    <a:pt x="773" y="395"/>
                  </a:lnTo>
                  <a:lnTo>
                    <a:pt x="815" y="351"/>
                  </a:lnTo>
                  <a:lnTo>
                    <a:pt x="857" y="307"/>
                  </a:lnTo>
                  <a:lnTo>
                    <a:pt x="897" y="265"/>
                  </a:lnTo>
                  <a:lnTo>
                    <a:pt x="935" y="224"/>
                  </a:lnTo>
                  <a:lnTo>
                    <a:pt x="972" y="187"/>
                  </a:lnTo>
                  <a:lnTo>
                    <a:pt x="1007" y="151"/>
                  </a:lnTo>
                  <a:lnTo>
                    <a:pt x="1038" y="118"/>
                  </a:lnTo>
                  <a:lnTo>
                    <a:pt x="1067" y="90"/>
                  </a:lnTo>
                  <a:lnTo>
                    <a:pt x="1091" y="63"/>
                  </a:lnTo>
                  <a:lnTo>
                    <a:pt x="1112" y="41"/>
                  </a:lnTo>
                  <a:lnTo>
                    <a:pt x="1129" y="24"/>
                  </a:lnTo>
                  <a:lnTo>
                    <a:pt x="1142" y="11"/>
                  </a:lnTo>
                  <a:lnTo>
                    <a:pt x="1149" y="3"/>
                  </a:lnTo>
                  <a:lnTo>
                    <a:pt x="1152" y="0"/>
                  </a:lnTo>
                  <a:lnTo>
                    <a:pt x="1345" y="183"/>
                  </a:lnTo>
                  <a:lnTo>
                    <a:pt x="1348" y="186"/>
                  </a:lnTo>
                  <a:lnTo>
                    <a:pt x="1355" y="193"/>
                  </a:lnTo>
                  <a:lnTo>
                    <a:pt x="1366" y="203"/>
                  </a:lnTo>
                  <a:lnTo>
                    <a:pt x="1381" y="215"/>
                  </a:lnTo>
                  <a:lnTo>
                    <a:pt x="1396" y="231"/>
                  </a:lnTo>
                  <a:lnTo>
                    <a:pt x="1413" y="248"/>
                  </a:lnTo>
                  <a:lnTo>
                    <a:pt x="1433" y="267"/>
                  </a:lnTo>
                  <a:lnTo>
                    <a:pt x="1452" y="285"/>
                  </a:lnTo>
                  <a:lnTo>
                    <a:pt x="1470" y="304"/>
                  </a:lnTo>
                  <a:lnTo>
                    <a:pt x="1489" y="321"/>
                  </a:lnTo>
                  <a:lnTo>
                    <a:pt x="1505" y="337"/>
                  </a:lnTo>
                  <a:lnTo>
                    <a:pt x="1518" y="351"/>
                  </a:lnTo>
                  <a:lnTo>
                    <a:pt x="1529" y="361"/>
                  </a:lnTo>
                  <a:lnTo>
                    <a:pt x="1535" y="368"/>
                  </a:lnTo>
                  <a:lnTo>
                    <a:pt x="1538" y="37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8" name="Rectangle 27"/>
          <p:cNvSpPr/>
          <p:nvPr/>
        </p:nvSpPr>
        <p:spPr>
          <a:xfrm>
            <a:off x="970881" y="2888783"/>
            <a:ext cx="2973138" cy="1754326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defRPr/>
            </a:pPr>
            <a:r>
              <a:rPr lang="en-US" sz="3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troduction to Marital Agreements</a:t>
            </a:r>
            <a:endParaRPr lang="en-GB" sz="36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49647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599" y="1"/>
            <a:ext cx="11544807" cy="814797"/>
          </a:xfrm>
        </p:spPr>
        <p:txBody>
          <a:bodyPr>
            <a:noAutofit/>
          </a:bodyPr>
          <a:lstStyle/>
          <a:p>
            <a:r>
              <a:rPr lang="en-US" sz="2800" dirty="0"/>
              <a:t>FIRST LEVEL CONSIDERATIONS </a:t>
            </a:r>
            <a:r>
              <a:rPr lang="en-US" sz="2400" b="0" i="1" dirty="0"/>
              <a:t>(Only a baseline to begin communicating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4</a:t>
            </a:fld>
            <a:endParaRPr lang="en-US"/>
          </a:p>
        </p:txBody>
      </p:sp>
      <p:sp>
        <p:nvSpPr>
          <p:cNvPr id="495" name="Freeform 445"/>
          <p:cNvSpPr>
            <a:spLocks/>
          </p:cNvSpPr>
          <p:nvPr/>
        </p:nvSpPr>
        <p:spPr bwMode="auto">
          <a:xfrm>
            <a:off x="7487945" y="1796555"/>
            <a:ext cx="1798070" cy="1798070"/>
          </a:xfrm>
          <a:custGeom>
            <a:avLst/>
            <a:gdLst>
              <a:gd name="T0" fmla="*/ 1175 w 2132"/>
              <a:gd name="T1" fmla="*/ 7 h 2135"/>
              <a:gd name="T2" fmla="*/ 1382 w 2132"/>
              <a:gd name="T3" fmla="*/ 49 h 2135"/>
              <a:gd name="T4" fmla="*/ 1574 w 2132"/>
              <a:gd name="T5" fmla="*/ 130 h 2135"/>
              <a:gd name="T6" fmla="*/ 1743 w 2132"/>
              <a:gd name="T7" fmla="*/ 244 h 2135"/>
              <a:gd name="T8" fmla="*/ 1889 w 2132"/>
              <a:gd name="T9" fmla="*/ 389 h 2135"/>
              <a:gd name="T10" fmla="*/ 2003 w 2132"/>
              <a:gd name="T11" fmla="*/ 559 h 2135"/>
              <a:gd name="T12" fmla="*/ 2084 w 2132"/>
              <a:gd name="T13" fmla="*/ 750 h 2135"/>
              <a:gd name="T14" fmla="*/ 2127 w 2132"/>
              <a:gd name="T15" fmla="*/ 958 h 2135"/>
              <a:gd name="T16" fmla="*/ 2127 w 2132"/>
              <a:gd name="T17" fmla="*/ 1177 h 2135"/>
              <a:gd name="T18" fmla="*/ 2084 w 2132"/>
              <a:gd name="T19" fmla="*/ 1385 h 2135"/>
              <a:gd name="T20" fmla="*/ 2003 w 2132"/>
              <a:gd name="T21" fmla="*/ 1576 h 2135"/>
              <a:gd name="T22" fmla="*/ 1889 w 2132"/>
              <a:gd name="T23" fmla="*/ 1746 h 2135"/>
              <a:gd name="T24" fmla="*/ 1743 w 2132"/>
              <a:gd name="T25" fmla="*/ 1891 h 2135"/>
              <a:gd name="T26" fmla="*/ 1574 w 2132"/>
              <a:gd name="T27" fmla="*/ 2005 h 2135"/>
              <a:gd name="T28" fmla="*/ 1382 w 2132"/>
              <a:gd name="T29" fmla="*/ 2086 h 2135"/>
              <a:gd name="T30" fmla="*/ 1175 w 2132"/>
              <a:gd name="T31" fmla="*/ 2128 h 2135"/>
              <a:gd name="T32" fmla="*/ 957 w 2132"/>
              <a:gd name="T33" fmla="*/ 2128 h 2135"/>
              <a:gd name="T34" fmla="*/ 748 w 2132"/>
              <a:gd name="T35" fmla="*/ 2086 h 2135"/>
              <a:gd name="T36" fmla="*/ 558 w 2132"/>
              <a:gd name="T37" fmla="*/ 2005 h 2135"/>
              <a:gd name="T38" fmla="*/ 387 w 2132"/>
              <a:gd name="T39" fmla="*/ 1891 h 2135"/>
              <a:gd name="T40" fmla="*/ 244 w 2132"/>
              <a:gd name="T41" fmla="*/ 1746 h 2135"/>
              <a:gd name="T42" fmla="*/ 128 w 2132"/>
              <a:gd name="T43" fmla="*/ 1576 h 2135"/>
              <a:gd name="T44" fmla="*/ 47 w 2132"/>
              <a:gd name="T45" fmla="*/ 1385 h 2135"/>
              <a:gd name="T46" fmla="*/ 5 w 2132"/>
              <a:gd name="T47" fmla="*/ 1177 h 2135"/>
              <a:gd name="T48" fmla="*/ 5 w 2132"/>
              <a:gd name="T49" fmla="*/ 958 h 2135"/>
              <a:gd name="T50" fmla="*/ 47 w 2132"/>
              <a:gd name="T51" fmla="*/ 750 h 2135"/>
              <a:gd name="T52" fmla="*/ 128 w 2132"/>
              <a:gd name="T53" fmla="*/ 559 h 2135"/>
              <a:gd name="T54" fmla="*/ 244 w 2132"/>
              <a:gd name="T55" fmla="*/ 389 h 2135"/>
              <a:gd name="T56" fmla="*/ 387 w 2132"/>
              <a:gd name="T57" fmla="*/ 244 h 2135"/>
              <a:gd name="T58" fmla="*/ 558 w 2132"/>
              <a:gd name="T59" fmla="*/ 130 h 2135"/>
              <a:gd name="T60" fmla="*/ 748 w 2132"/>
              <a:gd name="T61" fmla="*/ 49 h 2135"/>
              <a:gd name="T62" fmla="*/ 957 w 2132"/>
              <a:gd name="T63" fmla="*/ 7 h 2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132" h="2135">
                <a:moveTo>
                  <a:pt x="1066" y="0"/>
                </a:moveTo>
                <a:lnTo>
                  <a:pt x="1175" y="7"/>
                </a:lnTo>
                <a:lnTo>
                  <a:pt x="1280" y="23"/>
                </a:lnTo>
                <a:lnTo>
                  <a:pt x="1382" y="49"/>
                </a:lnTo>
                <a:lnTo>
                  <a:pt x="1481" y="85"/>
                </a:lnTo>
                <a:lnTo>
                  <a:pt x="1574" y="130"/>
                </a:lnTo>
                <a:lnTo>
                  <a:pt x="1662" y="184"/>
                </a:lnTo>
                <a:lnTo>
                  <a:pt x="1743" y="244"/>
                </a:lnTo>
                <a:lnTo>
                  <a:pt x="1819" y="313"/>
                </a:lnTo>
                <a:lnTo>
                  <a:pt x="1889" y="389"/>
                </a:lnTo>
                <a:lnTo>
                  <a:pt x="1951" y="470"/>
                </a:lnTo>
                <a:lnTo>
                  <a:pt x="2003" y="559"/>
                </a:lnTo>
                <a:lnTo>
                  <a:pt x="2048" y="652"/>
                </a:lnTo>
                <a:lnTo>
                  <a:pt x="2084" y="750"/>
                </a:lnTo>
                <a:lnTo>
                  <a:pt x="2110" y="852"/>
                </a:lnTo>
                <a:lnTo>
                  <a:pt x="2127" y="958"/>
                </a:lnTo>
                <a:lnTo>
                  <a:pt x="2132" y="1067"/>
                </a:lnTo>
                <a:lnTo>
                  <a:pt x="2127" y="1177"/>
                </a:lnTo>
                <a:lnTo>
                  <a:pt x="2110" y="1283"/>
                </a:lnTo>
                <a:lnTo>
                  <a:pt x="2084" y="1385"/>
                </a:lnTo>
                <a:lnTo>
                  <a:pt x="2048" y="1483"/>
                </a:lnTo>
                <a:lnTo>
                  <a:pt x="2003" y="1576"/>
                </a:lnTo>
                <a:lnTo>
                  <a:pt x="1951" y="1665"/>
                </a:lnTo>
                <a:lnTo>
                  <a:pt x="1889" y="1746"/>
                </a:lnTo>
                <a:lnTo>
                  <a:pt x="1819" y="1822"/>
                </a:lnTo>
                <a:lnTo>
                  <a:pt x="1743" y="1891"/>
                </a:lnTo>
                <a:lnTo>
                  <a:pt x="1662" y="1951"/>
                </a:lnTo>
                <a:lnTo>
                  <a:pt x="1574" y="2005"/>
                </a:lnTo>
                <a:lnTo>
                  <a:pt x="1481" y="2050"/>
                </a:lnTo>
                <a:lnTo>
                  <a:pt x="1382" y="2086"/>
                </a:lnTo>
                <a:lnTo>
                  <a:pt x="1280" y="2112"/>
                </a:lnTo>
                <a:lnTo>
                  <a:pt x="1175" y="2128"/>
                </a:lnTo>
                <a:lnTo>
                  <a:pt x="1066" y="2135"/>
                </a:lnTo>
                <a:lnTo>
                  <a:pt x="957" y="2128"/>
                </a:lnTo>
                <a:lnTo>
                  <a:pt x="850" y="2112"/>
                </a:lnTo>
                <a:lnTo>
                  <a:pt x="748" y="2086"/>
                </a:lnTo>
                <a:lnTo>
                  <a:pt x="651" y="2050"/>
                </a:lnTo>
                <a:lnTo>
                  <a:pt x="558" y="2005"/>
                </a:lnTo>
                <a:lnTo>
                  <a:pt x="470" y="1951"/>
                </a:lnTo>
                <a:lnTo>
                  <a:pt x="387" y="1891"/>
                </a:lnTo>
                <a:lnTo>
                  <a:pt x="311" y="1822"/>
                </a:lnTo>
                <a:lnTo>
                  <a:pt x="244" y="1746"/>
                </a:lnTo>
                <a:lnTo>
                  <a:pt x="181" y="1665"/>
                </a:lnTo>
                <a:lnTo>
                  <a:pt x="128" y="1576"/>
                </a:lnTo>
                <a:lnTo>
                  <a:pt x="83" y="1483"/>
                </a:lnTo>
                <a:lnTo>
                  <a:pt x="47" y="1385"/>
                </a:lnTo>
                <a:lnTo>
                  <a:pt x="21" y="1283"/>
                </a:lnTo>
                <a:lnTo>
                  <a:pt x="5" y="1177"/>
                </a:lnTo>
                <a:lnTo>
                  <a:pt x="0" y="1067"/>
                </a:lnTo>
                <a:lnTo>
                  <a:pt x="5" y="958"/>
                </a:lnTo>
                <a:lnTo>
                  <a:pt x="21" y="852"/>
                </a:lnTo>
                <a:lnTo>
                  <a:pt x="47" y="750"/>
                </a:lnTo>
                <a:lnTo>
                  <a:pt x="83" y="652"/>
                </a:lnTo>
                <a:lnTo>
                  <a:pt x="128" y="559"/>
                </a:lnTo>
                <a:lnTo>
                  <a:pt x="181" y="470"/>
                </a:lnTo>
                <a:lnTo>
                  <a:pt x="244" y="389"/>
                </a:lnTo>
                <a:lnTo>
                  <a:pt x="311" y="313"/>
                </a:lnTo>
                <a:lnTo>
                  <a:pt x="387" y="244"/>
                </a:lnTo>
                <a:lnTo>
                  <a:pt x="470" y="184"/>
                </a:lnTo>
                <a:lnTo>
                  <a:pt x="558" y="130"/>
                </a:lnTo>
                <a:lnTo>
                  <a:pt x="651" y="85"/>
                </a:lnTo>
                <a:lnTo>
                  <a:pt x="748" y="49"/>
                </a:lnTo>
                <a:lnTo>
                  <a:pt x="850" y="23"/>
                </a:lnTo>
                <a:lnTo>
                  <a:pt x="957" y="7"/>
                </a:lnTo>
                <a:lnTo>
                  <a:pt x="1066" y="0"/>
                </a:lnTo>
                <a:close/>
              </a:path>
            </a:pathLst>
          </a:custGeom>
          <a:solidFill>
            <a:srgbClr val="26867C"/>
          </a:solidFill>
          <a:ln w="0">
            <a:solidFill>
              <a:srgbClr val="01CC9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6" name="Freeform 446"/>
          <p:cNvSpPr>
            <a:spLocks/>
          </p:cNvSpPr>
          <p:nvPr/>
        </p:nvSpPr>
        <p:spPr bwMode="auto">
          <a:xfrm>
            <a:off x="8293453" y="3554181"/>
            <a:ext cx="203905" cy="493753"/>
          </a:xfrm>
          <a:custGeom>
            <a:avLst/>
            <a:gdLst>
              <a:gd name="T0" fmla="*/ 97 w 242"/>
              <a:gd name="T1" fmla="*/ 0 h 588"/>
              <a:gd name="T2" fmla="*/ 144 w 242"/>
              <a:gd name="T3" fmla="*/ 0 h 588"/>
              <a:gd name="T4" fmla="*/ 144 w 242"/>
              <a:gd name="T5" fmla="*/ 368 h 588"/>
              <a:gd name="T6" fmla="*/ 242 w 242"/>
              <a:gd name="T7" fmla="*/ 368 h 588"/>
              <a:gd name="T8" fmla="*/ 121 w 242"/>
              <a:gd name="T9" fmla="*/ 588 h 588"/>
              <a:gd name="T10" fmla="*/ 0 w 242"/>
              <a:gd name="T11" fmla="*/ 368 h 588"/>
              <a:gd name="T12" fmla="*/ 97 w 242"/>
              <a:gd name="T13" fmla="*/ 368 h 588"/>
              <a:gd name="T14" fmla="*/ 97 w 242"/>
              <a:gd name="T15" fmla="*/ 0 h 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2" h="588">
                <a:moveTo>
                  <a:pt x="97" y="0"/>
                </a:moveTo>
                <a:lnTo>
                  <a:pt x="144" y="0"/>
                </a:lnTo>
                <a:lnTo>
                  <a:pt x="144" y="368"/>
                </a:lnTo>
                <a:lnTo>
                  <a:pt x="242" y="368"/>
                </a:lnTo>
                <a:lnTo>
                  <a:pt x="121" y="588"/>
                </a:lnTo>
                <a:lnTo>
                  <a:pt x="0" y="368"/>
                </a:lnTo>
                <a:lnTo>
                  <a:pt x="97" y="368"/>
                </a:lnTo>
                <a:lnTo>
                  <a:pt x="97" y="0"/>
                </a:lnTo>
                <a:close/>
              </a:path>
            </a:pathLst>
          </a:custGeom>
          <a:solidFill>
            <a:srgbClr val="26867C"/>
          </a:solidFill>
          <a:ln w="0">
            <a:solidFill>
              <a:srgbClr val="26867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7" name="Freeform 447"/>
          <p:cNvSpPr>
            <a:spLocks noEditPoints="1"/>
          </p:cNvSpPr>
          <p:nvPr/>
        </p:nvSpPr>
        <p:spPr bwMode="auto">
          <a:xfrm>
            <a:off x="7567147" y="1874073"/>
            <a:ext cx="1644719" cy="1643035"/>
          </a:xfrm>
          <a:custGeom>
            <a:avLst/>
            <a:gdLst>
              <a:gd name="T0" fmla="*/ 786 w 1951"/>
              <a:gd name="T1" fmla="*/ 54 h 1951"/>
              <a:gd name="T2" fmla="*/ 527 w 1951"/>
              <a:gd name="T3" fmla="*/ 149 h 1951"/>
              <a:gd name="T4" fmla="*/ 310 w 1951"/>
              <a:gd name="T5" fmla="*/ 309 h 1951"/>
              <a:gd name="T6" fmla="*/ 147 w 1951"/>
              <a:gd name="T7" fmla="*/ 527 h 1951"/>
              <a:gd name="T8" fmla="*/ 54 w 1951"/>
              <a:gd name="T9" fmla="*/ 786 h 1951"/>
              <a:gd name="T10" fmla="*/ 40 w 1951"/>
              <a:gd name="T11" fmla="*/ 1071 h 1951"/>
              <a:gd name="T12" fmla="*/ 109 w 1951"/>
              <a:gd name="T13" fmla="*/ 1341 h 1951"/>
              <a:gd name="T14" fmla="*/ 249 w 1951"/>
              <a:gd name="T15" fmla="*/ 1574 h 1951"/>
              <a:gd name="T16" fmla="*/ 449 w 1951"/>
              <a:gd name="T17" fmla="*/ 1756 h 1951"/>
              <a:gd name="T18" fmla="*/ 695 w 1951"/>
              <a:gd name="T19" fmla="*/ 1875 h 1951"/>
              <a:gd name="T20" fmla="*/ 975 w 1951"/>
              <a:gd name="T21" fmla="*/ 1916 h 1951"/>
              <a:gd name="T22" fmla="*/ 1255 w 1951"/>
              <a:gd name="T23" fmla="*/ 1875 h 1951"/>
              <a:gd name="T24" fmla="*/ 1502 w 1951"/>
              <a:gd name="T25" fmla="*/ 1756 h 1951"/>
              <a:gd name="T26" fmla="*/ 1702 w 1951"/>
              <a:gd name="T27" fmla="*/ 1574 h 1951"/>
              <a:gd name="T28" fmla="*/ 1842 w 1951"/>
              <a:gd name="T29" fmla="*/ 1341 h 1951"/>
              <a:gd name="T30" fmla="*/ 1911 w 1951"/>
              <a:gd name="T31" fmla="*/ 1071 h 1951"/>
              <a:gd name="T32" fmla="*/ 1898 w 1951"/>
              <a:gd name="T33" fmla="*/ 786 h 1951"/>
              <a:gd name="T34" fmla="*/ 1802 w 1951"/>
              <a:gd name="T35" fmla="*/ 527 h 1951"/>
              <a:gd name="T36" fmla="*/ 1642 w 1951"/>
              <a:gd name="T37" fmla="*/ 309 h 1951"/>
              <a:gd name="T38" fmla="*/ 1424 w 1951"/>
              <a:gd name="T39" fmla="*/ 149 h 1951"/>
              <a:gd name="T40" fmla="*/ 1165 w 1951"/>
              <a:gd name="T41" fmla="*/ 54 h 1951"/>
              <a:gd name="T42" fmla="*/ 975 w 1951"/>
              <a:gd name="T43" fmla="*/ 0 h 1951"/>
              <a:gd name="T44" fmla="*/ 1265 w 1951"/>
              <a:gd name="T45" fmla="*/ 43 h 1951"/>
              <a:gd name="T46" fmla="*/ 1521 w 1951"/>
              <a:gd name="T47" fmla="*/ 166 h 1951"/>
              <a:gd name="T48" fmla="*/ 1728 w 1951"/>
              <a:gd name="T49" fmla="*/ 354 h 1951"/>
              <a:gd name="T50" fmla="*/ 1875 w 1951"/>
              <a:gd name="T51" fmla="*/ 596 h 1951"/>
              <a:gd name="T52" fmla="*/ 1946 w 1951"/>
              <a:gd name="T53" fmla="*/ 876 h 1951"/>
              <a:gd name="T54" fmla="*/ 1932 w 1951"/>
              <a:gd name="T55" fmla="*/ 1172 h 1951"/>
              <a:gd name="T56" fmla="*/ 1834 w 1951"/>
              <a:gd name="T57" fmla="*/ 1441 h 1951"/>
              <a:gd name="T58" fmla="*/ 1666 w 1951"/>
              <a:gd name="T59" fmla="*/ 1666 h 1951"/>
              <a:gd name="T60" fmla="*/ 1441 w 1951"/>
              <a:gd name="T61" fmla="*/ 1833 h 1951"/>
              <a:gd name="T62" fmla="*/ 1172 w 1951"/>
              <a:gd name="T63" fmla="*/ 1932 h 1951"/>
              <a:gd name="T64" fmla="*/ 876 w 1951"/>
              <a:gd name="T65" fmla="*/ 1946 h 1951"/>
              <a:gd name="T66" fmla="*/ 596 w 1951"/>
              <a:gd name="T67" fmla="*/ 1875 h 1951"/>
              <a:gd name="T68" fmla="*/ 354 w 1951"/>
              <a:gd name="T69" fmla="*/ 1728 h 1951"/>
              <a:gd name="T70" fmla="*/ 166 w 1951"/>
              <a:gd name="T71" fmla="*/ 1521 h 1951"/>
              <a:gd name="T72" fmla="*/ 43 w 1951"/>
              <a:gd name="T73" fmla="*/ 1265 h 1951"/>
              <a:gd name="T74" fmla="*/ 0 w 1951"/>
              <a:gd name="T75" fmla="*/ 975 h 1951"/>
              <a:gd name="T76" fmla="*/ 43 w 1951"/>
              <a:gd name="T77" fmla="*/ 686 h 1951"/>
              <a:gd name="T78" fmla="*/ 166 w 1951"/>
              <a:gd name="T79" fmla="*/ 430 h 1951"/>
              <a:gd name="T80" fmla="*/ 354 w 1951"/>
              <a:gd name="T81" fmla="*/ 223 h 1951"/>
              <a:gd name="T82" fmla="*/ 596 w 1951"/>
              <a:gd name="T83" fmla="*/ 76 h 1951"/>
              <a:gd name="T84" fmla="*/ 876 w 1951"/>
              <a:gd name="T85" fmla="*/ 5 h 19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951" h="1951">
                <a:moveTo>
                  <a:pt x="975" y="35"/>
                </a:moveTo>
                <a:lnTo>
                  <a:pt x="880" y="40"/>
                </a:lnTo>
                <a:lnTo>
                  <a:pt x="786" y="54"/>
                </a:lnTo>
                <a:lnTo>
                  <a:pt x="695" y="76"/>
                </a:lnTo>
                <a:lnTo>
                  <a:pt x="608" y="109"/>
                </a:lnTo>
                <a:lnTo>
                  <a:pt x="527" y="149"/>
                </a:lnTo>
                <a:lnTo>
                  <a:pt x="449" y="195"/>
                </a:lnTo>
                <a:lnTo>
                  <a:pt x="377" y="249"/>
                </a:lnTo>
                <a:lnTo>
                  <a:pt x="310" y="309"/>
                </a:lnTo>
                <a:lnTo>
                  <a:pt x="249" y="377"/>
                </a:lnTo>
                <a:lnTo>
                  <a:pt x="195" y="449"/>
                </a:lnTo>
                <a:lnTo>
                  <a:pt x="147" y="527"/>
                </a:lnTo>
                <a:lnTo>
                  <a:pt x="109" y="608"/>
                </a:lnTo>
                <a:lnTo>
                  <a:pt x="76" y="696"/>
                </a:lnTo>
                <a:lnTo>
                  <a:pt x="54" y="786"/>
                </a:lnTo>
                <a:lnTo>
                  <a:pt x="40" y="880"/>
                </a:lnTo>
                <a:lnTo>
                  <a:pt x="35" y="975"/>
                </a:lnTo>
                <a:lnTo>
                  <a:pt x="40" y="1071"/>
                </a:lnTo>
                <a:lnTo>
                  <a:pt x="54" y="1165"/>
                </a:lnTo>
                <a:lnTo>
                  <a:pt x="76" y="1255"/>
                </a:lnTo>
                <a:lnTo>
                  <a:pt x="109" y="1341"/>
                </a:lnTo>
                <a:lnTo>
                  <a:pt x="147" y="1424"/>
                </a:lnTo>
                <a:lnTo>
                  <a:pt x="195" y="1502"/>
                </a:lnTo>
                <a:lnTo>
                  <a:pt x="249" y="1574"/>
                </a:lnTo>
                <a:lnTo>
                  <a:pt x="310" y="1642"/>
                </a:lnTo>
                <a:lnTo>
                  <a:pt x="377" y="1702"/>
                </a:lnTo>
                <a:lnTo>
                  <a:pt x="449" y="1756"/>
                </a:lnTo>
                <a:lnTo>
                  <a:pt x="527" y="1802"/>
                </a:lnTo>
                <a:lnTo>
                  <a:pt x="608" y="1842"/>
                </a:lnTo>
                <a:lnTo>
                  <a:pt x="695" y="1875"/>
                </a:lnTo>
                <a:lnTo>
                  <a:pt x="786" y="1897"/>
                </a:lnTo>
                <a:lnTo>
                  <a:pt x="880" y="1911"/>
                </a:lnTo>
                <a:lnTo>
                  <a:pt x="975" y="1916"/>
                </a:lnTo>
                <a:lnTo>
                  <a:pt x="1072" y="1911"/>
                </a:lnTo>
                <a:lnTo>
                  <a:pt x="1165" y="1897"/>
                </a:lnTo>
                <a:lnTo>
                  <a:pt x="1255" y="1875"/>
                </a:lnTo>
                <a:lnTo>
                  <a:pt x="1341" y="1842"/>
                </a:lnTo>
                <a:lnTo>
                  <a:pt x="1424" y="1802"/>
                </a:lnTo>
                <a:lnTo>
                  <a:pt x="1502" y="1756"/>
                </a:lnTo>
                <a:lnTo>
                  <a:pt x="1574" y="1702"/>
                </a:lnTo>
                <a:lnTo>
                  <a:pt x="1642" y="1642"/>
                </a:lnTo>
                <a:lnTo>
                  <a:pt x="1702" y="1574"/>
                </a:lnTo>
                <a:lnTo>
                  <a:pt x="1756" y="1502"/>
                </a:lnTo>
                <a:lnTo>
                  <a:pt x="1802" y="1424"/>
                </a:lnTo>
                <a:lnTo>
                  <a:pt x="1842" y="1341"/>
                </a:lnTo>
                <a:lnTo>
                  <a:pt x="1875" y="1255"/>
                </a:lnTo>
                <a:lnTo>
                  <a:pt x="1898" y="1165"/>
                </a:lnTo>
                <a:lnTo>
                  <a:pt x="1911" y="1071"/>
                </a:lnTo>
                <a:lnTo>
                  <a:pt x="1917" y="975"/>
                </a:lnTo>
                <a:lnTo>
                  <a:pt x="1911" y="880"/>
                </a:lnTo>
                <a:lnTo>
                  <a:pt x="1898" y="786"/>
                </a:lnTo>
                <a:lnTo>
                  <a:pt x="1875" y="696"/>
                </a:lnTo>
                <a:lnTo>
                  <a:pt x="1842" y="608"/>
                </a:lnTo>
                <a:lnTo>
                  <a:pt x="1802" y="527"/>
                </a:lnTo>
                <a:lnTo>
                  <a:pt x="1756" y="449"/>
                </a:lnTo>
                <a:lnTo>
                  <a:pt x="1702" y="377"/>
                </a:lnTo>
                <a:lnTo>
                  <a:pt x="1642" y="309"/>
                </a:lnTo>
                <a:lnTo>
                  <a:pt x="1574" y="249"/>
                </a:lnTo>
                <a:lnTo>
                  <a:pt x="1502" y="195"/>
                </a:lnTo>
                <a:lnTo>
                  <a:pt x="1424" y="149"/>
                </a:lnTo>
                <a:lnTo>
                  <a:pt x="1341" y="109"/>
                </a:lnTo>
                <a:lnTo>
                  <a:pt x="1255" y="76"/>
                </a:lnTo>
                <a:lnTo>
                  <a:pt x="1165" y="54"/>
                </a:lnTo>
                <a:lnTo>
                  <a:pt x="1072" y="40"/>
                </a:lnTo>
                <a:lnTo>
                  <a:pt x="975" y="35"/>
                </a:lnTo>
                <a:close/>
                <a:moveTo>
                  <a:pt x="975" y="0"/>
                </a:moveTo>
                <a:lnTo>
                  <a:pt x="1075" y="5"/>
                </a:lnTo>
                <a:lnTo>
                  <a:pt x="1172" y="19"/>
                </a:lnTo>
                <a:lnTo>
                  <a:pt x="1265" y="43"/>
                </a:lnTo>
                <a:lnTo>
                  <a:pt x="1355" y="76"/>
                </a:lnTo>
                <a:lnTo>
                  <a:pt x="1441" y="118"/>
                </a:lnTo>
                <a:lnTo>
                  <a:pt x="1521" y="166"/>
                </a:lnTo>
                <a:lnTo>
                  <a:pt x="1597" y="223"/>
                </a:lnTo>
                <a:lnTo>
                  <a:pt x="1666" y="285"/>
                </a:lnTo>
                <a:lnTo>
                  <a:pt x="1728" y="354"/>
                </a:lnTo>
                <a:lnTo>
                  <a:pt x="1785" y="430"/>
                </a:lnTo>
                <a:lnTo>
                  <a:pt x="1834" y="510"/>
                </a:lnTo>
                <a:lnTo>
                  <a:pt x="1875" y="596"/>
                </a:lnTo>
                <a:lnTo>
                  <a:pt x="1908" y="686"/>
                </a:lnTo>
                <a:lnTo>
                  <a:pt x="1932" y="779"/>
                </a:lnTo>
                <a:lnTo>
                  <a:pt x="1946" y="876"/>
                </a:lnTo>
                <a:lnTo>
                  <a:pt x="1951" y="975"/>
                </a:lnTo>
                <a:lnTo>
                  <a:pt x="1946" y="1075"/>
                </a:lnTo>
                <a:lnTo>
                  <a:pt x="1932" y="1172"/>
                </a:lnTo>
                <a:lnTo>
                  <a:pt x="1908" y="1265"/>
                </a:lnTo>
                <a:lnTo>
                  <a:pt x="1875" y="1355"/>
                </a:lnTo>
                <a:lnTo>
                  <a:pt x="1834" y="1441"/>
                </a:lnTo>
                <a:lnTo>
                  <a:pt x="1785" y="1521"/>
                </a:lnTo>
                <a:lnTo>
                  <a:pt x="1728" y="1597"/>
                </a:lnTo>
                <a:lnTo>
                  <a:pt x="1666" y="1666"/>
                </a:lnTo>
                <a:lnTo>
                  <a:pt x="1597" y="1728"/>
                </a:lnTo>
                <a:lnTo>
                  <a:pt x="1521" y="1785"/>
                </a:lnTo>
                <a:lnTo>
                  <a:pt x="1441" y="1833"/>
                </a:lnTo>
                <a:lnTo>
                  <a:pt x="1355" y="1875"/>
                </a:lnTo>
                <a:lnTo>
                  <a:pt x="1265" y="1908"/>
                </a:lnTo>
                <a:lnTo>
                  <a:pt x="1172" y="1932"/>
                </a:lnTo>
                <a:lnTo>
                  <a:pt x="1075" y="1946"/>
                </a:lnTo>
                <a:lnTo>
                  <a:pt x="975" y="1951"/>
                </a:lnTo>
                <a:lnTo>
                  <a:pt x="876" y="1946"/>
                </a:lnTo>
                <a:lnTo>
                  <a:pt x="780" y="1932"/>
                </a:lnTo>
                <a:lnTo>
                  <a:pt x="684" y="1908"/>
                </a:lnTo>
                <a:lnTo>
                  <a:pt x="596" y="1875"/>
                </a:lnTo>
                <a:lnTo>
                  <a:pt x="510" y="1833"/>
                </a:lnTo>
                <a:lnTo>
                  <a:pt x="430" y="1785"/>
                </a:lnTo>
                <a:lnTo>
                  <a:pt x="354" y="1728"/>
                </a:lnTo>
                <a:lnTo>
                  <a:pt x="285" y="1666"/>
                </a:lnTo>
                <a:lnTo>
                  <a:pt x="223" y="1597"/>
                </a:lnTo>
                <a:lnTo>
                  <a:pt x="166" y="1521"/>
                </a:lnTo>
                <a:lnTo>
                  <a:pt x="118" y="1441"/>
                </a:lnTo>
                <a:lnTo>
                  <a:pt x="76" y="1355"/>
                </a:lnTo>
                <a:lnTo>
                  <a:pt x="43" y="1265"/>
                </a:lnTo>
                <a:lnTo>
                  <a:pt x="19" y="1172"/>
                </a:lnTo>
                <a:lnTo>
                  <a:pt x="5" y="1075"/>
                </a:lnTo>
                <a:lnTo>
                  <a:pt x="0" y="975"/>
                </a:lnTo>
                <a:lnTo>
                  <a:pt x="5" y="876"/>
                </a:lnTo>
                <a:lnTo>
                  <a:pt x="19" y="779"/>
                </a:lnTo>
                <a:lnTo>
                  <a:pt x="43" y="686"/>
                </a:lnTo>
                <a:lnTo>
                  <a:pt x="76" y="596"/>
                </a:lnTo>
                <a:lnTo>
                  <a:pt x="118" y="510"/>
                </a:lnTo>
                <a:lnTo>
                  <a:pt x="166" y="430"/>
                </a:lnTo>
                <a:lnTo>
                  <a:pt x="223" y="354"/>
                </a:lnTo>
                <a:lnTo>
                  <a:pt x="285" y="285"/>
                </a:lnTo>
                <a:lnTo>
                  <a:pt x="354" y="223"/>
                </a:lnTo>
                <a:lnTo>
                  <a:pt x="430" y="166"/>
                </a:lnTo>
                <a:lnTo>
                  <a:pt x="510" y="118"/>
                </a:lnTo>
                <a:lnTo>
                  <a:pt x="596" y="76"/>
                </a:lnTo>
                <a:lnTo>
                  <a:pt x="684" y="43"/>
                </a:lnTo>
                <a:lnTo>
                  <a:pt x="780" y="19"/>
                </a:lnTo>
                <a:lnTo>
                  <a:pt x="876" y="5"/>
                </a:lnTo>
                <a:lnTo>
                  <a:pt x="975" y="0"/>
                </a:lnTo>
                <a:close/>
              </a:path>
            </a:pathLst>
          </a:custGeom>
          <a:solidFill>
            <a:srgbClr val="FFFFFF"/>
          </a:solidFill>
          <a:ln w="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8" name="Freeform 453"/>
          <p:cNvSpPr>
            <a:spLocks/>
          </p:cNvSpPr>
          <p:nvPr/>
        </p:nvSpPr>
        <p:spPr bwMode="auto">
          <a:xfrm>
            <a:off x="5197808" y="1796555"/>
            <a:ext cx="1796384" cy="1798070"/>
          </a:xfrm>
          <a:custGeom>
            <a:avLst/>
            <a:gdLst>
              <a:gd name="T0" fmla="*/ 1175 w 2132"/>
              <a:gd name="T1" fmla="*/ 7 h 2135"/>
              <a:gd name="T2" fmla="*/ 1382 w 2132"/>
              <a:gd name="T3" fmla="*/ 49 h 2135"/>
              <a:gd name="T4" fmla="*/ 1574 w 2132"/>
              <a:gd name="T5" fmla="*/ 130 h 2135"/>
              <a:gd name="T6" fmla="*/ 1744 w 2132"/>
              <a:gd name="T7" fmla="*/ 244 h 2135"/>
              <a:gd name="T8" fmla="*/ 1889 w 2132"/>
              <a:gd name="T9" fmla="*/ 389 h 2135"/>
              <a:gd name="T10" fmla="*/ 2003 w 2132"/>
              <a:gd name="T11" fmla="*/ 559 h 2135"/>
              <a:gd name="T12" fmla="*/ 2084 w 2132"/>
              <a:gd name="T13" fmla="*/ 750 h 2135"/>
              <a:gd name="T14" fmla="*/ 2127 w 2132"/>
              <a:gd name="T15" fmla="*/ 958 h 2135"/>
              <a:gd name="T16" fmla="*/ 2127 w 2132"/>
              <a:gd name="T17" fmla="*/ 1177 h 2135"/>
              <a:gd name="T18" fmla="*/ 2084 w 2132"/>
              <a:gd name="T19" fmla="*/ 1385 h 2135"/>
              <a:gd name="T20" fmla="*/ 2003 w 2132"/>
              <a:gd name="T21" fmla="*/ 1576 h 2135"/>
              <a:gd name="T22" fmla="*/ 1889 w 2132"/>
              <a:gd name="T23" fmla="*/ 1746 h 2135"/>
              <a:gd name="T24" fmla="*/ 1744 w 2132"/>
              <a:gd name="T25" fmla="*/ 1891 h 2135"/>
              <a:gd name="T26" fmla="*/ 1574 w 2132"/>
              <a:gd name="T27" fmla="*/ 2005 h 2135"/>
              <a:gd name="T28" fmla="*/ 1382 w 2132"/>
              <a:gd name="T29" fmla="*/ 2086 h 2135"/>
              <a:gd name="T30" fmla="*/ 1175 w 2132"/>
              <a:gd name="T31" fmla="*/ 2128 h 2135"/>
              <a:gd name="T32" fmla="*/ 957 w 2132"/>
              <a:gd name="T33" fmla="*/ 2128 h 2135"/>
              <a:gd name="T34" fmla="*/ 748 w 2132"/>
              <a:gd name="T35" fmla="*/ 2086 h 2135"/>
              <a:gd name="T36" fmla="*/ 558 w 2132"/>
              <a:gd name="T37" fmla="*/ 2005 h 2135"/>
              <a:gd name="T38" fmla="*/ 387 w 2132"/>
              <a:gd name="T39" fmla="*/ 1891 h 2135"/>
              <a:gd name="T40" fmla="*/ 244 w 2132"/>
              <a:gd name="T41" fmla="*/ 1746 h 2135"/>
              <a:gd name="T42" fmla="*/ 128 w 2132"/>
              <a:gd name="T43" fmla="*/ 1576 h 2135"/>
              <a:gd name="T44" fmla="*/ 47 w 2132"/>
              <a:gd name="T45" fmla="*/ 1385 h 2135"/>
              <a:gd name="T46" fmla="*/ 5 w 2132"/>
              <a:gd name="T47" fmla="*/ 1177 h 2135"/>
              <a:gd name="T48" fmla="*/ 5 w 2132"/>
              <a:gd name="T49" fmla="*/ 958 h 2135"/>
              <a:gd name="T50" fmla="*/ 47 w 2132"/>
              <a:gd name="T51" fmla="*/ 750 h 2135"/>
              <a:gd name="T52" fmla="*/ 128 w 2132"/>
              <a:gd name="T53" fmla="*/ 559 h 2135"/>
              <a:gd name="T54" fmla="*/ 244 w 2132"/>
              <a:gd name="T55" fmla="*/ 389 h 2135"/>
              <a:gd name="T56" fmla="*/ 387 w 2132"/>
              <a:gd name="T57" fmla="*/ 244 h 2135"/>
              <a:gd name="T58" fmla="*/ 558 w 2132"/>
              <a:gd name="T59" fmla="*/ 130 h 2135"/>
              <a:gd name="T60" fmla="*/ 748 w 2132"/>
              <a:gd name="T61" fmla="*/ 49 h 2135"/>
              <a:gd name="T62" fmla="*/ 957 w 2132"/>
              <a:gd name="T63" fmla="*/ 7 h 2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132" h="2135">
                <a:moveTo>
                  <a:pt x="1066" y="0"/>
                </a:moveTo>
                <a:lnTo>
                  <a:pt x="1175" y="7"/>
                </a:lnTo>
                <a:lnTo>
                  <a:pt x="1280" y="23"/>
                </a:lnTo>
                <a:lnTo>
                  <a:pt x="1382" y="49"/>
                </a:lnTo>
                <a:lnTo>
                  <a:pt x="1481" y="85"/>
                </a:lnTo>
                <a:lnTo>
                  <a:pt x="1574" y="130"/>
                </a:lnTo>
                <a:lnTo>
                  <a:pt x="1662" y="184"/>
                </a:lnTo>
                <a:lnTo>
                  <a:pt x="1744" y="244"/>
                </a:lnTo>
                <a:lnTo>
                  <a:pt x="1820" y="313"/>
                </a:lnTo>
                <a:lnTo>
                  <a:pt x="1889" y="389"/>
                </a:lnTo>
                <a:lnTo>
                  <a:pt x="1949" y="470"/>
                </a:lnTo>
                <a:lnTo>
                  <a:pt x="2003" y="559"/>
                </a:lnTo>
                <a:lnTo>
                  <a:pt x="2048" y="652"/>
                </a:lnTo>
                <a:lnTo>
                  <a:pt x="2084" y="750"/>
                </a:lnTo>
                <a:lnTo>
                  <a:pt x="2110" y="852"/>
                </a:lnTo>
                <a:lnTo>
                  <a:pt x="2127" y="958"/>
                </a:lnTo>
                <a:lnTo>
                  <a:pt x="2132" y="1067"/>
                </a:lnTo>
                <a:lnTo>
                  <a:pt x="2127" y="1177"/>
                </a:lnTo>
                <a:lnTo>
                  <a:pt x="2110" y="1283"/>
                </a:lnTo>
                <a:lnTo>
                  <a:pt x="2084" y="1385"/>
                </a:lnTo>
                <a:lnTo>
                  <a:pt x="2048" y="1483"/>
                </a:lnTo>
                <a:lnTo>
                  <a:pt x="2003" y="1576"/>
                </a:lnTo>
                <a:lnTo>
                  <a:pt x="1949" y="1665"/>
                </a:lnTo>
                <a:lnTo>
                  <a:pt x="1889" y="1746"/>
                </a:lnTo>
                <a:lnTo>
                  <a:pt x="1820" y="1822"/>
                </a:lnTo>
                <a:lnTo>
                  <a:pt x="1744" y="1891"/>
                </a:lnTo>
                <a:lnTo>
                  <a:pt x="1662" y="1951"/>
                </a:lnTo>
                <a:lnTo>
                  <a:pt x="1574" y="2005"/>
                </a:lnTo>
                <a:lnTo>
                  <a:pt x="1481" y="2050"/>
                </a:lnTo>
                <a:lnTo>
                  <a:pt x="1382" y="2086"/>
                </a:lnTo>
                <a:lnTo>
                  <a:pt x="1280" y="2112"/>
                </a:lnTo>
                <a:lnTo>
                  <a:pt x="1175" y="2128"/>
                </a:lnTo>
                <a:lnTo>
                  <a:pt x="1066" y="2135"/>
                </a:lnTo>
                <a:lnTo>
                  <a:pt x="957" y="2128"/>
                </a:lnTo>
                <a:lnTo>
                  <a:pt x="850" y="2112"/>
                </a:lnTo>
                <a:lnTo>
                  <a:pt x="748" y="2086"/>
                </a:lnTo>
                <a:lnTo>
                  <a:pt x="652" y="2050"/>
                </a:lnTo>
                <a:lnTo>
                  <a:pt x="558" y="2005"/>
                </a:lnTo>
                <a:lnTo>
                  <a:pt x="470" y="1951"/>
                </a:lnTo>
                <a:lnTo>
                  <a:pt x="387" y="1891"/>
                </a:lnTo>
                <a:lnTo>
                  <a:pt x="311" y="1822"/>
                </a:lnTo>
                <a:lnTo>
                  <a:pt x="244" y="1746"/>
                </a:lnTo>
                <a:lnTo>
                  <a:pt x="181" y="1665"/>
                </a:lnTo>
                <a:lnTo>
                  <a:pt x="128" y="1576"/>
                </a:lnTo>
                <a:lnTo>
                  <a:pt x="83" y="1483"/>
                </a:lnTo>
                <a:lnTo>
                  <a:pt x="47" y="1385"/>
                </a:lnTo>
                <a:lnTo>
                  <a:pt x="21" y="1283"/>
                </a:lnTo>
                <a:lnTo>
                  <a:pt x="5" y="1177"/>
                </a:lnTo>
                <a:lnTo>
                  <a:pt x="0" y="1067"/>
                </a:lnTo>
                <a:lnTo>
                  <a:pt x="5" y="958"/>
                </a:lnTo>
                <a:lnTo>
                  <a:pt x="21" y="852"/>
                </a:lnTo>
                <a:lnTo>
                  <a:pt x="47" y="750"/>
                </a:lnTo>
                <a:lnTo>
                  <a:pt x="83" y="652"/>
                </a:lnTo>
                <a:lnTo>
                  <a:pt x="128" y="559"/>
                </a:lnTo>
                <a:lnTo>
                  <a:pt x="181" y="470"/>
                </a:lnTo>
                <a:lnTo>
                  <a:pt x="244" y="389"/>
                </a:lnTo>
                <a:lnTo>
                  <a:pt x="311" y="313"/>
                </a:lnTo>
                <a:lnTo>
                  <a:pt x="387" y="244"/>
                </a:lnTo>
                <a:lnTo>
                  <a:pt x="470" y="184"/>
                </a:lnTo>
                <a:lnTo>
                  <a:pt x="558" y="130"/>
                </a:lnTo>
                <a:lnTo>
                  <a:pt x="652" y="85"/>
                </a:lnTo>
                <a:lnTo>
                  <a:pt x="748" y="49"/>
                </a:lnTo>
                <a:lnTo>
                  <a:pt x="850" y="23"/>
                </a:lnTo>
                <a:lnTo>
                  <a:pt x="957" y="7"/>
                </a:lnTo>
                <a:lnTo>
                  <a:pt x="1066" y="0"/>
                </a:lnTo>
                <a:close/>
              </a:path>
            </a:pathLst>
          </a:custGeom>
          <a:solidFill>
            <a:srgbClr val="00569B"/>
          </a:solidFill>
          <a:ln w="0">
            <a:solidFill>
              <a:srgbClr val="09909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99" name="Freeform 454"/>
          <p:cNvSpPr>
            <a:spLocks/>
          </p:cNvSpPr>
          <p:nvPr/>
        </p:nvSpPr>
        <p:spPr bwMode="auto">
          <a:xfrm>
            <a:off x="6005002" y="3554181"/>
            <a:ext cx="203905" cy="493753"/>
          </a:xfrm>
          <a:custGeom>
            <a:avLst/>
            <a:gdLst>
              <a:gd name="T0" fmla="*/ 97 w 242"/>
              <a:gd name="T1" fmla="*/ 0 h 588"/>
              <a:gd name="T2" fmla="*/ 144 w 242"/>
              <a:gd name="T3" fmla="*/ 0 h 588"/>
              <a:gd name="T4" fmla="*/ 144 w 242"/>
              <a:gd name="T5" fmla="*/ 368 h 588"/>
              <a:gd name="T6" fmla="*/ 242 w 242"/>
              <a:gd name="T7" fmla="*/ 368 h 588"/>
              <a:gd name="T8" fmla="*/ 121 w 242"/>
              <a:gd name="T9" fmla="*/ 588 h 588"/>
              <a:gd name="T10" fmla="*/ 0 w 242"/>
              <a:gd name="T11" fmla="*/ 368 h 588"/>
              <a:gd name="T12" fmla="*/ 97 w 242"/>
              <a:gd name="T13" fmla="*/ 368 h 588"/>
              <a:gd name="T14" fmla="*/ 97 w 242"/>
              <a:gd name="T15" fmla="*/ 0 h 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2" h="588">
                <a:moveTo>
                  <a:pt x="97" y="0"/>
                </a:moveTo>
                <a:lnTo>
                  <a:pt x="144" y="0"/>
                </a:lnTo>
                <a:lnTo>
                  <a:pt x="144" y="368"/>
                </a:lnTo>
                <a:lnTo>
                  <a:pt x="242" y="368"/>
                </a:lnTo>
                <a:lnTo>
                  <a:pt x="121" y="588"/>
                </a:lnTo>
                <a:lnTo>
                  <a:pt x="0" y="368"/>
                </a:lnTo>
                <a:lnTo>
                  <a:pt x="97" y="368"/>
                </a:lnTo>
                <a:lnTo>
                  <a:pt x="97" y="0"/>
                </a:lnTo>
                <a:close/>
              </a:path>
            </a:pathLst>
          </a:custGeom>
          <a:solidFill>
            <a:srgbClr val="00569B"/>
          </a:solidFill>
          <a:ln w="0">
            <a:solidFill>
              <a:srgbClr val="00569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0" name="Freeform 455"/>
          <p:cNvSpPr>
            <a:spLocks noEditPoints="1"/>
          </p:cNvSpPr>
          <p:nvPr/>
        </p:nvSpPr>
        <p:spPr bwMode="auto">
          <a:xfrm>
            <a:off x="5271955" y="1874073"/>
            <a:ext cx="1644719" cy="1643035"/>
          </a:xfrm>
          <a:custGeom>
            <a:avLst/>
            <a:gdLst>
              <a:gd name="T0" fmla="*/ 786 w 1951"/>
              <a:gd name="T1" fmla="*/ 54 h 1951"/>
              <a:gd name="T2" fmla="*/ 527 w 1951"/>
              <a:gd name="T3" fmla="*/ 149 h 1951"/>
              <a:gd name="T4" fmla="*/ 309 w 1951"/>
              <a:gd name="T5" fmla="*/ 309 h 1951"/>
              <a:gd name="T6" fmla="*/ 149 w 1951"/>
              <a:gd name="T7" fmla="*/ 527 h 1951"/>
              <a:gd name="T8" fmla="*/ 53 w 1951"/>
              <a:gd name="T9" fmla="*/ 786 h 1951"/>
              <a:gd name="T10" fmla="*/ 40 w 1951"/>
              <a:gd name="T11" fmla="*/ 1071 h 1951"/>
              <a:gd name="T12" fmla="*/ 109 w 1951"/>
              <a:gd name="T13" fmla="*/ 1341 h 1951"/>
              <a:gd name="T14" fmla="*/ 249 w 1951"/>
              <a:gd name="T15" fmla="*/ 1574 h 1951"/>
              <a:gd name="T16" fmla="*/ 449 w 1951"/>
              <a:gd name="T17" fmla="*/ 1756 h 1951"/>
              <a:gd name="T18" fmla="*/ 696 w 1951"/>
              <a:gd name="T19" fmla="*/ 1875 h 1951"/>
              <a:gd name="T20" fmla="*/ 976 w 1951"/>
              <a:gd name="T21" fmla="*/ 1916 h 1951"/>
              <a:gd name="T22" fmla="*/ 1256 w 1951"/>
              <a:gd name="T23" fmla="*/ 1875 h 1951"/>
              <a:gd name="T24" fmla="*/ 1502 w 1951"/>
              <a:gd name="T25" fmla="*/ 1756 h 1951"/>
              <a:gd name="T26" fmla="*/ 1702 w 1951"/>
              <a:gd name="T27" fmla="*/ 1574 h 1951"/>
              <a:gd name="T28" fmla="*/ 1842 w 1951"/>
              <a:gd name="T29" fmla="*/ 1341 h 1951"/>
              <a:gd name="T30" fmla="*/ 1911 w 1951"/>
              <a:gd name="T31" fmla="*/ 1071 h 1951"/>
              <a:gd name="T32" fmla="*/ 1897 w 1951"/>
              <a:gd name="T33" fmla="*/ 786 h 1951"/>
              <a:gd name="T34" fmla="*/ 1804 w 1951"/>
              <a:gd name="T35" fmla="*/ 527 h 1951"/>
              <a:gd name="T36" fmla="*/ 1641 w 1951"/>
              <a:gd name="T37" fmla="*/ 309 h 1951"/>
              <a:gd name="T38" fmla="*/ 1424 w 1951"/>
              <a:gd name="T39" fmla="*/ 149 h 1951"/>
              <a:gd name="T40" fmla="*/ 1165 w 1951"/>
              <a:gd name="T41" fmla="*/ 54 h 1951"/>
              <a:gd name="T42" fmla="*/ 976 w 1951"/>
              <a:gd name="T43" fmla="*/ 0 h 1951"/>
              <a:gd name="T44" fmla="*/ 1267 w 1951"/>
              <a:gd name="T45" fmla="*/ 43 h 1951"/>
              <a:gd name="T46" fmla="*/ 1521 w 1951"/>
              <a:gd name="T47" fmla="*/ 166 h 1951"/>
              <a:gd name="T48" fmla="*/ 1728 w 1951"/>
              <a:gd name="T49" fmla="*/ 354 h 1951"/>
              <a:gd name="T50" fmla="*/ 1875 w 1951"/>
              <a:gd name="T51" fmla="*/ 596 h 1951"/>
              <a:gd name="T52" fmla="*/ 1946 w 1951"/>
              <a:gd name="T53" fmla="*/ 876 h 1951"/>
              <a:gd name="T54" fmla="*/ 1932 w 1951"/>
              <a:gd name="T55" fmla="*/ 1172 h 1951"/>
              <a:gd name="T56" fmla="*/ 1833 w 1951"/>
              <a:gd name="T57" fmla="*/ 1441 h 1951"/>
              <a:gd name="T58" fmla="*/ 1666 w 1951"/>
              <a:gd name="T59" fmla="*/ 1666 h 1951"/>
              <a:gd name="T60" fmla="*/ 1441 w 1951"/>
              <a:gd name="T61" fmla="*/ 1833 h 1951"/>
              <a:gd name="T62" fmla="*/ 1171 w 1951"/>
              <a:gd name="T63" fmla="*/ 1932 h 1951"/>
              <a:gd name="T64" fmla="*/ 876 w 1951"/>
              <a:gd name="T65" fmla="*/ 1946 h 1951"/>
              <a:gd name="T66" fmla="*/ 596 w 1951"/>
              <a:gd name="T67" fmla="*/ 1875 h 1951"/>
              <a:gd name="T68" fmla="*/ 354 w 1951"/>
              <a:gd name="T69" fmla="*/ 1728 h 1951"/>
              <a:gd name="T70" fmla="*/ 166 w 1951"/>
              <a:gd name="T71" fmla="*/ 1521 h 1951"/>
              <a:gd name="T72" fmla="*/ 43 w 1951"/>
              <a:gd name="T73" fmla="*/ 1265 h 1951"/>
              <a:gd name="T74" fmla="*/ 0 w 1951"/>
              <a:gd name="T75" fmla="*/ 975 h 1951"/>
              <a:gd name="T76" fmla="*/ 43 w 1951"/>
              <a:gd name="T77" fmla="*/ 686 h 1951"/>
              <a:gd name="T78" fmla="*/ 166 w 1951"/>
              <a:gd name="T79" fmla="*/ 430 h 1951"/>
              <a:gd name="T80" fmla="*/ 354 w 1951"/>
              <a:gd name="T81" fmla="*/ 223 h 1951"/>
              <a:gd name="T82" fmla="*/ 596 w 1951"/>
              <a:gd name="T83" fmla="*/ 76 h 1951"/>
              <a:gd name="T84" fmla="*/ 876 w 1951"/>
              <a:gd name="T85" fmla="*/ 5 h 19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951" h="1951">
                <a:moveTo>
                  <a:pt x="976" y="35"/>
                </a:moveTo>
                <a:lnTo>
                  <a:pt x="879" y="40"/>
                </a:lnTo>
                <a:lnTo>
                  <a:pt x="786" y="54"/>
                </a:lnTo>
                <a:lnTo>
                  <a:pt x="696" y="76"/>
                </a:lnTo>
                <a:lnTo>
                  <a:pt x="610" y="109"/>
                </a:lnTo>
                <a:lnTo>
                  <a:pt x="527" y="149"/>
                </a:lnTo>
                <a:lnTo>
                  <a:pt x="449" y="195"/>
                </a:lnTo>
                <a:lnTo>
                  <a:pt x="377" y="249"/>
                </a:lnTo>
                <a:lnTo>
                  <a:pt x="309" y="309"/>
                </a:lnTo>
                <a:lnTo>
                  <a:pt x="249" y="377"/>
                </a:lnTo>
                <a:lnTo>
                  <a:pt x="195" y="449"/>
                </a:lnTo>
                <a:lnTo>
                  <a:pt x="149" y="527"/>
                </a:lnTo>
                <a:lnTo>
                  <a:pt x="109" y="608"/>
                </a:lnTo>
                <a:lnTo>
                  <a:pt x="76" y="696"/>
                </a:lnTo>
                <a:lnTo>
                  <a:pt x="53" y="786"/>
                </a:lnTo>
                <a:lnTo>
                  <a:pt x="40" y="880"/>
                </a:lnTo>
                <a:lnTo>
                  <a:pt x="34" y="975"/>
                </a:lnTo>
                <a:lnTo>
                  <a:pt x="40" y="1071"/>
                </a:lnTo>
                <a:lnTo>
                  <a:pt x="53" y="1165"/>
                </a:lnTo>
                <a:lnTo>
                  <a:pt x="76" y="1255"/>
                </a:lnTo>
                <a:lnTo>
                  <a:pt x="109" y="1341"/>
                </a:lnTo>
                <a:lnTo>
                  <a:pt x="149" y="1424"/>
                </a:lnTo>
                <a:lnTo>
                  <a:pt x="195" y="1502"/>
                </a:lnTo>
                <a:lnTo>
                  <a:pt x="249" y="1574"/>
                </a:lnTo>
                <a:lnTo>
                  <a:pt x="309" y="1642"/>
                </a:lnTo>
                <a:lnTo>
                  <a:pt x="377" y="1702"/>
                </a:lnTo>
                <a:lnTo>
                  <a:pt x="449" y="1756"/>
                </a:lnTo>
                <a:lnTo>
                  <a:pt x="527" y="1802"/>
                </a:lnTo>
                <a:lnTo>
                  <a:pt x="610" y="1842"/>
                </a:lnTo>
                <a:lnTo>
                  <a:pt x="696" y="1875"/>
                </a:lnTo>
                <a:lnTo>
                  <a:pt x="786" y="1897"/>
                </a:lnTo>
                <a:lnTo>
                  <a:pt x="879" y="1911"/>
                </a:lnTo>
                <a:lnTo>
                  <a:pt x="976" y="1916"/>
                </a:lnTo>
                <a:lnTo>
                  <a:pt x="1071" y="1911"/>
                </a:lnTo>
                <a:lnTo>
                  <a:pt x="1165" y="1897"/>
                </a:lnTo>
                <a:lnTo>
                  <a:pt x="1256" y="1875"/>
                </a:lnTo>
                <a:lnTo>
                  <a:pt x="1343" y="1842"/>
                </a:lnTo>
                <a:lnTo>
                  <a:pt x="1424" y="1802"/>
                </a:lnTo>
                <a:lnTo>
                  <a:pt x="1502" y="1756"/>
                </a:lnTo>
                <a:lnTo>
                  <a:pt x="1574" y="1702"/>
                </a:lnTo>
                <a:lnTo>
                  <a:pt x="1641" y="1642"/>
                </a:lnTo>
                <a:lnTo>
                  <a:pt x="1702" y="1574"/>
                </a:lnTo>
                <a:lnTo>
                  <a:pt x="1756" y="1502"/>
                </a:lnTo>
                <a:lnTo>
                  <a:pt x="1804" y="1424"/>
                </a:lnTo>
                <a:lnTo>
                  <a:pt x="1842" y="1341"/>
                </a:lnTo>
                <a:lnTo>
                  <a:pt x="1875" y="1255"/>
                </a:lnTo>
                <a:lnTo>
                  <a:pt x="1897" y="1165"/>
                </a:lnTo>
                <a:lnTo>
                  <a:pt x="1911" y="1071"/>
                </a:lnTo>
                <a:lnTo>
                  <a:pt x="1916" y="975"/>
                </a:lnTo>
                <a:lnTo>
                  <a:pt x="1911" y="880"/>
                </a:lnTo>
                <a:lnTo>
                  <a:pt x="1897" y="786"/>
                </a:lnTo>
                <a:lnTo>
                  <a:pt x="1875" y="696"/>
                </a:lnTo>
                <a:lnTo>
                  <a:pt x="1842" y="608"/>
                </a:lnTo>
                <a:lnTo>
                  <a:pt x="1804" y="527"/>
                </a:lnTo>
                <a:lnTo>
                  <a:pt x="1756" y="449"/>
                </a:lnTo>
                <a:lnTo>
                  <a:pt x="1702" y="377"/>
                </a:lnTo>
                <a:lnTo>
                  <a:pt x="1641" y="309"/>
                </a:lnTo>
                <a:lnTo>
                  <a:pt x="1574" y="249"/>
                </a:lnTo>
                <a:lnTo>
                  <a:pt x="1502" y="195"/>
                </a:lnTo>
                <a:lnTo>
                  <a:pt x="1424" y="149"/>
                </a:lnTo>
                <a:lnTo>
                  <a:pt x="1343" y="109"/>
                </a:lnTo>
                <a:lnTo>
                  <a:pt x="1256" y="76"/>
                </a:lnTo>
                <a:lnTo>
                  <a:pt x="1165" y="54"/>
                </a:lnTo>
                <a:lnTo>
                  <a:pt x="1071" y="40"/>
                </a:lnTo>
                <a:lnTo>
                  <a:pt x="976" y="35"/>
                </a:lnTo>
                <a:close/>
                <a:moveTo>
                  <a:pt x="976" y="0"/>
                </a:moveTo>
                <a:lnTo>
                  <a:pt x="1075" y="5"/>
                </a:lnTo>
                <a:lnTo>
                  <a:pt x="1171" y="19"/>
                </a:lnTo>
                <a:lnTo>
                  <a:pt x="1267" y="43"/>
                </a:lnTo>
                <a:lnTo>
                  <a:pt x="1355" y="76"/>
                </a:lnTo>
                <a:lnTo>
                  <a:pt x="1441" y="118"/>
                </a:lnTo>
                <a:lnTo>
                  <a:pt x="1521" y="166"/>
                </a:lnTo>
                <a:lnTo>
                  <a:pt x="1597" y="223"/>
                </a:lnTo>
                <a:lnTo>
                  <a:pt x="1666" y="285"/>
                </a:lnTo>
                <a:lnTo>
                  <a:pt x="1728" y="354"/>
                </a:lnTo>
                <a:lnTo>
                  <a:pt x="1785" y="430"/>
                </a:lnTo>
                <a:lnTo>
                  <a:pt x="1833" y="510"/>
                </a:lnTo>
                <a:lnTo>
                  <a:pt x="1875" y="596"/>
                </a:lnTo>
                <a:lnTo>
                  <a:pt x="1908" y="686"/>
                </a:lnTo>
                <a:lnTo>
                  <a:pt x="1932" y="779"/>
                </a:lnTo>
                <a:lnTo>
                  <a:pt x="1946" y="876"/>
                </a:lnTo>
                <a:lnTo>
                  <a:pt x="1951" y="975"/>
                </a:lnTo>
                <a:lnTo>
                  <a:pt x="1946" y="1075"/>
                </a:lnTo>
                <a:lnTo>
                  <a:pt x="1932" y="1172"/>
                </a:lnTo>
                <a:lnTo>
                  <a:pt x="1908" y="1265"/>
                </a:lnTo>
                <a:lnTo>
                  <a:pt x="1875" y="1355"/>
                </a:lnTo>
                <a:lnTo>
                  <a:pt x="1833" y="1441"/>
                </a:lnTo>
                <a:lnTo>
                  <a:pt x="1785" y="1521"/>
                </a:lnTo>
                <a:lnTo>
                  <a:pt x="1728" y="1597"/>
                </a:lnTo>
                <a:lnTo>
                  <a:pt x="1666" y="1666"/>
                </a:lnTo>
                <a:lnTo>
                  <a:pt x="1597" y="1728"/>
                </a:lnTo>
                <a:lnTo>
                  <a:pt x="1521" y="1785"/>
                </a:lnTo>
                <a:lnTo>
                  <a:pt x="1441" y="1833"/>
                </a:lnTo>
                <a:lnTo>
                  <a:pt x="1355" y="1875"/>
                </a:lnTo>
                <a:lnTo>
                  <a:pt x="1267" y="1908"/>
                </a:lnTo>
                <a:lnTo>
                  <a:pt x="1171" y="1932"/>
                </a:lnTo>
                <a:lnTo>
                  <a:pt x="1075" y="1946"/>
                </a:lnTo>
                <a:lnTo>
                  <a:pt x="976" y="1951"/>
                </a:lnTo>
                <a:lnTo>
                  <a:pt x="876" y="1946"/>
                </a:lnTo>
                <a:lnTo>
                  <a:pt x="779" y="1932"/>
                </a:lnTo>
                <a:lnTo>
                  <a:pt x="686" y="1908"/>
                </a:lnTo>
                <a:lnTo>
                  <a:pt x="596" y="1875"/>
                </a:lnTo>
                <a:lnTo>
                  <a:pt x="510" y="1833"/>
                </a:lnTo>
                <a:lnTo>
                  <a:pt x="430" y="1785"/>
                </a:lnTo>
                <a:lnTo>
                  <a:pt x="354" y="1728"/>
                </a:lnTo>
                <a:lnTo>
                  <a:pt x="285" y="1666"/>
                </a:lnTo>
                <a:lnTo>
                  <a:pt x="223" y="1597"/>
                </a:lnTo>
                <a:lnTo>
                  <a:pt x="166" y="1521"/>
                </a:lnTo>
                <a:lnTo>
                  <a:pt x="117" y="1441"/>
                </a:lnTo>
                <a:lnTo>
                  <a:pt x="76" y="1355"/>
                </a:lnTo>
                <a:lnTo>
                  <a:pt x="43" y="1265"/>
                </a:lnTo>
                <a:lnTo>
                  <a:pt x="19" y="1172"/>
                </a:lnTo>
                <a:lnTo>
                  <a:pt x="5" y="1075"/>
                </a:lnTo>
                <a:lnTo>
                  <a:pt x="0" y="975"/>
                </a:lnTo>
                <a:lnTo>
                  <a:pt x="5" y="876"/>
                </a:lnTo>
                <a:lnTo>
                  <a:pt x="19" y="779"/>
                </a:lnTo>
                <a:lnTo>
                  <a:pt x="43" y="686"/>
                </a:lnTo>
                <a:lnTo>
                  <a:pt x="76" y="596"/>
                </a:lnTo>
                <a:lnTo>
                  <a:pt x="117" y="510"/>
                </a:lnTo>
                <a:lnTo>
                  <a:pt x="166" y="430"/>
                </a:lnTo>
                <a:lnTo>
                  <a:pt x="223" y="354"/>
                </a:lnTo>
                <a:lnTo>
                  <a:pt x="285" y="285"/>
                </a:lnTo>
                <a:lnTo>
                  <a:pt x="354" y="223"/>
                </a:lnTo>
                <a:lnTo>
                  <a:pt x="430" y="166"/>
                </a:lnTo>
                <a:lnTo>
                  <a:pt x="510" y="118"/>
                </a:lnTo>
                <a:lnTo>
                  <a:pt x="596" y="76"/>
                </a:lnTo>
                <a:lnTo>
                  <a:pt x="686" y="43"/>
                </a:lnTo>
                <a:lnTo>
                  <a:pt x="779" y="19"/>
                </a:lnTo>
                <a:lnTo>
                  <a:pt x="876" y="5"/>
                </a:lnTo>
                <a:lnTo>
                  <a:pt x="976" y="0"/>
                </a:lnTo>
                <a:close/>
              </a:path>
            </a:pathLst>
          </a:custGeom>
          <a:solidFill>
            <a:srgbClr val="FFFFFF"/>
          </a:solidFill>
          <a:ln w="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1" name="Freeform 463"/>
          <p:cNvSpPr>
            <a:spLocks/>
          </p:cNvSpPr>
          <p:nvPr/>
        </p:nvSpPr>
        <p:spPr bwMode="auto">
          <a:xfrm>
            <a:off x="2905986" y="1796555"/>
            <a:ext cx="1796384" cy="1798070"/>
          </a:xfrm>
          <a:custGeom>
            <a:avLst/>
            <a:gdLst>
              <a:gd name="T0" fmla="*/ 1175 w 2133"/>
              <a:gd name="T1" fmla="*/ 7 h 2135"/>
              <a:gd name="T2" fmla="*/ 1383 w 2133"/>
              <a:gd name="T3" fmla="*/ 49 h 2135"/>
              <a:gd name="T4" fmla="*/ 1574 w 2133"/>
              <a:gd name="T5" fmla="*/ 130 h 2135"/>
              <a:gd name="T6" fmla="*/ 1744 w 2133"/>
              <a:gd name="T7" fmla="*/ 244 h 2135"/>
              <a:gd name="T8" fmla="*/ 1889 w 2133"/>
              <a:gd name="T9" fmla="*/ 389 h 2135"/>
              <a:gd name="T10" fmla="*/ 2003 w 2133"/>
              <a:gd name="T11" fmla="*/ 559 h 2135"/>
              <a:gd name="T12" fmla="*/ 2084 w 2133"/>
              <a:gd name="T13" fmla="*/ 750 h 2135"/>
              <a:gd name="T14" fmla="*/ 2127 w 2133"/>
              <a:gd name="T15" fmla="*/ 958 h 2135"/>
              <a:gd name="T16" fmla="*/ 2127 w 2133"/>
              <a:gd name="T17" fmla="*/ 1177 h 2135"/>
              <a:gd name="T18" fmla="*/ 2084 w 2133"/>
              <a:gd name="T19" fmla="*/ 1385 h 2135"/>
              <a:gd name="T20" fmla="*/ 2003 w 2133"/>
              <a:gd name="T21" fmla="*/ 1576 h 2135"/>
              <a:gd name="T22" fmla="*/ 1889 w 2133"/>
              <a:gd name="T23" fmla="*/ 1746 h 2135"/>
              <a:gd name="T24" fmla="*/ 1744 w 2133"/>
              <a:gd name="T25" fmla="*/ 1891 h 2135"/>
              <a:gd name="T26" fmla="*/ 1574 w 2133"/>
              <a:gd name="T27" fmla="*/ 2005 h 2135"/>
              <a:gd name="T28" fmla="*/ 1383 w 2133"/>
              <a:gd name="T29" fmla="*/ 2086 h 2135"/>
              <a:gd name="T30" fmla="*/ 1175 w 2133"/>
              <a:gd name="T31" fmla="*/ 2128 h 2135"/>
              <a:gd name="T32" fmla="*/ 958 w 2133"/>
              <a:gd name="T33" fmla="*/ 2128 h 2135"/>
              <a:gd name="T34" fmla="*/ 748 w 2133"/>
              <a:gd name="T35" fmla="*/ 2086 h 2135"/>
              <a:gd name="T36" fmla="*/ 558 w 2133"/>
              <a:gd name="T37" fmla="*/ 2005 h 2135"/>
              <a:gd name="T38" fmla="*/ 387 w 2133"/>
              <a:gd name="T39" fmla="*/ 1891 h 2135"/>
              <a:gd name="T40" fmla="*/ 244 w 2133"/>
              <a:gd name="T41" fmla="*/ 1746 h 2135"/>
              <a:gd name="T42" fmla="*/ 128 w 2133"/>
              <a:gd name="T43" fmla="*/ 1576 h 2135"/>
              <a:gd name="T44" fmla="*/ 47 w 2133"/>
              <a:gd name="T45" fmla="*/ 1385 h 2135"/>
              <a:gd name="T46" fmla="*/ 5 w 2133"/>
              <a:gd name="T47" fmla="*/ 1177 h 2135"/>
              <a:gd name="T48" fmla="*/ 5 w 2133"/>
              <a:gd name="T49" fmla="*/ 958 h 2135"/>
              <a:gd name="T50" fmla="*/ 47 w 2133"/>
              <a:gd name="T51" fmla="*/ 750 h 2135"/>
              <a:gd name="T52" fmla="*/ 128 w 2133"/>
              <a:gd name="T53" fmla="*/ 559 h 2135"/>
              <a:gd name="T54" fmla="*/ 244 w 2133"/>
              <a:gd name="T55" fmla="*/ 389 h 2135"/>
              <a:gd name="T56" fmla="*/ 387 w 2133"/>
              <a:gd name="T57" fmla="*/ 244 h 2135"/>
              <a:gd name="T58" fmla="*/ 558 w 2133"/>
              <a:gd name="T59" fmla="*/ 130 h 2135"/>
              <a:gd name="T60" fmla="*/ 748 w 2133"/>
              <a:gd name="T61" fmla="*/ 49 h 2135"/>
              <a:gd name="T62" fmla="*/ 958 w 2133"/>
              <a:gd name="T63" fmla="*/ 7 h 2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133" h="2135">
                <a:moveTo>
                  <a:pt x="1066" y="0"/>
                </a:moveTo>
                <a:lnTo>
                  <a:pt x="1175" y="7"/>
                </a:lnTo>
                <a:lnTo>
                  <a:pt x="1281" y="23"/>
                </a:lnTo>
                <a:lnTo>
                  <a:pt x="1383" y="49"/>
                </a:lnTo>
                <a:lnTo>
                  <a:pt x="1481" y="85"/>
                </a:lnTo>
                <a:lnTo>
                  <a:pt x="1574" y="130"/>
                </a:lnTo>
                <a:lnTo>
                  <a:pt x="1663" y="184"/>
                </a:lnTo>
                <a:lnTo>
                  <a:pt x="1744" y="244"/>
                </a:lnTo>
                <a:lnTo>
                  <a:pt x="1820" y="313"/>
                </a:lnTo>
                <a:lnTo>
                  <a:pt x="1889" y="389"/>
                </a:lnTo>
                <a:lnTo>
                  <a:pt x="1949" y="470"/>
                </a:lnTo>
                <a:lnTo>
                  <a:pt x="2003" y="559"/>
                </a:lnTo>
                <a:lnTo>
                  <a:pt x="2048" y="652"/>
                </a:lnTo>
                <a:lnTo>
                  <a:pt x="2084" y="750"/>
                </a:lnTo>
                <a:lnTo>
                  <a:pt x="2110" y="852"/>
                </a:lnTo>
                <a:lnTo>
                  <a:pt x="2127" y="958"/>
                </a:lnTo>
                <a:lnTo>
                  <a:pt x="2133" y="1067"/>
                </a:lnTo>
                <a:lnTo>
                  <a:pt x="2127" y="1177"/>
                </a:lnTo>
                <a:lnTo>
                  <a:pt x="2110" y="1283"/>
                </a:lnTo>
                <a:lnTo>
                  <a:pt x="2084" y="1385"/>
                </a:lnTo>
                <a:lnTo>
                  <a:pt x="2048" y="1483"/>
                </a:lnTo>
                <a:lnTo>
                  <a:pt x="2003" y="1576"/>
                </a:lnTo>
                <a:lnTo>
                  <a:pt x="1949" y="1665"/>
                </a:lnTo>
                <a:lnTo>
                  <a:pt x="1889" y="1746"/>
                </a:lnTo>
                <a:lnTo>
                  <a:pt x="1820" y="1822"/>
                </a:lnTo>
                <a:lnTo>
                  <a:pt x="1744" y="1891"/>
                </a:lnTo>
                <a:lnTo>
                  <a:pt x="1663" y="1951"/>
                </a:lnTo>
                <a:lnTo>
                  <a:pt x="1574" y="2005"/>
                </a:lnTo>
                <a:lnTo>
                  <a:pt x="1481" y="2050"/>
                </a:lnTo>
                <a:lnTo>
                  <a:pt x="1383" y="2086"/>
                </a:lnTo>
                <a:lnTo>
                  <a:pt x="1281" y="2112"/>
                </a:lnTo>
                <a:lnTo>
                  <a:pt x="1175" y="2128"/>
                </a:lnTo>
                <a:lnTo>
                  <a:pt x="1066" y="2135"/>
                </a:lnTo>
                <a:lnTo>
                  <a:pt x="958" y="2128"/>
                </a:lnTo>
                <a:lnTo>
                  <a:pt x="850" y="2112"/>
                </a:lnTo>
                <a:lnTo>
                  <a:pt x="748" y="2086"/>
                </a:lnTo>
                <a:lnTo>
                  <a:pt x="652" y="2050"/>
                </a:lnTo>
                <a:lnTo>
                  <a:pt x="558" y="2005"/>
                </a:lnTo>
                <a:lnTo>
                  <a:pt x="470" y="1951"/>
                </a:lnTo>
                <a:lnTo>
                  <a:pt x="387" y="1891"/>
                </a:lnTo>
                <a:lnTo>
                  <a:pt x="311" y="1822"/>
                </a:lnTo>
                <a:lnTo>
                  <a:pt x="244" y="1746"/>
                </a:lnTo>
                <a:lnTo>
                  <a:pt x="182" y="1665"/>
                </a:lnTo>
                <a:lnTo>
                  <a:pt x="128" y="1576"/>
                </a:lnTo>
                <a:lnTo>
                  <a:pt x="83" y="1483"/>
                </a:lnTo>
                <a:lnTo>
                  <a:pt x="47" y="1385"/>
                </a:lnTo>
                <a:lnTo>
                  <a:pt x="21" y="1283"/>
                </a:lnTo>
                <a:lnTo>
                  <a:pt x="5" y="1177"/>
                </a:lnTo>
                <a:lnTo>
                  <a:pt x="0" y="1067"/>
                </a:lnTo>
                <a:lnTo>
                  <a:pt x="5" y="958"/>
                </a:lnTo>
                <a:lnTo>
                  <a:pt x="21" y="852"/>
                </a:lnTo>
                <a:lnTo>
                  <a:pt x="47" y="750"/>
                </a:lnTo>
                <a:lnTo>
                  <a:pt x="83" y="652"/>
                </a:lnTo>
                <a:lnTo>
                  <a:pt x="128" y="559"/>
                </a:lnTo>
                <a:lnTo>
                  <a:pt x="182" y="470"/>
                </a:lnTo>
                <a:lnTo>
                  <a:pt x="244" y="389"/>
                </a:lnTo>
                <a:lnTo>
                  <a:pt x="311" y="313"/>
                </a:lnTo>
                <a:lnTo>
                  <a:pt x="387" y="244"/>
                </a:lnTo>
                <a:lnTo>
                  <a:pt x="470" y="184"/>
                </a:lnTo>
                <a:lnTo>
                  <a:pt x="558" y="130"/>
                </a:lnTo>
                <a:lnTo>
                  <a:pt x="652" y="85"/>
                </a:lnTo>
                <a:lnTo>
                  <a:pt x="748" y="49"/>
                </a:lnTo>
                <a:lnTo>
                  <a:pt x="850" y="23"/>
                </a:lnTo>
                <a:lnTo>
                  <a:pt x="958" y="7"/>
                </a:lnTo>
                <a:lnTo>
                  <a:pt x="1066" y="0"/>
                </a:lnTo>
                <a:close/>
              </a:path>
            </a:pathLst>
          </a:custGeom>
          <a:solidFill>
            <a:srgbClr val="26867C"/>
          </a:solidFill>
          <a:ln w="0">
            <a:solidFill>
              <a:srgbClr val="4F7BA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2" name="Freeform 464"/>
          <p:cNvSpPr>
            <a:spLocks/>
          </p:cNvSpPr>
          <p:nvPr/>
        </p:nvSpPr>
        <p:spPr bwMode="auto">
          <a:xfrm>
            <a:off x="3724975" y="3554181"/>
            <a:ext cx="203905" cy="493753"/>
          </a:xfrm>
          <a:custGeom>
            <a:avLst/>
            <a:gdLst>
              <a:gd name="T0" fmla="*/ 99 w 242"/>
              <a:gd name="T1" fmla="*/ 0 h 588"/>
              <a:gd name="T2" fmla="*/ 143 w 242"/>
              <a:gd name="T3" fmla="*/ 0 h 588"/>
              <a:gd name="T4" fmla="*/ 143 w 242"/>
              <a:gd name="T5" fmla="*/ 368 h 588"/>
              <a:gd name="T6" fmla="*/ 242 w 242"/>
              <a:gd name="T7" fmla="*/ 368 h 588"/>
              <a:gd name="T8" fmla="*/ 121 w 242"/>
              <a:gd name="T9" fmla="*/ 588 h 588"/>
              <a:gd name="T10" fmla="*/ 0 w 242"/>
              <a:gd name="T11" fmla="*/ 368 h 588"/>
              <a:gd name="T12" fmla="*/ 99 w 242"/>
              <a:gd name="T13" fmla="*/ 368 h 588"/>
              <a:gd name="T14" fmla="*/ 99 w 242"/>
              <a:gd name="T15" fmla="*/ 0 h 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2" h="588">
                <a:moveTo>
                  <a:pt x="99" y="0"/>
                </a:moveTo>
                <a:lnTo>
                  <a:pt x="143" y="0"/>
                </a:lnTo>
                <a:lnTo>
                  <a:pt x="143" y="368"/>
                </a:lnTo>
                <a:lnTo>
                  <a:pt x="242" y="368"/>
                </a:lnTo>
                <a:lnTo>
                  <a:pt x="121" y="588"/>
                </a:lnTo>
                <a:lnTo>
                  <a:pt x="0" y="368"/>
                </a:lnTo>
                <a:lnTo>
                  <a:pt x="99" y="368"/>
                </a:lnTo>
                <a:lnTo>
                  <a:pt x="99" y="0"/>
                </a:lnTo>
                <a:close/>
              </a:path>
            </a:pathLst>
          </a:custGeom>
          <a:solidFill>
            <a:srgbClr val="26867C"/>
          </a:solidFill>
          <a:ln w="0">
            <a:solidFill>
              <a:srgbClr val="26867C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3" name="Freeform 465"/>
          <p:cNvSpPr>
            <a:spLocks noEditPoints="1"/>
          </p:cNvSpPr>
          <p:nvPr/>
        </p:nvSpPr>
        <p:spPr bwMode="auto">
          <a:xfrm>
            <a:off x="2981819" y="1874073"/>
            <a:ext cx="1644719" cy="1643035"/>
          </a:xfrm>
          <a:custGeom>
            <a:avLst/>
            <a:gdLst>
              <a:gd name="T0" fmla="*/ 786 w 1953"/>
              <a:gd name="T1" fmla="*/ 54 h 1951"/>
              <a:gd name="T2" fmla="*/ 527 w 1953"/>
              <a:gd name="T3" fmla="*/ 149 h 1951"/>
              <a:gd name="T4" fmla="*/ 311 w 1953"/>
              <a:gd name="T5" fmla="*/ 309 h 1951"/>
              <a:gd name="T6" fmla="*/ 149 w 1953"/>
              <a:gd name="T7" fmla="*/ 527 h 1951"/>
              <a:gd name="T8" fmla="*/ 54 w 1953"/>
              <a:gd name="T9" fmla="*/ 786 h 1951"/>
              <a:gd name="T10" fmla="*/ 40 w 1953"/>
              <a:gd name="T11" fmla="*/ 1071 h 1951"/>
              <a:gd name="T12" fmla="*/ 109 w 1953"/>
              <a:gd name="T13" fmla="*/ 1341 h 1951"/>
              <a:gd name="T14" fmla="*/ 249 w 1953"/>
              <a:gd name="T15" fmla="*/ 1574 h 1951"/>
              <a:gd name="T16" fmla="*/ 449 w 1953"/>
              <a:gd name="T17" fmla="*/ 1756 h 1951"/>
              <a:gd name="T18" fmla="*/ 696 w 1953"/>
              <a:gd name="T19" fmla="*/ 1875 h 1951"/>
              <a:gd name="T20" fmla="*/ 976 w 1953"/>
              <a:gd name="T21" fmla="*/ 1916 h 1951"/>
              <a:gd name="T22" fmla="*/ 1256 w 1953"/>
              <a:gd name="T23" fmla="*/ 1875 h 1951"/>
              <a:gd name="T24" fmla="*/ 1502 w 1953"/>
              <a:gd name="T25" fmla="*/ 1756 h 1951"/>
              <a:gd name="T26" fmla="*/ 1702 w 1953"/>
              <a:gd name="T27" fmla="*/ 1574 h 1951"/>
              <a:gd name="T28" fmla="*/ 1844 w 1953"/>
              <a:gd name="T29" fmla="*/ 1341 h 1951"/>
              <a:gd name="T30" fmla="*/ 1913 w 1953"/>
              <a:gd name="T31" fmla="*/ 1071 h 1951"/>
              <a:gd name="T32" fmla="*/ 1897 w 1953"/>
              <a:gd name="T33" fmla="*/ 786 h 1951"/>
              <a:gd name="T34" fmla="*/ 1804 w 1953"/>
              <a:gd name="T35" fmla="*/ 527 h 1951"/>
              <a:gd name="T36" fmla="*/ 1642 w 1953"/>
              <a:gd name="T37" fmla="*/ 309 h 1951"/>
              <a:gd name="T38" fmla="*/ 1424 w 1953"/>
              <a:gd name="T39" fmla="*/ 149 h 1951"/>
              <a:gd name="T40" fmla="*/ 1165 w 1953"/>
              <a:gd name="T41" fmla="*/ 54 h 1951"/>
              <a:gd name="T42" fmla="*/ 976 w 1953"/>
              <a:gd name="T43" fmla="*/ 0 h 1951"/>
              <a:gd name="T44" fmla="*/ 1267 w 1953"/>
              <a:gd name="T45" fmla="*/ 43 h 1951"/>
              <a:gd name="T46" fmla="*/ 1521 w 1953"/>
              <a:gd name="T47" fmla="*/ 166 h 1951"/>
              <a:gd name="T48" fmla="*/ 1730 w 1953"/>
              <a:gd name="T49" fmla="*/ 354 h 1951"/>
              <a:gd name="T50" fmla="*/ 1875 w 1953"/>
              <a:gd name="T51" fmla="*/ 596 h 1951"/>
              <a:gd name="T52" fmla="*/ 1948 w 1953"/>
              <a:gd name="T53" fmla="*/ 876 h 1951"/>
              <a:gd name="T54" fmla="*/ 1932 w 1953"/>
              <a:gd name="T55" fmla="*/ 1172 h 1951"/>
              <a:gd name="T56" fmla="*/ 1833 w 1953"/>
              <a:gd name="T57" fmla="*/ 1441 h 1951"/>
              <a:gd name="T58" fmla="*/ 1666 w 1953"/>
              <a:gd name="T59" fmla="*/ 1666 h 1951"/>
              <a:gd name="T60" fmla="*/ 1441 w 1953"/>
              <a:gd name="T61" fmla="*/ 1833 h 1951"/>
              <a:gd name="T62" fmla="*/ 1173 w 1953"/>
              <a:gd name="T63" fmla="*/ 1932 h 1951"/>
              <a:gd name="T64" fmla="*/ 876 w 1953"/>
              <a:gd name="T65" fmla="*/ 1946 h 1951"/>
              <a:gd name="T66" fmla="*/ 596 w 1953"/>
              <a:gd name="T67" fmla="*/ 1875 h 1951"/>
              <a:gd name="T68" fmla="*/ 354 w 1953"/>
              <a:gd name="T69" fmla="*/ 1728 h 1951"/>
              <a:gd name="T70" fmla="*/ 166 w 1953"/>
              <a:gd name="T71" fmla="*/ 1521 h 1951"/>
              <a:gd name="T72" fmla="*/ 43 w 1953"/>
              <a:gd name="T73" fmla="*/ 1265 h 1951"/>
              <a:gd name="T74" fmla="*/ 0 w 1953"/>
              <a:gd name="T75" fmla="*/ 975 h 1951"/>
              <a:gd name="T76" fmla="*/ 43 w 1953"/>
              <a:gd name="T77" fmla="*/ 686 h 1951"/>
              <a:gd name="T78" fmla="*/ 166 w 1953"/>
              <a:gd name="T79" fmla="*/ 430 h 1951"/>
              <a:gd name="T80" fmla="*/ 354 w 1953"/>
              <a:gd name="T81" fmla="*/ 223 h 1951"/>
              <a:gd name="T82" fmla="*/ 596 w 1953"/>
              <a:gd name="T83" fmla="*/ 76 h 1951"/>
              <a:gd name="T84" fmla="*/ 876 w 1953"/>
              <a:gd name="T85" fmla="*/ 5 h 19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953" h="1951">
                <a:moveTo>
                  <a:pt x="976" y="35"/>
                </a:moveTo>
                <a:lnTo>
                  <a:pt x="880" y="40"/>
                </a:lnTo>
                <a:lnTo>
                  <a:pt x="786" y="54"/>
                </a:lnTo>
                <a:lnTo>
                  <a:pt x="696" y="76"/>
                </a:lnTo>
                <a:lnTo>
                  <a:pt x="610" y="109"/>
                </a:lnTo>
                <a:lnTo>
                  <a:pt x="527" y="149"/>
                </a:lnTo>
                <a:lnTo>
                  <a:pt x="449" y="195"/>
                </a:lnTo>
                <a:lnTo>
                  <a:pt x="377" y="249"/>
                </a:lnTo>
                <a:lnTo>
                  <a:pt x="311" y="309"/>
                </a:lnTo>
                <a:lnTo>
                  <a:pt x="249" y="377"/>
                </a:lnTo>
                <a:lnTo>
                  <a:pt x="195" y="449"/>
                </a:lnTo>
                <a:lnTo>
                  <a:pt x="149" y="527"/>
                </a:lnTo>
                <a:lnTo>
                  <a:pt x="109" y="608"/>
                </a:lnTo>
                <a:lnTo>
                  <a:pt x="78" y="696"/>
                </a:lnTo>
                <a:lnTo>
                  <a:pt x="54" y="786"/>
                </a:lnTo>
                <a:lnTo>
                  <a:pt x="40" y="880"/>
                </a:lnTo>
                <a:lnTo>
                  <a:pt x="35" y="975"/>
                </a:lnTo>
                <a:lnTo>
                  <a:pt x="40" y="1071"/>
                </a:lnTo>
                <a:lnTo>
                  <a:pt x="54" y="1165"/>
                </a:lnTo>
                <a:lnTo>
                  <a:pt x="78" y="1255"/>
                </a:lnTo>
                <a:lnTo>
                  <a:pt x="109" y="1341"/>
                </a:lnTo>
                <a:lnTo>
                  <a:pt x="149" y="1424"/>
                </a:lnTo>
                <a:lnTo>
                  <a:pt x="195" y="1502"/>
                </a:lnTo>
                <a:lnTo>
                  <a:pt x="249" y="1574"/>
                </a:lnTo>
                <a:lnTo>
                  <a:pt x="311" y="1642"/>
                </a:lnTo>
                <a:lnTo>
                  <a:pt x="377" y="1702"/>
                </a:lnTo>
                <a:lnTo>
                  <a:pt x="449" y="1756"/>
                </a:lnTo>
                <a:lnTo>
                  <a:pt x="527" y="1802"/>
                </a:lnTo>
                <a:lnTo>
                  <a:pt x="610" y="1842"/>
                </a:lnTo>
                <a:lnTo>
                  <a:pt x="696" y="1875"/>
                </a:lnTo>
                <a:lnTo>
                  <a:pt x="786" y="1897"/>
                </a:lnTo>
                <a:lnTo>
                  <a:pt x="880" y="1911"/>
                </a:lnTo>
                <a:lnTo>
                  <a:pt x="976" y="1916"/>
                </a:lnTo>
                <a:lnTo>
                  <a:pt x="1071" y="1911"/>
                </a:lnTo>
                <a:lnTo>
                  <a:pt x="1165" y="1897"/>
                </a:lnTo>
                <a:lnTo>
                  <a:pt x="1256" y="1875"/>
                </a:lnTo>
                <a:lnTo>
                  <a:pt x="1343" y="1842"/>
                </a:lnTo>
                <a:lnTo>
                  <a:pt x="1424" y="1802"/>
                </a:lnTo>
                <a:lnTo>
                  <a:pt x="1502" y="1756"/>
                </a:lnTo>
                <a:lnTo>
                  <a:pt x="1574" y="1702"/>
                </a:lnTo>
                <a:lnTo>
                  <a:pt x="1642" y="1642"/>
                </a:lnTo>
                <a:lnTo>
                  <a:pt x="1702" y="1574"/>
                </a:lnTo>
                <a:lnTo>
                  <a:pt x="1756" y="1502"/>
                </a:lnTo>
                <a:lnTo>
                  <a:pt x="1804" y="1424"/>
                </a:lnTo>
                <a:lnTo>
                  <a:pt x="1844" y="1341"/>
                </a:lnTo>
                <a:lnTo>
                  <a:pt x="1875" y="1255"/>
                </a:lnTo>
                <a:lnTo>
                  <a:pt x="1897" y="1165"/>
                </a:lnTo>
                <a:lnTo>
                  <a:pt x="1913" y="1071"/>
                </a:lnTo>
                <a:lnTo>
                  <a:pt x="1916" y="975"/>
                </a:lnTo>
                <a:lnTo>
                  <a:pt x="1913" y="880"/>
                </a:lnTo>
                <a:lnTo>
                  <a:pt x="1897" y="786"/>
                </a:lnTo>
                <a:lnTo>
                  <a:pt x="1875" y="696"/>
                </a:lnTo>
                <a:lnTo>
                  <a:pt x="1844" y="608"/>
                </a:lnTo>
                <a:lnTo>
                  <a:pt x="1804" y="527"/>
                </a:lnTo>
                <a:lnTo>
                  <a:pt x="1756" y="449"/>
                </a:lnTo>
                <a:lnTo>
                  <a:pt x="1702" y="377"/>
                </a:lnTo>
                <a:lnTo>
                  <a:pt x="1642" y="309"/>
                </a:lnTo>
                <a:lnTo>
                  <a:pt x="1574" y="249"/>
                </a:lnTo>
                <a:lnTo>
                  <a:pt x="1502" y="195"/>
                </a:lnTo>
                <a:lnTo>
                  <a:pt x="1424" y="149"/>
                </a:lnTo>
                <a:lnTo>
                  <a:pt x="1343" y="109"/>
                </a:lnTo>
                <a:lnTo>
                  <a:pt x="1256" y="76"/>
                </a:lnTo>
                <a:lnTo>
                  <a:pt x="1165" y="54"/>
                </a:lnTo>
                <a:lnTo>
                  <a:pt x="1071" y="40"/>
                </a:lnTo>
                <a:lnTo>
                  <a:pt x="976" y="35"/>
                </a:lnTo>
                <a:close/>
                <a:moveTo>
                  <a:pt x="976" y="0"/>
                </a:moveTo>
                <a:lnTo>
                  <a:pt x="1075" y="5"/>
                </a:lnTo>
                <a:lnTo>
                  <a:pt x="1173" y="19"/>
                </a:lnTo>
                <a:lnTo>
                  <a:pt x="1267" y="43"/>
                </a:lnTo>
                <a:lnTo>
                  <a:pt x="1357" y="76"/>
                </a:lnTo>
                <a:lnTo>
                  <a:pt x="1441" y="118"/>
                </a:lnTo>
                <a:lnTo>
                  <a:pt x="1521" y="166"/>
                </a:lnTo>
                <a:lnTo>
                  <a:pt x="1597" y="223"/>
                </a:lnTo>
                <a:lnTo>
                  <a:pt x="1666" y="285"/>
                </a:lnTo>
                <a:lnTo>
                  <a:pt x="1730" y="354"/>
                </a:lnTo>
                <a:lnTo>
                  <a:pt x="1785" y="430"/>
                </a:lnTo>
                <a:lnTo>
                  <a:pt x="1833" y="510"/>
                </a:lnTo>
                <a:lnTo>
                  <a:pt x="1875" y="596"/>
                </a:lnTo>
                <a:lnTo>
                  <a:pt x="1908" y="686"/>
                </a:lnTo>
                <a:lnTo>
                  <a:pt x="1932" y="779"/>
                </a:lnTo>
                <a:lnTo>
                  <a:pt x="1948" y="876"/>
                </a:lnTo>
                <a:lnTo>
                  <a:pt x="1953" y="975"/>
                </a:lnTo>
                <a:lnTo>
                  <a:pt x="1948" y="1075"/>
                </a:lnTo>
                <a:lnTo>
                  <a:pt x="1932" y="1172"/>
                </a:lnTo>
                <a:lnTo>
                  <a:pt x="1908" y="1265"/>
                </a:lnTo>
                <a:lnTo>
                  <a:pt x="1875" y="1355"/>
                </a:lnTo>
                <a:lnTo>
                  <a:pt x="1833" y="1441"/>
                </a:lnTo>
                <a:lnTo>
                  <a:pt x="1785" y="1521"/>
                </a:lnTo>
                <a:lnTo>
                  <a:pt x="1730" y="1597"/>
                </a:lnTo>
                <a:lnTo>
                  <a:pt x="1666" y="1666"/>
                </a:lnTo>
                <a:lnTo>
                  <a:pt x="1597" y="1728"/>
                </a:lnTo>
                <a:lnTo>
                  <a:pt x="1521" y="1785"/>
                </a:lnTo>
                <a:lnTo>
                  <a:pt x="1441" y="1833"/>
                </a:lnTo>
                <a:lnTo>
                  <a:pt x="1357" y="1875"/>
                </a:lnTo>
                <a:lnTo>
                  <a:pt x="1267" y="1908"/>
                </a:lnTo>
                <a:lnTo>
                  <a:pt x="1173" y="1932"/>
                </a:lnTo>
                <a:lnTo>
                  <a:pt x="1075" y="1946"/>
                </a:lnTo>
                <a:lnTo>
                  <a:pt x="976" y="1951"/>
                </a:lnTo>
                <a:lnTo>
                  <a:pt x="876" y="1946"/>
                </a:lnTo>
                <a:lnTo>
                  <a:pt x="779" y="1932"/>
                </a:lnTo>
                <a:lnTo>
                  <a:pt x="686" y="1908"/>
                </a:lnTo>
                <a:lnTo>
                  <a:pt x="596" y="1875"/>
                </a:lnTo>
                <a:lnTo>
                  <a:pt x="512" y="1833"/>
                </a:lnTo>
                <a:lnTo>
                  <a:pt x="430" y="1785"/>
                </a:lnTo>
                <a:lnTo>
                  <a:pt x="354" y="1728"/>
                </a:lnTo>
                <a:lnTo>
                  <a:pt x="285" y="1666"/>
                </a:lnTo>
                <a:lnTo>
                  <a:pt x="223" y="1597"/>
                </a:lnTo>
                <a:lnTo>
                  <a:pt x="166" y="1521"/>
                </a:lnTo>
                <a:lnTo>
                  <a:pt x="118" y="1441"/>
                </a:lnTo>
                <a:lnTo>
                  <a:pt x="76" y="1355"/>
                </a:lnTo>
                <a:lnTo>
                  <a:pt x="43" y="1265"/>
                </a:lnTo>
                <a:lnTo>
                  <a:pt x="19" y="1172"/>
                </a:lnTo>
                <a:lnTo>
                  <a:pt x="5" y="1075"/>
                </a:lnTo>
                <a:lnTo>
                  <a:pt x="0" y="975"/>
                </a:lnTo>
                <a:lnTo>
                  <a:pt x="5" y="876"/>
                </a:lnTo>
                <a:lnTo>
                  <a:pt x="19" y="779"/>
                </a:lnTo>
                <a:lnTo>
                  <a:pt x="43" y="686"/>
                </a:lnTo>
                <a:lnTo>
                  <a:pt x="76" y="596"/>
                </a:lnTo>
                <a:lnTo>
                  <a:pt x="118" y="510"/>
                </a:lnTo>
                <a:lnTo>
                  <a:pt x="166" y="430"/>
                </a:lnTo>
                <a:lnTo>
                  <a:pt x="223" y="354"/>
                </a:lnTo>
                <a:lnTo>
                  <a:pt x="285" y="285"/>
                </a:lnTo>
                <a:lnTo>
                  <a:pt x="354" y="223"/>
                </a:lnTo>
                <a:lnTo>
                  <a:pt x="430" y="166"/>
                </a:lnTo>
                <a:lnTo>
                  <a:pt x="512" y="118"/>
                </a:lnTo>
                <a:lnTo>
                  <a:pt x="596" y="76"/>
                </a:lnTo>
                <a:lnTo>
                  <a:pt x="686" y="43"/>
                </a:lnTo>
                <a:lnTo>
                  <a:pt x="779" y="19"/>
                </a:lnTo>
                <a:lnTo>
                  <a:pt x="876" y="5"/>
                </a:lnTo>
                <a:lnTo>
                  <a:pt x="976" y="0"/>
                </a:lnTo>
                <a:close/>
              </a:path>
            </a:pathLst>
          </a:custGeom>
          <a:solidFill>
            <a:srgbClr val="FFFFFF"/>
          </a:solidFill>
          <a:ln w="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4" name="Freeform 472"/>
          <p:cNvSpPr>
            <a:spLocks/>
          </p:cNvSpPr>
          <p:nvPr/>
        </p:nvSpPr>
        <p:spPr bwMode="auto">
          <a:xfrm>
            <a:off x="614164" y="1796555"/>
            <a:ext cx="1796384" cy="1798070"/>
          </a:xfrm>
          <a:custGeom>
            <a:avLst/>
            <a:gdLst>
              <a:gd name="T0" fmla="*/ 1175 w 2133"/>
              <a:gd name="T1" fmla="*/ 7 h 2135"/>
              <a:gd name="T2" fmla="*/ 1383 w 2133"/>
              <a:gd name="T3" fmla="*/ 49 h 2135"/>
              <a:gd name="T4" fmla="*/ 1575 w 2133"/>
              <a:gd name="T5" fmla="*/ 130 h 2135"/>
              <a:gd name="T6" fmla="*/ 1744 w 2133"/>
              <a:gd name="T7" fmla="*/ 244 h 2135"/>
              <a:gd name="T8" fmla="*/ 1889 w 2133"/>
              <a:gd name="T9" fmla="*/ 389 h 2135"/>
              <a:gd name="T10" fmla="*/ 2003 w 2133"/>
              <a:gd name="T11" fmla="*/ 559 h 2135"/>
              <a:gd name="T12" fmla="*/ 2084 w 2133"/>
              <a:gd name="T13" fmla="*/ 750 h 2135"/>
              <a:gd name="T14" fmla="*/ 2128 w 2133"/>
              <a:gd name="T15" fmla="*/ 958 h 2135"/>
              <a:gd name="T16" fmla="*/ 2128 w 2133"/>
              <a:gd name="T17" fmla="*/ 1177 h 2135"/>
              <a:gd name="T18" fmla="*/ 2084 w 2133"/>
              <a:gd name="T19" fmla="*/ 1385 h 2135"/>
              <a:gd name="T20" fmla="*/ 2003 w 2133"/>
              <a:gd name="T21" fmla="*/ 1576 h 2135"/>
              <a:gd name="T22" fmla="*/ 1889 w 2133"/>
              <a:gd name="T23" fmla="*/ 1746 h 2135"/>
              <a:gd name="T24" fmla="*/ 1744 w 2133"/>
              <a:gd name="T25" fmla="*/ 1891 h 2135"/>
              <a:gd name="T26" fmla="*/ 1575 w 2133"/>
              <a:gd name="T27" fmla="*/ 2005 h 2135"/>
              <a:gd name="T28" fmla="*/ 1383 w 2133"/>
              <a:gd name="T29" fmla="*/ 2086 h 2135"/>
              <a:gd name="T30" fmla="*/ 1175 w 2133"/>
              <a:gd name="T31" fmla="*/ 2128 h 2135"/>
              <a:gd name="T32" fmla="*/ 958 w 2133"/>
              <a:gd name="T33" fmla="*/ 2128 h 2135"/>
              <a:gd name="T34" fmla="*/ 749 w 2133"/>
              <a:gd name="T35" fmla="*/ 2086 h 2135"/>
              <a:gd name="T36" fmla="*/ 559 w 2133"/>
              <a:gd name="T37" fmla="*/ 2005 h 2135"/>
              <a:gd name="T38" fmla="*/ 387 w 2133"/>
              <a:gd name="T39" fmla="*/ 1891 h 2135"/>
              <a:gd name="T40" fmla="*/ 242 w 2133"/>
              <a:gd name="T41" fmla="*/ 1746 h 2135"/>
              <a:gd name="T42" fmla="*/ 128 w 2133"/>
              <a:gd name="T43" fmla="*/ 1576 h 2135"/>
              <a:gd name="T44" fmla="*/ 47 w 2133"/>
              <a:gd name="T45" fmla="*/ 1385 h 2135"/>
              <a:gd name="T46" fmla="*/ 6 w 2133"/>
              <a:gd name="T47" fmla="*/ 1177 h 2135"/>
              <a:gd name="T48" fmla="*/ 6 w 2133"/>
              <a:gd name="T49" fmla="*/ 958 h 2135"/>
              <a:gd name="T50" fmla="*/ 47 w 2133"/>
              <a:gd name="T51" fmla="*/ 750 h 2135"/>
              <a:gd name="T52" fmla="*/ 128 w 2133"/>
              <a:gd name="T53" fmla="*/ 559 h 2135"/>
              <a:gd name="T54" fmla="*/ 242 w 2133"/>
              <a:gd name="T55" fmla="*/ 389 h 2135"/>
              <a:gd name="T56" fmla="*/ 387 w 2133"/>
              <a:gd name="T57" fmla="*/ 244 h 2135"/>
              <a:gd name="T58" fmla="*/ 559 w 2133"/>
              <a:gd name="T59" fmla="*/ 130 h 2135"/>
              <a:gd name="T60" fmla="*/ 749 w 2133"/>
              <a:gd name="T61" fmla="*/ 49 h 2135"/>
              <a:gd name="T62" fmla="*/ 958 w 2133"/>
              <a:gd name="T63" fmla="*/ 7 h 2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133" h="2135">
                <a:moveTo>
                  <a:pt x="1067" y="0"/>
                </a:moveTo>
                <a:lnTo>
                  <a:pt x="1175" y="7"/>
                </a:lnTo>
                <a:lnTo>
                  <a:pt x="1281" y="23"/>
                </a:lnTo>
                <a:lnTo>
                  <a:pt x="1383" y="49"/>
                </a:lnTo>
                <a:lnTo>
                  <a:pt x="1481" y="85"/>
                </a:lnTo>
                <a:lnTo>
                  <a:pt x="1575" y="130"/>
                </a:lnTo>
                <a:lnTo>
                  <a:pt x="1663" y="184"/>
                </a:lnTo>
                <a:lnTo>
                  <a:pt x="1744" y="244"/>
                </a:lnTo>
                <a:lnTo>
                  <a:pt x="1820" y="313"/>
                </a:lnTo>
                <a:lnTo>
                  <a:pt x="1889" y="389"/>
                </a:lnTo>
                <a:lnTo>
                  <a:pt x="1950" y="470"/>
                </a:lnTo>
                <a:lnTo>
                  <a:pt x="2003" y="559"/>
                </a:lnTo>
                <a:lnTo>
                  <a:pt x="2048" y="652"/>
                </a:lnTo>
                <a:lnTo>
                  <a:pt x="2084" y="750"/>
                </a:lnTo>
                <a:lnTo>
                  <a:pt x="2110" y="852"/>
                </a:lnTo>
                <a:lnTo>
                  <a:pt x="2128" y="958"/>
                </a:lnTo>
                <a:lnTo>
                  <a:pt x="2133" y="1067"/>
                </a:lnTo>
                <a:lnTo>
                  <a:pt x="2128" y="1177"/>
                </a:lnTo>
                <a:lnTo>
                  <a:pt x="2110" y="1283"/>
                </a:lnTo>
                <a:lnTo>
                  <a:pt x="2084" y="1385"/>
                </a:lnTo>
                <a:lnTo>
                  <a:pt x="2048" y="1483"/>
                </a:lnTo>
                <a:lnTo>
                  <a:pt x="2003" y="1576"/>
                </a:lnTo>
                <a:lnTo>
                  <a:pt x="1950" y="1665"/>
                </a:lnTo>
                <a:lnTo>
                  <a:pt x="1889" y="1746"/>
                </a:lnTo>
                <a:lnTo>
                  <a:pt x="1820" y="1822"/>
                </a:lnTo>
                <a:lnTo>
                  <a:pt x="1744" y="1891"/>
                </a:lnTo>
                <a:lnTo>
                  <a:pt x="1663" y="1951"/>
                </a:lnTo>
                <a:lnTo>
                  <a:pt x="1575" y="2005"/>
                </a:lnTo>
                <a:lnTo>
                  <a:pt x="1481" y="2050"/>
                </a:lnTo>
                <a:lnTo>
                  <a:pt x="1383" y="2086"/>
                </a:lnTo>
                <a:lnTo>
                  <a:pt x="1281" y="2112"/>
                </a:lnTo>
                <a:lnTo>
                  <a:pt x="1175" y="2128"/>
                </a:lnTo>
                <a:lnTo>
                  <a:pt x="1067" y="2135"/>
                </a:lnTo>
                <a:lnTo>
                  <a:pt x="958" y="2128"/>
                </a:lnTo>
                <a:lnTo>
                  <a:pt x="851" y="2112"/>
                </a:lnTo>
                <a:lnTo>
                  <a:pt x="749" y="2086"/>
                </a:lnTo>
                <a:lnTo>
                  <a:pt x="650" y="2050"/>
                </a:lnTo>
                <a:lnTo>
                  <a:pt x="559" y="2005"/>
                </a:lnTo>
                <a:lnTo>
                  <a:pt x="470" y="1951"/>
                </a:lnTo>
                <a:lnTo>
                  <a:pt x="387" y="1891"/>
                </a:lnTo>
                <a:lnTo>
                  <a:pt x="311" y="1822"/>
                </a:lnTo>
                <a:lnTo>
                  <a:pt x="242" y="1746"/>
                </a:lnTo>
                <a:lnTo>
                  <a:pt x="182" y="1665"/>
                </a:lnTo>
                <a:lnTo>
                  <a:pt x="128" y="1576"/>
                </a:lnTo>
                <a:lnTo>
                  <a:pt x="83" y="1483"/>
                </a:lnTo>
                <a:lnTo>
                  <a:pt x="47" y="1385"/>
                </a:lnTo>
                <a:lnTo>
                  <a:pt x="21" y="1283"/>
                </a:lnTo>
                <a:lnTo>
                  <a:pt x="6" y="1177"/>
                </a:lnTo>
                <a:lnTo>
                  <a:pt x="0" y="1067"/>
                </a:lnTo>
                <a:lnTo>
                  <a:pt x="6" y="958"/>
                </a:lnTo>
                <a:lnTo>
                  <a:pt x="21" y="852"/>
                </a:lnTo>
                <a:lnTo>
                  <a:pt x="47" y="750"/>
                </a:lnTo>
                <a:lnTo>
                  <a:pt x="83" y="652"/>
                </a:lnTo>
                <a:lnTo>
                  <a:pt x="128" y="559"/>
                </a:lnTo>
                <a:lnTo>
                  <a:pt x="182" y="470"/>
                </a:lnTo>
                <a:lnTo>
                  <a:pt x="242" y="389"/>
                </a:lnTo>
                <a:lnTo>
                  <a:pt x="311" y="313"/>
                </a:lnTo>
                <a:lnTo>
                  <a:pt x="387" y="244"/>
                </a:lnTo>
                <a:lnTo>
                  <a:pt x="470" y="184"/>
                </a:lnTo>
                <a:lnTo>
                  <a:pt x="559" y="130"/>
                </a:lnTo>
                <a:lnTo>
                  <a:pt x="650" y="85"/>
                </a:lnTo>
                <a:lnTo>
                  <a:pt x="749" y="49"/>
                </a:lnTo>
                <a:lnTo>
                  <a:pt x="851" y="23"/>
                </a:lnTo>
                <a:lnTo>
                  <a:pt x="958" y="7"/>
                </a:lnTo>
                <a:lnTo>
                  <a:pt x="1067" y="0"/>
                </a:lnTo>
                <a:close/>
              </a:path>
            </a:pathLst>
          </a:custGeom>
          <a:solidFill>
            <a:srgbClr val="00569B"/>
          </a:solidFill>
          <a:ln w="0">
            <a:solidFill>
              <a:srgbClr val="5059A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5" name="Freeform 473"/>
          <p:cNvSpPr>
            <a:spLocks/>
          </p:cNvSpPr>
          <p:nvPr/>
        </p:nvSpPr>
        <p:spPr bwMode="auto">
          <a:xfrm>
            <a:off x="1397765" y="3554181"/>
            <a:ext cx="205590" cy="493753"/>
          </a:xfrm>
          <a:custGeom>
            <a:avLst/>
            <a:gdLst>
              <a:gd name="T0" fmla="*/ 98 w 243"/>
              <a:gd name="T1" fmla="*/ 0 h 588"/>
              <a:gd name="T2" fmla="*/ 145 w 243"/>
              <a:gd name="T3" fmla="*/ 0 h 588"/>
              <a:gd name="T4" fmla="*/ 145 w 243"/>
              <a:gd name="T5" fmla="*/ 368 h 588"/>
              <a:gd name="T6" fmla="*/ 243 w 243"/>
              <a:gd name="T7" fmla="*/ 368 h 588"/>
              <a:gd name="T8" fmla="*/ 122 w 243"/>
              <a:gd name="T9" fmla="*/ 588 h 588"/>
              <a:gd name="T10" fmla="*/ 0 w 243"/>
              <a:gd name="T11" fmla="*/ 368 h 588"/>
              <a:gd name="T12" fmla="*/ 98 w 243"/>
              <a:gd name="T13" fmla="*/ 368 h 588"/>
              <a:gd name="T14" fmla="*/ 98 w 243"/>
              <a:gd name="T15" fmla="*/ 0 h 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3" h="588">
                <a:moveTo>
                  <a:pt x="98" y="0"/>
                </a:moveTo>
                <a:lnTo>
                  <a:pt x="145" y="0"/>
                </a:lnTo>
                <a:lnTo>
                  <a:pt x="145" y="368"/>
                </a:lnTo>
                <a:lnTo>
                  <a:pt x="243" y="368"/>
                </a:lnTo>
                <a:lnTo>
                  <a:pt x="122" y="588"/>
                </a:lnTo>
                <a:lnTo>
                  <a:pt x="0" y="368"/>
                </a:lnTo>
                <a:lnTo>
                  <a:pt x="98" y="368"/>
                </a:lnTo>
                <a:lnTo>
                  <a:pt x="98" y="0"/>
                </a:lnTo>
                <a:close/>
              </a:path>
            </a:pathLst>
          </a:custGeom>
          <a:solidFill>
            <a:srgbClr val="00569B"/>
          </a:solidFill>
          <a:ln w="0">
            <a:solidFill>
              <a:srgbClr val="00569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6" name="Freeform 474"/>
          <p:cNvSpPr>
            <a:spLocks noEditPoints="1"/>
          </p:cNvSpPr>
          <p:nvPr/>
        </p:nvSpPr>
        <p:spPr bwMode="auto">
          <a:xfrm>
            <a:off x="689997" y="1874073"/>
            <a:ext cx="1643035" cy="1643035"/>
          </a:xfrm>
          <a:custGeom>
            <a:avLst/>
            <a:gdLst>
              <a:gd name="T0" fmla="*/ 786 w 1951"/>
              <a:gd name="T1" fmla="*/ 54 h 1951"/>
              <a:gd name="T2" fmla="*/ 527 w 1951"/>
              <a:gd name="T3" fmla="*/ 149 h 1951"/>
              <a:gd name="T4" fmla="*/ 311 w 1951"/>
              <a:gd name="T5" fmla="*/ 309 h 1951"/>
              <a:gd name="T6" fmla="*/ 149 w 1951"/>
              <a:gd name="T7" fmla="*/ 527 h 1951"/>
              <a:gd name="T8" fmla="*/ 54 w 1951"/>
              <a:gd name="T9" fmla="*/ 786 h 1951"/>
              <a:gd name="T10" fmla="*/ 40 w 1951"/>
              <a:gd name="T11" fmla="*/ 1071 h 1951"/>
              <a:gd name="T12" fmla="*/ 109 w 1951"/>
              <a:gd name="T13" fmla="*/ 1341 h 1951"/>
              <a:gd name="T14" fmla="*/ 249 w 1951"/>
              <a:gd name="T15" fmla="*/ 1574 h 1951"/>
              <a:gd name="T16" fmla="*/ 450 w 1951"/>
              <a:gd name="T17" fmla="*/ 1756 h 1951"/>
              <a:gd name="T18" fmla="*/ 697 w 1951"/>
              <a:gd name="T19" fmla="*/ 1875 h 1951"/>
              <a:gd name="T20" fmla="*/ 977 w 1951"/>
              <a:gd name="T21" fmla="*/ 1916 h 1951"/>
              <a:gd name="T22" fmla="*/ 1256 w 1951"/>
              <a:gd name="T23" fmla="*/ 1875 h 1951"/>
              <a:gd name="T24" fmla="*/ 1502 w 1951"/>
              <a:gd name="T25" fmla="*/ 1756 h 1951"/>
              <a:gd name="T26" fmla="*/ 1702 w 1951"/>
              <a:gd name="T27" fmla="*/ 1574 h 1951"/>
              <a:gd name="T28" fmla="*/ 1844 w 1951"/>
              <a:gd name="T29" fmla="*/ 1341 h 1951"/>
              <a:gd name="T30" fmla="*/ 1913 w 1951"/>
              <a:gd name="T31" fmla="*/ 1071 h 1951"/>
              <a:gd name="T32" fmla="*/ 1898 w 1951"/>
              <a:gd name="T33" fmla="*/ 786 h 1951"/>
              <a:gd name="T34" fmla="*/ 1804 w 1951"/>
              <a:gd name="T35" fmla="*/ 527 h 1951"/>
              <a:gd name="T36" fmla="*/ 1642 w 1951"/>
              <a:gd name="T37" fmla="*/ 309 h 1951"/>
              <a:gd name="T38" fmla="*/ 1424 w 1951"/>
              <a:gd name="T39" fmla="*/ 149 h 1951"/>
              <a:gd name="T40" fmla="*/ 1165 w 1951"/>
              <a:gd name="T41" fmla="*/ 54 h 1951"/>
              <a:gd name="T42" fmla="*/ 977 w 1951"/>
              <a:gd name="T43" fmla="*/ 0 h 1951"/>
              <a:gd name="T44" fmla="*/ 1267 w 1951"/>
              <a:gd name="T45" fmla="*/ 43 h 1951"/>
              <a:gd name="T46" fmla="*/ 1521 w 1951"/>
              <a:gd name="T47" fmla="*/ 166 h 1951"/>
              <a:gd name="T48" fmla="*/ 1730 w 1951"/>
              <a:gd name="T49" fmla="*/ 354 h 1951"/>
              <a:gd name="T50" fmla="*/ 1875 w 1951"/>
              <a:gd name="T51" fmla="*/ 596 h 1951"/>
              <a:gd name="T52" fmla="*/ 1948 w 1951"/>
              <a:gd name="T53" fmla="*/ 876 h 1951"/>
              <a:gd name="T54" fmla="*/ 1932 w 1951"/>
              <a:gd name="T55" fmla="*/ 1172 h 1951"/>
              <a:gd name="T56" fmla="*/ 1834 w 1951"/>
              <a:gd name="T57" fmla="*/ 1441 h 1951"/>
              <a:gd name="T58" fmla="*/ 1666 w 1951"/>
              <a:gd name="T59" fmla="*/ 1666 h 1951"/>
              <a:gd name="T60" fmla="*/ 1441 w 1951"/>
              <a:gd name="T61" fmla="*/ 1833 h 1951"/>
              <a:gd name="T62" fmla="*/ 1174 w 1951"/>
              <a:gd name="T63" fmla="*/ 1932 h 1951"/>
              <a:gd name="T64" fmla="*/ 876 w 1951"/>
              <a:gd name="T65" fmla="*/ 1946 h 1951"/>
              <a:gd name="T66" fmla="*/ 596 w 1951"/>
              <a:gd name="T67" fmla="*/ 1875 h 1951"/>
              <a:gd name="T68" fmla="*/ 354 w 1951"/>
              <a:gd name="T69" fmla="*/ 1728 h 1951"/>
              <a:gd name="T70" fmla="*/ 166 w 1951"/>
              <a:gd name="T71" fmla="*/ 1521 h 1951"/>
              <a:gd name="T72" fmla="*/ 43 w 1951"/>
              <a:gd name="T73" fmla="*/ 1265 h 1951"/>
              <a:gd name="T74" fmla="*/ 0 w 1951"/>
              <a:gd name="T75" fmla="*/ 975 h 1951"/>
              <a:gd name="T76" fmla="*/ 43 w 1951"/>
              <a:gd name="T77" fmla="*/ 686 h 1951"/>
              <a:gd name="T78" fmla="*/ 166 w 1951"/>
              <a:gd name="T79" fmla="*/ 430 h 1951"/>
              <a:gd name="T80" fmla="*/ 354 w 1951"/>
              <a:gd name="T81" fmla="*/ 223 h 1951"/>
              <a:gd name="T82" fmla="*/ 596 w 1951"/>
              <a:gd name="T83" fmla="*/ 76 h 1951"/>
              <a:gd name="T84" fmla="*/ 876 w 1951"/>
              <a:gd name="T85" fmla="*/ 5 h 19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951" h="1951">
                <a:moveTo>
                  <a:pt x="977" y="35"/>
                </a:moveTo>
                <a:lnTo>
                  <a:pt x="880" y="40"/>
                </a:lnTo>
                <a:lnTo>
                  <a:pt x="786" y="54"/>
                </a:lnTo>
                <a:lnTo>
                  <a:pt x="697" y="76"/>
                </a:lnTo>
                <a:lnTo>
                  <a:pt x="610" y="109"/>
                </a:lnTo>
                <a:lnTo>
                  <a:pt x="527" y="149"/>
                </a:lnTo>
                <a:lnTo>
                  <a:pt x="450" y="195"/>
                </a:lnTo>
                <a:lnTo>
                  <a:pt x="377" y="249"/>
                </a:lnTo>
                <a:lnTo>
                  <a:pt x="311" y="309"/>
                </a:lnTo>
                <a:lnTo>
                  <a:pt x="249" y="377"/>
                </a:lnTo>
                <a:lnTo>
                  <a:pt x="195" y="449"/>
                </a:lnTo>
                <a:lnTo>
                  <a:pt x="149" y="527"/>
                </a:lnTo>
                <a:lnTo>
                  <a:pt x="109" y="608"/>
                </a:lnTo>
                <a:lnTo>
                  <a:pt x="78" y="696"/>
                </a:lnTo>
                <a:lnTo>
                  <a:pt x="54" y="786"/>
                </a:lnTo>
                <a:lnTo>
                  <a:pt x="40" y="880"/>
                </a:lnTo>
                <a:lnTo>
                  <a:pt x="35" y="975"/>
                </a:lnTo>
                <a:lnTo>
                  <a:pt x="40" y="1071"/>
                </a:lnTo>
                <a:lnTo>
                  <a:pt x="54" y="1165"/>
                </a:lnTo>
                <a:lnTo>
                  <a:pt x="78" y="1255"/>
                </a:lnTo>
                <a:lnTo>
                  <a:pt x="109" y="1341"/>
                </a:lnTo>
                <a:lnTo>
                  <a:pt x="149" y="1424"/>
                </a:lnTo>
                <a:lnTo>
                  <a:pt x="195" y="1502"/>
                </a:lnTo>
                <a:lnTo>
                  <a:pt x="249" y="1574"/>
                </a:lnTo>
                <a:lnTo>
                  <a:pt x="311" y="1642"/>
                </a:lnTo>
                <a:lnTo>
                  <a:pt x="377" y="1702"/>
                </a:lnTo>
                <a:lnTo>
                  <a:pt x="450" y="1756"/>
                </a:lnTo>
                <a:lnTo>
                  <a:pt x="527" y="1802"/>
                </a:lnTo>
                <a:lnTo>
                  <a:pt x="610" y="1842"/>
                </a:lnTo>
                <a:lnTo>
                  <a:pt x="697" y="1875"/>
                </a:lnTo>
                <a:lnTo>
                  <a:pt x="786" y="1897"/>
                </a:lnTo>
                <a:lnTo>
                  <a:pt x="880" y="1911"/>
                </a:lnTo>
                <a:lnTo>
                  <a:pt x="977" y="1916"/>
                </a:lnTo>
                <a:lnTo>
                  <a:pt x="1072" y="1911"/>
                </a:lnTo>
                <a:lnTo>
                  <a:pt x="1165" y="1897"/>
                </a:lnTo>
                <a:lnTo>
                  <a:pt x="1256" y="1875"/>
                </a:lnTo>
                <a:lnTo>
                  <a:pt x="1343" y="1842"/>
                </a:lnTo>
                <a:lnTo>
                  <a:pt x="1424" y="1802"/>
                </a:lnTo>
                <a:lnTo>
                  <a:pt x="1502" y="1756"/>
                </a:lnTo>
                <a:lnTo>
                  <a:pt x="1574" y="1702"/>
                </a:lnTo>
                <a:lnTo>
                  <a:pt x="1642" y="1642"/>
                </a:lnTo>
                <a:lnTo>
                  <a:pt x="1702" y="1574"/>
                </a:lnTo>
                <a:lnTo>
                  <a:pt x="1756" y="1502"/>
                </a:lnTo>
                <a:lnTo>
                  <a:pt x="1804" y="1424"/>
                </a:lnTo>
                <a:lnTo>
                  <a:pt x="1844" y="1341"/>
                </a:lnTo>
                <a:lnTo>
                  <a:pt x="1875" y="1255"/>
                </a:lnTo>
                <a:lnTo>
                  <a:pt x="1898" y="1165"/>
                </a:lnTo>
                <a:lnTo>
                  <a:pt x="1913" y="1071"/>
                </a:lnTo>
                <a:lnTo>
                  <a:pt x="1917" y="975"/>
                </a:lnTo>
                <a:lnTo>
                  <a:pt x="1913" y="880"/>
                </a:lnTo>
                <a:lnTo>
                  <a:pt x="1898" y="786"/>
                </a:lnTo>
                <a:lnTo>
                  <a:pt x="1875" y="696"/>
                </a:lnTo>
                <a:lnTo>
                  <a:pt x="1844" y="608"/>
                </a:lnTo>
                <a:lnTo>
                  <a:pt x="1804" y="527"/>
                </a:lnTo>
                <a:lnTo>
                  <a:pt x="1756" y="449"/>
                </a:lnTo>
                <a:lnTo>
                  <a:pt x="1702" y="377"/>
                </a:lnTo>
                <a:lnTo>
                  <a:pt x="1642" y="309"/>
                </a:lnTo>
                <a:lnTo>
                  <a:pt x="1574" y="249"/>
                </a:lnTo>
                <a:lnTo>
                  <a:pt x="1502" y="195"/>
                </a:lnTo>
                <a:lnTo>
                  <a:pt x="1424" y="149"/>
                </a:lnTo>
                <a:lnTo>
                  <a:pt x="1343" y="109"/>
                </a:lnTo>
                <a:lnTo>
                  <a:pt x="1256" y="76"/>
                </a:lnTo>
                <a:lnTo>
                  <a:pt x="1165" y="54"/>
                </a:lnTo>
                <a:lnTo>
                  <a:pt x="1072" y="40"/>
                </a:lnTo>
                <a:lnTo>
                  <a:pt x="977" y="35"/>
                </a:lnTo>
                <a:close/>
                <a:moveTo>
                  <a:pt x="977" y="0"/>
                </a:moveTo>
                <a:lnTo>
                  <a:pt x="1075" y="5"/>
                </a:lnTo>
                <a:lnTo>
                  <a:pt x="1174" y="19"/>
                </a:lnTo>
                <a:lnTo>
                  <a:pt x="1267" y="43"/>
                </a:lnTo>
                <a:lnTo>
                  <a:pt x="1357" y="76"/>
                </a:lnTo>
                <a:lnTo>
                  <a:pt x="1441" y="118"/>
                </a:lnTo>
                <a:lnTo>
                  <a:pt x="1521" y="166"/>
                </a:lnTo>
                <a:lnTo>
                  <a:pt x="1597" y="223"/>
                </a:lnTo>
                <a:lnTo>
                  <a:pt x="1666" y="285"/>
                </a:lnTo>
                <a:lnTo>
                  <a:pt x="1730" y="354"/>
                </a:lnTo>
                <a:lnTo>
                  <a:pt x="1785" y="430"/>
                </a:lnTo>
                <a:lnTo>
                  <a:pt x="1834" y="510"/>
                </a:lnTo>
                <a:lnTo>
                  <a:pt x="1875" y="596"/>
                </a:lnTo>
                <a:lnTo>
                  <a:pt x="1908" y="686"/>
                </a:lnTo>
                <a:lnTo>
                  <a:pt x="1932" y="779"/>
                </a:lnTo>
                <a:lnTo>
                  <a:pt x="1948" y="876"/>
                </a:lnTo>
                <a:lnTo>
                  <a:pt x="1951" y="975"/>
                </a:lnTo>
                <a:lnTo>
                  <a:pt x="1948" y="1075"/>
                </a:lnTo>
                <a:lnTo>
                  <a:pt x="1932" y="1172"/>
                </a:lnTo>
                <a:lnTo>
                  <a:pt x="1908" y="1265"/>
                </a:lnTo>
                <a:lnTo>
                  <a:pt x="1875" y="1355"/>
                </a:lnTo>
                <a:lnTo>
                  <a:pt x="1834" y="1441"/>
                </a:lnTo>
                <a:lnTo>
                  <a:pt x="1785" y="1521"/>
                </a:lnTo>
                <a:lnTo>
                  <a:pt x="1730" y="1597"/>
                </a:lnTo>
                <a:lnTo>
                  <a:pt x="1666" y="1666"/>
                </a:lnTo>
                <a:lnTo>
                  <a:pt x="1597" y="1728"/>
                </a:lnTo>
                <a:lnTo>
                  <a:pt x="1521" y="1785"/>
                </a:lnTo>
                <a:lnTo>
                  <a:pt x="1441" y="1833"/>
                </a:lnTo>
                <a:lnTo>
                  <a:pt x="1357" y="1875"/>
                </a:lnTo>
                <a:lnTo>
                  <a:pt x="1267" y="1908"/>
                </a:lnTo>
                <a:lnTo>
                  <a:pt x="1174" y="1932"/>
                </a:lnTo>
                <a:lnTo>
                  <a:pt x="1075" y="1946"/>
                </a:lnTo>
                <a:lnTo>
                  <a:pt x="977" y="1951"/>
                </a:lnTo>
                <a:lnTo>
                  <a:pt x="876" y="1946"/>
                </a:lnTo>
                <a:lnTo>
                  <a:pt x="780" y="1932"/>
                </a:lnTo>
                <a:lnTo>
                  <a:pt x="686" y="1908"/>
                </a:lnTo>
                <a:lnTo>
                  <a:pt x="596" y="1875"/>
                </a:lnTo>
                <a:lnTo>
                  <a:pt x="512" y="1833"/>
                </a:lnTo>
                <a:lnTo>
                  <a:pt x="430" y="1785"/>
                </a:lnTo>
                <a:lnTo>
                  <a:pt x="354" y="1728"/>
                </a:lnTo>
                <a:lnTo>
                  <a:pt x="285" y="1666"/>
                </a:lnTo>
                <a:lnTo>
                  <a:pt x="223" y="1597"/>
                </a:lnTo>
                <a:lnTo>
                  <a:pt x="166" y="1521"/>
                </a:lnTo>
                <a:lnTo>
                  <a:pt x="118" y="1441"/>
                </a:lnTo>
                <a:lnTo>
                  <a:pt x="76" y="1355"/>
                </a:lnTo>
                <a:lnTo>
                  <a:pt x="43" y="1265"/>
                </a:lnTo>
                <a:lnTo>
                  <a:pt x="19" y="1172"/>
                </a:lnTo>
                <a:lnTo>
                  <a:pt x="5" y="1075"/>
                </a:lnTo>
                <a:lnTo>
                  <a:pt x="0" y="975"/>
                </a:lnTo>
                <a:lnTo>
                  <a:pt x="5" y="876"/>
                </a:lnTo>
                <a:lnTo>
                  <a:pt x="19" y="779"/>
                </a:lnTo>
                <a:lnTo>
                  <a:pt x="43" y="686"/>
                </a:lnTo>
                <a:lnTo>
                  <a:pt x="76" y="596"/>
                </a:lnTo>
                <a:lnTo>
                  <a:pt x="118" y="510"/>
                </a:lnTo>
                <a:lnTo>
                  <a:pt x="166" y="430"/>
                </a:lnTo>
                <a:lnTo>
                  <a:pt x="223" y="354"/>
                </a:lnTo>
                <a:lnTo>
                  <a:pt x="285" y="285"/>
                </a:lnTo>
                <a:lnTo>
                  <a:pt x="354" y="223"/>
                </a:lnTo>
                <a:lnTo>
                  <a:pt x="430" y="166"/>
                </a:lnTo>
                <a:lnTo>
                  <a:pt x="512" y="118"/>
                </a:lnTo>
                <a:lnTo>
                  <a:pt x="596" y="76"/>
                </a:lnTo>
                <a:lnTo>
                  <a:pt x="686" y="43"/>
                </a:lnTo>
                <a:lnTo>
                  <a:pt x="780" y="19"/>
                </a:lnTo>
                <a:lnTo>
                  <a:pt x="876" y="5"/>
                </a:lnTo>
                <a:lnTo>
                  <a:pt x="977" y="0"/>
                </a:lnTo>
                <a:close/>
              </a:path>
            </a:pathLst>
          </a:custGeom>
          <a:solidFill>
            <a:srgbClr val="FFFFFF"/>
          </a:solidFill>
          <a:ln w="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7" name="Freeform 484"/>
          <p:cNvSpPr>
            <a:spLocks/>
          </p:cNvSpPr>
          <p:nvPr/>
        </p:nvSpPr>
        <p:spPr bwMode="auto">
          <a:xfrm>
            <a:off x="9779767" y="1796555"/>
            <a:ext cx="1798070" cy="1798070"/>
          </a:xfrm>
          <a:custGeom>
            <a:avLst/>
            <a:gdLst>
              <a:gd name="T0" fmla="*/ 1175 w 2132"/>
              <a:gd name="T1" fmla="*/ 7 h 2135"/>
              <a:gd name="T2" fmla="*/ 1382 w 2132"/>
              <a:gd name="T3" fmla="*/ 49 h 2135"/>
              <a:gd name="T4" fmla="*/ 1574 w 2132"/>
              <a:gd name="T5" fmla="*/ 130 h 2135"/>
              <a:gd name="T6" fmla="*/ 1743 w 2132"/>
              <a:gd name="T7" fmla="*/ 244 h 2135"/>
              <a:gd name="T8" fmla="*/ 1888 w 2132"/>
              <a:gd name="T9" fmla="*/ 389 h 2135"/>
              <a:gd name="T10" fmla="*/ 2002 w 2132"/>
              <a:gd name="T11" fmla="*/ 559 h 2135"/>
              <a:gd name="T12" fmla="*/ 2084 w 2132"/>
              <a:gd name="T13" fmla="*/ 750 h 2135"/>
              <a:gd name="T14" fmla="*/ 2127 w 2132"/>
              <a:gd name="T15" fmla="*/ 958 h 2135"/>
              <a:gd name="T16" fmla="*/ 2127 w 2132"/>
              <a:gd name="T17" fmla="*/ 1177 h 2135"/>
              <a:gd name="T18" fmla="*/ 2084 w 2132"/>
              <a:gd name="T19" fmla="*/ 1385 h 2135"/>
              <a:gd name="T20" fmla="*/ 2002 w 2132"/>
              <a:gd name="T21" fmla="*/ 1576 h 2135"/>
              <a:gd name="T22" fmla="*/ 1888 w 2132"/>
              <a:gd name="T23" fmla="*/ 1746 h 2135"/>
              <a:gd name="T24" fmla="*/ 1743 w 2132"/>
              <a:gd name="T25" fmla="*/ 1891 h 2135"/>
              <a:gd name="T26" fmla="*/ 1574 w 2132"/>
              <a:gd name="T27" fmla="*/ 2005 h 2135"/>
              <a:gd name="T28" fmla="*/ 1382 w 2132"/>
              <a:gd name="T29" fmla="*/ 2086 h 2135"/>
              <a:gd name="T30" fmla="*/ 1175 w 2132"/>
              <a:gd name="T31" fmla="*/ 2128 h 2135"/>
              <a:gd name="T32" fmla="*/ 957 w 2132"/>
              <a:gd name="T33" fmla="*/ 2128 h 2135"/>
              <a:gd name="T34" fmla="*/ 748 w 2132"/>
              <a:gd name="T35" fmla="*/ 2086 h 2135"/>
              <a:gd name="T36" fmla="*/ 558 w 2132"/>
              <a:gd name="T37" fmla="*/ 2005 h 2135"/>
              <a:gd name="T38" fmla="*/ 387 w 2132"/>
              <a:gd name="T39" fmla="*/ 1891 h 2135"/>
              <a:gd name="T40" fmla="*/ 243 w 2132"/>
              <a:gd name="T41" fmla="*/ 1746 h 2135"/>
              <a:gd name="T42" fmla="*/ 128 w 2132"/>
              <a:gd name="T43" fmla="*/ 1576 h 2135"/>
              <a:gd name="T44" fmla="*/ 46 w 2132"/>
              <a:gd name="T45" fmla="*/ 1385 h 2135"/>
              <a:gd name="T46" fmla="*/ 5 w 2132"/>
              <a:gd name="T47" fmla="*/ 1177 h 2135"/>
              <a:gd name="T48" fmla="*/ 5 w 2132"/>
              <a:gd name="T49" fmla="*/ 958 h 2135"/>
              <a:gd name="T50" fmla="*/ 46 w 2132"/>
              <a:gd name="T51" fmla="*/ 750 h 2135"/>
              <a:gd name="T52" fmla="*/ 128 w 2132"/>
              <a:gd name="T53" fmla="*/ 559 h 2135"/>
              <a:gd name="T54" fmla="*/ 243 w 2132"/>
              <a:gd name="T55" fmla="*/ 389 h 2135"/>
              <a:gd name="T56" fmla="*/ 387 w 2132"/>
              <a:gd name="T57" fmla="*/ 244 h 2135"/>
              <a:gd name="T58" fmla="*/ 558 w 2132"/>
              <a:gd name="T59" fmla="*/ 130 h 2135"/>
              <a:gd name="T60" fmla="*/ 748 w 2132"/>
              <a:gd name="T61" fmla="*/ 49 h 2135"/>
              <a:gd name="T62" fmla="*/ 957 w 2132"/>
              <a:gd name="T63" fmla="*/ 7 h 21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132" h="2135">
                <a:moveTo>
                  <a:pt x="1066" y="0"/>
                </a:moveTo>
                <a:lnTo>
                  <a:pt x="1175" y="7"/>
                </a:lnTo>
                <a:lnTo>
                  <a:pt x="1280" y="23"/>
                </a:lnTo>
                <a:lnTo>
                  <a:pt x="1382" y="49"/>
                </a:lnTo>
                <a:lnTo>
                  <a:pt x="1481" y="85"/>
                </a:lnTo>
                <a:lnTo>
                  <a:pt x="1574" y="130"/>
                </a:lnTo>
                <a:lnTo>
                  <a:pt x="1662" y="184"/>
                </a:lnTo>
                <a:lnTo>
                  <a:pt x="1743" y="244"/>
                </a:lnTo>
                <a:lnTo>
                  <a:pt x="1819" y="313"/>
                </a:lnTo>
                <a:lnTo>
                  <a:pt x="1888" y="389"/>
                </a:lnTo>
                <a:lnTo>
                  <a:pt x="1951" y="470"/>
                </a:lnTo>
                <a:lnTo>
                  <a:pt x="2002" y="559"/>
                </a:lnTo>
                <a:lnTo>
                  <a:pt x="2047" y="652"/>
                </a:lnTo>
                <a:lnTo>
                  <a:pt x="2084" y="750"/>
                </a:lnTo>
                <a:lnTo>
                  <a:pt x="2110" y="852"/>
                </a:lnTo>
                <a:lnTo>
                  <a:pt x="2127" y="958"/>
                </a:lnTo>
                <a:lnTo>
                  <a:pt x="2132" y="1067"/>
                </a:lnTo>
                <a:lnTo>
                  <a:pt x="2127" y="1177"/>
                </a:lnTo>
                <a:lnTo>
                  <a:pt x="2110" y="1283"/>
                </a:lnTo>
                <a:lnTo>
                  <a:pt x="2084" y="1385"/>
                </a:lnTo>
                <a:lnTo>
                  <a:pt x="2047" y="1483"/>
                </a:lnTo>
                <a:lnTo>
                  <a:pt x="2002" y="1576"/>
                </a:lnTo>
                <a:lnTo>
                  <a:pt x="1951" y="1665"/>
                </a:lnTo>
                <a:lnTo>
                  <a:pt x="1888" y="1746"/>
                </a:lnTo>
                <a:lnTo>
                  <a:pt x="1819" y="1822"/>
                </a:lnTo>
                <a:lnTo>
                  <a:pt x="1743" y="1891"/>
                </a:lnTo>
                <a:lnTo>
                  <a:pt x="1662" y="1951"/>
                </a:lnTo>
                <a:lnTo>
                  <a:pt x="1574" y="2005"/>
                </a:lnTo>
                <a:lnTo>
                  <a:pt x="1481" y="2050"/>
                </a:lnTo>
                <a:lnTo>
                  <a:pt x="1382" y="2086"/>
                </a:lnTo>
                <a:lnTo>
                  <a:pt x="1280" y="2112"/>
                </a:lnTo>
                <a:lnTo>
                  <a:pt x="1175" y="2128"/>
                </a:lnTo>
                <a:lnTo>
                  <a:pt x="1066" y="2135"/>
                </a:lnTo>
                <a:lnTo>
                  <a:pt x="957" y="2128"/>
                </a:lnTo>
                <a:lnTo>
                  <a:pt x="850" y="2112"/>
                </a:lnTo>
                <a:lnTo>
                  <a:pt x="748" y="2086"/>
                </a:lnTo>
                <a:lnTo>
                  <a:pt x="651" y="2050"/>
                </a:lnTo>
                <a:lnTo>
                  <a:pt x="558" y="2005"/>
                </a:lnTo>
                <a:lnTo>
                  <a:pt x="470" y="1951"/>
                </a:lnTo>
                <a:lnTo>
                  <a:pt x="387" y="1891"/>
                </a:lnTo>
                <a:lnTo>
                  <a:pt x="311" y="1822"/>
                </a:lnTo>
                <a:lnTo>
                  <a:pt x="243" y="1746"/>
                </a:lnTo>
                <a:lnTo>
                  <a:pt x="181" y="1665"/>
                </a:lnTo>
                <a:lnTo>
                  <a:pt x="128" y="1576"/>
                </a:lnTo>
                <a:lnTo>
                  <a:pt x="83" y="1483"/>
                </a:lnTo>
                <a:lnTo>
                  <a:pt x="46" y="1385"/>
                </a:lnTo>
                <a:lnTo>
                  <a:pt x="20" y="1283"/>
                </a:lnTo>
                <a:lnTo>
                  <a:pt x="5" y="1177"/>
                </a:lnTo>
                <a:lnTo>
                  <a:pt x="0" y="1067"/>
                </a:lnTo>
                <a:lnTo>
                  <a:pt x="5" y="958"/>
                </a:lnTo>
                <a:lnTo>
                  <a:pt x="20" y="852"/>
                </a:lnTo>
                <a:lnTo>
                  <a:pt x="46" y="750"/>
                </a:lnTo>
                <a:lnTo>
                  <a:pt x="83" y="652"/>
                </a:lnTo>
                <a:lnTo>
                  <a:pt x="128" y="559"/>
                </a:lnTo>
                <a:lnTo>
                  <a:pt x="181" y="470"/>
                </a:lnTo>
                <a:lnTo>
                  <a:pt x="243" y="389"/>
                </a:lnTo>
                <a:lnTo>
                  <a:pt x="311" y="313"/>
                </a:lnTo>
                <a:lnTo>
                  <a:pt x="387" y="244"/>
                </a:lnTo>
                <a:lnTo>
                  <a:pt x="470" y="184"/>
                </a:lnTo>
                <a:lnTo>
                  <a:pt x="558" y="130"/>
                </a:lnTo>
                <a:lnTo>
                  <a:pt x="651" y="85"/>
                </a:lnTo>
                <a:lnTo>
                  <a:pt x="748" y="49"/>
                </a:lnTo>
                <a:lnTo>
                  <a:pt x="850" y="23"/>
                </a:lnTo>
                <a:lnTo>
                  <a:pt x="957" y="7"/>
                </a:lnTo>
                <a:lnTo>
                  <a:pt x="1066" y="0"/>
                </a:lnTo>
                <a:close/>
              </a:path>
            </a:pathLst>
          </a:custGeom>
          <a:solidFill>
            <a:srgbClr val="00569B"/>
          </a:solidFill>
          <a:ln w="0">
            <a:solidFill>
              <a:srgbClr val="7DE314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8" name="Freeform 485"/>
          <p:cNvSpPr>
            <a:spLocks/>
          </p:cNvSpPr>
          <p:nvPr/>
        </p:nvSpPr>
        <p:spPr bwMode="auto">
          <a:xfrm>
            <a:off x="10585275" y="3554181"/>
            <a:ext cx="203905" cy="493753"/>
          </a:xfrm>
          <a:custGeom>
            <a:avLst/>
            <a:gdLst>
              <a:gd name="T0" fmla="*/ 97 w 242"/>
              <a:gd name="T1" fmla="*/ 0 h 588"/>
              <a:gd name="T2" fmla="*/ 144 w 242"/>
              <a:gd name="T3" fmla="*/ 0 h 588"/>
              <a:gd name="T4" fmla="*/ 144 w 242"/>
              <a:gd name="T5" fmla="*/ 368 h 588"/>
              <a:gd name="T6" fmla="*/ 242 w 242"/>
              <a:gd name="T7" fmla="*/ 368 h 588"/>
              <a:gd name="T8" fmla="*/ 121 w 242"/>
              <a:gd name="T9" fmla="*/ 588 h 588"/>
              <a:gd name="T10" fmla="*/ 0 w 242"/>
              <a:gd name="T11" fmla="*/ 368 h 588"/>
              <a:gd name="T12" fmla="*/ 97 w 242"/>
              <a:gd name="T13" fmla="*/ 368 h 588"/>
              <a:gd name="T14" fmla="*/ 97 w 242"/>
              <a:gd name="T15" fmla="*/ 0 h 5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2" h="588">
                <a:moveTo>
                  <a:pt x="97" y="0"/>
                </a:moveTo>
                <a:lnTo>
                  <a:pt x="144" y="0"/>
                </a:lnTo>
                <a:lnTo>
                  <a:pt x="144" y="368"/>
                </a:lnTo>
                <a:lnTo>
                  <a:pt x="242" y="368"/>
                </a:lnTo>
                <a:lnTo>
                  <a:pt x="121" y="588"/>
                </a:lnTo>
                <a:lnTo>
                  <a:pt x="0" y="368"/>
                </a:lnTo>
                <a:lnTo>
                  <a:pt x="97" y="368"/>
                </a:lnTo>
                <a:lnTo>
                  <a:pt x="97" y="0"/>
                </a:lnTo>
                <a:close/>
              </a:path>
            </a:pathLst>
          </a:custGeom>
          <a:solidFill>
            <a:srgbClr val="00569B"/>
          </a:solidFill>
          <a:ln w="0">
            <a:solidFill>
              <a:srgbClr val="00569B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09" name="Freeform 486"/>
          <p:cNvSpPr>
            <a:spLocks noEditPoints="1"/>
          </p:cNvSpPr>
          <p:nvPr/>
        </p:nvSpPr>
        <p:spPr bwMode="auto">
          <a:xfrm>
            <a:off x="9858969" y="1874073"/>
            <a:ext cx="1643035" cy="1643035"/>
          </a:xfrm>
          <a:custGeom>
            <a:avLst/>
            <a:gdLst>
              <a:gd name="T0" fmla="*/ 786 w 1951"/>
              <a:gd name="T1" fmla="*/ 54 h 1951"/>
              <a:gd name="T2" fmla="*/ 527 w 1951"/>
              <a:gd name="T3" fmla="*/ 149 h 1951"/>
              <a:gd name="T4" fmla="*/ 309 w 1951"/>
              <a:gd name="T5" fmla="*/ 309 h 1951"/>
              <a:gd name="T6" fmla="*/ 147 w 1951"/>
              <a:gd name="T7" fmla="*/ 527 h 1951"/>
              <a:gd name="T8" fmla="*/ 54 w 1951"/>
              <a:gd name="T9" fmla="*/ 786 h 1951"/>
              <a:gd name="T10" fmla="*/ 40 w 1951"/>
              <a:gd name="T11" fmla="*/ 1071 h 1951"/>
              <a:gd name="T12" fmla="*/ 109 w 1951"/>
              <a:gd name="T13" fmla="*/ 1341 h 1951"/>
              <a:gd name="T14" fmla="*/ 249 w 1951"/>
              <a:gd name="T15" fmla="*/ 1574 h 1951"/>
              <a:gd name="T16" fmla="*/ 449 w 1951"/>
              <a:gd name="T17" fmla="*/ 1756 h 1951"/>
              <a:gd name="T18" fmla="*/ 695 w 1951"/>
              <a:gd name="T19" fmla="*/ 1875 h 1951"/>
              <a:gd name="T20" fmla="*/ 975 w 1951"/>
              <a:gd name="T21" fmla="*/ 1916 h 1951"/>
              <a:gd name="T22" fmla="*/ 1255 w 1951"/>
              <a:gd name="T23" fmla="*/ 1875 h 1951"/>
              <a:gd name="T24" fmla="*/ 1502 w 1951"/>
              <a:gd name="T25" fmla="*/ 1756 h 1951"/>
              <a:gd name="T26" fmla="*/ 1702 w 1951"/>
              <a:gd name="T27" fmla="*/ 1574 h 1951"/>
              <a:gd name="T28" fmla="*/ 1842 w 1951"/>
              <a:gd name="T29" fmla="*/ 1341 h 1951"/>
              <a:gd name="T30" fmla="*/ 1911 w 1951"/>
              <a:gd name="T31" fmla="*/ 1071 h 1951"/>
              <a:gd name="T32" fmla="*/ 1897 w 1951"/>
              <a:gd name="T33" fmla="*/ 786 h 1951"/>
              <a:gd name="T34" fmla="*/ 1802 w 1951"/>
              <a:gd name="T35" fmla="*/ 527 h 1951"/>
              <a:gd name="T36" fmla="*/ 1642 w 1951"/>
              <a:gd name="T37" fmla="*/ 309 h 1951"/>
              <a:gd name="T38" fmla="*/ 1424 w 1951"/>
              <a:gd name="T39" fmla="*/ 149 h 1951"/>
              <a:gd name="T40" fmla="*/ 1165 w 1951"/>
              <a:gd name="T41" fmla="*/ 54 h 1951"/>
              <a:gd name="T42" fmla="*/ 975 w 1951"/>
              <a:gd name="T43" fmla="*/ 0 h 1951"/>
              <a:gd name="T44" fmla="*/ 1265 w 1951"/>
              <a:gd name="T45" fmla="*/ 43 h 1951"/>
              <a:gd name="T46" fmla="*/ 1521 w 1951"/>
              <a:gd name="T47" fmla="*/ 166 h 1951"/>
              <a:gd name="T48" fmla="*/ 1728 w 1951"/>
              <a:gd name="T49" fmla="*/ 354 h 1951"/>
              <a:gd name="T50" fmla="*/ 1875 w 1951"/>
              <a:gd name="T51" fmla="*/ 596 h 1951"/>
              <a:gd name="T52" fmla="*/ 1946 w 1951"/>
              <a:gd name="T53" fmla="*/ 876 h 1951"/>
              <a:gd name="T54" fmla="*/ 1932 w 1951"/>
              <a:gd name="T55" fmla="*/ 1172 h 1951"/>
              <a:gd name="T56" fmla="*/ 1833 w 1951"/>
              <a:gd name="T57" fmla="*/ 1441 h 1951"/>
              <a:gd name="T58" fmla="*/ 1666 w 1951"/>
              <a:gd name="T59" fmla="*/ 1666 h 1951"/>
              <a:gd name="T60" fmla="*/ 1441 w 1951"/>
              <a:gd name="T61" fmla="*/ 1833 h 1951"/>
              <a:gd name="T62" fmla="*/ 1172 w 1951"/>
              <a:gd name="T63" fmla="*/ 1932 h 1951"/>
              <a:gd name="T64" fmla="*/ 876 w 1951"/>
              <a:gd name="T65" fmla="*/ 1946 h 1951"/>
              <a:gd name="T66" fmla="*/ 596 w 1951"/>
              <a:gd name="T67" fmla="*/ 1875 h 1951"/>
              <a:gd name="T68" fmla="*/ 354 w 1951"/>
              <a:gd name="T69" fmla="*/ 1728 h 1951"/>
              <a:gd name="T70" fmla="*/ 166 w 1951"/>
              <a:gd name="T71" fmla="*/ 1521 h 1951"/>
              <a:gd name="T72" fmla="*/ 43 w 1951"/>
              <a:gd name="T73" fmla="*/ 1265 h 1951"/>
              <a:gd name="T74" fmla="*/ 0 w 1951"/>
              <a:gd name="T75" fmla="*/ 975 h 1951"/>
              <a:gd name="T76" fmla="*/ 43 w 1951"/>
              <a:gd name="T77" fmla="*/ 686 h 1951"/>
              <a:gd name="T78" fmla="*/ 166 w 1951"/>
              <a:gd name="T79" fmla="*/ 430 h 1951"/>
              <a:gd name="T80" fmla="*/ 354 w 1951"/>
              <a:gd name="T81" fmla="*/ 223 h 1951"/>
              <a:gd name="T82" fmla="*/ 596 w 1951"/>
              <a:gd name="T83" fmla="*/ 76 h 1951"/>
              <a:gd name="T84" fmla="*/ 876 w 1951"/>
              <a:gd name="T85" fmla="*/ 5 h 19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951" h="1951">
                <a:moveTo>
                  <a:pt x="975" y="35"/>
                </a:moveTo>
                <a:lnTo>
                  <a:pt x="880" y="40"/>
                </a:lnTo>
                <a:lnTo>
                  <a:pt x="786" y="54"/>
                </a:lnTo>
                <a:lnTo>
                  <a:pt x="695" y="76"/>
                </a:lnTo>
                <a:lnTo>
                  <a:pt x="608" y="109"/>
                </a:lnTo>
                <a:lnTo>
                  <a:pt x="527" y="149"/>
                </a:lnTo>
                <a:lnTo>
                  <a:pt x="449" y="195"/>
                </a:lnTo>
                <a:lnTo>
                  <a:pt x="377" y="249"/>
                </a:lnTo>
                <a:lnTo>
                  <a:pt x="309" y="309"/>
                </a:lnTo>
                <a:lnTo>
                  <a:pt x="249" y="377"/>
                </a:lnTo>
                <a:lnTo>
                  <a:pt x="195" y="449"/>
                </a:lnTo>
                <a:lnTo>
                  <a:pt x="147" y="527"/>
                </a:lnTo>
                <a:lnTo>
                  <a:pt x="109" y="608"/>
                </a:lnTo>
                <a:lnTo>
                  <a:pt x="76" y="696"/>
                </a:lnTo>
                <a:lnTo>
                  <a:pt x="54" y="786"/>
                </a:lnTo>
                <a:lnTo>
                  <a:pt x="40" y="880"/>
                </a:lnTo>
                <a:lnTo>
                  <a:pt x="35" y="975"/>
                </a:lnTo>
                <a:lnTo>
                  <a:pt x="40" y="1071"/>
                </a:lnTo>
                <a:lnTo>
                  <a:pt x="54" y="1165"/>
                </a:lnTo>
                <a:lnTo>
                  <a:pt x="76" y="1255"/>
                </a:lnTo>
                <a:lnTo>
                  <a:pt x="109" y="1341"/>
                </a:lnTo>
                <a:lnTo>
                  <a:pt x="147" y="1424"/>
                </a:lnTo>
                <a:lnTo>
                  <a:pt x="195" y="1502"/>
                </a:lnTo>
                <a:lnTo>
                  <a:pt x="249" y="1574"/>
                </a:lnTo>
                <a:lnTo>
                  <a:pt x="309" y="1642"/>
                </a:lnTo>
                <a:lnTo>
                  <a:pt x="377" y="1702"/>
                </a:lnTo>
                <a:lnTo>
                  <a:pt x="449" y="1756"/>
                </a:lnTo>
                <a:lnTo>
                  <a:pt x="527" y="1802"/>
                </a:lnTo>
                <a:lnTo>
                  <a:pt x="608" y="1842"/>
                </a:lnTo>
                <a:lnTo>
                  <a:pt x="695" y="1875"/>
                </a:lnTo>
                <a:lnTo>
                  <a:pt x="786" y="1897"/>
                </a:lnTo>
                <a:lnTo>
                  <a:pt x="880" y="1911"/>
                </a:lnTo>
                <a:lnTo>
                  <a:pt x="975" y="1916"/>
                </a:lnTo>
                <a:lnTo>
                  <a:pt x="1071" y="1911"/>
                </a:lnTo>
                <a:lnTo>
                  <a:pt x="1165" y="1897"/>
                </a:lnTo>
                <a:lnTo>
                  <a:pt x="1255" y="1875"/>
                </a:lnTo>
                <a:lnTo>
                  <a:pt x="1341" y="1842"/>
                </a:lnTo>
                <a:lnTo>
                  <a:pt x="1424" y="1802"/>
                </a:lnTo>
                <a:lnTo>
                  <a:pt x="1502" y="1756"/>
                </a:lnTo>
                <a:lnTo>
                  <a:pt x="1574" y="1702"/>
                </a:lnTo>
                <a:lnTo>
                  <a:pt x="1642" y="1642"/>
                </a:lnTo>
                <a:lnTo>
                  <a:pt x="1702" y="1574"/>
                </a:lnTo>
                <a:lnTo>
                  <a:pt x="1756" y="1502"/>
                </a:lnTo>
                <a:lnTo>
                  <a:pt x="1802" y="1424"/>
                </a:lnTo>
                <a:lnTo>
                  <a:pt x="1842" y="1341"/>
                </a:lnTo>
                <a:lnTo>
                  <a:pt x="1875" y="1255"/>
                </a:lnTo>
                <a:lnTo>
                  <a:pt x="1897" y="1165"/>
                </a:lnTo>
                <a:lnTo>
                  <a:pt x="1911" y="1071"/>
                </a:lnTo>
                <a:lnTo>
                  <a:pt x="1916" y="975"/>
                </a:lnTo>
                <a:lnTo>
                  <a:pt x="1911" y="880"/>
                </a:lnTo>
                <a:lnTo>
                  <a:pt x="1897" y="786"/>
                </a:lnTo>
                <a:lnTo>
                  <a:pt x="1875" y="696"/>
                </a:lnTo>
                <a:lnTo>
                  <a:pt x="1842" y="608"/>
                </a:lnTo>
                <a:lnTo>
                  <a:pt x="1802" y="527"/>
                </a:lnTo>
                <a:lnTo>
                  <a:pt x="1756" y="449"/>
                </a:lnTo>
                <a:lnTo>
                  <a:pt x="1702" y="377"/>
                </a:lnTo>
                <a:lnTo>
                  <a:pt x="1642" y="309"/>
                </a:lnTo>
                <a:lnTo>
                  <a:pt x="1574" y="249"/>
                </a:lnTo>
                <a:lnTo>
                  <a:pt x="1502" y="195"/>
                </a:lnTo>
                <a:lnTo>
                  <a:pt x="1424" y="149"/>
                </a:lnTo>
                <a:lnTo>
                  <a:pt x="1341" y="109"/>
                </a:lnTo>
                <a:lnTo>
                  <a:pt x="1255" y="76"/>
                </a:lnTo>
                <a:lnTo>
                  <a:pt x="1165" y="54"/>
                </a:lnTo>
                <a:lnTo>
                  <a:pt x="1071" y="40"/>
                </a:lnTo>
                <a:lnTo>
                  <a:pt x="975" y="35"/>
                </a:lnTo>
                <a:close/>
                <a:moveTo>
                  <a:pt x="975" y="0"/>
                </a:moveTo>
                <a:lnTo>
                  <a:pt x="1075" y="5"/>
                </a:lnTo>
                <a:lnTo>
                  <a:pt x="1172" y="19"/>
                </a:lnTo>
                <a:lnTo>
                  <a:pt x="1265" y="43"/>
                </a:lnTo>
                <a:lnTo>
                  <a:pt x="1355" y="76"/>
                </a:lnTo>
                <a:lnTo>
                  <a:pt x="1441" y="118"/>
                </a:lnTo>
                <a:lnTo>
                  <a:pt x="1521" y="166"/>
                </a:lnTo>
                <a:lnTo>
                  <a:pt x="1597" y="223"/>
                </a:lnTo>
                <a:lnTo>
                  <a:pt x="1666" y="285"/>
                </a:lnTo>
                <a:lnTo>
                  <a:pt x="1728" y="354"/>
                </a:lnTo>
                <a:lnTo>
                  <a:pt x="1785" y="430"/>
                </a:lnTo>
                <a:lnTo>
                  <a:pt x="1833" y="510"/>
                </a:lnTo>
                <a:lnTo>
                  <a:pt x="1875" y="596"/>
                </a:lnTo>
                <a:lnTo>
                  <a:pt x="1908" y="686"/>
                </a:lnTo>
                <a:lnTo>
                  <a:pt x="1932" y="779"/>
                </a:lnTo>
                <a:lnTo>
                  <a:pt x="1946" y="876"/>
                </a:lnTo>
                <a:lnTo>
                  <a:pt x="1951" y="975"/>
                </a:lnTo>
                <a:lnTo>
                  <a:pt x="1946" y="1075"/>
                </a:lnTo>
                <a:lnTo>
                  <a:pt x="1932" y="1172"/>
                </a:lnTo>
                <a:lnTo>
                  <a:pt x="1908" y="1265"/>
                </a:lnTo>
                <a:lnTo>
                  <a:pt x="1875" y="1355"/>
                </a:lnTo>
                <a:lnTo>
                  <a:pt x="1833" y="1441"/>
                </a:lnTo>
                <a:lnTo>
                  <a:pt x="1785" y="1521"/>
                </a:lnTo>
                <a:lnTo>
                  <a:pt x="1728" y="1597"/>
                </a:lnTo>
                <a:lnTo>
                  <a:pt x="1666" y="1666"/>
                </a:lnTo>
                <a:lnTo>
                  <a:pt x="1597" y="1728"/>
                </a:lnTo>
                <a:lnTo>
                  <a:pt x="1521" y="1785"/>
                </a:lnTo>
                <a:lnTo>
                  <a:pt x="1441" y="1833"/>
                </a:lnTo>
                <a:lnTo>
                  <a:pt x="1355" y="1875"/>
                </a:lnTo>
                <a:lnTo>
                  <a:pt x="1265" y="1908"/>
                </a:lnTo>
                <a:lnTo>
                  <a:pt x="1172" y="1932"/>
                </a:lnTo>
                <a:lnTo>
                  <a:pt x="1075" y="1946"/>
                </a:lnTo>
                <a:lnTo>
                  <a:pt x="975" y="1951"/>
                </a:lnTo>
                <a:lnTo>
                  <a:pt x="876" y="1946"/>
                </a:lnTo>
                <a:lnTo>
                  <a:pt x="779" y="1932"/>
                </a:lnTo>
                <a:lnTo>
                  <a:pt x="684" y="1908"/>
                </a:lnTo>
                <a:lnTo>
                  <a:pt x="596" y="1875"/>
                </a:lnTo>
                <a:lnTo>
                  <a:pt x="510" y="1833"/>
                </a:lnTo>
                <a:lnTo>
                  <a:pt x="430" y="1785"/>
                </a:lnTo>
                <a:lnTo>
                  <a:pt x="354" y="1728"/>
                </a:lnTo>
                <a:lnTo>
                  <a:pt x="285" y="1666"/>
                </a:lnTo>
                <a:lnTo>
                  <a:pt x="223" y="1597"/>
                </a:lnTo>
                <a:lnTo>
                  <a:pt x="166" y="1521"/>
                </a:lnTo>
                <a:lnTo>
                  <a:pt x="118" y="1441"/>
                </a:lnTo>
                <a:lnTo>
                  <a:pt x="76" y="1355"/>
                </a:lnTo>
                <a:lnTo>
                  <a:pt x="43" y="1265"/>
                </a:lnTo>
                <a:lnTo>
                  <a:pt x="19" y="1172"/>
                </a:lnTo>
                <a:lnTo>
                  <a:pt x="5" y="1075"/>
                </a:lnTo>
                <a:lnTo>
                  <a:pt x="0" y="975"/>
                </a:lnTo>
                <a:lnTo>
                  <a:pt x="5" y="876"/>
                </a:lnTo>
                <a:lnTo>
                  <a:pt x="19" y="779"/>
                </a:lnTo>
                <a:lnTo>
                  <a:pt x="43" y="686"/>
                </a:lnTo>
                <a:lnTo>
                  <a:pt x="76" y="596"/>
                </a:lnTo>
                <a:lnTo>
                  <a:pt x="118" y="510"/>
                </a:lnTo>
                <a:lnTo>
                  <a:pt x="166" y="430"/>
                </a:lnTo>
                <a:lnTo>
                  <a:pt x="223" y="354"/>
                </a:lnTo>
                <a:lnTo>
                  <a:pt x="285" y="285"/>
                </a:lnTo>
                <a:lnTo>
                  <a:pt x="354" y="223"/>
                </a:lnTo>
                <a:lnTo>
                  <a:pt x="430" y="166"/>
                </a:lnTo>
                <a:lnTo>
                  <a:pt x="510" y="118"/>
                </a:lnTo>
                <a:lnTo>
                  <a:pt x="596" y="76"/>
                </a:lnTo>
                <a:lnTo>
                  <a:pt x="684" y="43"/>
                </a:lnTo>
                <a:lnTo>
                  <a:pt x="779" y="19"/>
                </a:lnTo>
                <a:lnTo>
                  <a:pt x="876" y="5"/>
                </a:lnTo>
                <a:lnTo>
                  <a:pt x="975" y="0"/>
                </a:lnTo>
                <a:close/>
              </a:path>
            </a:pathLst>
          </a:custGeom>
          <a:solidFill>
            <a:srgbClr val="FFFFFF"/>
          </a:solidFill>
          <a:ln w="0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12" name="Rectangle 511"/>
          <p:cNvSpPr/>
          <p:nvPr/>
        </p:nvSpPr>
        <p:spPr>
          <a:xfrm>
            <a:off x="448617" y="4244231"/>
            <a:ext cx="2147455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/>
              <a:t>Each parties' ability to independently meet his or her own needs.</a:t>
            </a:r>
          </a:p>
        </p:txBody>
      </p:sp>
      <p:sp>
        <p:nvSpPr>
          <p:cNvPr id="513" name="Rectangle 512"/>
          <p:cNvSpPr/>
          <p:nvPr/>
        </p:nvSpPr>
        <p:spPr>
          <a:xfrm>
            <a:off x="3010172" y="4244231"/>
            <a:ext cx="1840847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/>
              <a:t>Need for emotional support from the other party.</a:t>
            </a:r>
          </a:p>
        </p:txBody>
      </p:sp>
      <p:sp>
        <p:nvSpPr>
          <p:cNvPr id="514" name="Rectangle 513"/>
          <p:cNvSpPr/>
          <p:nvPr/>
        </p:nvSpPr>
        <p:spPr>
          <a:xfrm>
            <a:off x="5377441" y="4244231"/>
            <a:ext cx="153923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/>
              <a:t>Standard of living</a:t>
            </a:r>
          </a:p>
        </p:txBody>
      </p:sp>
      <p:sp>
        <p:nvSpPr>
          <p:cNvPr id="515" name="Rectangle 514"/>
          <p:cNvSpPr/>
          <p:nvPr/>
        </p:nvSpPr>
        <p:spPr>
          <a:xfrm>
            <a:off x="8097887" y="4244231"/>
            <a:ext cx="59503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dirty="0"/>
              <a:t>Age</a:t>
            </a:r>
          </a:p>
        </p:txBody>
      </p:sp>
      <p:sp>
        <p:nvSpPr>
          <p:cNvPr id="516" name="Rectangle 515"/>
          <p:cNvSpPr/>
          <p:nvPr/>
        </p:nvSpPr>
        <p:spPr>
          <a:xfrm>
            <a:off x="9809129" y="4244231"/>
            <a:ext cx="182181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/>
              <a:t>Physical and emotional conditions of the parties.</a:t>
            </a:r>
          </a:p>
        </p:txBody>
      </p:sp>
      <p:grpSp>
        <p:nvGrpSpPr>
          <p:cNvPr id="517" name="Group 516"/>
          <p:cNvGrpSpPr/>
          <p:nvPr/>
        </p:nvGrpSpPr>
        <p:grpSpPr>
          <a:xfrm>
            <a:off x="1250322" y="2290894"/>
            <a:ext cx="638368" cy="809392"/>
            <a:chOff x="4144754" y="4230048"/>
            <a:chExt cx="873396" cy="1107388"/>
          </a:xfrm>
          <a:solidFill>
            <a:schemeClr val="bg1"/>
          </a:solidFill>
        </p:grpSpPr>
        <p:grpSp>
          <p:nvGrpSpPr>
            <p:cNvPr id="518" name="Group 517"/>
            <p:cNvGrpSpPr/>
            <p:nvPr/>
          </p:nvGrpSpPr>
          <p:grpSpPr>
            <a:xfrm>
              <a:off x="4144754" y="4230048"/>
              <a:ext cx="682248" cy="1107388"/>
              <a:chOff x="2112134" y="12479"/>
              <a:chExt cx="4134119" cy="6710293"/>
            </a:xfrm>
            <a:grpFill/>
          </p:grpSpPr>
          <p:sp>
            <p:nvSpPr>
              <p:cNvPr id="526" name="Freeform 525"/>
              <p:cNvSpPr/>
              <p:nvPr/>
            </p:nvSpPr>
            <p:spPr>
              <a:xfrm>
                <a:off x="2112134" y="592428"/>
                <a:ext cx="4134119" cy="6130344"/>
              </a:xfrm>
              <a:custGeom>
                <a:avLst/>
                <a:gdLst>
                  <a:gd name="connsiteX0" fmla="*/ 399245 w 4134119"/>
                  <a:gd name="connsiteY0" fmla="*/ 1146220 h 6130344"/>
                  <a:gd name="connsiteX1" fmla="*/ 399245 w 4134119"/>
                  <a:gd name="connsiteY1" fmla="*/ 5550795 h 6130344"/>
                  <a:gd name="connsiteX2" fmla="*/ 3734873 w 4134119"/>
                  <a:gd name="connsiteY2" fmla="*/ 5550795 h 6130344"/>
                  <a:gd name="connsiteX3" fmla="*/ 3734873 w 4134119"/>
                  <a:gd name="connsiteY3" fmla="*/ 1146220 h 6130344"/>
                  <a:gd name="connsiteX4" fmla="*/ 398446 w 4134119"/>
                  <a:gd name="connsiteY4" fmla="*/ 0 h 6130344"/>
                  <a:gd name="connsiteX5" fmla="*/ 862886 w 4134119"/>
                  <a:gd name="connsiteY5" fmla="*/ 0 h 6130344"/>
                  <a:gd name="connsiteX6" fmla="*/ 862886 w 4134119"/>
                  <a:gd name="connsiteY6" fmla="*/ 257429 h 6130344"/>
                  <a:gd name="connsiteX7" fmla="*/ 1197885 w 4134119"/>
                  <a:gd name="connsiteY7" fmla="*/ 592428 h 6130344"/>
                  <a:gd name="connsiteX8" fmla="*/ 2923357 w 4134119"/>
                  <a:gd name="connsiteY8" fmla="*/ 592428 h 6130344"/>
                  <a:gd name="connsiteX9" fmla="*/ 3258356 w 4134119"/>
                  <a:gd name="connsiteY9" fmla="*/ 257429 h 6130344"/>
                  <a:gd name="connsiteX10" fmla="*/ 3258356 w 4134119"/>
                  <a:gd name="connsiteY10" fmla="*/ 0 h 6130344"/>
                  <a:gd name="connsiteX11" fmla="*/ 3735673 w 4134119"/>
                  <a:gd name="connsiteY11" fmla="*/ 0 h 6130344"/>
                  <a:gd name="connsiteX12" fmla="*/ 4134119 w 4134119"/>
                  <a:gd name="connsiteY12" fmla="*/ 398446 h 6130344"/>
                  <a:gd name="connsiteX13" fmla="*/ 4134119 w 4134119"/>
                  <a:gd name="connsiteY13" fmla="*/ 5731898 h 6130344"/>
                  <a:gd name="connsiteX14" fmla="*/ 3735673 w 4134119"/>
                  <a:gd name="connsiteY14" fmla="*/ 6130344 h 6130344"/>
                  <a:gd name="connsiteX15" fmla="*/ 398446 w 4134119"/>
                  <a:gd name="connsiteY15" fmla="*/ 6130344 h 6130344"/>
                  <a:gd name="connsiteX16" fmla="*/ 0 w 4134119"/>
                  <a:gd name="connsiteY16" fmla="*/ 5731898 h 6130344"/>
                  <a:gd name="connsiteX17" fmla="*/ 0 w 4134119"/>
                  <a:gd name="connsiteY17" fmla="*/ 398446 h 6130344"/>
                  <a:gd name="connsiteX18" fmla="*/ 398446 w 4134119"/>
                  <a:gd name="connsiteY18" fmla="*/ 0 h 6130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134119" h="6130344">
                    <a:moveTo>
                      <a:pt x="399245" y="1146220"/>
                    </a:moveTo>
                    <a:lnTo>
                      <a:pt x="399245" y="5550795"/>
                    </a:lnTo>
                    <a:lnTo>
                      <a:pt x="3734873" y="5550795"/>
                    </a:lnTo>
                    <a:lnTo>
                      <a:pt x="3734873" y="1146220"/>
                    </a:lnTo>
                    <a:close/>
                    <a:moveTo>
                      <a:pt x="398446" y="0"/>
                    </a:moveTo>
                    <a:lnTo>
                      <a:pt x="862886" y="0"/>
                    </a:lnTo>
                    <a:lnTo>
                      <a:pt x="862886" y="257429"/>
                    </a:lnTo>
                    <a:cubicBezTo>
                      <a:pt x="862886" y="442444"/>
                      <a:pt x="1012870" y="592428"/>
                      <a:pt x="1197885" y="592428"/>
                    </a:cubicBezTo>
                    <a:lnTo>
                      <a:pt x="2923357" y="592428"/>
                    </a:lnTo>
                    <a:cubicBezTo>
                      <a:pt x="3108372" y="592428"/>
                      <a:pt x="3258356" y="442444"/>
                      <a:pt x="3258356" y="257429"/>
                    </a:cubicBezTo>
                    <a:lnTo>
                      <a:pt x="3258356" y="0"/>
                    </a:lnTo>
                    <a:lnTo>
                      <a:pt x="3735673" y="0"/>
                    </a:lnTo>
                    <a:cubicBezTo>
                      <a:pt x="3955729" y="0"/>
                      <a:pt x="4134119" y="178390"/>
                      <a:pt x="4134119" y="398446"/>
                    </a:cubicBezTo>
                    <a:lnTo>
                      <a:pt x="4134119" y="5731898"/>
                    </a:lnTo>
                    <a:cubicBezTo>
                      <a:pt x="4134119" y="5951954"/>
                      <a:pt x="3955729" y="6130344"/>
                      <a:pt x="3735673" y="6130344"/>
                    </a:cubicBezTo>
                    <a:lnTo>
                      <a:pt x="398446" y="6130344"/>
                    </a:lnTo>
                    <a:cubicBezTo>
                      <a:pt x="178390" y="6130344"/>
                      <a:pt x="0" y="5951954"/>
                      <a:pt x="0" y="5731898"/>
                    </a:cubicBezTo>
                    <a:lnTo>
                      <a:pt x="0" y="398446"/>
                    </a:lnTo>
                    <a:cubicBezTo>
                      <a:pt x="0" y="178390"/>
                      <a:pt x="178390" y="0"/>
                      <a:pt x="3984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527" name="Freeform 526"/>
              <p:cNvSpPr/>
              <p:nvPr/>
            </p:nvSpPr>
            <p:spPr>
              <a:xfrm>
                <a:off x="3181082" y="12479"/>
                <a:ext cx="1996225" cy="1007769"/>
              </a:xfrm>
              <a:custGeom>
                <a:avLst/>
                <a:gdLst>
                  <a:gd name="connsiteX0" fmla="*/ 998111 w 1996225"/>
                  <a:gd name="connsiteY0" fmla="*/ 180304 h 1007769"/>
                  <a:gd name="connsiteX1" fmla="*/ 759853 w 1996225"/>
                  <a:gd name="connsiteY1" fmla="*/ 418562 h 1007769"/>
                  <a:gd name="connsiteX2" fmla="*/ 998111 w 1996225"/>
                  <a:gd name="connsiteY2" fmla="*/ 656820 h 1007769"/>
                  <a:gd name="connsiteX3" fmla="*/ 1236369 w 1996225"/>
                  <a:gd name="connsiteY3" fmla="*/ 418562 h 1007769"/>
                  <a:gd name="connsiteX4" fmla="*/ 998111 w 1996225"/>
                  <a:gd name="connsiteY4" fmla="*/ 180304 h 1007769"/>
                  <a:gd name="connsiteX5" fmla="*/ 998111 w 1996225"/>
                  <a:gd name="connsiteY5" fmla="*/ 0 h 1007769"/>
                  <a:gd name="connsiteX6" fmla="*/ 1408170 w 1996225"/>
                  <a:gd name="connsiteY6" fmla="*/ 334207 h 1007769"/>
                  <a:gd name="connsiteX7" fmla="*/ 1408559 w 1996225"/>
                  <a:gd name="connsiteY7" fmla="*/ 338068 h 1007769"/>
                  <a:gd name="connsiteX8" fmla="*/ 1897484 w 1996225"/>
                  <a:gd name="connsiteY8" fmla="*/ 338068 h 1007769"/>
                  <a:gd name="connsiteX9" fmla="*/ 1996225 w 1996225"/>
                  <a:gd name="connsiteY9" fmla="*/ 436809 h 1007769"/>
                  <a:gd name="connsiteX10" fmla="*/ 1996225 w 1996225"/>
                  <a:gd name="connsiteY10" fmla="*/ 909028 h 1007769"/>
                  <a:gd name="connsiteX11" fmla="*/ 1897484 w 1996225"/>
                  <a:gd name="connsiteY11" fmla="*/ 1007769 h 1007769"/>
                  <a:gd name="connsiteX12" fmla="*/ 98741 w 1996225"/>
                  <a:gd name="connsiteY12" fmla="*/ 1007769 h 1007769"/>
                  <a:gd name="connsiteX13" fmla="*/ 0 w 1996225"/>
                  <a:gd name="connsiteY13" fmla="*/ 909028 h 1007769"/>
                  <a:gd name="connsiteX14" fmla="*/ 0 w 1996225"/>
                  <a:gd name="connsiteY14" fmla="*/ 436809 h 1007769"/>
                  <a:gd name="connsiteX15" fmla="*/ 98741 w 1996225"/>
                  <a:gd name="connsiteY15" fmla="*/ 338068 h 1007769"/>
                  <a:gd name="connsiteX16" fmla="*/ 587664 w 1996225"/>
                  <a:gd name="connsiteY16" fmla="*/ 338068 h 1007769"/>
                  <a:gd name="connsiteX17" fmla="*/ 588053 w 1996225"/>
                  <a:gd name="connsiteY17" fmla="*/ 334207 h 1007769"/>
                  <a:gd name="connsiteX18" fmla="*/ 998111 w 1996225"/>
                  <a:gd name="connsiteY18" fmla="*/ 0 h 1007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96225" h="1007769">
                    <a:moveTo>
                      <a:pt x="998111" y="180304"/>
                    </a:moveTo>
                    <a:cubicBezTo>
                      <a:pt x="866525" y="180304"/>
                      <a:pt x="759853" y="286976"/>
                      <a:pt x="759853" y="418562"/>
                    </a:cubicBezTo>
                    <a:cubicBezTo>
                      <a:pt x="759853" y="550148"/>
                      <a:pt x="866525" y="656820"/>
                      <a:pt x="998111" y="656820"/>
                    </a:cubicBezTo>
                    <a:cubicBezTo>
                      <a:pt x="1129697" y="656820"/>
                      <a:pt x="1236369" y="550148"/>
                      <a:pt x="1236369" y="418562"/>
                    </a:cubicBezTo>
                    <a:cubicBezTo>
                      <a:pt x="1236369" y="286976"/>
                      <a:pt x="1129697" y="180304"/>
                      <a:pt x="998111" y="180304"/>
                    </a:cubicBezTo>
                    <a:close/>
                    <a:moveTo>
                      <a:pt x="998111" y="0"/>
                    </a:moveTo>
                    <a:cubicBezTo>
                      <a:pt x="1200381" y="0"/>
                      <a:pt x="1369140" y="143476"/>
                      <a:pt x="1408170" y="334207"/>
                    </a:cubicBezTo>
                    <a:lnTo>
                      <a:pt x="1408559" y="338068"/>
                    </a:lnTo>
                    <a:lnTo>
                      <a:pt x="1897484" y="338068"/>
                    </a:lnTo>
                    <a:cubicBezTo>
                      <a:pt x="1952017" y="338068"/>
                      <a:pt x="1996225" y="382276"/>
                      <a:pt x="1996225" y="436809"/>
                    </a:cubicBezTo>
                    <a:lnTo>
                      <a:pt x="1996225" y="909028"/>
                    </a:lnTo>
                    <a:cubicBezTo>
                      <a:pt x="1996225" y="963561"/>
                      <a:pt x="1952017" y="1007769"/>
                      <a:pt x="1897484" y="1007769"/>
                    </a:cubicBezTo>
                    <a:lnTo>
                      <a:pt x="98741" y="1007769"/>
                    </a:lnTo>
                    <a:cubicBezTo>
                      <a:pt x="44208" y="1007769"/>
                      <a:pt x="0" y="963561"/>
                      <a:pt x="0" y="909028"/>
                    </a:cubicBezTo>
                    <a:lnTo>
                      <a:pt x="0" y="436809"/>
                    </a:lnTo>
                    <a:cubicBezTo>
                      <a:pt x="0" y="382276"/>
                      <a:pt x="44208" y="338068"/>
                      <a:pt x="98741" y="338068"/>
                    </a:cubicBezTo>
                    <a:lnTo>
                      <a:pt x="587664" y="338068"/>
                    </a:lnTo>
                    <a:lnTo>
                      <a:pt x="588053" y="334207"/>
                    </a:lnTo>
                    <a:cubicBezTo>
                      <a:pt x="627082" y="143476"/>
                      <a:pt x="795842" y="0"/>
                      <a:pt x="9981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528" name="Group 527"/>
              <p:cNvGrpSpPr/>
              <p:nvPr/>
            </p:nvGrpSpPr>
            <p:grpSpPr>
              <a:xfrm>
                <a:off x="2979287" y="1957742"/>
                <a:ext cx="1174521" cy="1120738"/>
                <a:chOff x="2971799" y="1957742"/>
                <a:chExt cx="1174521" cy="1120738"/>
              </a:xfrm>
              <a:grpFill/>
            </p:grpSpPr>
            <p:sp>
              <p:nvSpPr>
                <p:cNvPr id="544" name="Freeform 543"/>
                <p:cNvSpPr/>
                <p:nvPr/>
              </p:nvSpPr>
              <p:spPr>
                <a:xfrm>
                  <a:off x="2971799" y="2354580"/>
                  <a:ext cx="543605" cy="723900"/>
                </a:xfrm>
                <a:custGeom>
                  <a:avLst/>
                  <a:gdLst>
                    <a:gd name="connsiteX0" fmla="*/ 432877 w 546522"/>
                    <a:gd name="connsiteY0" fmla="*/ 0 h 723900"/>
                    <a:gd name="connsiteX1" fmla="*/ 457198 w 546522"/>
                    <a:gd name="connsiteY1" fmla="*/ 0 h 723900"/>
                    <a:gd name="connsiteX2" fmla="*/ 541454 w 546522"/>
                    <a:gd name="connsiteY2" fmla="*/ 55849 h 723900"/>
                    <a:gd name="connsiteX3" fmla="*/ 546522 w 546522"/>
                    <a:gd name="connsiteY3" fmla="*/ 80948 h 723900"/>
                    <a:gd name="connsiteX4" fmla="*/ 91442 w 546522"/>
                    <a:gd name="connsiteY4" fmla="*/ 0 h 723900"/>
                    <a:gd name="connsiteX5" fmla="*/ 294237 w 546522"/>
                    <a:gd name="connsiteY5" fmla="*/ 0 h 723900"/>
                    <a:gd name="connsiteX6" fmla="*/ 259248 w 546522"/>
                    <a:gd name="connsiteY6" fmla="*/ 99060 h 723900"/>
                    <a:gd name="connsiteX7" fmla="*/ 147939 w 546522"/>
                    <a:gd name="connsiteY7" fmla="*/ 99060 h 723900"/>
                    <a:gd name="connsiteX8" fmla="*/ 84747 w 546522"/>
                    <a:gd name="connsiteY8" fmla="*/ 162252 h 723900"/>
                    <a:gd name="connsiteX9" fmla="*/ 84747 w 546522"/>
                    <a:gd name="connsiteY9" fmla="*/ 561648 h 723900"/>
                    <a:gd name="connsiteX10" fmla="*/ 147939 w 546522"/>
                    <a:gd name="connsiteY10" fmla="*/ 624840 h 723900"/>
                    <a:gd name="connsiteX11" fmla="*/ 400702 w 546522"/>
                    <a:gd name="connsiteY11" fmla="*/ 624840 h 723900"/>
                    <a:gd name="connsiteX12" fmla="*/ 458928 w 546522"/>
                    <a:gd name="connsiteY12" fmla="*/ 586245 h 723900"/>
                    <a:gd name="connsiteX13" fmla="*/ 460480 w 546522"/>
                    <a:gd name="connsiteY13" fmla="*/ 578560 h 723900"/>
                    <a:gd name="connsiteX14" fmla="*/ 543605 w 546522"/>
                    <a:gd name="connsiteY14" fmla="*/ 657400 h 723900"/>
                    <a:gd name="connsiteX15" fmla="*/ 541454 w 546522"/>
                    <a:gd name="connsiteY15" fmla="*/ 668051 h 723900"/>
                    <a:gd name="connsiteX16" fmla="*/ 457198 w 546522"/>
                    <a:gd name="connsiteY16" fmla="*/ 723900 h 723900"/>
                    <a:gd name="connsiteX17" fmla="*/ 91442 w 546522"/>
                    <a:gd name="connsiteY17" fmla="*/ 723900 h 723900"/>
                    <a:gd name="connsiteX18" fmla="*/ 0 w 546522"/>
                    <a:gd name="connsiteY18" fmla="*/ 632458 h 723900"/>
                    <a:gd name="connsiteX19" fmla="*/ 0 w 546522"/>
                    <a:gd name="connsiteY19" fmla="*/ 91442 h 723900"/>
                    <a:gd name="connsiteX20" fmla="*/ 91442 w 546522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541454 w 543605"/>
                    <a:gd name="connsiteY2" fmla="*/ 55849 h 723900"/>
                    <a:gd name="connsiteX3" fmla="*/ 432877 w 543605"/>
                    <a:gd name="connsiteY3" fmla="*/ 0 h 723900"/>
                    <a:gd name="connsiteX4" fmla="*/ 91442 w 543605"/>
                    <a:gd name="connsiteY4" fmla="*/ 0 h 723900"/>
                    <a:gd name="connsiteX5" fmla="*/ 294237 w 543605"/>
                    <a:gd name="connsiteY5" fmla="*/ 0 h 723900"/>
                    <a:gd name="connsiteX6" fmla="*/ 259248 w 543605"/>
                    <a:gd name="connsiteY6" fmla="*/ 99060 h 723900"/>
                    <a:gd name="connsiteX7" fmla="*/ 147939 w 543605"/>
                    <a:gd name="connsiteY7" fmla="*/ 99060 h 723900"/>
                    <a:gd name="connsiteX8" fmla="*/ 84747 w 543605"/>
                    <a:gd name="connsiteY8" fmla="*/ 162252 h 723900"/>
                    <a:gd name="connsiteX9" fmla="*/ 84747 w 543605"/>
                    <a:gd name="connsiteY9" fmla="*/ 561648 h 723900"/>
                    <a:gd name="connsiteX10" fmla="*/ 147939 w 543605"/>
                    <a:gd name="connsiteY10" fmla="*/ 624840 h 723900"/>
                    <a:gd name="connsiteX11" fmla="*/ 400702 w 543605"/>
                    <a:gd name="connsiteY11" fmla="*/ 624840 h 723900"/>
                    <a:gd name="connsiteX12" fmla="*/ 458928 w 543605"/>
                    <a:gd name="connsiteY12" fmla="*/ 586245 h 723900"/>
                    <a:gd name="connsiteX13" fmla="*/ 460480 w 543605"/>
                    <a:gd name="connsiteY13" fmla="*/ 578560 h 723900"/>
                    <a:gd name="connsiteX14" fmla="*/ 543605 w 543605"/>
                    <a:gd name="connsiteY14" fmla="*/ 657400 h 723900"/>
                    <a:gd name="connsiteX15" fmla="*/ 541454 w 543605"/>
                    <a:gd name="connsiteY15" fmla="*/ 668051 h 723900"/>
                    <a:gd name="connsiteX16" fmla="*/ 457198 w 543605"/>
                    <a:gd name="connsiteY16" fmla="*/ 723900 h 723900"/>
                    <a:gd name="connsiteX17" fmla="*/ 91442 w 543605"/>
                    <a:gd name="connsiteY17" fmla="*/ 723900 h 723900"/>
                    <a:gd name="connsiteX18" fmla="*/ 0 w 543605"/>
                    <a:gd name="connsiteY18" fmla="*/ 632458 h 723900"/>
                    <a:gd name="connsiteX19" fmla="*/ 0 w 543605"/>
                    <a:gd name="connsiteY19" fmla="*/ 91442 h 723900"/>
                    <a:gd name="connsiteX20" fmla="*/ 91442 w 543605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432877 w 543605"/>
                    <a:gd name="connsiteY2" fmla="*/ 0 h 723900"/>
                    <a:gd name="connsiteX3" fmla="*/ 91442 w 543605"/>
                    <a:gd name="connsiteY3" fmla="*/ 0 h 723900"/>
                    <a:gd name="connsiteX4" fmla="*/ 294237 w 543605"/>
                    <a:gd name="connsiteY4" fmla="*/ 0 h 723900"/>
                    <a:gd name="connsiteX5" fmla="*/ 259248 w 543605"/>
                    <a:gd name="connsiteY5" fmla="*/ 99060 h 723900"/>
                    <a:gd name="connsiteX6" fmla="*/ 147939 w 543605"/>
                    <a:gd name="connsiteY6" fmla="*/ 99060 h 723900"/>
                    <a:gd name="connsiteX7" fmla="*/ 84747 w 543605"/>
                    <a:gd name="connsiteY7" fmla="*/ 162252 h 723900"/>
                    <a:gd name="connsiteX8" fmla="*/ 84747 w 543605"/>
                    <a:gd name="connsiteY8" fmla="*/ 561648 h 723900"/>
                    <a:gd name="connsiteX9" fmla="*/ 147939 w 543605"/>
                    <a:gd name="connsiteY9" fmla="*/ 624840 h 723900"/>
                    <a:gd name="connsiteX10" fmla="*/ 400702 w 543605"/>
                    <a:gd name="connsiteY10" fmla="*/ 624840 h 723900"/>
                    <a:gd name="connsiteX11" fmla="*/ 458928 w 543605"/>
                    <a:gd name="connsiteY11" fmla="*/ 586245 h 723900"/>
                    <a:gd name="connsiteX12" fmla="*/ 460480 w 543605"/>
                    <a:gd name="connsiteY12" fmla="*/ 578560 h 723900"/>
                    <a:gd name="connsiteX13" fmla="*/ 543605 w 543605"/>
                    <a:gd name="connsiteY13" fmla="*/ 657400 h 723900"/>
                    <a:gd name="connsiteX14" fmla="*/ 541454 w 543605"/>
                    <a:gd name="connsiteY14" fmla="*/ 668051 h 723900"/>
                    <a:gd name="connsiteX15" fmla="*/ 457198 w 543605"/>
                    <a:gd name="connsiteY15" fmla="*/ 723900 h 723900"/>
                    <a:gd name="connsiteX16" fmla="*/ 91442 w 543605"/>
                    <a:gd name="connsiteY16" fmla="*/ 723900 h 723900"/>
                    <a:gd name="connsiteX17" fmla="*/ 0 w 543605"/>
                    <a:gd name="connsiteY17" fmla="*/ 632458 h 723900"/>
                    <a:gd name="connsiteX18" fmla="*/ 0 w 543605"/>
                    <a:gd name="connsiteY18" fmla="*/ 91442 h 723900"/>
                    <a:gd name="connsiteX19" fmla="*/ 91442 w 543605"/>
                    <a:gd name="connsiteY19" fmla="*/ 0 h 723900"/>
                    <a:gd name="connsiteX0" fmla="*/ 91442 w 543605"/>
                    <a:gd name="connsiteY0" fmla="*/ 0 h 723900"/>
                    <a:gd name="connsiteX1" fmla="*/ 294237 w 543605"/>
                    <a:gd name="connsiteY1" fmla="*/ 0 h 723900"/>
                    <a:gd name="connsiteX2" fmla="*/ 259248 w 543605"/>
                    <a:gd name="connsiteY2" fmla="*/ 99060 h 723900"/>
                    <a:gd name="connsiteX3" fmla="*/ 147939 w 543605"/>
                    <a:gd name="connsiteY3" fmla="*/ 99060 h 723900"/>
                    <a:gd name="connsiteX4" fmla="*/ 84747 w 543605"/>
                    <a:gd name="connsiteY4" fmla="*/ 162252 h 723900"/>
                    <a:gd name="connsiteX5" fmla="*/ 84747 w 543605"/>
                    <a:gd name="connsiteY5" fmla="*/ 561648 h 723900"/>
                    <a:gd name="connsiteX6" fmla="*/ 147939 w 543605"/>
                    <a:gd name="connsiteY6" fmla="*/ 624840 h 723900"/>
                    <a:gd name="connsiteX7" fmla="*/ 400702 w 543605"/>
                    <a:gd name="connsiteY7" fmla="*/ 624840 h 723900"/>
                    <a:gd name="connsiteX8" fmla="*/ 458928 w 543605"/>
                    <a:gd name="connsiteY8" fmla="*/ 586245 h 723900"/>
                    <a:gd name="connsiteX9" fmla="*/ 460480 w 543605"/>
                    <a:gd name="connsiteY9" fmla="*/ 578560 h 723900"/>
                    <a:gd name="connsiteX10" fmla="*/ 543605 w 543605"/>
                    <a:gd name="connsiteY10" fmla="*/ 657400 h 723900"/>
                    <a:gd name="connsiteX11" fmla="*/ 541454 w 543605"/>
                    <a:gd name="connsiteY11" fmla="*/ 668051 h 723900"/>
                    <a:gd name="connsiteX12" fmla="*/ 457198 w 543605"/>
                    <a:gd name="connsiteY12" fmla="*/ 723900 h 723900"/>
                    <a:gd name="connsiteX13" fmla="*/ 91442 w 543605"/>
                    <a:gd name="connsiteY13" fmla="*/ 723900 h 723900"/>
                    <a:gd name="connsiteX14" fmla="*/ 0 w 543605"/>
                    <a:gd name="connsiteY14" fmla="*/ 632458 h 723900"/>
                    <a:gd name="connsiteX15" fmla="*/ 0 w 543605"/>
                    <a:gd name="connsiteY15" fmla="*/ 91442 h 723900"/>
                    <a:gd name="connsiteX16" fmla="*/ 91442 w 543605"/>
                    <a:gd name="connsiteY1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43605" h="723900">
                      <a:moveTo>
                        <a:pt x="91442" y="0"/>
                      </a:moveTo>
                      <a:lnTo>
                        <a:pt x="294237" y="0"/>
                      </a:lnTo>
                      <a:lnTo>
                        <a:pt x="259248" y="99060"/>
                      </a:lnTo>
                      <a:lnTo>
                        <a:pt x="147939" y="99060"/>
                      </a:lnTo>
                      <a:cubicBezTo>
                        <a:pt x="113039" y="99060"/>
                        <a:pt x="84747" y="127352"/>
                        <a:pt x="84747" y="162252"/>
                      </a:cubicBezTo>
                      <a:lnTo>
                        <a:pt x="84747" y="561648"/>
                      </a:lnTo>
                      <a:cubicBezTo>
                        <a:pt x="84747" y="596548"/>
                        <a:pt x="113039" y="624840"/>
                        <a:pt x="147939" y="624840"/>
                      </a:cubicBezTo>
                      <a:lnTo>
                        <a:pt x="400702" y="624840"/>
                      </a:lnTo>
                      <a:cubicBezTo>
                        <a:pt x="426877" y="624840"/>
                        <a:pt x="449335" y="608926"/>
                        <a:pt x="458928" y="586245"/>
                      </a:cubicBezTo>
                      <a:lnTo>
                        <a:pt x="460480" y="578560"/>
                      </a:lnTo>
                      <a:lnTo>
                        <a:pt x="543605" y="657400"/>
                      </a:lnTo>
                      <a:lnTo>
                        <a:pt x="541454" y="668051"/>
                      </a:lnTo>
                      <a:cubicBezTo>
                        <a:pt x="527573" y="700871"/>
                        <a:pt x="495075" y="723900"/>
                        <a:pt x="457198" y="723900"/>
                      </a:cubicBezTo>
                      <a:lnTo>
                        <a:pt x="91442" y="723900"/>
                      </a:lnTo>
                      <a:cubicBezTo>
                        <a:pt x="40940" y="723900"/>
                        <a:pt x="0" y="682960"/>
                        <a:pt x="0" y="632458"/>
                      </a:cubicBezTo>
                      <a:lnTo>
                        <a:pt x="0" y="91442"/>
                      </a:lnTo>
                      <a:cubicBezTo>
                        <a:pt x="0" y="40940"/>
                        <a:pt x="40940" y="0"/>
                        <a:pt x="9144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45" name="Rectangle 20"/>
                <p:cNvSpPr/>
                <p:nvPr/>
              </p:nvSpPr>
              <p:spPr>
                <a:xfrm>
                  <a:off x="3267940" y="1957742"/>
                  <a:ext cx="878380" cy="946077"/>
                </a:xfrm>
                <a:custGeom>
                  <a:avLst/>
                  <a:gdLst>
                    <a:gd name="connsiteX0" fmla="*/ 0 w 910858"/>
                    <a:gd name="connsiteY0" fmla="*/ 0 h 1112520"/>
                    <a:gd name="connsiteX1" fmla="*/ 9108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10858"/>
                    <a:gd name="connsiteY0" fmla="*/ 0 h 1112520"/>
                    <a:gd name="connsiteX1" fmla="*/ 8727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94678"/>
                    <a:gd name="connsiteY0" fmla="*/ 0 h 1112520"/>
                    <a:gd name="connsiteX1" fmla="*/ 872758 w 994678"/>
                    <a:gd name="connsiteY1" fmla="*/ 0 h 1112520"/>
                    <a:gd name="connsiteX2" fmla="*/ 994678 w 994678"/>
                    <a:gd name="connsiteY2" fmla="*/ 68580 h 1112520"/>
                    <a:gd name="connsiteX3" fmla="*/ 0 w 994678"/>
                    <a:gd name="connsiteY3" fmla="*/ 1112520 h 1112520"/>
                    <a:gd name="connsiteX4" fmla="*/ 0 w 994678"/>
                    <a:gd name="connsiteY4" fmla="*/ 0 h 1112520"/>
                    <a:gd name="connsiteX0" fmla="*/ 0 w 994678"/>
                    <a:gd name="connsiteY0" fmla="*/ 0 h 883920"/>
                    <a:gd name="connsiteX1" fmla="*/ 872758 w 994678"/>
                    <a:gd name="connsiteY1" fmla="*/ 0 h 883920"/>
                    <a:gd name="connsiteX2" fmla="*/ 994678 w 994678"/>
                    <a:gd name="connsiteY2" fmla="*/ 68580 h 883920"/>
                    <a:gd name="connsiteX3" fmla="*/ 434340 w 994678"/>
                    <a:gd name="connsiteY3" fmla="*/ 883920 h 883920"/>
                    <a:gd name="connsiteX4" fmla="*/ 0 w 994678"/>
                    <a:gd name="connsiteY4" fmla="*/ 0 h 883920"/>
                    <a:gd name="connsiteX0" fmla="*/ 7620 w 560338"/>
                    <a:gd name="connsiteY0" fmla="*/ 548640 h 883920"/>
                    <a:gd name="connsiteX1" fmla="*/ 438418 w 560338"/>
                    <a:gd name="connsiteY1" fmla="*/ 0 h 883920"/>
                    <a:gd name="connsiteX2" fmla="*/ 560338 w 560338"/>
                    <a:gd name="connsiteY2" fmla="*/ 68580 h 883920"/>
                    <a:gd name="connsiteX3" fmla="*/ 0 w 560338"/>
                    <a:gd name="connsiteY3" fmla="*/ 883920 h 883920"/>
                    <a:gd name="connsiteX4" fmla="*/ 7620 w 560338"/>
                    <a:gd name="connsiteY4" fmla="*/ 548640 h 883920"/>
                    <a:gd name="connsiteX0" fmla="*/ 18782 w 571500"/>
                    <a:gd name="connsiteY0" fmla="*/ 548640 h 883920"/>
                    <a:gd name="connsiteX1" fmla="*/ 449580 w 571500"/>
                    <a:gd name="connsiteY1" fmla="*/ 0 h 883920"/>
                    <a:gd name="connsiteX2" fmla="*/ 571500 w 571500"/>
                    <a:gd name="connsiteY2" fmla="*/ 68580 h 883920"/>
                    <a:gd name="connsiteX3" fmla="*/ 11162 w 571500"/>
                    <a:gd name="connsiteY3" fmla="*/ 883920 h 883920"/>
                    <a:gd name="connsiteX4" fmla="*/ 0 w 571500"/>
                    <a:gd name="connsiteY4" fmla="*/ 739140 h 883920"/>
                    <a:gd name="connsiteX5" fmla="*/ 18782 w 5715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0 w 800100"/>
                    <a:gd name="connsiteY4" fmla="*/ 472440 h 883920"/>
                    <a:gd name="connsiteX5" fmla="*/ 247382 w 8001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129540 w 800100"/>
                    <a:gd name="connsiteY4" fmla="*/ 678180 h 883920"/>
                    <a:gd name="connsiteX5" fmla="*/ 0 w 800100"/>
                    <a:gd name="connsiteY5" fmla="*/ 472440 h 883920"/>
                    <a:gd name="connsiteX6" fmla="*/ 247382 w 8001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31596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27024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23582 w 876300"/>
                    <a:gd name="connsiteY6" fmla="*/ 548640 h 914400"/>
                    <a:gd name="connsiteX0" fmla="*/ 308342 w 876300"/>
                    <a:gd name="connsiteY0" fmla="*/ 60198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08342 w 876300"/>
                    <a:gd name="connsiteY6" fmla="*/ 601980 h 914400"/>
                    <a:gd name="connsiteX0" fmla="*/ 308342 w 876300"/>
                    <a:gd name="connsiteY0" fmla="*/ 601980 h 876300"/>
                    <a:gd name="connsiteX1" fmla="*/ 754380 w 876300"/>
                    <a:gd name="connsiteY1" fmla="*/ 0 h 876300"/>
                    <a:gd name="connsiteX2" fmla="*/ 876300 w 876300"/>
                    <a:gd name="connsiteY2" fmla="*/ 68580 h 876300"/>
                    <a:gd name="connsiteX3" fmla="*/ 285482 w 876300"/>
                    <a:gd name="connsiteY3" fmla="*/ 876300 h 876300"/>
                    <a:gd name="connsiteX4" fmla="*/ 0 w 876300"/>
                    <a:gd name="connsiteY4" fmla="*/ 609600 h 876300"/>
                    <a:gd name="connsiteX5" fmla="*/ 76200 w 876300"/>
                    <a:gd name="connsiteY5" fmla="*/ 472440 h 876300"/>
                    <a:gd name="connsiteX6" fmla="*/ 308342 w 876300"/>
                    <a:gd name="connsiteY6" fmla="*/ 601980 h 876300"/>
                    <a:gd name="connsiteX0" fmla="*/ 331202 w 899160"/>
                    <a:gd name="connsiteY0" fmla="*/ 60198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31202 w 899160"/>
                    <a:gd name="connsiteY6" fmla="*/ 601980 h 876300"/>
                    <a:gd name="connsiteX0" fmla="*/ 323582 w 899160"/>
                    <a:gd name="connsiteY0" fmla="*/ 65532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23582 w 899160"/>
                    <a:gd name="connsiteY6" fmla="*/ 655320 h 876300"/>
                    <a:gd name="connsiteX0" fmla="*/ 323582 w 899160"/>
                    <a:gd name="connsiteY0" fmla="*/ 67056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70560 h 891540"/>
                    <a:gd name="connsiteX0" fmla="*/ 323582 w 899160"/>
                    <a:gd name="connsiteY0" fmla="*/ 64008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40080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283538 w 899160"/>
                    <a:gd name="connsiteY6" fmla="*/ 700339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67025 w 899160"/>
                    <a:gd name="connsiteY5" fmla="*/ 514462 h 891540"/>
                    <a:gd name="connsiteX6" fmla="*/ 283538 w 899160"/>
                    <a:gd name="connsiteY6" fmla="*/ 700339 h 891540"/>
                    <a:gd name="connsiteX0" fmla="*/ 283538 w 891151"/>
                    <a:gd name="connsiteY0" fmla="*/ 700339 h 891540"/>
                    <a:gd name="connsiteX1" fmla="*/ 746760 w 891151"/>
                    <a:gd name="connsiteY1" fmla="*/ 0 h 891540"/>
                    <a:gd name="connsiteX2" fmla="*/ 891151 w 891151"/>
                    <a:gd name="connsiteY2" fmla="*/ 150774 h 891540"/>
                    <a:gd name="connsiteX3" fmla="*/ 308342 w 891151"/>
                    <a:gd name="connsiteY3" fmla="*/ 891540 h 891540"/>
                    <a:gd name="connsiteX4" fmla="*/ 0 w 891151"/>
                    <a:gd name="connsiteY4" fmla="*/ 647700 h 891540"/>
                    <a:gd name="connsiteX5" fmla="*/ 67025 w 891151"/>
                    <a:gd name="connsiteY5" fmla="*/ 514462 h 891540"/>
                    <a:gd name="connsiteX6" fmla="*/ 283538 w 891151"/>
                    <a:gd name="connsiteY6" fmla="*/ 700339 h 891540"/>
                    <a:gd name="connsiteX0" fmla="*/ 283538 w 891151"/>
                    <a:gd name="connsiteY0" fmla="*/ 640080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83538 w 891151"/>
                    <a:gd name="connsiteY6" fmla="*/ 640080 h 831281"/>
                    <a:gd name="connsiteX0" fmla="*/ 275530 w 891151"/>
                    <a:gd name="connsiteY0" fmla="*/ 599908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75530 w 891151"/>
                    <a:gd name="connsiteY6" fmla="*/ 599908 h 831281"/>
                    <a:gd name="connsiteX0" fmla="*/ 307565 w 923186"/>
                    <a:gd name="connsiteY0" fmla="*/ 599908 h 831281"/>
                    <a:gd name="connsiteX1" fmla="*/ 762778 w 923186"/>
                    <a:gd name="connsiteY1" fmla="*/ 0 h 831281"/>
                    <a:gd name="connsiteX2" fmla="*/ 923186 w 923186"/>
                    <a:gd name="connsiteY2" fmla="*/ 90515 h 831281"/>
                    <a:gd name="connsiteX3" fmla="*/ 340377 w 923186"/>
                    <a:gd name="connsiteY3" fmla="*/ 831281 h 831281"/>
                    <a:gd name="connsiteX4" fmla="*/ 0 w 923186"/>
                    <a:gd name="connsiteY4" fmla="*/ 620918 h 831281"/>
                    <a:gd name="connsiteX5" fmla="*/ 99060 w 923186"/>
                    <a:gd name="connsiteY5" fmla="*/ 454203 h 831281"/>
                    <a:gd name="connsiteX6" fmla="*/ 307565 w 923186"/>
                    <a:gd name="connsiteY6" fmla="*/ 599908 h 831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3186" h="831281">
                      <a:moveTo>
                        <a:pt x="307565" y="599908"/>
                      </a:moveTo>
                      <a:lnTo>
                        <a:pt x="762778" y="0"/>
                      </a:lnTo>
                      <a:lnTo>
                        <a:pt x="923186" y="90515"/>
                      </a:lnTo>
                      <a:lnTo>
                        <a:pt x="340377" y="831281"/>
                      </a:lnTo>
                      <a:lnTo>
                        <a:pt x="0" y="620918"/>
                      </a:lnTo>
                      <a:lnTo>
                        <a:pt x="99060" y="454203"/>
                      </a:lnTo>
                      <a:lnTo>
                        <a:pt x="307565" y="5999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529" name="Group 528"/>
              <p:cNvGrpSpPr/>
              <p:nvPr/>
            </p:nvGrpSpPr>
            <p:grpSpPr>
              <a:xfrm>
                <a:off x="2979287" y="3257864"/>
                <a:ext cx="1174521" cy="1120738"/>
                <a:chOff x="2971799" y="1957742"/>
                <a:chExt cx="1174521" cy="1120738"/>
              </a:xfrm>
              <a:grpFill/>
            </p:grpSpPr>
            <p:sp>
              <p:nvSpPr>
                <p:cNvPr id="542" name="Freeform 541"/>
                <p:cNvSpPr/>
                <p:nvPr/>
              </p:nvSpPr>
              <p:spPr>
                <a:xfrm>
                  <a:off x="2971799" y="2354580"/>
                  <a:ext cx="543605" cy="723900"/>
                </a:xfrm>
                <a:custGeom>
                  <a:avLst/>
                  <a:gdLst>
                    <a:gd name="connsiteX0" fmla="*/ 432877 w 546522"/>
                    <a:gd name="connsiteY0" fmla="*/ 0 h 723900"/>
                    <a:gd name="connsiteX1" fmla="*/ 457198 w 546522"/>
                    <a:gd name="connsiteY1" fmla="*/ 0 h 723900"/>
                    <a:gd name="connsiteX2" fmla="*/ 541454 w 546522"/>
                    <a:gd name="connsiteY2" fmla="*/ 55849 h 723900"/>
                    <a:gd name="connsiteX3" fmla="*/ 546522 w 546522"/>
                    <a:gd name="connsiteY3" fmla="*/ 80948 h 723900"/>
                    <a:gd name="connsiteX4" fmla="*/ 91442 w 546522"/>
                    <a:gd name="connsiteY4" fmla="*/ 0 h 723900"/>
                    <a:gd name="connsiteX5" fmla="*/ 294237 w 546522"/>
                    <a:gd name="connsiteY5" fmla="*/ 0 h 723900"/>
                    <a:gd name="connsiteX6" fmla="*/ 259248 w 546522"/>
                    <a:gd name="connsiteY6" fmla="*/ 99060 h 723900"/>
                    <a:gd name="connsiteX7" fmla="*/ 147939 w 546522"/>
                    <a:gd name="connsiteY7" fmla="*/ 99060 h 723900"/>
                    <a:gd name="connsiteX8" fmla="*/ 84747 w 546522"/>
                    <a:gd name="connsiteY8" fmla="*/ 162252 h 723900"/>
                    <a:gd name="connsiteX9" fmla="*/ 84747 w 546522"/>
                    <a:gd name="connsiteY9" fmla="*/ 561648 h 723900"/>
                    <a:gd name="connsiteX10" fmla="*/ 147939 w 546522"/>
                    <a:gd name="connsiteY10" fmla="*/ 624840 h 723900"/>
                    <a:gd name="connsiteX11" fmla="*/ 400702 w 546522"/>
                    <a:gd name="connsiteY11" fmla="*/ 624840 h 723900"/>
                    <a:gd name="connsiteX12" fmla="*/ 458928 w 546522"/>
                    <a:gd name="connsiteY12" fmla="*/ 586245 h 723900"/>
                    <a:gd name="connsiteX13" fmla="*/ 460480 w 546522"/>
                    <a:gd name="connsiteY13" fmla="*/ 578560 h 723900"/>
                    <a:gd name="connsiteX14" fmla="*/ 543605 w 546522"/>
                    <a:gd name="connsiteY14" fmla="*/ 657400 h 723900"/>
                    <a:gd name="connsiteX15" fmla="*/ 541454 w 546522"/>
                    <a:gd name="connsiteY15" fmla="*/ 668051 h 723900"/>
                    <a:gd name="connsiteX16" fmla="*/ 457198 w 546522"/>
                    <a:gd name="connsiteY16" fmla="*/ 723900 h 723900"/>
                    <a:gd name="connsiteX17" fmla="*/ 91442 w 546522"/>
                    <a:gd name="connsiteY17" fmla="*/ 723900 h 723900"/>
                    <a:gd name="connsiteX18" fmla="*/ 0 w 546522"/>
                    <a:gd name="connsiteY18" fmla="*/ 632458 h 723900"/>
                    <a:gd name="connsiteX19" fmla="*/ 0 w 546522"/>
                    <a:gd name="connsiteY19" fmla="*/ 91442 h 723900"/>
                    <a:gd name="connsiteX20" fmla="*/ 91442 w 546522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541454 w 543605"/>
                    <a:gd name="connsiteY2" fmla="*/ 55849 h 723900"/>
                    <a:gd name="connsiteX3" fmla="*/ 432877 w 543605"/>
                    <a:gd name="connsiteY3" fmla="*/ 0 h 723900"/>
                    <a:gd name="connsiteX4" fmla="*/ 91442 w 543605"/>
                    <a:gd name="connsiteY4" fmla="*/ 0 h 723900"/>
                    <a:gd name="connsiteX5" fmla="*/ 294237 w 543605"/>
                    <a:gd name="connsiteY5" fmla="*/ 0 h 723900"/>
                    <a:gd name="connsiteX6" fmla="*/ 259248 w 543605"/>
                    <a:gd name="connsiteY6" fmla="*/ 99060 h 723900"/>
                    <a:gd name="connsiteX7" fmla="*/ 147939 w 543605"/>
                    <a:gd name="connsiteY7" fmla="*/ 99060 h 723900"/>
                    <a:gd name="connsiteX8" fmla="*/ 84747 w 543605"/>
                    <a:gd name="connsiteY8" fmla="*/ 162252 h 723900"/>
                    <a:gd name="connsiteX9" fmla="*/ 84747 w 543605"/>
                    <a:gd name="connsiteY9" fmla="*/ 561648 h 723900"/>
                    <a:gd name="connsiteX10" fmla="*/ 147939 w 543605"/>
                    <a:gd name="connsiteY10" fmla="*/ 624840 h 723900"/>
                    <a:gd name="connsiteX11" fmla="*/ 400702 w 543605"/>
                    <a:gd name="connsiteY11" fmla="*/ 624840 h 723900"/>
                    <a:gd name="connsiteX12" fmla="*/ 458928 w 543605"/>
                    <a:gd name="connsiteY12" fmla="*/ 586245 h 723900"/>
                    <a:gd name="connsiteX13" fmla="*/ 460480 w 543605"/>
                    <a:gd name="connsiteY13" fmla="*/ 578560 h 723900"/>
                    <a:gd name="connsiteX14" fmla="*/ 543605 w 543605"/>
                    <a:gd name="connsiteY14" fmla="*/ 657400 h 723900"/>
                    <a:gd name="connsiteX15" fmla="*/ 541454 w 543605"/>
                    <a:gd name="connsiteY15" fmla="*/ 668051 h 723900"/>
                    <a:gd name="connsiteX16" fmla="*/ 457198 w 543605"/>
                    <a:gd name="connsiteY16" fmla="*/ 723900 h 723900"/>
                    <a:gd name="connsiteX17" fmla="*/ 91442 w 543605"/>
                    <a:gd name="connsiteY17" fmla="*/ 723900 h 723900"/>
                    <a:gd name="connsiteX18" fmla="*/ 0 w 543605"/>
                    <a:gd name="connsiteY18" fmla="*/ 632458 h 723900"/>
                    <a:gd name="connsiteX19" fmla="*/ 0 w 543605"/>
                    <a:gd name="connsiteY19" fmla="*/ 91442 h 723900"/>
                    <a:gd name="connsiteX20" fmla="*/ 91442 w 543605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432877 w 543605"/>
                    <a:gd name="connsiteY2" fmla="*/ 0 h 723900"/>
                    <a:gd name="connsiteX3" fmla="*/ 91442 w 543605"/>
                    <a:gd name="connsiteY3" fmla="*/ 0 h 723900"/>
                    <a:gd name="connsiteX4" fmla="*/ 294237 w 543605"/>
                    <a:gd name="connsiteY4" fmla="*/ 0 h 723900"/>
                    <a:gd name="connsiteX5" fmla="*/ 259248 w 543605"/>
                    <a:gd name="connsiteY5" fmla="*/ 99060 h 723900"/>
                    <a:gd name="connsiteX6" fmla="*/ 147939 w 543605"/>
                    <a:gd name="connsiteY6" fmla="*/ 99060 h 723900"/>
                    <a:gd name="connsiteX7" fmla="*/ 84747 w 543605"/>
                    <a:gd name="connsiteY7" fmla="*/ 162252 h 723900"/>
                    <a:gd name="connsiteX8" fmla="*/ 84747 w 543605"/>
                    <a:gd name="connsiteY8" fmla="*/ 561648 h 723900"/>
                    <a:gd name="connsiteX9" fmla="*/ 147939 w 543605"/>
                    <a:gd name="connsiteY9" fmla="*/ 624840 h 723900"/>
                    <a:gd name="connsiteX10" fmla="*/ 400702 w 543605"/>
                    <a:gd name="connsiteY10" fmla="*/ 624840 h 723900"/>
                    <a:gd name="connsiteX11" fmla="*/ 458928 w 543605"/>
                    <a:gd name="connsiteY11" fmla="*/ 586245 h 723900"/>
                    <a:gd name="connsiteX12" fmla="*/ 460480 w 543605"/>
                    <a:gd name="connsiteY12" fmla="*/ 578560 h 723900"/>
                    <a:gd name="connsiteX13" fmla="*/ 543605 w 543605"/>
                    <a:gd name="connsiteY13" fmla="*/ 657400 h 723900"/>
                    <a:gd name="connsiteX14" fmla="*/ 541454 w 543605"/>
                    <a:gd name="connsiteY14" fmla="*/ 668051 h 723900"/>
                    <a:gd name="connsiteX15" fmla="*/ 457198 w 543605"/>
                    <a:gd name="connsiteY15" fmla="*/ 723900 h 723900"/>
                    <a:gd name="connsiteX16" fmla="*/ 91442 w 543605"/>
                    <a:gd name="connsiteY16" fmla="*/ 723900 h 723900"/>
                    <a:gd name="connsiteX17" fmla="*/ 0 w 543605"/>
                    <a:gd name="connsiteY17" fmla="*/ 632458 h 723900"/>
                    <a:gd name="connsiteX18" fmla="*/ 0 w 543605"/>
                    <a:gd name="connsiteY18" fmla="*/ 91442 h 723900"/>
                    <a:gd name="connsiteX19" fmla="*/ 91442 w 543605"/>
                    <a:gd name="connsiteY19" fmla="*/ 0 h 723900"/>
                    <a:gd name="connsiteX0" fmla="*/ 91442 w 543605"/>
                    <a:gd name="connsiteY0" fmla="*/ 0 h 723900"/>
                    <a:gd name="connsiteX1" fmla="*/ 294237 w 543605"/>
                    <a:gd name="connsiteY1" fmla="*/ 0 h 723900"/>
                    <a:gd name="connsiteX2" fmla="*/ 259248 w 543605"/>
                    <a:gd name="connsiteY2" fmla="*/ 99060 h 723900"/>
                    <a:gd name="connsiteX3" fmla="*/ 147939 w 543605"/>
                    <a:gd name="connsiteY3" fmla="*/ 99060 h 723900"/>
                    <a:gd name="connsiteX4" fmla="*/ 84747 w 543605"/>
                    <a:gd name="connsiteY4" fmla="*/ 162252 h 723900"/>
                    <a:gd name="connsiteX5" fmla="*/ 84747 w 543605"/>
                    <a:gd name="connsiteY5" fmla="*/ 561648 h 723900"/>
                    <a:gd name="connsiteX6" fmla="*/ 147939 w 543605"/>
                    <a:gd name="connsiteY6" fmla="*/ 624840 h 723900"/>
                    <a:gd name="connsiteX7" fmla="*/ 400702 w 543605"/>
                    <a:gd name="connsiteY7" fmla="*/ 624840 h 723900"/>
                    <a:gd name="connsiteX8" fmla="*/ 458928 w 543605"/>
                    <a:gd name="connsiteY8" fmla="*/ 586245 h 723900"/>
                    <a:gd name="connsiteX9" fmla="*/ 460480 w 543605"/>
                    <a:gd name="connsiteY9" fmla="*/ 578560 h 723900"/>
                    <a:gd name="connsiteX10" fmla="*/ 543605 w 543605"/>
                    <a:gd name="connsiteY10" fmla="*/ 657400 h 723900"/>
                    <a:gd name="connsiteX11" fmla="*/ 541454 w 543605"/>
                    <a:gd name="connsiteY11" fmla="*/ 668051 h 723900"/>
                    <a:gd name="connsiteX12" fmla="*/ 457198 w 543605"/>
                    <a:gd name="connsiteY12" fmla="*/ 723900 h 723900"/>
                    <a:gd name="connsiteX13" fmla="*/ 91442 w 543605"/>
                    <a:gd name="connsiteY13" fmla="*/ 723900 h 723900"/>
                    <a:gd name="connsiteX14" fmla="*/ 0 w 543605"/>
                    <a:gd name="connsiteY14" fmla="*/ 632458 h 723900"/>
                    <a:gd name="connsiteX15" fmla="*/ 0 w 543605"/>
                    <a:gd name="connsiteY15" fmla="*/ 91442 h 723900"/>
                    <a:gd name="connsiteX16" fmla="*/ 91442 w 543605"/>
                    <a:gd name="connsiteY1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43605" h="723900">
                      <a:moveTo>
                        <a:pt x="91442" y="0"/>
                      </a:moveTo>
                      <a:lnTo>
                        <a:pt x="294237" y="0"/>
                      </a:lnTo>
                      <a:lnTo>
                        <a:pt x="259248" y="99060"/>
                      </a:lnTo>
                      <a:lnTo>
                        <a:pt x="147939" y="99060"/>
                      </a:lnTo>
                      <a:cubicBezTo>
                        <a:pt x="113039" y="99060"/>
                        <a:pt x="84747" y="127352"/>
                        <a:pt x="84747" y="162252"/>
                      </a:cubicBezTo>
                      <a:lnTo>
                        <a:pt x="84747" y="561648"/>
                      </a:lnTo>
                      <a:cubicBezTo>
                        <a:pt x="84747" y="596548"/>
                        <a:pt x="113039" y="624840"/>
                        <a:pt x="147939" y="624840"/>
                      </a:cubicBezTo>
                      <a:lnTo>
                        <a:pt x="400702" y="624840"/>
                      </a:lnTo>
                      <a:cubicBezTo>
                        <a:pt x="426877" y="624840"/>
                        <a:pt x="449335" y="608926"/>
                        <a:pt x="458928" y="586245"/>
                      </a:cubicBezTo>
                      <a:lnTo>
                        <a:pt x="460480" y="578560"/>
                      </a:lnTo>
                      <a:lnTo>
                        <a:pt x="543605" y="657400"/>
                      </a:lnTo>
                      <a:lnTo>
                        <a:pt x="541454" y="668051"/>
                      </a:lnTo>
                      <a:cubicBezTo>
                        <a:pt x="527573" y="700871"/>
                        <a:pt x="495075" y="723900"/>
                        <a:pt x="457198" y="723900"/>
                      </a:cubicBezTo>
                      <a:lnTo>
                        <a:pt x="91442" y="723900"/>
                      </a:lnTo>
                      <a:cubicBezTo>
                        <a:pt x="40940" y="723900"/>
                        <a:pt x="0" y="682960"/>
                        <a:pt x="0" y="632458"/>
                      </a:cubicBezTo>
                      <a:lnTo>
                        <a:pt x="0" y="91442"/>
                      </a:lnTo>
                      <a:cubicBezTo>
                        <a:pt x="0" y="40940"/>
                        <a:pt x="40940" y="0"/>
                        <a:pt x="9144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43" name="Rectangle 20"/>
                <p:cNvSpPr/>
                <p:nvPr/>
              </p:nvSpPr>
              <p:spPr>
                <a:xfrm>
                  <a:off x="3267940" y="1957742"/>
                  <a:ext cx="878380" cy="946077"/>
                </a:xfrm>
                <a:custGeom>
                  <a:avLst/>
                  <a:gdLst>
                    <a:gd name="connsiteX0" fmla="*/ 0 w 910858"/>
                    <a:gd name="connsiteY0" fmla="*/ 0 h 1112520"/>
                    <a:gd name="connsiteX1" fmla="*/ 9108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10858"/>
                    <a:gd name="connsiteY0" fmla="*/ 0 h 1112520"/>
                    <a:gd name="connsiteX1" fmla="*/ 8727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94678"/>
                    <a:gd name="connsiteY0" fmla="*/ 0 h 1112520"/>
                    <a:gd name="connsiteX1" fmla="*/ 872758 w 994678"/>
                    <a:gd name="connsiteY1" fmla="*/ 0 h 1112520"/>
                    <a:gd name="connsiteX2" fmla="*/ 994678 w 994678"/>
                    <a:gd name="connsiteY2" fmla="*/ 68580 h 1112520"/>
                    <a:gd name="connsiteX3" fmla="*/ 0 w 994678"/>
                    <a:gd name="connsiteY3" fmla="*/ 1112520 h 1112520"/>
                    <a:gd name="connsiteX4" fmla="*/ 0 w 994678"/>
                    <a:gd name="connsiteY4" fmla="*/ 0 h 1112520"/>
                    <a:gd name="connsiteX0" fmla="*/ 0 w 994678"/>
                    <a:gd name="connsiteY0" fmla="*/ 0 h 883920"/>
                    <a:gd name="connsiteX1" fmla="*/ 872758 w 994678"/>
                    <a:gd name="connsiteY1" fmla="*/ 0 h 883920"/>
                    <a:gd name="connsiteX2" fmla="*/ 994678 w 994678"/>
                    <a:gd name="connsiteY2" fmla="*/ 68580 h 883920"/>
                    <a:gd name="connsiteX3" fmla="*/ 434340 w 994678"/>
                    <a:gd name="connsiteY3" fmla="*/ 883920 h 883920"/>
                    <a:gd name="connsiteX4" fmla="*/ 0 w 994678"/>
                    <a:gd name="connsiteY4" fmla="*/ 0 h 883920"/>
                    <a:gd name="connsiteX0" fmla="*/ 7620 w 560338"/>
                    <a:gd name="connsiteY0" fmla="*/ 548640 h 883920"/>
                    <a:gd name="connsiteX1" fmla="*/ 438418 w 560338"/>
                    <a:gd name="connsiteY1" fmla="*/ 0 h 883920"/>
                    <a:gd name="connsiteX2" fmla="*/ 560338 w 560338"/>
                    <a:gd name="connsiteY2" fmla="*/ 68580 h 883920"/>
                    <a:gd name="connsiteX3" fmla="*/ 0 w 560338"/>
                    <a:gd name="connsiteY3" fmla="*/ 883920 h 883920"/>
                    <a:gd name="connsiteX4" fmla="*/ 7620 w 560338"/>
                    <a:gd name="connsiteY4" fmla="*/ 548640 h 883920"/>
                    <a:gd name="connsiteX0" fmla="*/ 18782 w 571500"/>
                    <a:gd name="connsiteY0" fmla="*/ 548640 h 883920"/>
                    <a:gd name="connsiteX1" fmla="*/ 449580 w 571500"/>
                    <a:gd name="connsiteY1" fmla="*/ 0 h 883920"/>
                    <a:gd name="connsiteX2" fmla="*/ 571500 w 571500"/>
                    <a:gd name="connsiteY2" fmla="*/ 68580 h 883920"/>
                    <a:gd name="connsiteX3" fmla="*/ 11162 w 571500"/>
                    <a:gd name="connsiteY3" fmla="*/ 883920 h 883920"/>
                    <a:gd name="connsiteX4" fmla="*/ 0 w 571500"/>
                    <a:gd name="connsiteY4" fmla="*/ 739140 h 883920"/>
                    <a:gd name="connsiteX5" fmla="*/ 18782 w 5715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0 w 800100"/>
                    <a:gd name="connsiteY4" fmla="*/ 472440 h 883920"/>
                    <a:gd name="connsiteX5" fmla="*/ 247382 w 8001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129540 w 800100"/>
                    <a:gd name="connsiteY4" fmla="*/ 678180 h 883920"/>
                    <a:gd name="connsiteX5" fmla="*/ 0 w 800100"/>
                    <a:gd name="connsiteY5" fmla="*/ 472440 h 883920"/>
                    <a:gd name="connsiteX6" fmla="*/ 247382 w 8001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31596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27024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23582 w 876300"/>
                    <a:gd name="connsiteY6" fmla="*/ 548640 h 914400"/>
                    <a:gd name="connsiteX0" fmla="*/ 308342 w 876300"/>
                    <a:gd name="connsiteY0" fmla="*/ 60198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08342 w 876300"/>
                    <a:gd name="connsiteY6" fmla="*/ 601980 h 914400"/>
                    <a:gd name="connsiteX0" fmla="*/ 308342 w 876300"/>
                    <a:gd name="connsiteY0" fmla="*/ 601980 h 876300"/>
                    <a:gd name="connsiteX1" fmla="*/ 754380 w 876300"/>
                    <a:gd name="connsiteY1" fmla="*/ 0 h 876300"/>
                    <a:gd name="connsiteX2" fmla="*/ 876300 w 876300"/>
                    <a:gd name="connsiteY2" fmla="*/ 68580 h 876300"/>
                    <a:gd name="connsiteX3" fmla="*/ 285482 w 876300"/>
                    <a:gd name="connsiteY3" fmla="*/ 876300 h 876300"/>
                    <a:gd name="connsiteX4" fmla="*/ 0 w 876300"/>
                    <a:gd name="connsiteY4" fmla="*/ 609600 h 876300"/>
                    <a:gd name="connsiteX5" fmla="*/ 76200 w 876300"/>
                    <a:gd name="connsiteY5" fmla="*/ 472440 h 876300"/>
                    <a:gd name="connsiteX6" fmla="*/ 308342 w 876300"/>
                    <a:gd name="connsiteY6" fmla="*/ 601980 h 876300"/>
                    <a:gd name="connsiteX0" fmla="*/ 331202 w 899160"/>
                    <a:gd name="connsiteY0" fmla="*/ 60198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31202 w 899160"/>
                    <a:gd name="connsiteY6" fmla="*/ 601980 h 876300"/>
                    <a:gd name="connsiteX0" fmla="*/ 323582 w 899160"/>
                    <a:gd name="connsiteY0" fmla="*/ 65532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23582 w 899160"/>
                    <a:gd name="connsiteY6" fmla="*/ 655320 h 876300"/>
                    <a:gd name="connsiteX0" fmla="*/ 323582 w 899160"/>
                    <a:gd name="connsiteY0" fmla="*/ 67056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70560 h 891540"/>
                    <a:gd name="connsiteX0" fmla="*/ 323582 w 899160"/>
                    <a:gd name="connsiteY0" fmla="*/ 64008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40080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283538 w 899160"/>
                    <a:gd name="connsiteY6" fmla="*/ 700339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67025 w 899160"/>
                    <a:gd name="connsiteY5" fmla="*/ 514462 h 891540"/>
                    <a:gd name="connsiteX6" fmla="*/ 283538 w 899160"/>
                    <a:gd name="connsiteY6" fmla="*/ 700339 h 891540"/>
                    <a:gd name="connsiteX0" fmla="*/ 283538 w 891151"/>
                    <a:gd name="connsiteY0" fmla="*/ 700339 h 891540"/>
                    <a:gd name="connsiteX1" fmla="*/ 746760 w 891151"/>
                    <a:gd name="connsiteY1" fmla="*/ 0 h 891540"/>
                    <a:gd name="connsiteX2" fmla="*/ 891151 w 891151"/>
                    <a:gd name="connsiteY2" fmla="*/ 150774 h 891540"/>
                    <a:gd name="connsiteX3" fmla="*/ 308342 w 891151"/>
                    <a:gd name="connsiteY3" fmla="*/ 891540 h 891540"/>
                    <a:gd name="connsiteX4" fmla="*/ 0 w 891151"/>
                    <a:gd name="connsiteY4" fmla="*/ 647700 h 891540"/>
                    <a:gd name="connsiteX5" fmla="*/ 67025 w 891151"/>
                    <a:gd name="connsiteY5" fmla="*/ 514462 h 891540"/>
                    <a:gd name="connsiteX6" fmla="*/ 283538 w 891151"/>
                    <a:gd name="connsiteY6" fmla="*/ 700339 h 891540"/>
                    <a:gd name="connsiteX0" fmla="*/ 283538 w 891151"/>
                    <a:gd name="connsiteY0" fmla="*/ 640080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83538 w 891151"/>
                    <a:gd name="connsiteY6" fmla="*/ 640080 h 831281"/>
                    <a:gd name="connsiteX0" fmla="*/ 275530 w 891151"/>
                    <a:gd name="connsiteY0" fmla="*/ 599908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75530 w 891151"/>
                    <a:gd name="connsiteY6" fmla="*/ 599908 h 831281"/>
                    <a:gd name="connsiteX0" fmla="*/ 307565 w 923186"/>
                    <a:gd name="connsiteY0" fmla="*/ 599908 h 831281"/>
                    <a:gd name="connsiteX1" fmla="*/ 762778 w 923186"/>
                    <a:gd name="connsiteY1" fmla="*/ 0 h 831281"/>
                    <a:gd name="connsiteX2" fmla="*/ 923186 w 923186"/>
                    <a:gd name="connsiteY2" fmla="*/ 90515 h 831281"/>
                    <a:gd name="connsiteX3" fmla="*/ 340377 w 923186"/>
                    <a:gd name="connsiteY3" fmla="*/ 831281 h 831281"/>
                    <a:gd name="connsiteX4" fmla="*/ 0 w 923186"/>
                    <a:gd name="connsiteY4" fmla="*/ 620918 h 831281"/>
                    <a:gd name="connsiteX5" fmla="*/ 99060 w 923186"/>
                    <a:gd name="connsiteY5" fmla="*/ 454203 h 831281"/>
                    <a:gd name="connsiteX6" fmla="*/ 307565 w 923186"/>
                    <a:gd name="connsiteY6" fmla="*/ 599908 h 831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3186" h="831281">
                      <a:moveTo>
                        <a:pt x="307565" y="599908"/>
                      </a:moveTo>
                      <a:lnTo>
                        <a:pt x="762778" y="0"/>
                      </a:lnTo>
                      <a:lnTo>
                        <a:pt x="923186" y="90515"/>
                      </a:lnTo>
                      <a:lnTo>
                        <a:pt x="340377" y="831281"/>
                      </a:lnTo>
                      <a:lnTo>
                        <a:pt x="0" y="620918"/>
                      </a:lnTo>
                      <a:lnTo>
                        <a:pt x="99060" y="454203"/>
                      </a:lnTo>
                      <a:lnTo>
                        <a:pt x="307565" y="5999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530" name="Group 529"/>
              <p:cNvGrpSpPr/>
              <p:nvPr/>
            </p:nvGrpSpPr>
            <p:grpSpPr>
              <a:xfrm>
                <a:off x="2979287" y="4557986"/>
                <a:ext cx="1174521" cy="1120738"/>
                <a:chOff x="2971799" y="1957742"/>
                <a:chExt cx="1174521" cy="1120738"/>
              </a:xfrm>
              <a:grpFill/>
            </p:grpSpPr>
            <p:sp>
              <p:nvSpPr>
                <p:cNvPr id="540" name="Freeform 539"/>
                <p:cNvSpPr/>
                <p:nvPr/>
              </p:nvSpPr>
              <p:spPr>
                <a:xfrm>
                  <a:off x="2971799" y="2354580"/>
                  <a:ext cx="543605" cy="723900"/>
                </a:xfrm>
                <a:custGeom>
                  <a:avLst/>
                  <a:gdLst>
                    <a:gd name="connsiteX0" fmla="*/ 432877 w 546522"/>
                    <a:gd name="connsiteY0" fmla="*/ 0 h 723900"/>
                    <a:gd name="connsiteX1" fmla="*/ 457198 w 546522"/>
                    <a:gd name="connsiteY1" fmla="*/ 0 h 723900"/>
                    <a:gd name="connsiteX2" fmla="*/ 541454 w 546522"/>
                    <a:gd name="connsiteY2" fmla="*/ 55849 h 723900"/>
                    <a:gd name="connsiteX3" fmla="*/ 546522 w 546522"/>
                    <a:gd name="connsiteY3" fmla="*/ 80948 h 723900"/>
                    <a:gd name="connsiteX4" fmla="*/ 91442 w 546522"/>
                    <a:gd name="connsiteY4" fmla="*/ 0 h 723900"/>
                    <a:gd name="connsiteX5" fmla="*/ 294237 w 546522"/>
                    <a:gd name="connsiteY5" fmla="*/ 0 h 723900"/>
                    <a:gd name="connsiteX6" fmla="*/ 259248 w 546522"/>
                    <a:gd name="connsiteY6" fmla="*/ 99060 h 723900"/>
                    <a:gd name="connsiteX7" fmla="*/ 147939 w 546522"/>
                    <a:gd name="connsiteY7" fmla="*/ 99060 h 723900"/>
                    <a:gd name="connsiteX8" fmla="*/ 84747 w 546522"/>
                    <a:gd name="connsiteY8" fmla="*/ 162252 h 723900"/>
                    <a:gd name="connsiteX9" fmla="*/ 84747 w 546522"/>
                    <a:gd name="connsiteY9" fmla="*/ 561648 h 723900"/>
                    <a:gd name="connsiteX10" fmla="*/ 147939 w 546522"/>
                    <a:gd name="connsiteY10" fmla="*/ 624840 h 723900"/>
                    <a:gd name="connsiteX11" fmla="*/ 400702 w 546522"/>
                    <a:gd name="connsiteY11" fmla="*/ 624840 h 723900"/>
                    <a:gd name="connsiteX12" fmla="*/ 458928 w 546522"/>
                    <a:gd name="connsiteY12" fmla="*/ 586245 h 723900"/>
                    <a:gd name="connsiteX13" fmla="*/ 460480 w 546522"/>
                    <a:gd name="connsiteY13" fmla="*/ 578560 h 723900"/>
                    <a:gd name="connsiteX14" fmla="*/ 543605 w 546522"/>
                    <a:gd name="connsiteY14" fmla="*/ 657400 h 723900"/>
                    <a:gd name="connsiteX15" fmla="*/ 541454 w 546522"/>
                    <a:gd name="connsiteY15" fmla="*/ 668051 h 723900"/>
                    <a:gd name="connsiteX16" fmla="*/ 457198 w 546522"/>
                    <a:gd name="connsiteY16" fmla="*/ 723900 h 723900"/>
                    <a:gd name="connsiteX17" fmla="*/ 91442 w 546522"/>
                    <a:gd name="connsiteY17" fmla="*/ 723900 h 723900"/>
                    <a:gd name="connsiteX18" fmla="*/ 0 w 546522"/>
                    <a:gd name="connsiteY18" fmla="*/ 632458 h 723900"/>
                    <a:gd name="connsiteX19" fmla="*/ 0 w 546522"/>
                    <a:gd name="connsiteY19" fmla="*/ 91442 h 723900"/>
                    <a:gd name="connsiteX20" fmla="*/ 91442 w 546522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541454 w 543605"/>
                    <a:gd name="connsiteY2" fmla="*/ 55849 h 723900"/>
                    <a:gd name="connsiteX3" fmla="*/ 432877 w 543605"/>
                    <a:gd name="connsiteY3" fmla="*/ 0 h 723900"/>
                    <a:gd name="connsiteX4" fmla="*/ 91442 w 543605"/>
                    <a:gd name="connsiteY4" fmla="*/ 0 h 723900"/>
                    <a:gd name="connsiteX5" fmla="*/ 294237 w 543605"/>
                    <a:gd name="connsiteY5" fmla="*/ 0 h 723900"/>
                    <a:gd name="connsiteX6" fmla="*/ 259248 w 543605"/>
                    <a:gd name="connsiteY6" fmla="*/ 99060 h 723900"/>
                    <a:gd name="connsiteX7" fmla="*/ 147939 w 543605"/>
                    <a:gd name="connsiteY7" fmla="*/ 99060 h 723900"/>
                    <a:gd name="connsiteX8" fmla="*/ 84747 w 543605"/>
                    <a:gd name="connsiteY8" fmla="*/ 162252 h 723900"/>
                    <a:gd name="connsiteX9" fmla="*/ 84747 w 543605"/>
                    <a:gd name="connsiteY9" fmla="*/ 561648 h 723900"/>
                    <a:gd name="connsiteX10" fmla="*/ 147939 w 543605"/>
                    <a:gd name="connsiteY10" fmla="*/ 624840 h 723900"/>
                    <a:gd name="connsiteX11" fmla="*/ 400702 w 543605"/>
                    <a:gd name="connsiteY11" fmla="*/ 624840 h 723900"/>
                    <a:gd name="connsiteX12" fmla="*/ 458928 w 543605"/>
                    <a:gd name="connsiteY12" fmla="*/ 586245 h 723900"/>
                    <a:gd name="connsiteX13" fmla="*/ 460480 w 543605"/>
                    <a:gd name="connsiteY13" fmla="*/ 578560 h 723900"/>
                    <a:gd name="connsiteX14" fmla="*/ 543605 w 543605"/>
                    <a:gd name="connsiteY14" fmla="*/ 657400 h 723900"/>
                    <a:gd name="connsiteX15" fmla="*/ 541454 w 543605"/>
                    <a:gd name="connsiteY15" fmla="*/ 668051 h 723900"/>
                    <a:gd name="connsiteX16" fmla="*/ 457198 w 543605"/>
                    <a:gd name="connsiteY16" fmla="*/ 723900 h 723900"/>
                    <a:gd name="connsiteX17" fmla="*/ 91442 w 543605"/>
                    <a:gd name="connsiteY17" fmla="*/ 723900 h 723900"/>
                    <a:gd name="connsiteX18" fmla="*/ 0 w 543605"/>
                    <a:gd name="connsiteY18" fmla="*/ 632458 h 723900"/>
                    <a:gd name="connsiteX19" fmla="*/ 0 w 543605"/>
                    <a:gd name="connsiteY19" fmla="*/ 91442 h 723900"/>
                    <a:gd name="connsiteX20" fmla="*/ 91442 w 543605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432877 w 543605"/>
                    <a:gd name="connsiteY2" fmla="*/ 0 h 723900"/>
                    <a:gd name="connsiteX3" fmla="*/ 91442 w 543605"/>
                    <a:gd name="connsiteY3" fmla="*/ 0 h 723900"/>
                    <a:gd name="connsiteX4" fmla="*/ 294237 w 543605"/>
                    <a:gd name="connsiteY4" fmla="*/ 0 h 723900"/>
                    <a:gd name="connsiteX5" fmla="*/ 259248 w 543605"/>
                    <a:gd name="connsiteY5" fmla="*/ 99060 h 723900"/>
                    <a:gd name="connsiteX6" fmla="*/ 147939 w 543605"/>
                    <a:gd name="connsiteY6" fmla="*/ 99060 h 723900"/>
                    <a:gd name="connsiteX7" fmla="*/ 84747 w 543605"/>
                    <a:gd name="connsiteY7" fmla="*/ 162252 h 723900"/>
                    <a:gd name="connsiteX8" fmla="*/ 84747 w 543605"/>
                    <a:gd name="connsiteY8" fmla="*/ 561648 h 723900"/>
                    <a:gd name="connsiteX9" fmla="*/ 147939 w 543605"/>
                    <a:gd name="connsiteY9" fmla="*/ 624840 h 723900"/>
                    <a:gd name="connsiteX10" fmla="*/ 400702 w 543605"/>
                    <a:gd name="connsiteY10" fmla="*/ 624840 h 723900"/>
                    <a:gd name="connsiteX11" fmla="*/ 458928 w 543605"/>
                    <a:gd name="connsiteY11" fmla="*/ 586245 h 723900"/>
                    <a:gd name="connsiteX12" fmla="*/ 460480 w 543605"/>
                    <a:gd name="connsiteY12" fmla="*/ 578560 h 723900"/>
                    <a:gd name="connsiteX13" fmla="*/ 543605 w 543605"/>
                    <a:gd name="connsiteY13" fmla="*/ 657400 h 723900"/>
                    <a:gd name="connsiteX14" fmla="*/ 541454 w 543605"/>
                    <a:gd name="connsiteY14" fmla="*/ 668051 h 723900"/>
                    <a:gd name="connsiteX15" fmla="*/ 457198 w 543605"/>
                    <a:gd name="connsiteY15" fmla="*/ 723900 h 723900"/>
                    <a:gd name="connsiteX16" fmla="*/ 91442 w 543605"/>
                    <a:gd name="connsiteY16" fmla="*/ 723900 h 723900"/>
                    <a:gd name="connsiteX17" fmla="*/ 0 w 543605"/>
                    <a:gd name="connsiteY17" fmla="*/ 632458 h 723900"/>
                    <a:gd name="connsiteX18" fmla="*/ 0 w 543605"/>
                    <a:gd name="connsiteY18" fmla="*/ 91442 h 723900"/>
                    <a:gd name="connsiteX19" fmla="*/ 91442 w 543605"/>
                    <a:gd name="connsiteY19" fmla="*/ 0 h 723900"/>
                    <a:gd name="connsiteX0" fmla="*/ 91442 w 543605"/>
                    <a:gd name="connsiteY0" fmla="*/ 0 h 723900"/>
                    <a:gd name="connsiteX1" fmla="*/ 294237 w 543605"/>
                    <a:gd name="connsiteY1" fmla="*/ 0 h 723900"/>
                    <a:gd name="connsiteX2" fmla="*/ 259248 w 543605"/>
                    <a:gd name="connsiteY2" fmla="*/ 99060 h 723900"/>
                    <a:gd name="connsiteX3" fmla="*/ 147939 w 543605"/>
                    <a:gd name="connsiteY3" fmla="*/ 99060 h 723900"/>
                    <a:gd name="connsiteX4" fmla="*/ 84747 w 543605"/>
                    <a:gd name="connsiteY4" fmla="*/ 162252 h 723900"/>
                    <a:gd name="connsiteX5" fmla="*/ 84747 w 543605"/>
                    <a:gd name="connsiteY5" fmla="*/ 561648 h 723900"/>
                    <a:gd name="connsiteX6" fmla="*/ 147939 w 543605"/>
                    <a:gd name="connsiteY6" fmla="*/ 624840 h 723900"/>
                    <a:gd name="connsiteX7" fmla="*/ 400702 w 543605"/>
                    <a:gd name="connsiteY7" fmla="*/ 624840 h 723900"/>
                    <a:gd name="connsiteX8" fmla="*/ 458928 w 543605"/>
                    <a:gd name="connsiteY8" fmla="*/ 586245 h 723900"/>
                    <a:gd name="connsiteX9" fmla="*/ 460480 w 543605"/>
                    <a:gd name="connsiteY9" fmla="*/ 578560 h 723900"/>
                    <a:gd name="connsiteX10" fmla="*/ 543605 w 543605"/>
                    <a:gd name="connsiteY10" fmla="*/ 657400 h 723900"/>
                    <a:gd name="connsiteX11" fmla="*/ 541454 w 543605"/>
                    <a:gd name="connsiteY11" fmla="*/ 668051 h 723900"/>
                    <a:gd name="connsiteX12" fmla="*/ 457198 w 543605"/>
                    <a:gd name="connsiteY12" fmla="*/ 723900 h 723900"/>
                    <a:gd name="connsiteX13" fmla="*/ 91442 w 543605"/>
                    <a:gd name="connsiteY13" fmla="*/ 723900 h 723900"/>
                    <a:gd name="connsiteX14" fmla="*/ 0 w 543605"/>
                    <a:gd name="connsiteY14" fmla="*/ 632458 h 723900"/>
                    <a:gd name="connsiteX15" fmla="*/ 0 w 543605"/>
                    <a:gd name="connsiteY15" fmla="*/ 91442 h 723900"/>
                    <a:gd name="connsiteX16" fmla="*/ 91442 w 543605"/>
                    <a:gd name="connsiteY1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43605" h="723900">
                      <a:moveTo>
                        <a:pt x="91442" y="0"/>
                      </a:moveTo>
                      <a:lnTo>
                        <a:pt x="294237" y="0"/>
                      </a:lnTo>
                      <a:lnTo>
                        <a:pt x="259248" y="99060"/>
                      </a:lnTo>
                      <a:lnTo>
                        <a:pt x="147939" y="99060"/>
                      </a:lnTo>
                      <a:cubicBezTo>
                        <a:pt x="113039" y="99060"/>
                        <a:pt x="84747" y="127352"/>
                        <a:pt x="84747" y="162252"/>
                      </a:cubicBezTo>
                      <a:lnTo>
                        <a:pt x="84747" y="561648"/>
                      </a:lnTo>
                      <a:cubicBezTo>
                        <a:pt x="84747" y="596548"/>
                        <a:pt x="113039" y="624840"/>
                        <a:pt x="147939" y="624840"/>
                      </a:cubicBezTo>
                      <a:lnTo>
                        <a:pt x="400702" y="624840"/>
                      </a:lnTo>
                      <a:cubicBezTo>
                        <a:pt x="426877" y="624840"/>
                        <a:pt x="449335" y="608926"/>
                        <a:pt x="458928" y="586245"/>
                      </a:cubicBezTo>
                      <a:lnTo>
                        <a:pt x="460480" y="578560"/>
                      </a:lnTo>
                      <a:lnTo>
                        <a:pt x="543605" y="657400"/>
                      </a:lnTo>
                      <a:lnTo>
                        <a:pt x="541454" y="668051"/>
                      </a:lnTo>
                      <a:cubicBezTo>
                        <a:pt x="527573" y="700871"/>
                        <a:pt x="495075" y="723900"/>
                        <a:pt x="457198" y="723900"/>
                      </a:cubicBezTo>
                      <a:lnTo>
                        <a:pt x="91442" y="723900"/>
                      </a:lnTo>
                      <a:cubicBezTo>
                        <a:pt x="40940" y="723900"/>
                        <a:pt x="0" y="682960"/>
                        <a:pt x="0" y="632458"/>
                      </a:cubicBezTo>
                      <a:lnTo>
                        <a:pt x="0" y="91442"/>
                      </a:lnTo>
                      <a:cubicBezTo>
                        <a:pt x="0" y="40940"/>
                        <a:pt x="40940" y="0"/>
                        <a:pt x="9144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41" name="Rectangle 20"/>
                <p:cNvSpPr/>
                <p:nvPr/>
              </p:nvSpPr>
              <p:spPr>
                <a:xfrm>
                  <a:off x="3267940" y="1957742"/>
                  <a:ext cx="878380" cy="946077"/>
                </a:xfrm>
                <a:custGeom>
                  <a:avLst/>
                  <a:gdLst>
                    <a:gd name="connsiteX0" fmla="*/ 0 w 910858"/>
                    <a:gd name="connsiteY0" fmla="*/ 0 h 1112520"/>
                    <a:gd name="connsiteX1" fmla="*/ 9108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10858"/>
                    <a:gd name="connsiteY0" fmla="*/ 0 h 1112520"/>
                    <a:gd name="connsiteX1" fmla="*/ 8727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94678"/>
                    <a:gd name="connsiteY0" fmla="*/ 0 h 1112520"/>
                    <a:gd name="connsiteX1" fmla="*/ 872758 w 994678"/>
                    <a:gd name="connsiteY1" fmla="*/ 0 h 1112520"/>
                    <a:gd name="connsiteX2" fmla="*/ 994678 w 994678"/>
                    <a:gd name="connsiteY2" fmla="*/ 68580 h 1112520"/>
                    <a:gd name="connsiteX3" fmla="*/ 0 w 994678"/>
                    <a:gd name="connsiteY3" fmla="*/ 1112520 h 1112520"/>
                    <a:gd name="connsiteX4" fmla="*/ 0 w 994678"/>
                    <a:gd name="connsiteY4" fmla="*/ 0 h 1112520"/>
                    <a:gd name="connsiteX0" fmla="*/ 0 w 994678"/>
                    <a:gd name="connsiteY0" fmla="*/ 0 h 883920"/>
                    <a:gd name="connsiteX1" fmla="*/ 872758 w 994678"/>
                    <a:gd name="connsiteY1" fmla="*/ 0 h 883920"/>
                    <a:gd name="connsiteX2" fmla="*/ 994678 w 994678"/>
                    <a:gd name="connsiteY2" fmla="*/ 68580 h 883920"/>
                    <a:gd name="connsiteX3" fmla="*/ 434340 w 994678"/>
                    <a:gd name="connsiteY3" fmla="*/ 883920 h 883920"/>
                    <a:gd name="connsiteX4" fmla="*/ 0 w 994678"/>
                    <a:gd name="connsiteY4" fmla="*/ 0 h 883920"/>
                    <a:gd name="connsiteX0" fmla="*/ 7620 w 560338"/>
                    <a:gd name="connsiteY0" fmla="*/ 548640 h 883920"/>
                    <a:gd name="connsiteX1" fmla="*/ 438418 w 560338"/>
                    <a:gd name="connsiteY1" fmla="*/ 0 h 883920"/>
                    <a:gd name="connsiteX2" fmla="*/ 560338 w 560338"/>
                    <a:gd name="connsiteY2" fmla="*/ 68580 h 883920"/>
                    <a:gd name="connsiteX3" fmla="*/ 0 w 560338"/>
                    <a:gd name="connsiteY3" fmla="*/ 883920 h 883920"/>
                    <a:gd name="connsiteX4" fmla="*/ 7620 w 560338"/>
                    <a:gd name="connsiteY4" fmla="*/ 548640 h 883920"/>
                    <a:gd name="connsiteX0" fmla="*/ 18782 w 571500"/>
                    <a:gd name="connsiteY0" fmla="*/ 548640 h 883920"/>
                    <a:gd name="connsiteX1" fmla="*/ 449580 w 571500"/>
                    <a:gd name="connsiteY1" fmla="*/ 0 h 883920"/>
                    <a:gd name="connsiteX2" fmla="*/ 571500 w 571500"/>
                    <a:gd name="connsiteY2" fmla="*/ 68580 h 883920"/>
                    <a:gd name="connsiteX3" fmla="*/ 11162 w 571500"/>
                    <a:gd name="connsiteY3" fmla="*/ 883920 h 883920"/>
                    <a:gd name="connsiteX4" fmla="*/ 0 w 571500"/>
                    <a:gd name="connsiteY4" fmla="*/ 739140 h 883920"/>
                    <a:gd name="connsiteX5" fmla="*/ 18782 w 5715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0 w 800100"/>
                    <a:gd name="connsiteY4" fmla="*/ 472440 h 883920"/>
                    <a:gd name="connsiteX5" fmla="*/ 247382 w 8001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129540 w 800100"/>
                    <a:gd name="connsiteY4" fmla="*/ 678180 h 883920"/>
                    <a:gd name="connsiteX5" fmla="*/ 0 w 800100"/>
                    <a:gd name="connsiteY5" fmla="*/ 472440 h 883920"/>
                    <a:gd name="connsiteX6" fmla="*/ 247382 w 8001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31596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27024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23582 w 876300"/>
                    <a:gd name="connsiteY6" fmla="*/ 548640 h 914400"/>
                    <a:gd name="connsiteX0" fmla="*/ 308342 w 876300"/>
                    <a:gd name="connsiteY0" fmla="*/ 60198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08342 w 876300"/>
                    <a:gd name="connsiteY6" fmla="*/ 601980 h 914400"/>
                    <a:gd name="connsiteX0" fmla="*/ 308342 w 876300"/>
                    <a:gd name="connsiteY0" fmla="*/ 601980 h 876300"/>
                    <a:gd name="connsiteX1" fmla="*/ 754380 w 876300"/>
                    <a:gd name="connsiteY1" fmla="*/ 0 h 876300"/>
                    <a:gd name="connsiteX2" fmla="*/ 876300 w 876300"/>
                    <a:gd name="connsiteY2" fmla="*/ 68580 h 876300"/>
                    <a:gd name="connsiteX3" fmla="*/ 285482 w 876300"/>
                    <a:gd name="connsiteY3" fmla="*/ 876300 h 876300"/>
                    <a:gd name="connsiteX4" fmla="*/ 0 w 876300"/>
                    <a:gd name="connsiteY4" fmla="*/ 609600 h 876300"/>
                    <a:gd name="connsiteX5" fmla="*/ 76200 w 876300"/>
                    <a:gd name="connsiteY5" fmla="*/ 472440 h 876300"/>
                    <a:gd name="connsiteX6" fmla="*/ 308342 w 876300"/>
                    <a:gd name="connsiteY6" fmla="*/ 601980 h 876300"/>
                    <a:gd name="connsiteX0" fmla="*/ 331202 w 899160"/>
                    <a:gd name="connsiteY0" fmla="*/ 60198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31202 w 899160"/>
                    <a:gd name="connsiteY6" fmla="*/ 601980 h 876300"/>
                    <a:gd name="connsiteX0" fmla="*/ 323582 w 899160"/>
                    <a:gd name="connsiteY0" fmla="*/ 65532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23582 w 899160"/>
                    <a:gd name="connsiteY6" fmla="*/ 655320 h 876300"/>
                    <a:gd name="connsiteX0" fmla="*/ 323582 w 899160"/>
                    <a:gd name="connsiteY0" fmla="*/ 67056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70560 h 891540"/>
                    <a:gd name="connsiteX0" fmla="*/ 323582 w 899160"/>
                    <a:gd name="connsiteY0" fmla="*/ 64008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40080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283538 w 899160"/>
                    <a:gd name="connsiteY6" fmla="*/ 700339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67025 w 899160"/>
                    <a:gd name="connsiteY5" fmla="*/ 514462 h 891540"/>
                    <a:gd name="connsiteX6" fmla="*/ 283538 w 899160"/>
                    <a:gd name="connsiteY6" fmla="*/ 700339 h 891540"/>
                    <a:gd name="connsiteX0" fmla="*/ 283538 w 891151"/>
                    <a:gd name="connsiteY0" fmla="*/ 700339 h 891540"/>
                    <a:gd name="connsiteX1" fmla="*/ 746760 w 891151"/>
                    <a:gd name="connsiteY1" fmla="*/ 0 h 891540"/>
                    <a:gd name="connsiteX2" fmla="*/ 891151 w 891151"/>
                    <a:gd name="connsiteY2" fmla="*/ 150774 h 891540"/>
                    <a:gd name="connsiteX3" fmla="*/ 308342 w 891151"/>
                    <a:gd name="connsiteY3" fmla="*/ 891540 h 891540"/>
                    <a:gd name="connsiteX4" fmla="*/ 0 w 891151"/>
                    <a:gd name="connsiteY4" fmla="*/ 647700 h 891540"/>
                    <a:gd name="connsiteX5" fmla="*/ 67025 w 891151"/>
                    <a:gd name="connsiteY5" fmla="*/ 514462 h 891540"/>
                    <a:gd name="connsiteX6" fmla="*/ 283538 w 891151"/>
                    <a:gd name="connsiteY6" fmla="*/ 700339 h 891540"/>
                    <a:gd name="connsiteX0" fmla="*/ 283538 w 891151"/>
                    <a:gd name="connsiteY0" fmla="*/ 640080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83538 w 891151"/>
                    <a:gd name="connsiteY6" fmla="*/ 640080 h 831281"/>
                    <a:gd name="connsiteX0" fmla="*/ 275530 w 891151"/>
                    <a:gd name="connsiteY0" fmla="*/ 599908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75530 w 891151"/>
                    <a:gd name="connsiteY6" fmla="*/ 599908 h 831281"/>
                    <a:gd name="connsiteX0" fmla="*/ 307565 w 923186"/>
                    <a:gd name="connsiteY0" fmla="*/ 599908 h 831281"/>
                    <a:gd name="connsiteX1" fmla="*/ 762778 w 923186"/>
                    <a:gd name="connsiteY1" fmla="*/ 0 h 831281"/>
                    <a:gd name="connsiteX2" fmla="*/ 923186 w 923186"/>
                    <a:gd name="connsiteY2" fmla="*/ 90515 h 831281"/>
                    <a:gd name="connsiteX3" fmla="*/ 340377 w 923186"/>
                    <a:gd name="connsiteY3" fmla="*/ 831281 h 831281"/>
                    <a:gd name="connsiteX4" fmla="*/ 0 w 923186"/>
                    <a:gd name="connsiteY4" fmla="*/ 620918 h 831281"/>
                    <a:gd name="connsiteX5" fmla="*/ 99060 w 923186"/>
                    <a:gd name="connsiteY5" fmla="*/ 454203 h 831281"/>
                    <a:gd name="connsiteX6" fmla="*/ 307565 w 923186"/>
                    <a:gd name="connsiteY6" fmla="*/ 599908 h 831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3186" h="831281">
                      <a:moveTo>
                        <a:pt x="307565" y="599908"/>
                      </a:moveTo>
                      <a:lnTo>
                        <a:pt x="762778" y="0"/>
                      </a:lnTo>
                      <a:lnTo>
                        <a:pt x="923186" y="90515"/>
                      </a:lnTo>
                      <a:lnTo>
                        <a:pt x="340377" y="831281"/>
                      </a:lnTo>
                      <a:lnTo>
                        <a:pt x="0" y="620918"/>
                      </a:lnTo>
                      <a:lnTo>
                        <a:pt x="99060" y="454203"/>
                      </a:lnTo>
                      <a:lnTo>
                        <a:pt x="307565" y="5999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531" name="Group 530"/>
              <p:cNvGrpSpPr/>
              <p:nvPr/>
            </p:nvGrpSpPr>
            <p:grpSpPr>
              <a:xfrm>
                <a:off x="4060893" y="2430780"/>
                <a:ext cx="1403798" cy="430745"/>
                <a:chOff x="4043965" y="2430780"/>
                <a:chExt cx="1403798" cy="430745"/>
              </a:xfrm>
              <a:grpFill/>
            </p:grpSpPr>
            <p:sp>
              <p:nvSpPr>
                <p:cNvPr id="538" name="Rectangle 537"/>
                <p:cNvSpPr/>
                <p:nvPr/>
              </p:nvSpPr>
              <p:spPr>
                <a:xfrm>
                  <a:off x="4043966" y="243078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39" name="Rectangle 538"/>
                <p:cNvSpPr/>
                <p:nvPr/>
              </p:nvSpPr>
              <p:spPr>
                <a:xfrm>
                  <a:off x="4043965" y="271653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532" name="Group 531"/>
              <p:cNvGrpSpPr/>
              <p:nvPr/>
            </p:nvGrpSpPr>
            <p:grpSpPr>
              <a:xfrm>
                <a:off x="4060893" y="3771968"/>
                <a:ext cx="1403798" cy="430745"/>
                <a:chOff x="4043965" y="2430780"/>
                <a:chExt cx="1403798" cy="430745"/>
              </a:xfrm>
              <a:grpFill/>
            </p:grpSpPr>
            <p:sp>
              <p:nvSpPr>
                <p:cNvPr id="536" name="Rectangle 535"/>
                <p:cNvSpPr/>
                <p:nvPr/>
              </p:nvSpPr>
              <p:spPr>
                <a:xfrm>
                  <a:off x="4043966" y="243078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37" name="Rectangle 536"/>
                <p:cNvSpPr/>
                <p:nvPr/>
              </p:nvSpPr>
              <p:spPr>
                <a:xfrm>
                  <a:off x="4043965" y="271653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533" name="Group 532"/>
              <p:cNvGrpSpPr/>
              <p:nvPr/>
            </p:nvGrpSpPr>
            <p:grpSpPr>
              <a:xfrm>
                <a:off x="4060893" y="5113157"/>
                <a:ext cx="1403798" cy="430745"/>
                <a:chOff x="4043965" y="2430780"/>
                <a:chExt cx="1403798" cy="430745"/>
              </a:xfrm>
              <a:grpFill/>
            </p:grpSpPr>
            <p:sp>
              <p:nvSpPr>
                <p:cNvPr id="534" name="Rectangle 533"/>
                <p:cNvSpPr/>
                <p:nvPr/>
              </p:nvSpPr>
              <p:spPr>
                <a:xfrm>
                  <a:off x="4043966" y="243078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35" name="Rectangle 534"/>
                <p:cNvSpPr/>
                <p:nvPr/>
              </p:nvSpPr>
              <p:spPr>
                <a:xfrm>
                  <a:off x="4043965" y="271653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</p:grpSp>
        <p:grpSp>
          <p:nvGrpSpPr>
            <p:cNvPr id="519" name="Group 518"/>
            <p:cNvGrpSpPr/>
            <p:nvPr/>
          </p:nvGrpSpPr>
          <p:grpSpPr>
            <a:xfrm rot="21219949">
              <a:off x="4596429" y="4634545"/>
              <a:ext cx="421721" cy="387807"/>
              <a:chOff x="7862023" y="5744193"/>
              <a:chExt cx="561310" cy="516172"/>
            </a:xfrm>
            <a:grpFill/>
          </p:grpSpPr>
          <p:sp>
            <p:nvSpPr>
              <p:cNvPr id="520" name="Round Same Side Corner Rectangle 519"/>
              <p:cNvSpPr/>
              <p:nvPr/>
            </p:nvSpPr>
            <p:spPr>
              <a:xfrm rot="2819098">
                <a:off x="8360133" y="5766821"/>
                <a:ext cx="85827" cy="4057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21" name="Rectangle 87"/>
              <p:cNvSpPr/>
              <p:nvPr/>
            </p:nvSpPr>
            <p:spPr>
              <a:xfrm rot="18993470">
                <a:off x="8258931" y="5801083"/>
                <a:ext cx="138649" cy="102307"/>
              </a:xfrm>
              <a:custGeom>
                <a:avLst/>
                <a:gdLst>
                  <a:gd name="connsiteX0" fmla="*/ 0 w 1067195"/>
                  <a:gd name="connsiteY0" fmla="*/ 0 h 767452"/>
                  <a:gd name="connsiteX1" fmla="*/ 1067195 w 1067195"/>
                  <a:gd name="connsiteY1" fmla="*/ 0 h 767452"/>
                  <a:gd name="connsiteX2" fmla="*/ 1067195 w 1067195"/>
                  <a:gd name="connsiteY2" fmla="*/ 767452 h 767452"/>
                  <a:gd name="connsiteX3" fmla="*/ 0 w 1067195"/>
                  <a:gd name="connsiteY3" fmla="*/ 767452 h 767452"/>
                  <a:gd name="connsiteX4" fmla="*/ 0 w 1067195"/>
                  <a:gd name="connsiteY4" fmla="*/ 0 h 767452"/>
                  <a:gd name="connsiteX0" fmla="*/ 0 w 1077007"/>
                  <a:gd name="connsiteY0" fmla="*/ 0 h 767452"/>
                  <a:gd name="connsiteX1" fmla="*/ 1077007 w 1077007"/>
                  <a:gd name="connsiteY1" fmla="*/ 4141 h 767452"/>
                  <a:gd name="connsiteX2" fmla="*/ 1067195 w 1077007"/>
                  <a:gd name="connsiteY2" fmla="*/ 767452 h 767452"/>
                  <a:gd name="connsiteX3" fmla="*/ 0 w 1077007"/>
                  <a:gd name="connsiteY3" fmla="*/ 767452 h 767452"/>
                  <a:gd name="connsiteX4" fmla="*/ 0 w 1077007"/>
                  <a:gd name="connsiteY4" fmla="*/ 0 h 767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77007" h="767452">
                    <a:moveTo>
                      <a:pt x="0" y="0"/>
                    </a:moveTo>
                    <a:lnTo>
                      <a:pt x="1077007" y="4141"/>
                    </a:lnTo>
                    <a:lnTo>
                      <a:pt x="1067195" y="767452"/>
                    </a:lnTo>
                    <a:lnTo>
                      <a:pt x="0" y="76745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22" name="Rectangle 88"/>
              <p:cNvSpPr/>
              <p:nvPr/>
            </p:nvSpPr>
            <p:spPr>
              <a:xfrm rot="18964861">
                <a:off x="8385144" y="5858800"/>
                <a:ext cx="34828" cy="40222"/>
              </a:xfrm>
              <a:custGeom>
                <a:avLst/>
                <a:gdLst>
                  <a:gd name="connsiteX0" fmla="*/ 0 w 270532"/>
                  <a:gd name="connsiteY0" fmla="*/ 0 h 333375"/>
                  <a:gd name="connsiteX1" fmla="*/ 270532 w 270532"/>
                  <a:gd name="connsiteY1" fmla="*/ 0 h 333375"/>
                  <a:gd name="connsiteX2" fmla="*/ 270532 w 270532"/>
                  <a:gd name="connsiteY2" fmla="*/ 333375 h 333375"/>
                  <a:gd name="connsiteX3" fmla="*/ 0 w 270532"/>
                  <a:gd name="connsiteY3" fmla="*/ 333375 h 333375"/>
                  <a:gd name="connsiteX4" fmla="*/ 0 w 270532"/>
                  <a:gd name="connsiteY4" fmla="*/ 0 h 333375"/>
                  <a:gd name="connsiteX0" fmla="*/ 0 w 270532"/>
                  <a:gd name="connsiteY0" fmla="*/ 0 h 333375"/>
                  <a:gd name="connsiteX1" fmla="*/ 270532 w 270532"/>
                  <a:gd name="connsiteY1" fmla="*/ 0 h 333375"/>
                  <a:gd name="connsiteX2" fmla="*/ 256354 w 270532"/>
                  <a:gd name="connsiteY2" fmla="*/ 301734 h 333375"/>
                  <a:gd name="connsiteX3" fmla="*/ 0 w 270532"/>
                  <a:gd name="connsiteY3" fmla="*/ 333375 h 333375"/>
                  <a:gd name="connsiteX4" fmla="*/ 0 w 270532"/>
                  <a:gd name="connsiteY4" fmla="*/ 0 h 333375"/>
                  <a:gd name="connsiteX0" fmla="*/ 0 w 270532"/>
                  <a:gd name="connsiteY0" fmla="*/ 0 h 301734"/>
                  <a:gd name="connsiteX1" fmla="*/ 270532 w 270532"/>
                  <a:gd name="connsiteY1" fmla="*/ 0 h 301734"/>
                  <a:gd name="connsiteX2" fmla="*/ 256354 w 270532"/>
                  <a:gd name="connsiteY2" fmla="*/ 301734 h 301734"/>
                  <a:gd name="connsiteX3" fmla="*/ 21107 w 270532"/>
                  <a:gd name="connsiteY3" fmla="*/ 284491 h 301734"/>
                  <a:gd name="connsiteX4" fmla="*/ 0 w 270532"/>
                  <a:gd name="connsiteY4" fmla="*/ 0 h 301734"/>
                  <a:gd name="connsiteX0" fmla="*/ 0 w 270532"/>
                  <a:gd name="connsiteY0" fmla="*/ 0 h 301734"/>
                  <a:gd name="connsiteX1" fmla="*/ 270532 w 270532"/>
                  <a:gd name="connsiteY1" fmla="*/ 0 h 301734"/>
                  <a:gd name="connsiteX2" fmla="*/ 256354 w 270532"/>
                  <a:gd name="connsiteY2" fmla="*/ 301734 h 301734"/>
                  <a:gd name="connsiteX3" fmla="*/ 18040 w 270532"/>
                  <a:gd name="connsiteY3" fmla="*/ 280847 h 301734"/>
                  <a:gd name="connsiteX4" fmla="*/ 0 w 270532"/>
                  <a:gd name="connsiteY4" fmla="*/ 0 h 301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532" h="301734">
                    <a:moveTo>
                      <a:pt x="0" y="0"/>
                    </a:moveTo>
                    <a:lnTo>
                      <a:pt x="270532" y="0"/>
                    </a:lnTo>
                    <a:lnTo>
                      <a:pt x="256354" y="301734"/>
                    </a:lnTo>
                    <a:lnTo>
                      <a:pt x="18040" y="28084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23" name="Rectangle 89"/>
              <p:cNvSpPr/>
              <p:nvPr/>
            </p:nvSpPr>
            <p:spPr>
              <a:xfrm rot="3060000">
                <a:off x="8298191" y="5848534"/>
                <a:ext cx="23943" cy="220137"/>
              </a:xfrm>
              <a:custGeom>
                <a:avLst/>
                <a:gdLst>
                  <a:gd name="connsiteX0" fmla="*/ 0 w 111898"/>
                  <a:gd name="connsiteY0" fmla="*/ 0 h 1644627"/>
                  <a:gd name="connsiteX1" fmla="*/ 111898 w 111898"/>
                  <a:gd name="connsiteY1" fmla="*/ 0 h 1644627"/>
                  <a:gd name="connsiteX2" fmla="*/ 111898 w 111898"/>
                  <a:gd name="connsiteY2" fmla="*/ 1644627 h 1644627"/>
                  <a:gd name="connsiteX3" fmla="*/ 0 w 111898"/>
                  <a:gd name="connsiteY3" fmla="*/ 1644627 h 1644627"/>
                  <a:gd name="connsiteX4" fmla="*/ 0 w 111898"/>
                  <a:gd name="connsiteY4" fmla="*/ 0 h 1644627"/>
                  <a:gd name="connsiteX0" fmla="*/ 0 w 148942"/>
                  <a:gd name="connsiteY0" fmla="*/ 23574 h 1668201"/>
                  <a:gd name="connsiteX1" fmla="*/ 148942 w 148942"/>
                  <a:gd name="connsiteY1" fmla="*/ 0 h 1668201"/>
                  <a:gd name="connsiteX2" fmla="*/ 111898 w 148942"/>
                  <a:gd name="connsiteY2" fmla="*/ 1668201 h 1668201"/>
                  <a:gd name="connsiteX3" fmla="*/ 0 w 148942"/>
                  <a:gd name="connsiteY3" fmla="*/ 1668201 h 1668201"/>
                  <a:gd name="connsiteX4" fmla="*/ 0 w 148942"/>
                  <a:gd name="connsiteY4" fmla="*/ 23574 h 1668201"/>
                  <a:gd name="connsiteX0" fmla="*/ 0 w 185985"/>
                  <a:gd name="connsiteY0" fmla="*/ 26941 h 1668201"/>
                  <a:gd name="connsiteX1" fmla="*/ 185985 w 185985"/>
                  <a:gd name="connsiteY1" fmla="*/ 0 h 1668201"/>
                  <a:gd name="connsiteX2" fmla="*/ 148941 w 185985"/>
                  <a:gd name="connsiteY2" fmla="*/ 1668201 h 1668201"/>
                  <a:gd name="connsiteX3" fmla="*/ 37043 w 185985"/>
                  <a:gd name="connsiteY3" fmla="*/ 1668201 h 1668201"/>
                  <a:gd name="connsiteX4" fmla="*/ 0 w 185985"/>
                  <a:gd name="connsiteY4" fmla="*/ 26941 h 1668201"/>
                  <a:gd name="connsiteX0" fmla="*/ 0 w 185985"/>
                  <a:gd name="connsiteY0" fmla="*/ 26941 h 1668201"/>
                  <a:gd name="connsiteX1" fmla="*/ 185985 w 185985"/>
                  <a:gd name="connsiteY1" fmla="*/ 0 h 1668201"/>
                  <a:gd name="connsiteX2" fmla="*/ 145574 w 185985"/>
                  <a:gd name="connsiteY2" fmla="*/ 1631158 h 1668201"/>
                  <a:gd name="connsiteX3" fmla="*/ 37043 w 185985"/>
                  <a:gd name="connsiteY3" fmla="*/ 1668201 h 1668201"/>
                  <a:gd name="connsiteX4" fmla="*/ 0 w 185985"/>
                  <a:gd name="connsiteY4" fmla="*/ 26941 h 1668201"/>
                  <a:gd name="connsiteX0" fmla="*/ 0 w 185985"/>
                  <a:gd name="connsiteY0" fmla="*/ 26941 h 1651362"/>
                  <a:gd name="connsiteX1" fmla="*/ 185985 w 185985"/>
                  <a:gd name="connsiteY1" fmla="*/ 0 h 1651362"/>
                  <a:gd name="connsiteX2" fmla="*/ 145574 w 185985"/>
                  <a:gd name="connsiteY2" fmla="*/ 1631158 h 1651362"/>
                  <a:gd name="connsiteX3" fmla="*/ 67352 w 185985"/>
                  <a:gd name="connsiteY3" fmla="*/ 1651362 h 1651362"/>
                  <a:gd name="connsiteX4" fmla="*/ 0 w 185985"/>
                  <a:gd name="connsiteY4" fmla="*/ 26941 h 1651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985" h="1651362">
                    <a:moveTo>
                      <a:pt x="0" y="26941"/>
                    </a:moveTo>
                    <a:lnTo>
                      <a:pt x="185985" y="0"/>
                    </a:lnTo>
                    <a:lnTo>
                      <a:pt x="145574" y="1631158"/>
                    </a:lnTo>
                    <a:lnTo>
                      <a:pt x="67352" y="1651362"/>
                    </a:lnTo>
                    <a:lnTo>
                      <a:pt x="0" y="26941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24" name="Rectangle 109"/>
              <p:cNvSpPr/>
              <p:nvPr/>
            </p:nvSpPr>
            <p:spPr>
              <a:xfrm rot="19015320">
                <a:off x="7883921" y="6003368"/>
                <a:ext cx="441960" cy="100976"/>
              </a:xfrm>
              <a:custGeom>
                <a:avLst/>
                <a:gdLst>
                  <a:gd name="connsiteX0" fmla="*/ 0 w 3429000"/>
                  <a:gd name="connsiteY0" fmla="*/ 0 h 772673"/>
                  <a:gd name="connsiteX1" fmla="*/ 3429000 w 3429000"/>
                  <a:gd name="connsiteY1" fmla="*/ 0 h 772673"/>
                  <a:gd name="connsiteX2" fmla="*/ 3429000 w 3429000"/>
                  <a:gd name="connsiteY2" fmla="*/ 772673 h 772673"/>
                  <a:gd name="connsiteX3" fmla="*/ 0 w 3429000"/>
                  <a:gd name="connsiteY3" fmla="*/ 772673 h 772673"/>
                  <a:gd name="connsiteX4" fmla="*/ 0 w 3429000"/>
                  <a:gd name="connsiteY4" fmla="*/ 0 h 772673"/>
                  <a:gd name="connsiteX0" fmla="*/ 18453 w 3447453"/>
                  <a:gd name="connsiteY0" fmla="*/ 0 h 772673"/>
                  <a:gd name="connsiteX1" fmla="*/ 3447453 w 3447453"/>
                  <a:gd name="connsiteY1" fmla="*/ 0 h 772673"/>
                  <a:gd name="connsiteX2" fmla="*/ 3447453 w 3447453"/>
                  <a:gd name="connsiteY2" fmla="*/ 772673 h 772673"/>
                  <a:gd name="connsiteX3" fmla="*/ 0 w 3447453"/>
                  <a:gd name="connsiteY3" fmla="*/ 576890 h 772673"/>
                  <a:gd name="connsiteX4" fmla="*/ 18453 w 3447453"/>
                  <a:gd name="connsiteY4" fmla="*/ 0 h 772673"/>
                  <a:gd name="connsiteX0" fmla="*/ 28456 w 3447453"/>
                  <a:gd name="connsiteY0" fmla="*/ 162768 h 772673"/>
                  <a:gd name="connsiteX1" fmla="*/ 3447453 w 3447453"/>
                  <a:gd name="connsiteY1" fmla="*/ 0 h 772673"/>
                  <a:gd name="connsiteX2" fmla="*/ 3447453 w 3447453"/>
                  <a:gd name="connsiteY2" fmla="*/ 772673 h 772673"/>
                  <a:gd name="connsiteX3" fmla="*/ 0 w 3447453"/>
                  <a:gd name="connsiteY3" fmla="*/ 576890 h 772673"/>
                  <a:gd name="connsiteX4" fmla="*/ 28456 w 3447453"/>
                  <a:gd name="connsiteY4" fmla="*/ 162768 h 772673"/>
                  <a:gd name="connsiteX0" fmla="*/ 28456 w 3447453"/>
                  <a:gd name="connsiteY0" fmla="*/ 161327 h 771232"/>
                  <a:gd name="connsiteX1" fmla="*/ 3436096 w 3447453"/>
                  <a:gd name="connsiteY1" fmla="*/ 0 h 771232"/>
                  <a:gd name="connsiteX2" fmla="*/ 3447453 w 3447453"/>
                  <a:gd name="connsiteY2" fmla="*/ 771232 h 771232"/>
                  <a:gd name="connsiteX3" fmla="*/ 0 w 3447453"/>
                  <a:gd name="connsiteY3" fmla="*/ 575449 h 771232"/>
                  <a:gd name="connsiteX4" fmla="*/ 28456 w 3447453"/>
                  <a:gd name="connsiteY4" fmla="*/ 161327 h 771232"/>
                  <a:gd name="connsiteX0" fmla="*/ 28456 w 3443932"/>
                  <a:gd name="connsiteY0" fmla="*/ 161327 h 757477"/>
                  <a:gd name="connsiteX1" fmla="*/ 3436096 w 3443932"/>
                  <a:gd name="connsiteY1" fmla="*/ 0 h 757477"/>
                  <a:gd name="connsiteX2" fmla="*/ 3443932 w 3443932"/>
                  <a:gd name="connsiteY2" fmla="*/ 757477 h 757477"/>
                  <a:gd name="connsiteX3" fmla="*/ 0 w 3443932"/>
                  <a:gd name="connsiteY3" fmla="*/ 575449 h 757477"/>
                  <a:gd name="connsiteX4" fmla="*/ 28456 w 3443932"/>
                  <a:gd name="connsiteY4" fmla="*/ 161327 h 757477"/>
                  <a:gd name="connsiteX0" fmla="*/ 22217 w 3443932"/>
                  <a:gd name="connsiteY0" fmla="*/ 154130 h 757477"/>
                  <a:gd name="connsiteX1" fmla="*/ 3436096 w 3443932"/>
                  <a:gd name="connsiteY1" fmla="*/ 0 h 757477"/>
                  <a:gd name="connsiteX2" fmla="*/ 3443932 w 3443932"/>
                  <a:gd name="connsiteY2" fmla="*/ 757477 h 757477"/>
                  <a:gd name="connsiteX3" fmla="*/ 0 w 3443932"/>
                  <a:gd name="connsiteY3" fmla="*/ 575449 h 757477"/>
                  <a:gd name="connsiteX4" fmla="*/ 22217 w 3443932"/>
                  <a:gd name="connsiteY4" fmla="*/ 154130 h 757477"/>
                  <a:gd name="connsiteX0" fmla="*/ 10222 w 3431937"/>
                  <a:gd name="connsiteY0" fmla="*/ 154130 h 757477"/>
                  <a:gd name="connsiteX1" fmla="*/ 3424101 w 3431937"/>
                  <a:gd name="connsiteY1" fmla="*/ 0 h 757477"/>
                  <a:gd name="connsiteX2" fmla="*/ 3431937 w 3431937"/>
                  <a:gd name="connsiteY2" fmla="*/ 757477 h 757477"/>
                  <a:gd name="connsiteX3" fmla="*/ 0 w 3431937"/>
                  <a:gd name="connsiteY3" fmla="*/ 565050 h 757477"/>
                  <a:gd name="connsiteX4" fmla="*/ 10222 w 3431937"/>
                  <a:gd name="connsiteY4" fmla="*/ 154130 h 757477"/>
                  <a:gd name="connsiteX0" fmla="*/ 0 w 3433071"/>
                  <a:gd name="connsiteY0" fmla="*/ 155571 h 757477"/>
                  <a:gd name="connsiteX1" fmla="*/ 3425235 w 3433071"/>
                  <a:gd name="connsiteY1" fmla="*/ 0 h 757477"/>
                  <a:gd name="connsiteX2" fmla="*/ 3433071 w 3433071"/>
                  <a:gd name="connsiteY2" fmla="*/ 757477 h 757477"/>
                  <a:gd name="connsiteX3" fmla="*/ 1134 w 3433071"/>
                  <a:gd name="connsiteY3" fmla="*/ 565050 h 757477"/>
                  <a:gd name="connsiteX4" fmla="*/ 0 w 3433071"/>
                  <a:gd name="connsiteY4" fmla="*/ 155571 h 757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33071" h="757477">
                    <a:moveTo>
                      <a:pt x="0" y="155571"/>
                    </a:moveTo>
                    <a:lnTo>
                      <a:pt x="3425235" y="0"/>
                    </a:lnTo>
                    <a:lnTo>
                      <a:pt x="3433071" y="757477"/>
                    </a:lnTo>
                    <a:lnTo>
                      <a:pt x="1134" y="565050"/>
                    </a:lnTo>
                    <a:lnTo>
                      <a:pt x="0" y="155571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525" name="Isosceles Triangle 110"/>
              <p:cNvSpPr/>
              <p:nvPr/>
            </p:nvSpPr>
            <p:spPr>
              <a:xfrm rot="13692272">
                <a:off x="7875737" y="6192469"/>
                <a:ext cx="54182" cy="81609"/>
              </a:xfrm>
              <a:custGeom>
                <a:avLst/>
                <a:gdLst>
                  <a:gd name="connsiteX0" fmla="*/ 0 w 405957"/>
                  <a:gd name="connsiteY0" fmla="*/ 609600 h 609600"/>
                  <a:gd name="connsiteX1" fmla="*/ 202979 w 405957"/>
                  <a:gd name="connsiteY1" fmla="*/ 0 h 609600"/>
                  <a:gd name="connsiteX2" fmla="*/ 405957 w 405957"/>
                  <a:gd name="connsiteY2" fmla="*/ 609600 h 609600"/>
                  <a:gd name="connsiteX3" fmla="*/ 0 w 405957"/>
                  <a:gd name="connsiteY3" fmla="*/ 609600 h 609600"/>
                  <a:gd name="connsiteX0" fmla="*/ 0 w 389754"/>
                  <a:gd name="connsiteY0" fmla="*/ 609600 h 630725"/>
                  <a:gd name="connsiteX1" fmla="*/ 202979 w 389754"/>
                  <a:gd name="connsiteY1" fmla="*/ 0 h 630725"/>
                  <a:gd name="connsiteX2" fmla="*/ 389754 w 389754"/>
                  <a:gd name="connsiteY2" fmla="*/ 630725 h 630725"/>
                  <a:gd name="connsiteX3" fmla="*/ 0 w 389754"/>
                  <a:gd name="connsiteY3" fmla="*/ 609600 h 630725"/>
                  <a:gd name="connsiteX0" fmla="*/ 0 w 406450"/>
                  <a:gd name="connsiteY0" fmla="*/ 640815 h 640815"/>
                  <a:gd name="connsiteX1" fmla="*/ 219675 w 406450"/>
                  <a:gd name="connsiteY1" fmla="*/ 0 h 640815"/>
                  <a:gd name="connsiteX2" fmla="*/ 406450 w 406450"/>
                  <a:gd name="connsiteY2" fmla="*/ 630725 h 640815"/>
                  <a:gd name="connsiteX3" fmla="*/ 0 w 406450"/>
                  <a:gd name="connsiteY3" fmla="*/ 640815 h 640815"/>
                  <a:gd name="connsiteX0" fmla="*/ 0 w 406450"/>
                  <a:gd name="connsiteY0" fmla="*/ 633759 h 633759"/>
                  <a:gd name="connsiteX1" fmla="*/ 226073 w 406450"/>
                  <a:gd name="connsiteY1" fmla="*/ 0 h 633759"/>
                  <a:gd name="connsiteX2" fmla="*/ 406450 w 406450"/>
                  <a:gd name="connsiteY2" fmla="*/ 623669 h 633759"/>
                  <a:gd name="connsiteX3" fmla="*/ 0 w 406450"/>
                  <a:gd name="connsiteY3" fmla="*/ 633759 h 633759"/>
                  <a:gd name="connsiteX0" fmla="*/ 0 w 406450"/>
                  <a:gd name="connsiteY0" fmla="*/ 633923 h 633923"/>
                  <a:gd name="connsiteX1" fmla="*/ 222709 w 406450"/>
                  <a:gd name="connsiteY1" fmla="*/ 0 h 633923"/>
                  <a:gd name="connsiteX2" fmla="*/ 406450 w 406450"/>
                  <a:gd name="connsiteY2" fmla="*/ 623833 h 633923"/>
                  <a:gd name="connsiteX3" fmla="*/ 0 w 406450"/>
                  <a:gd name="connsiteY3" fmla="*/ 633923 h 633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6450" h="633923">
                    <a:moveTo>
                      <a:pt x="0" y="633923"/>
                    </a:moveTo>
                    <a:lnTo>
                      <a:pt x="222709" y="0"/>
                    </a:lnTo>
                    <a:lnTo>
                      <a:pt x="406450" y="623833"/>
                    </a:lnTo>
                    <a:lnTo>
                      <a:pt x="0" y="63392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546" name="Group 545"/>
          <p:cNvGrpSpPr/>
          <p:nvPr/>
        </p:nvGrpSpPr>
        <p:grpSpPr>
          <a:xfrm>
            <a:off x="3361677" y="2398478"/>
            <a:ext cx="885003" cy="594224"/>
            <a:chOff x="1721801" y="2853410"/>
            <a:chExt cx="2101707" cy="1411170"/>
          </a:xfrm>
          <a:solidFill>
            <a:schemeClr val="bg1"/>
          </a:solidFill>
        </p:grpSpPr>
        <p:sp>
          <p:nvSpPr>
            <p:cNvPr id="547" name="Freeform 546"/>
            <p:cNvSpPr/>
            <p:nvPr/>
          </p:nvSpPr>
          <p:spPr>
            <a:xfrm rot="18045015">
              <a:off x="2182878" y="3021177"/>
              <a:ext cx="911102" cy="1297454"/>
            </a:xfrm>
            <a:custGeom>
              <a:avLst/>
              <a:gdLst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745536 w 911102"/>
                <a:gd name="connsiteY3" fmla="*/ 8370 h 1297454"/>
                <a:gd name="connsiteX4" fmla="*/ 824005 w 911102"/>
                <a:gd name="connsiteY4" fmla="*/ 195660 h 1297454"/>
                <a:gd name="connsiteX5" fmla="*/ 911102 w 911102"/>
                <a:gd name="connsiteY5" fmla="*/ 379668 h 1297454"/>
                <a:gd name="connsiteX6" fmla="*/ 907221 w 911102"/>
                <a:gd name="connsiteY6" fmla="*/ 382118 h 1297454"/>
                <a:gd name="connsiteX7" fmla="*/ 876660 w 911102"/>
                <a:gd name="connsiteY7" fmla="*/ 399710 h 1297454"/>
                <a:gd name="connsiteX8" fmla="*/ 490066 w 911102"/>
                <a:gd name="connsiteY8" fmla="*/ 297988 h 1297454"/>
                <a:gd name="connsiteX9" fmla="*/ 716083 w 911102"/>
                <a:gd name="connsiteY9" fmla="*/ 598865 h 1297454"/>
                <a:gd name="connsiteX10" fmla="*/ 777233 w 911102"/>
                <a:gd name="connsiteY10" fmla="*/ 615788 h 1297454"/>
                <a:gd name="connsiteX11" fmla="*/ 770153 w 911102"/>
                <a:gd name="connsiteY11" fmla="*/ 639019 h 1297454"/>
                <a:gd name="connsiteX12" fmla="*/ 753784 w 911102"/>
                <a:gd name="connsiteY12" fmla="*/ 665322 h 1297454"/>
                <a:gd name="connsiteX13" fmla="*/ 710088 w 911102"/>
                <a:gd name="connsiteY13" fmla="*/ 1078153 h 1297454"/>
                <a:gd name="connsiteX14" fmla="*/ 710501 w 911102"/>
                <a:gd name="connsiteY14" fmla="*/ 1086412 h 1297454"/>
                <a:gd name="connsiteX15" fmla="*/ 710454 w 911102"/>
                <a:gd name="connsiteY15" fmla="*/ 1087719 h 1297454"/>
                <a:gd name="connsiteX16" fmla="*/ 714164 w 911102"/>
                <a:gd name="connsiteY16" fmla="*/ 1201144 h 1297454"/>
                <a:gd name="connsiteX17" fmla="*/ 723293 w 911102"/>
                <a:gd name="connsiteY17" fmla="*/ 1277540 h 1297454"/>
                <a:gd name="connsiteX18" fmla="*/ 723407 w 911102"/>
                <a:gd name="connsiteY18" fmla="*/ 1278872 h 1297454"/>
                <a:gd name="connsiteX19" fmla="*/ 724025 w 911102"/>
                <a:gd name="connsiteY19" fmla="*/ 1283671 h 1297454"/>
                <a:gd name="connsiteX20" fmla="*/ 724876 w 911102"/>
                <a:gd name="connsiteY20" fmla="*/ 1290789 h 1297454"/>
                <a:gd name="connsiteX21" fmla="*/ 568039 w 911102"/>
                <a:gd name="connsiteY21" fmla="*/ 1230080 h 1297454"/>
                <a:gd name="connsiteX22" fmla="*/ 364868 w 911102"/>
                <a:gd name="connsiteY22" fmla="*/ 1184795 h 1297454"/>
                <a:gd name="connsiteX23" fmla="*/ 178811 w 911102"/>
                <a:gd name="connsiteY23" fmla="*/ 1123147 h 1297454"/>
                <a:gd name="connsiteX24" fmla="*/ 28040 w 911102"/>
                <a:gd name="connsiteY24" fmla="*/ 1036282 h 1297454"/>
                <a:gd name="connsiteX25" fmla="*/ 26077 w 911102"/>
                <a:gd name="connsiteY25" fmla="*/ 1027345 h 1297454"/>
                <a:gd name="connsiteX26" fmla="*/ 152633 w 911102"/>
                <a:gd name="connsiteY26" fmla="*/ 1035076 h 1297454"/>
                <a:gd name="connsiteX27" fmla="*/ 255738 w 911102"/>
                <a:gd name="connsiteY27" fmla="*/ 943843 h 1297454"/>
                <a:gd name="connsiteX28" fmla="*/ 231475 w 911102"/>
                <a:gd name="connsiteY28" fmla="*/ 873395 h 1297454"/>
                <a:gd name="connsiteX29" fmla="*/ 213502 w 911102"/>
                <a:gd name="connsiteY29" fmla="*/ 859613 h 1297454"/>
                <a:gd name="connsiteX30" fmla="*/ 216878 w 911102"/>
                <a:gd name="connsiteY30" fmla="*/ 859143 h 1297454"/>
                <a:gd name="connsiteX31" fmla="*/ 281693 w 911102"/>
                <a:gd name="connsiteY31" fmla="*/ 773235 h 1297454"/>
                <a:gd name="connsiteX32" fmla="*/ 227816 w 911102"/>
                <a:gd name="connsiteY32" fmla="*/ 680077 h 1297454"/>
                <a:gd name="connsiteX33" fmla="*/ 217008 w 911102"/>
                <a:gd name="connsiteY33" fmla="*/ 677199 h 1297454"/>
                <a:gd name="connsiteX34" fmla="*/ 226953 w 911102"/>
                <a:gd name="connsiteY34" fmla="*/ 675817 h 1297454"/>
                <a:gd name="connsiteX35" fmla="*/ 291768 w 911102"/>
                <a:gd name="connsiteY35" fmla="*/ 589909 h 1297454"/>
                <a:gd name="connsiteX36" fmla="*/ 237891 w 911102"/>
                <a:gd name="connsiteY36" fmla="*/ 496751 h 1297454"/>
                <a:gd name="connsiteX37" fmla="*/ 221568 w 911102"/>
                <a:gd name="connsiteY37" fmla="*/ 492404 h 1297454"/>
                <a:gd name="connsiteX38" fmla="*/ 249567 w 911102"/>
                <a:gd name="connsiteY38" fmla="*/ 475916 h 1297454"/>
                <a:gd name="connsiteX39" fmla="*/ 281129 w 911102"/>
                <a:gd name="connsiteY39" fmla="*/ 411193 h 1297454"/>
                <a:gd name="connsiteX40" fmla="*/ 281130 w 911102"/>
                <a:gd name="connsiteY40" fmla="*/ 411193 h 1297454"/>
                <a:gd name="connsiteX41" fmla="*/ 257681 w 911102"/>
                <a:gd name="connsiteY41" fmla="*/ 343108 h 1297454"/>
                <a:gd name="connsiteX42" fmla="*/ 192957 w 911102"/>
                <a:gd name="connsiteY42" fmla="*/ 311547 h 1297454"/>
                <a:gd name="connsiteX43" fmla="*/ 65424 w 911102"/>
                <a:gd name="connsiteY43" fmla="*/ 303757 h 1297454"/>
                <a:gd name="connsiteX44" fmla="*/ 41901 w 911102"/>
                <a:gd name="connsiteY44" fmla="*/ 309400 h 1297454"/>
                <a:gd name="connsiteX45" fmla="*/ 56412 w 911102"/>
                <a:gd name="connsiteY45" fmla="*/ 232310 h 1297454"/>
                <a:gd name="connsiteX46" fmla="*/ 127609 w 911102"/>
                <a:gd name="connsiteY46" fmla="*/ 8370 h 1297454"/>
                <a:gd name="connsiteX47" fmla="*/ 135979 w 911102"/>
                <a:gd name="connsiteY47" fmla="*/ 0 h 1297454"/>
                <a:gd name="connsiteX48" fmla="*/ 737166 w 911102"/>
                <a:gd name="connsiteY48" fmla="*/ 0 h 1297454"/>
                <a:gd name="connsiteX49" fmla="*/ 745536 w 911102"/>
                <a:gd name="connsiteY4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824005 w 911102"/>
                <a:gd name="connsiteY5" fmla="*/ 195660 h 1297454"/>
                <a:gd name="connsiteX6" fmla="*/ 911102 w 911102"/>
                <a:gd name="connsiteY6" fmla="*/ 379668 h 1297454"/>
                <a:gd name="connsiteX7" fmla="*/ 876660 w 911102"/>
                <a:gd name="connsiteY7" fmla="*/ 399710 h 1297454"/>
                <a:gd name="connsiteX8" fmla="*/ 490066 w 911102"/>
                <a:gd name="connsiteY8" fmla="*/ 297988 h 1297454"/>
                <a:gd name="connsiteX9" fmla="*/ 716083 w 911102"/>
                <a:gd name="connsiteY9" fmla="*/ 598865 h 1297454"/>
                <a:gd name="connsiteX10" fmla="*/ 777233 w 911102"/>
                <a:gd name="connsiteY10" fmla="*/ 615788 h 1297454"/>
                <a:gd name="connsiteX11" fmla="*/ 770153 w 911102"/>
                <a:gd name="connsiteY11" fmla="*/ 639019 h 1297454"/>
                <a:gd name="connsiteX12" fmla="*/ 753784 w 911102"/>
                <a:gd name="connsiteY12" fmla="*/ 665322 h 1297454"/>
                <a:gd name="connsiteX13" fmla="*/ 710088 w 911102"/>
                <a:gd name="connsiteY13" fmla="*/ 1078153 h 1297454"/>
                <a:gd name="connsiteX14" fmla="*/ 710501 w 911102"/>
                <a:gd name="connsiteY14" fmla="*/ 1086412 h 1297454"/>
                <a:gd name="connsiteX15" fmla="*/ 710454 w 911102"/>
                <a:gd name="connsiteY15" fmla="*/ 1087719 h 1297454"/>
                <a:gd name="connsiteX16" fmla="*/ 714164 w 911102"/>
                <a:gd name="connsiteY16" fmla="*/ 1201144 h 1297454"/>
                <a:gd name="connsiteX17" fmla="*/ 723293 w 911102"/>
                <a:gd name="connsiteY17" fmla="*/ 1277540 h 1297454"/>
                <a:gd name="connsiteX18" fmla="*/ 723407 w 911102"/>
                <a:gd name="connsiteY18" fmla="*/ 1278872 h 1297454"/>
                <a:gd name="connsiteX19" fmla="*/ 724025 w 911102"/>
                <a:gd name="connsiteY19" fmla="*/ 1283671 h 1297454"/>
                <a:gd name="connsiteX20" fmla="*/ 724876 w 911102"/>
                <a:gd name="connsiteY20" fmla="*/ 1290789 h 1297454"/>
                <a:gd name="connsiteX21" fmla="*/ 568039 w 911102"/>
                <a:gd name="connsiteY21" fmla="*/ 1230080 h 1297454"/>
                <a:gd name="connsiteX22" fmla="*/ 364868 w 911102"/>
                <a:gd name="connsiteY22" fmla="*/ 1184795 h 1297454"/>
                <a:gd name="connsiteX23" fmla="*/ 178811 w 911102"/>
                <a:gd name="connsiteY23" fmla="*/ 1123147 h 1297454"/>
                <a:gd name="connsiteX24" fmla="*/ 28040 w 911102"/>
                <a:gd name="connsiteY24" fmla="*/ 1036282 h 1297454"/>
                <a:gd name="connsiteX25" fmla="*/ 26077 w 911102"/>
                <a:gd name="connsiteY25" fmla="*/ 1027345 h 1297454"/>
                <a:gd name="connsiteX26" fmla="*/ 152633 w 911102"/>
                <a:gd name="connsiteY26" fmla="*/ 1035076 h 1297454"/>
                <a:gd name="connsiteX27" fmla="*/ 255738 w 911102"/>
                <a:gd name="connsiteY27" fmla="*/ 943843 h 1297454"/>
                <a:gd name="connsiteX28" fmla="*/ 231475 w 911102"/>
                <a:gd name="connsiteY28" fmla="*/ 873395 h 1297454"/>
                <a:gd name="connsiteX29" fmla="*/ 213502 w 911102"/>
                <a:gd name="connsiteY29" fmla="*/ 859613 h 1297454"/>
                <a:gd name="connsiteX30" fmla="*/ 216878 w 911102"/>
                <a:gd name="connsiteY30" fmla="*/ 859143 h 1297454"/>
                <a:gd name="connsiteX31" fmla="*/ 281693 w 911102"/>
                <a:gd name="connsiteY31" fmla="*/ 773235 h 1297454"/>
                <a:gd name="connsiteX32" fmla="*/ 227816 w 911102"/>
                <a:gd name="connsiteY32" fmla="*/ 680077 h 1297454"/>
                <a:gd name="connsiteX33" fmla="*/ 217008 w 911102"/>
                <a:gd name="connsiteY33" fmla="*/ 677199 h 1297454"/>
                <a:gd name="connsiteX34" fmla="*/ 226953 w 911102"/>
                <a:gd name="connsiteY34" fmla="*/ 675817 h 1297454"/>
                <a:gd name="connsiteX35" fmla="*/ 291768 w 911102"/>
                <a:gd name="connsiteY35" fmla="*/ 589909 h 1297454"/>
                <a:gd name="connsiteX36" fmla="*/ 237891 w 911102"/>
                <a:gd name="connsiteY36" fmla="*/ 496751 h 1297454"/>
                <a:gd name="connsiteX37" fmla="*/ 221568 w 911102"/>
                <a:gd name="connsiteY37" fmla="*/ 492404 h 1297454"/>
                <a:gd name="connsiteX38" fmla="*/ 249567 w 911102"/>
                <a:gd name="connsiteY38" fmla="*/ 475916 h 1297454"/>
                <a:gd name="connsiteX39" fmla="*/ 281129 w 911102"/>
                <a:gd name="connsiteY39" fmla="*/ 411193 h 1297454"/>
                <a:gd name="connsiteX40" fmla="*/ 281130 w 911102"/>
                <a:gd name="connsiteY40" fmla="*/ 411193 h 1297454"/>
                <a:gd name="connsiteX41" fmla="*/ 257681 w 911102"/>
                <a:gd name="connsiteY41" fmla="*/ 343108 h 1297454"/>
                <a:gd name="connsiteX42" fmla="*/ 192957 w 911102"/>
                <a:gd name="connsiteY42" fmla="*/ 311547 h 1297454"/>
                <a:gd name="connsiteX43" fmla="*/ 65424 w 911102"/>
                <a:gd name="connsiteY43" fmla="*/ 303757 h 1297454"/>
                <a:gd name="connsiteX44" fmla="*/ 41901 w 911102"/>
                <a:gd name="connsiteY44" fmla="*/ 309400 h 1297454"/>
                <a:gd name="connsiteX45" fmla="*/ 56412 w 911102"/>
                <a:gd name="connsiteY45" fmla="*/ 232310 h 1297454"/>
                <a:gd name="connsiteX46" fmla="*/ 127609 w 911102"/>
                <a:gd name="connsiteY46" fmla="*/ 8370 h 1297454"/>
                <a:gd name="connsiteX47" fmla="*/ 135979 w 911102"/>
                <a:gd name="connsiteY47" fmla="*/ 0 h 1297454"/>
                <a:gd name="connsiteX48" fmla="*/ 737166 w 911102"/>
                <a:gd name="connsiteY48" fmla="*/ 0 h 1297454"/>
                <a:gd name="connsiteX49" fmla="*/ 745536 w 911102"/>
                <a:gd name="connsiteY4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5765 w 911102"/>
                <a:gd name="connsiteY7" fmla="*/ 302911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53784 w 911102"/>
                <a:gd name="connsiteY10" fmla="*/ 665322 h 1297454"/>
                <a:gd name="connsiteX11" fmla="*/ 710088 w 911102"/>
                <a:gd name="connsiteY11" fmla="*/ 1078153 h 1297454"/>
                <a:gd name="connsiteX12" fmla="*/ 710501 w 911102"/>
                <a:gd name="connsiteY12" fmla="*/ 1086412 h 1297454"/>
                <a:gd name="connsiteX13" fmla="*/ 710454 w 911102"/>
                <a:gd name="connsiteY13" fmla="*/ 1087719 h 1297454"/>
                <a:gd name="connsiteX14" fmla="*/ 714164 w 911102"/>
                <a:gd name="connsiteY14" fmla="*/ 1201144 h 1297454"/>
                <a:gd name="connsiteX15" fmla="*/ 723293 w 911102"/>
                <a:gd name="connsiteY15" fmla="*/ 1277540 h 1297454"/>
                <a:gd name="connsiteX16" fmla="*/ 723407 w 911102"/>
                <a:gd name="connsiteY16" fmla="*/ 1278872 h 1297454"/>
                <a:gd name="connsiteX17" fmla="*/ 724025 w 911102"/>
                <a:gd name="connsiteY17" fmla="*/ 1283671 h 1297454"/>
                <a:gd name="connsiteX18" fmla="*/ 724876 w 911102"/>
                <a:gd name="connsiteY18" fmla="*/ 1290789 h 1297454"/>
                <a:gd name="connsiteX19" fmla="*/ 568039 w 911102"/>
                <a:gd name="connsiteY19" fmla="*/ 1230080 h 1297454"/>
                <a:gd name="connsiteX20" fmla="*/ 364868 w 911102"/>
                <a:gd name="connsiteY20" fmla="*/ 1184795 h 1297454"/>
                <a:gd name="connsiteX21" fmla="*/ 178811 w 911102"/>
                <a:gd name="connsiteY21" fmla="*/ 1123147 h 1297454"/>
                <a:gd name="connsiteX22" fmla="*/ 28040 w 911102"/>
                <a:gd name="connsiteY22" fmla="*/ 1036282 h 1297454"/>
                <a:gd name="connsiteX23" fmla="*/ 26077 w 911102"/>
                <a:gd name="connsiteY23" fmla="*/ 1027345 h 1297454"/>
                <a:gd name="connsiteX24" fmla="*/ 152633 w 911102"/>
                <a:gd name="connsiteY24" fmla="*/ 1035076 h 1297454"/>
                <a:gd name="connsiteX25" fmla="*/ 255738 w 911102"/>
                <a:gd name="connsiteY25" fmla="*/ 943843 h 1297454"/>
                <a:gd name="connsiteX26" fmla="*/ 231475 w 911102"/>
                <a:gd name="connsiteY26" fmla="*/ 873395 h 1297454"/>
                <a:gd name="connsiteX27" fmla="*/ 213502 w 911102"/>
                <a:gd name="connsiteY27" fmla="*/ 859613 h 1297454"/>
                <a:gd name="connsiteX28" fmla="*/ 216878 w 911102"/>
                <a:gd name="connsiteY28" fmla="*/ 859143 h 1297454"/>
                <a:gd name="connsiteX29" fmla="*/ 281693 w 911102"/>
                <a:gd name="connsiteY29" fmla="*/ 773235 h 1297454"/>
                <a:gd name="connsiteX30" fmla="*/ 227816 w 911102"/>
                <a:gd name="connsiteY30" fmla="*/ 680077 h 1297454"/>
                <a:gd name="connsiteX31" fmla="*/ 217008 w 911102"/>
                <a:gd name="connsiteY31" fmla="*/ 677199 h 1297454"/>
                <a:gd name="connsiteX32" fmla="*/ 226953 w 911102"/>
                <a:gd name="connsiteY32" fmla="*/ 675817 h 1297454"/>
                <a:gd name="connsiteX33" fmla="*/ 291768 w 911102"/>
                <a:gd name="connsiteY33" fmla="*/ 589909 h 1297454"/>
                <a:gd name="connsiteX34" fmla="*/ 237891 w 911102"/>
                <a:gd name="connsiteY34" fmla="*/ 496751 h 1297454"/>
                <a:gd name="connsiteX35" fmla="*/ 221568 w 911102"/>
                <a:gd name="connsiteY35" fmla="*/ 492404 h 1297454"/>
                <a:gd name="connsiteX36" fmla="*/ 249567 w 911102"/>
                <a:gd name="connsiteY36" fmla="*/ 475916 h 1297454"/>
                <a:gd name="connsiteX37" fmla="*/ 281129 w 911102"/>
                <a:gd name="connsiteY37" fmla="*/ 411193 h 1297454"/>
                <a:gd name="connsiteX38" fmla="*/ 281130 w 911102"/>
                <a:gd name="connsiteY38" fmla="*/ 411193 h 1297454"/>
                <a:gd name="connsiteX39" fmla="*/ 257681 w 911102"/>
                <a:gd name="connsiteY39" fmla="*/ 343108 h 1297454"/>
                <a:gd name="connsiteX40" fmla="*/ 192957 w 911102"/>
                <a:gd name="connsiteY40" fmla="*/ 311547 h 1297454"/>
                <a:gd name="connsiteX41" fmla="*/ 65424 w 911102"/>
                <a:gd name="connsiteY41" fmla="*/ 303757 h 1297454"/>
                <a:gd name="connsiteX42" fmla="*/ 41901 w 911102"/>
                <a:gd name="connsiteY42" fmla="*/ 309400 h 1297454"/>
                <a:gd name="connsiteX43" fmla="*/ 56412 w 911102"/>
                <a:gd name="connsiteY43" fmla="*/ 232310 h 1297454"/>
                <a:gd name="connsiteX44" fmla="*/ 127609 w 911102"/>
                <a:gd name="connsiteY44" fmla="*/ 8370 h 1297454"/>
                <a:gd name="connsiteX45" fmla="*/ 135979 w 911102"/>
                <a:gd name="connsiteY45" fmla="*/ 0 h 1297454"/>
                <a:gd name="connsiteX46" fmla="*/ 737166 w 911102"/>
                <a:gd name="connsiteY46" fmla="*/ 0 h 1297454"/>
                <a:gd name="connsiteX47" fmla="*/ 745536 w 911102"/>
                <a:gd name="connsiteY47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4164 w 911102"/>
                <a:gd name="connsiteY12" fmla="*/ 1201144 h 1297454"/>
                <a:gd name="connsiteX13" fmla="*/ 723293 w 911102"/>
                <a:gd name="connsiteY13" fmla="*/ 1277540 h 1297454"/>
                <a:gd name="connsiteX14" fmla="*/ 723407 w 911102"/>
                <a:gd name="connsiteY14" fmla="*/ 1278872 h 1297454"/>
                <a:gd name="connsiteX15" fmla="*/ 724025 w 911102"/>
                <a:gd name="connsiteY15" fmla="*/ 1283671 h 1297454"/>
                <a:gd name="connsiteX16" fmla="*/ 724876 w 911102"/>
                <a:gd name="connsiteY16" fmla="*/ 1290789 h 1297454"/>
                <a:gd name="connsiteX17" fmla="*/ 568039 w 911102"/>
                <a:gd name="connsiteY17" fmla="*/ 1230080 h 1297454"/>
                <a:gd name="connsiteX18" fmla="*/ 364868 w 911102"/>
                <a:gd name="connsiteY18" fmla="*/ 1184795 h 1297454"/>
                <a:gd name="connsiteX19" fmla="*/ 178811 w 911102"/>
                <a:gd name="connsiteY19" fmla="*/ 1123147 h 1297454"/>
                <a:gd name="connsiteX20" fmla="*/ 28040 w 911102"/>
                <a:gd name="connsiteY20" fmla="*/ 1036282 h 1297454"/>
                <a:gd name="connsiteX21" fmla="*/ 26077 w 911102"/>
                <a:gd name="connsiteY21" fmla="*/ 1027345 h 1297454"/>
                <a:gd name="connsiteX22" fmla="*/ 152633 w 911102"/>
                <a:gd name="connsiteY22" fmla="*/ 1035076 h 1297454"/>
                <a:gd name="connsiteX23" fmla="*/ 255738 w 911102"/>
                <a:gd name="connsiteY23" fmla="*/ 943843 h 1297454"/>
                <a:gd name="connsiteX24" fmla="*/ 231475 w 911102"/>
                <a:gd name="connsiteY24" fmla="*/ 873395 h 1297454"/>
                <a:gd name="connsiteX25" fmla="*/ 213502 w 911102"/>
                <a:gd name="connsiteY25" fmla="*/ 859613 h 1297454"/>
                <a:gd name="connsiteX26" fmla="*/ 216878 w 911102"/>
                <a:gd name="connsiteY26" fmla="*/ 859143 h 1297454"/>
                <a:gd name="connsiteX27" fmla="*/ 281693 w 911102"/>
                <a:gd name="connsiteY27" fmla="*/ 773235 h 1297454"/>
                <a:gd name="connsiteX28" fmla="*/ 227816 w 911102"/>
                <a:gd name="connsiteY28" fmla="*/ 680077 h 1297454"/>
                <a:gd name="connsiteX29" fmla="*/ 217008 w 911102"/>
                <a:gd name="connsiteY29" fmla="*/ 677199 h 1297454"/>
                <a:gd name="connsiteX30" fmla="*/ 226953 w 911102"/>
                <a:gd name="connsiteY30" fmla="*/ 675817 h 1297454"/>
                <a:gd name="connsiteX31" fmla="*/ 291768 w 911102"/>
                <a:gd name="connsiteY31" fmla="*/ 589909 h 1297454"/>
                <a:gd name="connsiteX32" fmla="*/ 237891 w 911102"/>
                <a:gd name="connsiteY32" fmla="*/ 496751 h 1297454"/>
                <a:gd name="connsiteX33" fmla="*/ 221568 w 911102"/>
                <a:gd name="connsiteY33" fmla="*/ 492404 h 1297454"/>
                <a:gd name="connsiteX34" fmla="*/ 249567 w 911102"/>
                <a:gd name="connsiteY34" fmla="*/ 475916 h 1297454"/>
                <a:gd name="connsiteX35" fmla="*/ 281129 w 911102"/>
                <a:gd name="connsiteY35" fmla="*/ 411193 h 1297454"/>
                <a:gd name="connsiteX36" fmla="*/ 281130 w 911102"/>
                <a:gd name="connsiteY36" fmla="*/ 411193 h 1297454"/>
                <a:gd name="connsiteX37" fmla="*/ 257681 w 911102"/>
                <a:gd name="connsiteY37" fmla="*/ 343108 h 1297454"/>
                <a:gd name="connsiteX38" fmla="*/ 192957 w 911102"/>
                <a:gd name="connsiteY38" fmla="*/ 311547 h 1297454"/>
                <a:gd name="connsiteX39" fmla="*/ 65424 w 911102"/>
                <a:gd name="connsiteY39" fmla="*/ 303757 h 1297454"/>
                <a:gd name="connsiteX40" fmla="*/ 41901 w 911102"/>
                <a:gd name="connsiteY40" fmla="*/ 309400 h 1297454"/>
                <a:gd name="connsiteX41" fmla="*/ 56412 w 911102"/>
                <a:gd name="connsiteY41" fmla="*/ 232310 h 1297454"/>
                <a:gd name="connsiteX42" fmla="*/ 127609 w 911102"/>
                <a:gd name="connsiteY42" fmla="*/ 8370 h 1297454"/>
                <a:gd name="connsiteX43" fmla="*/ 135979 w 911102"/>
                <a:gd name="connsiteY43" fmla="*/ 0 h 1297454"/>
                <a:gd name="connsiteX44" fmla="*/ 737166 w 911102"/>
                <a:gd name="connsiteY44" fmla="*/ 0 h 1297454"/>
                <a:gd name="connsiteX45" fmla="*/ 745536 w 911102"/>
                <a:gd name="connsiteY45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4164 w 911102"/>
                <a:gd name="connsiteY11" fmla="*/ 1201144 h 1297454"/>
                <a:gd name="connsiteX12" fmla="*/ 723293 w 911102"/>
                <a:gd name="connsiteY12" fmla="*/ 1277540 h 1297454"/>
                <a:gd name="connsiteX13" fmla="*/ 723407 w 911102"/>
                <a:gd name="connsiteY13" fmla="*/ 1278872 h 1297454"/>
                <a:gd name="connsiteX14" fmla="*/ 724025 w 911102"/>
                <a:gd name="connsiteY14" fmla="*/ 1283671 h 1297454"/>
                <a:gd name="connsiteX15" fmla="*/ 724876 w 911102"/>
                <a:gd name="connsiteY15" fmla="*/ 1290789 h 1297454"/>
                <a:gd name="connsiteX16" fmla="*/ 568039 w 911102"/>
                <a:gd name="connsiteY16" fmla="*/ 1230080 h 1297454"/>
                <a:gd name="connsiteX17" fmla="*/ 364868 w 911102"/>
                <a:gd name="connsiteY17" fmla="*/ 1184795 h 1297454"/>
                <a:gd name="connsiteX18" fmla="*/ 178811 w 911102"/>
                <a:gd name="connsiteY18" fmla="*/ 1123147 h 1297454"/>
                <a:gd name="connsiteX19" fmla="*/ 28040 w 911102"/>
                <a:gd name="connsiteY19" fmla="*/ 1036282 h 1297454"/>
                <a:gd name="connsiteX20" fmla="*/ 26077 w 911102"/>
                <a:gd name="connsiteY20" fmla="*/ 1027345 h 1297454"/>
                <a:gd name="connsiteX21" fmla="*/ 152633 w 911102"/>
                <a:gd name="connsiteY21" fmla="*/ 1035076 h 1297454"/>
                <a:gd name="connsiteX22" fmla="*/ 255738 w 911102"/>
                <a:gd name="connsiteY22" fmla="*/ 943843 h 1297454"/>
                <a:gd name="connsiteX23" fmla="*/ 231475 w 911102"/>
                <a:gd name="connsiteY23" fmla="*/ 873395 h 1297454"/>
                <a:gd name="connsiteX24" fmla="*/ 213502 w 911102"/>
                <a:gd name="connsiteY24" fmla="*/ 859613 h 1297454"/>
                <a:gd name="connsiteX25" fmla="*/ 216878 w 911102"/>
                <a:gd name="connsiteY25" fmla="*/ 859143 h 1297454"/>
                <a:gd name="connsiteX26" fmla="*/ 281693 w 911102"/>
                <a:gd name="connsiteY26" fmla="*/ 773235 h 1297454"/>
                <a:gd name="connsiteX27" fmla="*/ 227816 w 911102"/>
                <a:gd name="connsiteY27" fmla="*/ 680077 h 1297454"/>
                <a:gd name="connsiteX28" fmla="*/ 217008 w 911102"/>
                <a:gd name="connsiteY28" fmla="*/ 677199 h 1297454"/>
                <a:gd name="connsiteX29" fmla="*/ 226953 w 911102"/>
                <a:gd name="connsiteY29" fmla="*/ 675817 h 1297454"/>
                <a:gd name="connsiteX30" fmla="*/ 291768 w 911102"/>
                <a:gd name="connsiteY30" fmla="*/ 589909 h 1297454"/>
                <a:gd name="connsiteX31" fmla="*/ 237891 w 911102"/>
                <a:gd name="connsiteY31" fmla="*/ 496751 h 1297454"/>
                <a:gd name="connsiteX32" fmla="*/ 221568 w 911102"/>
                <a:gd name="connsiteY32" fmla="*/ 492404 h 1297454"/>
                <a:gd name="connsiteX33" fmla="*/ 249567 w 911102"/>
                <a:gd name="connsiteY33" fmla="*/ 475916 h 1297454"/>
                <a:gd name="connsiteX34" fmla="*/ 281129 w 911102"/>
                <a:gd name="connsiteY34" fmla="*/ 411193 h 1297454"/>
                <a:gd name="connsiteX35" fmla="*/ 281130 w 911102"/>
                <a:gd name="connsiteY35" fmla="*/ 411193 h 1297454"/>
                <a:gd name="connsiteX36" fmla="*/ 257681 w 911102"/>
                <a:gd name="connsiteY36" fmla="*/ 343108 h 1297454"/>
                <a:gd name="connsiteX37" fmla="*/ 192957 w 911102"/>
                <a:gd name="connsiteY37" fmla="*/ 311547 h 1297454"/>
                <a:gd name="connsiteX38" fmla="*/ 65424 w 911102"/>
                <a:gd name="connsiteY38" fmla="*/ 303757 h 1297454"/>
                <a:gd name="connsiteX39" fmla="*/ 41901 w 911102"/>
                <a:gd name="connsiteY39" fmla="*/ 309400 h 1297454"/>
                <a:gd name="connsiteX40" fmla="*/ 56412 w 911102"/>
                <a:gd name="connsiteY40" fmla="*/ 232310 h 1297454"/>
                <a:gd name="connsiteX41" fmla="*/ 127609 w 911102"/>
                <a:gd name="connsiteY41" fmla="*/ 8370 h 1297454"/>
                <a:gd name="connsiteX42" fmla="*/ 135979 w 911102"/>
                <a:gd name="connsiteY42" fmla="*/ 0 h 1297454"/>
                <a:gd name="connsiteX43" fmla="*/ 737166 w 911102"/>
                <a:gd name="connsiteY43" fmla="*/ 0 h 1297454"/>
                <a:gd name="connsiteX44" fmla="*/ 745536 w 911102"/>
                <a:gd name="connsiteY44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4164 w 911102"/>
                <a:gd name="connsiteY10" fmla="*/ 1201144 h 1297454"/>
                <a:gd name="connsiteX11" fmla="*/ 723293 w 911102"/>
                <a:gd name="connsiteY11" fmla="*/ 1277540 h 1297454"/>
                <a:gd name="connsiteX12" fmla="*/ 723407 w 911102"/>
                <a:gd name="connsiteY12" fmla="*/ 1278872 h 1297454"/>
                <a:gd name="connsiteX13" fmla="*/ 724025 w 911102"/>
                <a:gd name="connsiteY13" fmla="*/ 1283671 h 1297454"/>
                <a:gd name="connsiteX14" fmla="*/ 724876 w 911102"/>
                <a:gd name="connsiteY14" fmla="*/ 1290789 h 1297454"/>
                <a:gd name="connsiteX15" fmla="*/ 568039 w 911102"/>
                <a:gd name="connsiteY15" fmla="*/ 1230080 h 1297454"/>
                <a:gd name="connsiteX16" fmla="*/ 364868 w 911102"/>
                <a:gd name="connsiteY16" fmla="*/ 1184795 h 1297454"/>
                <a:gd name="connsiteX17" fmla="*/ 178811 w 911102"/>
                <a:gd name="connsiteY17" fmla="*/ 1123147 h 1297454"/>
                <a:gd name="connsiteX18" fmla="*/ 28040 w 911102"/>
                <a:gd name="connsiteY18" fmla="*/ 1036282 h 1297454"/>
                <a:gd name="connsiteX19" fmla="*/ 26077 w 911102"/>
                <a:gd name="connsiteY19" fmla="*/ 1027345 h 1297454"/>
                <a:gd name="connsiteX20" fmla="*/ 152633 w 911102"/>
                <a:gd name="connsiteY20" fmla="*/ 1035076 h 1297454"/>
                <a:gd name="connsiteX21" fmla="*/ 255738 w 911102"/>
                <a:gd name="connsiteY21" fmla="*/ 943843 h 1297454"/>
                <a:gd name="connsiteX22" fmla="*/ 231475 w 911102"/>
                <a:gd name="connsiteY22" fmla="*/ 873395 h 1297454"/>
                <a:gd name="connsiteX23" fmla="*/ 213502 w 911102"/>
                <a:gd name="connsiteY23" fmla="*/ 859613 h 1297454"/>
                <a:gd name="connsiteX24" fmla="*/ 216878 w 911102"/>
                <a:gd name="connsiteY24" fmla="*/ 859143 h 1297454"/>
                <a:gd name="connsiteX25" fmla="*/ 281693 w 911102"/>
                <a:gd name="connsiteY25" fmla="*/ 773235 h 1297454"/>
                <a:gd name="connsiteX26" fmla="*/ 227816 w 911102"/>
                <a:gd name="connsiteY26" fmla="*/ 680077 h 1297454"/>
                <a:gd name="connsiteX27" fmla="*/ 217008 w 911102"/>
                <a:gd name="connsiteY27" fmla="*/ 677199 h 1297454"/>
                <a:gd name="connsiteX28" fmla="*/ 226953 w 911102"/>
                <a:gd name="connsiteY28" fmla="*/ 675817 h 1297454"/>
                <a:gd name="connsiteX29" fmla="*/ 291768 w 911102"/>
                <a:gd name="connsiteY29" fmla="*/ 589909 h 1297454"/>
                <a:gd name="connsiteX30" fmla="*/ 237891 w 911102"/>
                <a:gd name="connsiteY30" fmla="*/ 496751 h 1297454"/>
                <a:gd name="connsiteX31" fmla="*/ 221568 w 911102"/>
                <a:gd name="connsiteY31" fmla="*/ 492404 h 1297454"/>
                <a:gd name="connsiteX32" fmla="*/ 249567 w 911102"/>
                <a:gd name="connsiteY32" fmla="*/ 475916 h 1297454"/>
                <a:gd name="connsiteX33" fmla="*/ 281129 w 911102"/>
                <a:gd name="connsiteY33" fmla="*/ 411193 h 1297454"/>
                <a:gd name="connsiteX34" fmla="*/ 281130 w 911102"/>
                <a:gd name="connsiteY34" fmla="*/ 411193 h 1297454"/>
                <a:gd name="connsiteX35" fmla="*/ 257681 w 911102"/>
                <a:gd name="connsiteY35" fmla="*/ 343108 h 1297454"/>
                <a:gd name="connsiteX36" fmla="*/ 192957 w 911102"/>
                <a:gd name="connsiteY36" fmla="*/ 311547 h 1297454"/>
                <a:gd name="connsiteX37" fmla="*/ 65424 w 911102"/>
                <a:gd name="connsiteY37" fmla="*/ 303757 h 1297454"/>
                <a:gd name="connsiteX38" fmla="*/ 41901 w 911102"/>
                <a:gd name="connsiteY38" fmla="*/ 309400 h 1297454"/>
                <a:gd name="connsiteX39" fmla="*/ 56412 w 911102"/>
                <a:gd name="connsiteY39" fmla="*/ 232310 h 1297454"/>
                <a:gd name="connsiteX40" fmla="*/ 127609 w 911102"/>
                <a:gd name="connsiteY40" fmla="*/ 8370 h 1297454"/>
                <a:gd name="connsiteX41" fmla="*/ 135979 w 911102"/>
                <a:gd name="connsiteY41" fmla="*/ 0 h 1297454"/>
                <a:gd name="connsiteX42" fmla="*/ 737166 w 911102"/>
                <a:gd name="connsiteY42" fmla="*/ 0 h 1297454"/>
                <a:gd name="connsiteX43" fmla="*/ 745536 w 911102"/>
                <a:gd name="connsiteY43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3407 w 911102"/>
                <a:gd name="connsiteY11" fmla="*/ 1278872 h 1297454"/>
                <a:gd name="connsiteX12" fmla="*/ 724025 w 911102"/>
                <a:gd name="connsiteY12" fmla="*/ 1283671 h 1297454"/>
                <a:gd name="connsiteX13" fmla="*/ 724876 w 911102"/>
                <a:gd name="connsiteY13" fmla="*/ 1290789 h 1297454"/>
                <a:gd name="connsiteX14" fmla="*/ 568039 w 911102"/>
                <a:gd name="connsiteY14" fmla="*/ 1230080 h 1297454"/>
                <a:gd name="connsiteX15" fmla="*/ 364868 w 911102"/>
                <a:gd name="connsiteY15" fmla="*/ 1184795 h 1297454"/>
                <a:gd name="connsiteX16" fmla="*/ 178811 w 911102"/>
                <a:gd name="connsiteY16" fmla="*/ 1123147 h 1297454"/>
                <a:gd name="connsiteX17" fmla="*/ 28040 w 911102"/>
                <a:gd name="connsiteY17" fmla="*/ 1036282 h 1297454"/>
                <a:gd name="connsiteX18" fmla="*/ 26077 w 911102"/>
                <a:gd name="connsiteY18" fmla="*/ 1027345 h 1297454"/>
                <a:gd name="connsiteX19" fmla="*/ 152633 w 911102"/>
                <a:gd name="connsiteY19" fmla="*/ 1035076 h 1297454"/>
                <a:gd name="connsiteX20" fmla="*/ 255738 w 911102"/>
                <a:gd name="connsiteY20" fmla="*/ 943843 h 1297454"/>
                <a:gd name="connsiteX21" fmla="*/ 231475 w 911102"/>
                <a:gd name="connsiteY21" fmla="*/ 873395 h 1297454"/>
                <a:gd name="connsiteX22" fmla="*/ 213502 w 911102"/>
                <a:gd name="connsiteY22" fmla="*/ 859613 h 1297454"/>
                <a:gd name="connsiteX23" fmla="*/ 216878 w 911102"/>
                <a:gd name="connsiteY23" fmla="*/ 859143 h 1297454"/>
                <a:gd name="connsiteX24" fmla="*/ 281693 w 911102"/>
                <a:gd name="connsiteY24" fmla="*/ 773235 h 1297454"/>
                <a:gd name="connsiteX25" fmla="*/ 227816 w 911102"/>
                <a:gd name="connsiteY25" fmla="*/ 680077 h 1297454"/>
                <a:gd name="connsiteX26" fmla="*/ 217008 w 911102"/>
                <a:gd name="connsiteY26" fmla="*/ 677199 h 1297454"/>
                <a:gd name="connsiteX27" fmla="*/ 226953 w 911102"/>
                <a:gd name="connsiteY27" fmla="*/ 675817 h 1297454"/>
                <a:gd name="connsiteX28" fmla="*/ 291768 w 911102"/>
                <a:gd name="connsiteY28" fmla="*/ 589909 h 1297454"/>
                <a:gd name="connsiteX29" fmla="*/ 237891 w 911102"/>
                <a:gd name="connsiteY29" fmla="*/ 496751 h 1297454"/>
                <a:gd name="connsiteX30" fmla="*/ 221568 w 911102"/>
                <a:gd name="connsiteY30" fmla="*/ 492404 h 1297454"/>
                <a:gd name="connsiteX31" fmla="*/ 249567 w 911102"/>
                <a:gd name="connsiteY31" fmla="*/ 475916 h 1297454"/>
                <a:gd name="connsiteX32" fmla="*/ 281129 w 911102"/>
                <a:gd name="connsiteY32" fmla="*/ 411193 h 1297454"/>
                <a:gd name="connsiteX33" fmla="*/ 281130 w 911102"/>
                <a:gd name="connsiteY33" fmla="*/ 411193 h 1297454"/>
                <a:gd name="connsiteX34" fmla="*/ 257681 w 911102"/>
                <a:gd name="connsiteY34" fmla="*/ 343108 h 1297454"/>
                <a:gd name="connsiteX35" fmla="*/ 192957 w 911102"/>
                <a:gd name="connsiteY35" fmla="*/ 311547 h 1297454"/>
                <a:gd name="connsiteX36" fmla="*/ 65424 w 911102"/>
                <a:gd name="connsiteY36" fmla="*/ 303757 h 1297454"/>
                <a:gd name="connsiteX37" fmla="*/ 41901 w 911102"/>
                <a:gd name="connsiteY37" fmla="*/ 309400 h 1297454"/>
                <a:gd name="connsiteX38" fmla="*/ 56412 w 911102"/>
                <a:gd name="connsiteY38" fmla="*/ 232310 h 1297454"/>
                <a:gd name="connsiteX39" fmla="*/ 127609 w 911102"/>
                <a:gd name="connsiteY39" fmla="*/ 8370 h 1297454"/>
                <a:gd name="connsiteX40" fmla="*/ 135979 w 911102"/>
                <a:gd name="connsiteY40" fmla="*/ 0 h 1297454"/>
                <a:gd name="connsiteX41" fmla="*/ 737166 w 911102"/>
                <a:gd name="connsiteY41" fmla="*/ 0 h 1297454"/>
                <a:gd name="connsiteX42" fmla="*/ 745536 w 911102"/>
                <a:gd name="connsiteY42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3407 w 911102"/>
                <a:gd name="connsiteY11" fmla="*/ 1278872 h 1297454"/>
                <a:gd name="connsiteX12" fmla="*/ 724876 w 911102"/>
                <a:gd name="connsiteY12" fmla="*/ 1290789 h 1297454"/>
                <a:gd name="connsiteX13" fmla="*/ 568039 w 911102"/>
                <a:gd name="connsiteY13" fmla="*/ 1230080 h 1297454"/>
                <a:gd name="connsiteX14" fmla="*/ 364868 w 911102"/>
                <a:gd name="connsiteY14" fmla="*/ 1184795 h 1297454"/>
                <a:gd name="connsiteX15" fmla="*/ 178811 w 911102"/>
                <a:gd name="connsiteY15" fmla="*/ 1123147 h 1297454"/>
                <a:gd name="connsiteX16" fmla="*/ 28040 w 911102"/>
                <a:gd name="connsiteY16" fmla="*/ 1036282 h 1297454"/>
                <a:gd name="connsiteX17" fmla="*/ 26077 w 911102"/>
                <a:gd name="connsiteY17" fmla="*/ 1027345 h 1297454"/>
                <a:gd name="connsiteX18" fmla="*/ 152633 w 911102"/>
                <a:gd name="connsiteY18" fmla="*/ 1035076 h 1297454"/>
                <a:gd name="connsiteX19" fmla="*/ 255738 w 911102"/>
                <a:gd name="connsiteY19" fmla="*/ 943843 h 1297454"/>
                <a:gd name="connsiteX20" fmla="*/ 231475 w 911102"/>
                <a:gd name="connsiteY20" fmla="*/ 873395 h 1297454"/>
                <a:gd name="connsiteX21" fmla="*/ 213502 w 911102"/>
                <a:gd name="connsiteY21" fmla="*/ 859613 h 1297454"/>
                <a:gd name="connsiteX22" fmla="*/ 216878 w 911102"/>
                <a:gd name="connsiteY22" fmla="*/ 859143 h 1297454"/>
                <a:gd name="connsiteX23" fmla="*/ 281693 w 911102"/>
                <a:gd name="connsiteY23" fmla="*/ 773235 h 1297454"/>
                <a:gd name="connsiteX24" fmla="*/ 227816 w 911102"/>
                <a:gd name="connsiteY24" fmla="*/ 680077 h 1297454"/>
                <a:gd name="connsiteX25" fmla="*/ 217008 w 911102"/>
                <a:gd name="connsiteY25" fmla="*/ 677199 h 1297454"/>
                <a:gd name="connsiteX26" fmla="*/ 226953 w 911102"/>
                <a:gd name="connsiteY26" fmla="*/ 675817 h 1297454"/>
                <a:gd name="connsiteX27" fmla="*/ 291768 w 911102"/>
                <a:gd name="connsiteY27" fmla="*/ 589909 h 1297454"/>
                <a:gd name="connsiteX28" fmla="*/ 237891 w 911102"/>
                <a:gd name="connsiteY28" fmla="*/ 496751 h 1297454"/>
                <a:gd name="connsiteX29" fmla="*/ 221568 w 911102"/>
                <a:gd name="connsiteY29" fmla="*/ 492404 h 1297454"/>
                <a:gd name="connsiteX30" fmla="*/ 249567 w 911102"/>
                <a:gd name="connsiteY30" fmla="*/ 475916 h 1297454"/>
                <a:gd name="connsiteX31" fmla="*/ 281129 w 911102"/>
                <a:gd name="connsiteY31" fmla="*/ 411193 h 1297454"/>
                <a:gd name="connsiteX32" fmla="*/ 281130 w 911102"/>
                <a:gd name="connsiteY32" fmla="*/ 411193 h 1297454"/>
                <a:gd name="connsiteX33" fmla="*/ 257681 w 911102"/>
                <a:gd name="connsiteY33" fmla="*/ 343108 h 1297454"/>
                <a:gd name="connsiteX34" fmla="*/ 192957 w 911102"/>
                <a:gd name="connsiteY34" fmla="*/ 311547 h 1297454"/>
                <a:gd name="connsiteX35" fmla="*/ 65424 w 911102"/>
                <a:gd name="connsiteY35" fmla="*/ 303757 h 1297454"/>
                <a:gd name="connsiteX36" fmla="*/ 41901 w 911102"/>
                <a:gd name="connsiteY36" fmla="*/ 309400 h 1297454"/>
                <a:gd name="connsiteX37" fmla="*/ 56412 w 911102"/>
                <a:gd name="connsiteY37" fmla="*/ 232310 h 1297454"/>
                <a:gd name="connsiteX38" fmla="*/ 127609 w 911102"/>
                <a:gd name="connsiteY38" fmla="*/ 8370 h 1297454"/>
                <a:gd name="connsiteX39" fmla="*/ 135979 w 911102"/>
                <a:gd name="connsiteY39" fmla="*/ 0 h 1297454"/>
                <a:gd name="connsiteX40" fmla="*/ 737166 w 911102"/>
                <a:gd name="connsiteY40" fmla="*/ 0 h 1297454"/>
                <a:gd name="connsiteX41" fmla="*/ 745536 w 911102"/>
                <a:gd name="connsiteY41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4876 w 911102"/>
                <a:gd name="connsiteY11" fmla="*/ 1290789 h 1297454"/>
                <a:gd name="connsiteX12" fmla="*/ 568039 w 911102"/>
                <a:gd name="connsiteY12" fmla="*/ 1230080 h 1297454"/>
                <a:gd name="connsiteX13" fmla="*/ 364868 w 911102"/>
                <a:gd name="connsiteY13" fmla="*/ 1184795 h 1297454"/>
                <a:gd name="connsiteX14" fmla="*/ 178811 w 911102"/>
                <a:gd name="connsiteY14" fmla="*/ 1123147 h 1297454"/>
                <a:gd name="connsiteX15" fmla="*/ 28040 w 911102"/>
                <a:gd name="connsiteY15" fmla="*/ 1036282 h 1297454"/>
                <a:gd name="connsiteX16" fmla="*/ 26077 w 911102"/>
                <a:gd name="connsiteY16" fmla="*/ 1027345 h 1297454"/>
                <a:gd name="connsiteX17" fmla="*/ 152633 w 911102"/>
                <a:gd name="connsiteY17" fmla="*/ 1035076 h 1297454"/>
                <a:gd name="connsiteX18" fmla="*/ 255738 w 911102"/>
                <a:gd name="connsiteY18" fmla="*/ 943843 h 1297454"/>
                <a:gd name="connsiteX19" fmla="*/ 231475 w 911102"/>
                <a:gd name="connsiteY19" fmla="*/ 873395 h 1297454"/>
                <a:gd name="connsiteX20" fmla="*/ 213502 w 911102"/>
                <a:gd name="connsiteY20" fmla="*/ 859613 h 1297454"/>
                <a:gd name="connsiteX21" fmla="*/ 216878 w 911102"/>
                <a:gd name="connsiteY21" fmla="*/ 859143 h 1297454"/>
                <a:gd name="connsiteX22" fmla="*/ 281693 w 911102"/>
                <a:gd name="connsiteY22" fmla="*/ 773235 h 1297454"/>
                <a:gd name="connsiteX23" fmla="*/ 227816 w 911102"/>
                <a:gd name="connsiteY23" fmla="*/ 680077 h 1297454"/>
                <a:gd name="connsiteX24" fmla="*/ 217008 w 911102"/>
                <a:gd name="connsiteY24" fmla="*/ 677199 h 1297454"/>
                <a:gd name="connsiteX25" fmla="*/ 226953 w 911102"/>
                <a:gd name="connsiteY25" fmla="*/ 675817 h 1297454"/>
                <a:gd name="connsiteX26" fmla="*/ 291768 w 911102"/>
                <a:gd name="connsiteY26" fmla="*/ 589909 h 1297454"/>
                <a:gd name="connsiteX27" fmla="*/ 237891 w 911102"/>
                <a:gd name="connsiteY27" fmla="*/ 496751 h 1297454"/>
                <a:gd name="connsiteX28" fmla="*/ 221568 w 911102"/>
                <a:gd name="connsiteY28" fmla="*/ 492404 h 1297454"/>
                <a:gd name="connsiteX29" fmla="*/ 249567 w 911102"/>
                <a:gd name="connsiteY29" fmla="*/ 475916 h 1297454"/>
                <a:gd name="connsiteX30" fmla="*/ 281129 w 911102"/>
                <a:gd name="connsiteY30" fmla="*/ 411193 h 1297454"/>
                <a:gd name="connsiteX31" fmla="*/ 281130 w 911102"/>
                <a:gd name="connsiteY31" fmla="*/ 411193 h 1297454"/>
                <a:gd name="connsiteX32" fmla="*/ 257681 w 911102"/>
                <a:gd name="connsiteY32" fmla="*/ 343108 h 1297454"/>
                <a:gd name="connsiteX33" fmla="*/ 192957 w 911102"/>
                <a:gd name="connsiteY33" fmla="*/ 311547 h 1297454"/>
                <a:gd name="connsiteX34" fmla="*/ 65424 w 911102"/>
                <a:gd name="connsiteY34" fmla="*/ 303757 h 1297454"/>
                <a:gd name="connsiteX35" fmla="*/ 41901 w 911102"/>
                <a:gd name="connsiteY35" fmla="*/ 309400 h 1297454"/>
                <a:gd name="connsiteX36" fmla="*/ 56412 w 911102"/>
                <a:gd name="connsiteY36" fmla="*/ 232310 h 1297454"/>
                <a:gd name="connsiteX37" fmla="*/ 127609 w 911102"/>
                <a:gd name="connsiteY37" fmla="*/ 8370 h 1297454"/>
                <a:gd name="connsiteX38" fmla="*/ 135979 w 911102"/>
                <a:gd name="connsiteY38" fmla="*/ 0 h 1297454"/>
                <a:gd name="connsiteX39" fmla="*/ 737166 w 911102"/>
                <a:gd name="connsiteY39" fmla="*/ 0 h 1297454"/>
                <a:gd name="connsiteX40" fmla="*/ 745536 w 911102"/>
                <a:gd name="connsiteY40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11102" h="1297454">
                  <a:moveTo>
                    <a:pt x="554" y="664205"/>
                  </a:moveTo>
                  <a:lnTo>
                    <a:pt x="0" y="664282"/>
                  </a:lnTo>
                  <a:cubicBezTo>
                    <a:pt x="5" y="664208"/>
                    <a:pt x="11" y="664135"/>
                    <a:pt x="16" y="664061"/>
                  </a:cubicBezTo>
                  <a:lnTo>
                    <a:pt x="554" y="664205"/>
                  </a:lnTo>
                  <a:close/>
                  <a:moveTo>
                    <a:pt x="745536" y="8370"/>
                  </a:moveTo>
                  <a:cubicBezTo>
                    <a:pt x="777296" y="94936"/>
                    <a:pt x="879455" y="311958"/>
                    <a:pt x="911102" y="379668"/>
                  </a:cubicBezTo>
                  <a:lnTo>
                    <a:pt x="876710" y="385825"/>
                  </a:lnTo>
                  <a:cubicBezTo>
                    <a:pt x="868621" y="377323"/>
                    <a:pt x="500563" y="302568"/>
                    <a:pt x="492061" y="310657"/>
                  </a:cubicBezTo>
                  <a:cubicBezTo>
                    <a:pt x="467650" y="368421"/>
                    <a:pt x="552876" y="601616"/>
                    <a:pt x="783320" y="626020"/>
                  </a:cubicBezTo>
                  <a:cubicBezTo>
                    <a:pt x="707017" y="751589"/>
                    <a:pt x="678492" y="1146233"/>
                    <a:pt x="724876" y="1290789"/>
                  </a:cubicBezTo>
                  <a:cubicBezTo>
                    <a:pt x="686289" y="1299923"/>
                    <a:pt x="599232" y="1312604"/>
                    <a:pt x="568039" y="1230080"/>
                  </a:cubicBezTo>
                  <a:cubicBezTo>
                    <a:pt x="505142" y="1271224"/>
                    <a:pt x="421109" y="1286153"/>
                    <a:pt x="364868" y="1184795"/>
                  </a:cubicBezTo>
                  <a:cubicBezTo>
                    <a:pt x="275380" y="1265558"/>
                    <a:pt x="187295" y="1190323"/>
                    <a:pt x="178811" y="1123147"/>
                  </a:cubicBezTo>
                  <a:cubicBezTo>
                    <a:pt x="136082" y="1156900"/>
                    <a:pt x="67183" y="1167242"/>
                    <a:pt x="28040" y="1036282"/>
                  </a:cubicBezTo>
                  <a:lnTo>
                    <a:pt x="26077" y="1027345"/>
                  </a:lnTo>
                  <a:lnTo>
                    <a:pt x="152633" y="1035076"/>
                  </a:lnTo>
                  <a:cubicBezTo>
                    <a:pt x="206298" y="1038354"/>
                    <a:pt x="252460" y="997507"/>
                    <a:pt x="255738" y="943843"/>
                  </a:cubicBezTo>
                  <a:cubicBezTo>
                    <a:pt x="257377" y="917011"/>
                    <a:pt x="247985" y="892054"/>
                    <a:pt x="231475" y="873395"/>
                  </a:cubicBezTo>
                  <a:lnTo>
                    <a:pt x="213502" y="859613"/>
                  </a:lnTo>
                  <a:lnTo>
                    <a:pt x="216878" y="859143"/>
                  </a:lnTo>
                  <a:cubicBezTo>
                    <a:pt x="252654" y="846522"/>
                    <a:pt x="279235" y="813484"/>
                    <a:pt x="281693" y="773235"/>
                  </a:cubicBezTo>
                  <a:cubicBezTo>
                    <a:pt x="284152" y="732987"/>
                    <a:pt x="261790" y="696958"/>
                    <a:pt x="227816" y="680077"/>
                  </a:cubicBezTo>
                  <a:lnTo>
                    <a:pt x="217008" y="677199"/>
                  </a:lnTo>
                  <a:lnTo>
                    <a:pt x="226953" y="675817"/>
                  </a:lnTo>
                  <a:cubicBezTo>
                    <a:pt x="262729" y="663196"/>
                    <a:pt x="289310" y="630158"/>
                    <a:pt x="291768" y="589909"/>
                  </a:cubicBezTo>
                  <a:cubicBezTo>
                    <a:pt x="294227" y="549660"/>
                    <a:pt x="271865" y="513632"/>
                    <a:pt x="237891" y="496751"/>
                  </a:cubicBezTo>
                  <a:lnTo>
                    <a:pt x="221568" y="492404"/>
                  </a:lnTo>
                  <a:lnTo>
                    <a:pt x="249567" y="475916"/>
                  </a:lnTo>
                  <a:cubicBezTo>
                    <a:pt x="267599" y="459959"/>
                    <a:pt x="279545" y="437125"/>
                    <a:pt x="281129" y="411193"/>
                  </a:cubicBezTo>
                  <a:lnTo>
                    <a:pt x="281130" y="411193"/>
                  </a:lnTo>
                  <a:cubicBezTo>
                    <a:pt x="282714" y="385260"/>
                    <a:pt x="273637" y="361142"/>
                    <a:pt x="257681" y="343108"/>
                  </a:cubicBezTo>
                  <a:cubicBezTo>
                    <a:pt x="241725" y="325077"/>
                    <a:pt x="218889" y="313132"/>
                    <a:pt x="192957" y="311547"/>
                  </a:cubicBezTo>
                  <a:lnTo>
                    <a:pt x="65424" y="303757"/>
                  </a:lnTo>
                  <a:lnTo>
                    <a:pt x="41901" y="309400"/>
                  </a:lnTo>
                  <a:lnTo>
                    <a:pt x="56412" y="232310"/>
                  </a:lnTo>
                  <a:cubicBezTo>
                    <a:pt x="76486" y="142148"/>
                    <a:pt x="100714" y="63554"/>
                    <a:pt x="127609" y="8370"/>
                  </a:cubicBezTo>
                  <a:cubicBezTo>
                    <a:pt x="127609" y="3747"/>
                    <a:pt x="131356" y="0"/>
                    <a:pt x="135979" y="0"/>
                  </a:cubicBezTo>
                  <a:lnTo>
                    <a:pt x="737166" y="0"/>
                  </a:lnTo>
                  <a:cubicBezTo>
                    <a:pt x="741789" y="0"/>
                    <a:pt x="745536" y="3747"/>
                    <a:pt x="745536" y="837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48" name="Rounded Rectangle 547"/>
            <p:cNvSpPr/>
            <p:nvPr/>
          </p:nvSpPr>
          <p:spPr>
            <a:xfrm rot="18254747">
              <a:off x="2121920" y="3773287"/>
              <a:ext cx="268275" cy="128977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49" name="Rounded Rectangle 548"/>
            <p:cNvSpPr/>
            <p:nvPr/>
          </p:nvSpPr>
          <p:spPr>
            <a:xfrm rot="18254747">
              <a:off x="2237781" y="3867949"/>
              <a:ext cx="311038" cy="143896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50" name="Rounded Rectangle 549"/>
            <p:cNvSpPr/>
            <p:nvPr/>
          </p:nvSpPr>
          <p:spPr>
            <a:xfrm rot="18254747">
              <a:off x="2396653" y="3967672"/>
              <a:ext cx="302453" cy="142014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51" name="Rounded Rectangle 550"/>
            <p:cNvSpPr/>
            <p:nvPr/>
          </p:nvSpPr>
          <p:spPr>
            <a:xfrm rot="18191826">
              <a:off x="2567056" y="4069412"/>
              <a:ext cx="257644" cy="132691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52" name="Rounded Rectangle 551"/>
            <p:cNvSpPr/>
            <p:nvPr/>
          </p:nvSpPr>
          <p:spPr>
            <a:xfrm rot="18170923">
              <a:off x="1446042" y="3129169"/>
              <a:ext cx="793564" cy="242045"/>
            </a:xfrm>
            <a:prstGeom prst="roundRect">
              <a:avLst>
                <a:gd name="adj" fmla="val 3458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53" name="Rounded Rectangle 552"/>
            <p:cNvSpPr/>
            <p:nvPr/>
          </p:nvSpPr>
          <p:spPr>
            <a:xfrm rot="18139869">
              <a:off x="1650404" y="3310198"/>
              <a:ext cx="701700" cy="59118"/>
            </a:xfrm>
            <a:prstGeom prst="roundRect">
              <a:avLst>
                <a:gd name="adj" fmla="val 5000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54" name="Rounded Rectangle 553"/>
            <p:cNvSpPr/>
            <p:nvPr/>
          </p:nvSpPr>
          <p:spPr>
            <a:xfrm rot="4209802">
              <a:off x="3305704" y="3176290"/>
              <a:ext cx="793564" cy="242045"/>
            </a:xfrm>
            <a:prstGeom prst="roundRect">
              <a:avLst>
                <a:gd name="adj" fmla="val 3458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55" name="Rounded Rectangle 554"/>
            <p:cNvSpPr/>
            <p:nvPr/>
          </p:nvSpPr>
          <p:spPr>
            <a:xfrm rot="4234155">
              <a:off x="3180849" y="3331995"/>
              <a:ext cx="701700" cy="59118"/>
            </a:xfrm>
            <a:prstGeom prst="roundRect">
              <a:avLst>
                <a:gd name="adj" fmla="val 5000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56" name="Freeform 555"/>
            <p:cNvSpPr/>
            <p:nvPr/>
          </p:nvSpPr>
          <p:spPr>
            <a:xfrm rot="20830502">
              <a:off x="2416807" y="3065880"/>
              <a:ext cx="1092446" cy="753122"/>
            </a:xfrm>
            <a:custGeom>
              <a:avLst/>
              <a:gdLst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1523 w 1092446"/>
                <a:gd name="connsiteY8" fmla="*/ 493267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99633 w 1092446"/>
                <a:gd name="connsiteY6" fmla="*/ 522004 h 741956"/>
                <a:gd name="connsiteX7" fmla="*/ 691523 w 1092446"/>
                <a:gd name="connsiteY7" fmla="*/ 493267 h 741956"/>
                <a:gd name="connsiteX8" fmla="*/ 576784 w 1092446"/>
                <a:gd name="connsiteY8" fmla="*/ 489842 h 741956"/>
                <a:gd name="connsiteX9" fmla="*/ 571648 w 1092446"/>
                <a:gd name="connsiteY9" fmla="*/ 489724 h 741956"/>
                <a:gd name="connsiteX10" fmla="*/ 481793 w 1092446"/>
                <a:gd name="connsiteY10" fmla="*/ 377963 h 741956"/>
                <a:gd name="connsiteX11" fmla="*/ 408161 w 1092446"/>
                <a:gd name="connsiteY11" fmla="*/ 225516 h 741956"/>
                <a:gd name="connsiteX12" fmla="*/ 0 w 1092446"/>
                <a:gd name="connsiteY12" fmla="*/ 271157 h 741956"/>
                <a:gd name="connsiteX13" fmla="*/ 393182 w 1092446"/>
                <a:gd name="connsiteY13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81793 w 1092446"/>
                <a:gd name="connsiteY8" fmla="*/ 377963 h 741956"/>
                <a:gd name="connsiteX9" fmla="*/ 408161 w 1092446"/>
                <a:gd name="connsiteY9" fmla="*/ 225516 h 741956"/>
                <a:gd name="connsiteX10" fmla="*/ 0 w 1092446"/>
                <a:gd name="connsiteY10" fmla="*/ 271157 h 741956"/>
                <a:gd name="connsiteX11" fmla="*/ 393182 w 1092446"/>
                <a:gd name="connsiteY11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53122"/>
                <a:gd name="connsiteX1" fmla="*/ 1030378 w 1092446"/>
                <a:gd name="connsiteY1" fmla="*/ 159143 h 753122"/>
                <a:gd name="connsiteX2" fmla="*/ 1092446 w 1092446"/>
                <a:gd name="connsiteY2" fmla="*/ 711193 h 753122"/>
                <a:gd name="connsiteX3" fmla="*/ 848296 w 1092446"/>
                <a:gd name="connsiteY3" fmla="*/ 752170 h 753122"/>
                <a:gd name="connsiteX4" fmla="*/ 600457 w 1092446"/>
                <a:gd name="connsiteY4" fmla="*/ 520096 h 753122"/>
                <a:gd name="connsiteX5" fmla="*/ 699633 w 1092446"/>
                <a:gd name="connsiteY5" fmla="*/ 522004 h 753122"/>
                <a:gd name="connsiteX6" fmla="*/ 689937 w 1092446"/>
                <a:gd name="connsiteY6" fmla="*/ 500232 h 753122"/>
                <a:gd name="connsiteX7" fmla="*/ 576784 w 1092446"/>
                <a:gd name="connsiteY7" fmla="*/ 489842 h 753122"/>
                <a:gd name="connsiteX8" fmla="*/ 408161 w 1092446"/>
                <a:gd name="connsiteY8" fmla="*/ 225516 h 753122"/>
                <a:gd name="connsiteX9" fmla="*/ 0 w 1092446"/>
                <a:gd name="connsiteY9" fmla="*/ 271157 h 753122"/>
                <a:gd name="connsiteX10" fmla="*/ 393182 w 1092446"/>
                <a:gd name="connsiteY10" fmla="*/ 0 h 753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92446" h="753122">
                  <a:moveTo>
                    <a:pt x="393182" y="0"/>
                  </a:moveTo>
                  <a:cubicBezTo>
                    <a:pt x="603014" y="50021"/>
                    <a:pt x="721952" y="145288"/>
                    <a:pt x="1030378" y="159143"/>
                  </a:cubicBezTo>
                  <a:cubicBezTo>
                    <a:pt x="1030378" y="348219"/>
                    <a:pt x="1061205" y="519889"/>
                    <a:pt x="1092446" y="711193"/>
                  </a:cubicBezTo>
                  <a:cubicBezTo>
                    <a:pt x="1032790" y="742751"/>
                    <a:pt x="923476" y="757108"/>
                    <a:pt x="848296" y="752170"/>
                  </a:cubicBezTo>
                  <a:cubicBezTo>
                    <a:pt x="798266" y="726242"/>
                    <a:pt x="684202" y="631576"/>
                    <a:pt x="600457" y="520096"/>
                  </a:cubicBezTo>
                  <a:cubicBezTo>
                    <a:pt x="633516" y="520732"/>
                    <a:pt x="684720" y="525315"/>
                    <a:pt x="699633" y="522004"/>
                  </a:cubicBezTo>
                  <a:cubicBezTo>
                    <a:pt x="714546" y="518693"/>
                    <a:pt x="725252" y="504787"/>
                    <a:pt x="689937" y="500232"/>
                  </a:cubicBezTo>
                  <a:cubicBezTo>
                    <a:pt x="654621" y="501428"/>
                    <a:pt x="614772" y="497298"/>
                    <a:pt x="576784" y="489842"/>
                  </a:cubicBezTo>
                  <a:cubicBezTo>
                    <a:pt x="507475" y="437824"/>
                    <a:pt x="432486" y="335672"/>
                    <a:pt x="408161" y="225516"/>
                  </a:cubicBezTo>
                  <a:cubicBezTo>
                    <a:pt x="253916" y="345672"/>
                    <a:pt x="75753" y="345602"/>
                    <a:pt x="0" y="271157"/>
                  </a:cubicBezTo>
                  <a:cubicBezTo>
                    <a:pt x="0" y="259422"/>
                    <a:pt x="381447" y="0"/>
                    <a:pt x="393182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557" name="Group 4"/>
          <p:cNvGrpSpPr>
            <a:grpSpLocks noChangeAspect="1"/>
          </p:cNvGrpSpPr>
          <p:nvPr/>
        </p:nvGrpSpPr>
        <p:grpSpPr bwMode="auto">
          <a:xfrm>
            <a:off x="5722144" y="2337609"/>
            <a:ext cx="747713" cy="715963"/>
            <a:chOff x="543" y="753"/>
            <a:chExt cx="471" cy="451"/>
          </a:xfrm>
          <a:solidFill>
            <a:schemeClr val="bg1"/>
          </a:solidFill>
        </p:grpSpPr>
        <p:sp>
          <p:nvSpPr>
            <p:cNvPr id="558" name="Freeform 6"/>
            <p:cNvSpPr>
              <a:spLocks/>
            </p:cNvSpPr>
            <p:nvPr/>
          </p:nvSpPr>
          <p:spPr bwMode="auto">
            <a:xfrm>
              <a:off x="684" y="753"/>
              <a:ext cx="330" cy="451"/>
            </a:xfrm>
            <a:custGeom>
              <a:avLst/>
              <a:gdLst>
                <a:gd name="T0" fmla="*/ 1146 w 2308"/>
                <a:gd name="T1" fmla="*/ 5 h 3161"/>
                <a:gd name="T2" fmla="*/ 1261 w 2308"/>
                <a:gd name="T3" fmla="*/ 33 h 3161"/>
                <a:gd name="T4" fmla="*/ 1349 w 2308"/>
                <a:gd name="T5" fmla="*/ 75 h 3161"/>
                <a:gd name="T6" fmla="*/ 1431 w 2308"/>
                <a:gd name="T7" fmla="*/ 159 h 3161"/>
                <a:gd name="T8" fmla="*/ 1480 w 2308"/>
                <a:gd name="T9" fmla="*/ 251 h 3161"/>
                <a:gd name="T10" fmla="*/ 1506 w 2308"/>
                <a:gd name="T11" fmla="*/ 354 h 3161"/>
                <a:gd name="T12" fmla="*/ 1515 w 2308"/>
                <a:gd name="T13" fmla="*/ 429 h 3161"/>
                <a:gd name="T14" fmla="*/ 1517 w 2308"/>
                <a:gd name="T15" fmla="*/ 496 h 3161"/>
                <a:gd name="T16" fmla="*/ 1508 w 2308"/>
                <a:gd name="T17" fmla="*/ 631 h 3161"/>
                <a:gd name="T18" fmla="*/ 1471 w 2308"/>
                <a:gd name="T19" fmla="*/ 773 h 3161"/>
                <a:gd name="T20" fmla="*/ 1434 w 2308"/>
                <a:gd name="T21" fmla="*/ 858 h 3161"/>
                <a:gd name="T22" fmla="*/ 1396 w 2308"/>
                <a:gd name="T23" fmla="*/ 931 h 3161"/>
                <a:gd name="T24" fmla="*/ 1368 w 2308"/>
                <a:gd name="T25" fmla="*/ 983 h 3161"/>
                <a:gd name="T26" fmla="*/ 1342 w 2308"/>
                <a:gd name="T27" fmla="*/ 1054 h 3161"/>
                <a:gd name="T28" fmla="*/ 2000 w 2308"/>
                <a:gd name="T29" fmla="*/ 1063 h 3161"/>
                <a:gd name="T30" fmla="*/ 2120 w 2308"/>
                <a:gd name="T31" fmla="*/ 1113 h 3161"/>
                <a:gd name="T32" fmla="*/ 2221 w 2308"/>
                <a:gd name="T33" fmla="*/ 1206 h 3161"/>
                <a:gd name="T34" fmla="*/ 2286 w 2308"/>
                <a:gd name="T35" fmla="*/ 1319 h 3161"/>
                <a:gd name="T36" fmla="*/ 2308 w 2308"/>
                <a:gd name="T37" fmla="*/ 1449 h 3161"/>
                <a:gd name="T38" fmla="*/ 2287 w 2308"/>
                <a:gd name="T39" fmla="*/ 1592 h 3161"/>
                <a:gd name="T40" fmla="*/ 2224 w 2308"/>
                <a:gd name="T41" fmla="*/ 1717 h 3161"/>
                <a:gd name="T42" fmla="*/ 2217 w 2308"/>
                <a:gd name="T43" fmla="*/ 1840 h 3161"/>
                <a:gd name="T44" fmla="*/ 2224 w 2308"/>
                <a:gd name="T45" fmla="*/ 1963 h 3161"/>
                <a:gd name="T46" fmla="*/ 2188 w 2308"/>
                <a:gd name="T47" fmla="*/ 2107 h 3161"/>
                <a:gd name="T48" fmla="*/ 2148 w 2308"/>
                <a:gd name="T49" fmla="*/ 2241 h 3161"/>
                <a:gd name="T50" fmla="*/ 2148 w 2308"/>
                <a:gd name="T51" fmla="*/ 2385 h 3161"/>
                <a:gd name="T52" fmla="*/ 2104 w 2308"/>
                <a:gd name="T53" fmla="*/ 2522 h 3161"/>
                <a:gd name="T54" fmla="*/ 2025 w 2308"/>
                <a:gd name="T55" fmla="*/ 2628 h 3161"/>
                <a:gd name="T56" fmla="*/ 2019 w 2308"/>
                <a:gd name="T57" fmla="*/ 2789 h 3161"/>
                <a:gd name="T58" fmla="*/ 1975 w 2308"/>
                <a:gd name="T59" fmla="*/ 2925 h 3161"/>
                <a:gd name="T60" fmla="*/ 1894 w 2308"/>
                <a:gd name="T61" fmla="*/ 3033 h 3161"/>
                <a:gd name="T62" fmla="*/ 1779 w 2308"/>
                <a:gd name="T63" fmla="*/ 3110 h 3161"/>
                <a:gd name="T64" fmla="*/ 1633 w 2308"/>
                <a:gd name="T65" fmla="*/ 3152 h 3161"/>
                <a:gd name="T66" fmla="*/ 1253 w 2308"/>
                <a:gd name="T67" fmla="*/ 3161 h 3161"/>
                <a:gd name="T68" fmla="*/ 1035 w 2308"/>
                <a:gd name="T69" fmla="*/ 3144 h 3161"/>
                <a:gd name="T70" fmla="*/ 839 w 2308"/>
                <a:gd name="T71" fmla="*/ 3105 h 3161"/>
                <a:gd name="T72" fmla="*/ 706 w 2308"/>
                <a:gd name="T73" fmla="*/ 3069 h 3161"/>
                <a:gd name="T74" fmla="*/ 573 w 2308"/>
                <a:gd name="T75" fmla="*/ 3027 h 3161"/>
                <a:gd name="T76" fmla="*/ 404 w 2308"/>
                <a:gd name="T77" fmla="*/ 2970 h 3161"/>
                <a:gd name="T78" fmla="*/ 269 w 2308"/>
                <a:gd name="T79" fmla="*/ 2927 h 3161"/>
                <a:gd name="T80" fmla="*/ 173 w 2308"/>
                <a:gd name="T81" fmla="*/ 2903 h 3161"/>
                <a:gd name="T82" fmla="*/ 107 w 2308"/>
                <a:gd name="T83" fmla="*/ 2895 h 3161"/>
                <a:gd name="T84" fmla="*/ 40 w 2308"/>
                <a:gd name="T85" fmla="*/ 2857 h 3161"/>
                <a:gd name="T86" fmla="*/ 3 w 2308"/>
                <a:gd name="T87" fmla="*/ 2792 h 3161"/>
                <a:gd name="T88" fmla="*/ 3 w 2308"/>
                <a:gd name="T89" fmla="*/ 1422 h 3161"/>
                <a:gd name="T90" fmla="*/ 38 w 2308"/>
                <a:gd name="T91" fmla="*/ 1357 h 3161"/>
                <a:gd name="T92" fmla="*/ 102 w 2308"/>
                <a:gd name="T93" fmla="*/ 1319 h 3161"/>
                <a:gd name="T94" fmla="*/ 159 w 2308"/>
                <a:gd name="T95" fmla="*/ 1303 h 3161"/>
                <a:gd name="T96" fmla="*/ 227 w 2308"/>
                <a:gd name="T97" fmla="*/ 1252 h 3161"/>
                <a:gd name="T98" fmla="*/ 353 w 2308"/>
                <a:gd name="T99" fmla="*/ 1114 h 3161"/>
                <a:gd name="T100" fmla="*/ 529 w 2308"/>
                <a:gd name="T101" fmla="*/ 895 h 3161"/>
                <a:gd name="T102" fmla="*/ 628 w 2308"/>
                <a:gd name="T103" fmla="*/ 777 h 3161"/>
                <a:gd name="T104" fmla="*/ 699 w 2308"/>
                <a:gd name="T105" fmla="*/ 697 h 3161"/>
                <a:gd name="T106" fmla="*/ 762 w 2308"/>
                <a:gd name="T107" fmla="*/ 599 h 3161"/>
                <a:gd name="T108" fmla="*/ 793 w 2308"/>
                <a:gd name="T109" fmla="*/ 520 h 3161"/>
                <a:gd name="T110" fmla="*/ 811 w 2308"/>
                <a:gd name="T111" fmla="*/ 449 h 3161"/>
                <a:gd name="T112" fmla="*/ 834 w 2308"/>
                <a:gd name="T113" fmla="*/ 337 h 3161"/>
                <a:gd name="T114" fmla="*/ 852 w 2308"/>
                <a:gd name="T115" fmla="*/ 249 h 3161"/>
                <a:gd name="T116" fmla="*/ 892 w 2308"/>
                <a:gd name="T117" fmla="*/ 142 h 3161"/>
                <a:gd name="T118" fmla="*/ 963 w 2308"/>
                <a:gd name="T119" fmla="*/ 39 h 3161"/>
                <a:gd name="T120" fmla="*/ 1029 w 2308"/>
                <a:gd name="T121" fmla="*/ 2 h 3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08" h="3161">
                  <a:moveTo>
                    <a:pt x="1055" y="0"/>
                  </a:moveTo>
                  <a:lnTo>
                    <a:pt x="1101" y="1"/>
                  </a:lnTo>
                  <a:lnTo>
                    <a:pt x="1146" y="5"/>
                  </a:lnTo>
                  <a:lnTo>
                    <a:pt x="1187" y="12"/>
                  </a:lnTo>
                  <a:lnTo>
                    <a:pt x="1225" y="21"/>
                  </a:lnTo>
                  <a:lnTo>
                    <a:pt x="1261" y="33"/>
                  </a:lnTo>
                  <a:lnTo>
                    <a:pt x="1293" y="45"/>
                  </a:lnTo>
                  <a:lnTo>
                    <a:pt x="1323" y="59"/>
                  </a:lnTo>
                  <a:lnTo>
                    <a:pt x="1349" y="75"/>
                  </a:lnTo>
                  <a:lnTo>
                    <a:pt x="1380" y="99"/>
                  </a:lnTo>
                  <a:lnTo>
                    <a:pt x="1407" y="127"/>
                  </a:lnTo>
                  <a:lnTo>
                    <a:pt x="1431" y="159"/>
                  </a:lnTo>
                  <a:lnTo>
                    <a:pt x="1452" y="192"/>
                  </a:lnTo>
                  <a:lnTo>
                    <a:pt x="1468" y="222"/>
                  </a:lnTo>
                  <a:lnTo>
                    <a:pt x="1480" y="251"/>
                  </a:lnTo>
                  <a:lnTo>
                    <a:pt x="1490" y="280"/>
                  </a:lnTo>
                  <a:lnTo>
                    <a:pt x="1498" y="316"/>
                  </a:lnTo>
                  <a:lnTo>
                    <a:pt x="1506" y="354"/>
                  </a:lnTo>
                  <a:lnTo>
                    <a:pt x="1510" y="383"/>
                  </a:lnTo>
                  <a:lnTo>
                    <a:pt x="1513" y="408"/>
                  </a:lnTo>
                  <a:lnTo>
                    <a:pt x="1515" y="429"/>
                  </a:lnTo>
                  <a:lnTo>
                    <a:pt x="1516" y="446"/>
                  </a:lnTo>
                  <a:lnTo>
                    <a:pt x="1517" y="469"/>
                  </a:lnTo>
                  <a:lnTo>
                    <a:pt x="1517" y="496"/>
                  </a:lnTo>
                  <a:lnTo>
                    <a:pt x="1517" y="527"/>
                  </a:lnTo>
                  <a:lnTo>
                    <a:pt x="1515" y="579"/>
                  </a:lnTo>
                  <a:lnTo>
                    <a:pt x="1508" y="631"/>
                  </a:lnTo>
                  <a:lnTo>
                    <a:pt x="1497" y="683"/>
                  </a:lnTo>
                  <a:lnTo>
                    <a:pt x="1484" y="732"/>
                  </a:lnTo>
                  <a:lnTo>
                    <a:pt x="1471" y="773"/>
                  </a:lnTo>
                  <a:lnTo>
                    <a:pt x="1458" y="807"/>
                  </a:lnTo>
                  <a:lnTo>
                    <a:pt x="1447" y="831"/>
                  </a:lnTo>
                  <a:lnTo>
                    <a:pt x="1434" y="858"/>
                  </a:lnTo>
                  <a:lnTo>
                    <a:pt x="1419" y="888"/>
                  </a:lnTo>
                  <a:lnTo>
                    <a:pt x="1401" y="922"/>
                  </a:lnTo>
                  <a:lnTo>
                    <a:pt x="1396" y="931"/>
                  </a:lnTo>
                  <a:lnTo>
                    <a:pt x="1390" y="944"/>
                  </a:lnTo>
                  <a:lnTo>
                    <a:pt x="1381" y="959"/>
                  </a:lnTo>
                  <a:lnTo>
                    <a:pt x="1368" y="983"/>
                  </a:lnTo>
                  <a:lnTo>
                    <a:pt x="1358" y="1005"/>
                  </a:lnTo>
                  <a:lnTo>
                    <a:pt x="1350" y="1027"/>
                  </a:lnTo>
                  <a:lnTo>
                    <a:pt x="1342" y="1054"/>
                  </a:lnTo>
                  <a:lnTo>
                    <a:pt x="1912" y="1054"/>
                  </a:lnTo>
                  <a:lnTo>
                    <a:pt x="1957" y="1056"/>
                  </a:lnTo>
                  <a:lnTo>
                    <a:pt x="2000" y="1063"/>
                  </a:lnTo>
                  <a:lnTo>
                    <a:pt x="2041" y="1075"/>
                  </a:lnTo>
                  <a:lnTo>
                    <a:pt x="2082" y="1092"/>
                  </a:lnTo>
                  <a:lnTo>
                    <a:pt x="2120" y="1113"/>
                  </a:lnTo>
                  <a:lnTo>
                    <a:pt x="2156" y="1140"/>
                  </a:lnTo>
                  <a:lnTo>
                    <a:pt x="2190" y="1172"/>
                  </a:lnTo>
                  <a:lnTo>
                    <a:pt x="2221" y="1206"/>
                  </a:lnTo>
                  <a:lnTo>
                    <a:pt x="2248" y="1242"/>
                  </a:lnTo>
                  <a:lnTo>
                    <a:pt x="2269" y="1280"/>
                  </a:lnTo>
                  <a:lnTo>
                    <a:pt x="2286" y="1319"/>
                  </a:lnTo>
                  <a:lnTo>
                    <a:pt x="2298" y="1360"/>
                  </a:lnTo>
                  <a:lnTo>
                    <a:pt x="2305" y="1404"/>
                  </a:lnTo>
                  <a:lnTo>
                    <a:pt x="2308" y="1449"/>
                  </a:lnTo>
                  <a:lnTo>
                    <a:pt x="2305" y="1498"/>
                  </a:lnTo>
                  <a:lnTo>
                    <a:pt x="2298" y="1546"/>
                  </a:lnTo>
                  <a:lnTo>
                    <a:pt x="2287" y="1592"/>
                  </a:lnTo>
                  <a:lnTo>
                    <a:pt x="2271" y="1636"/>
                  </a:lnTo>
                  <a:lnTo>
                    <a:pt x="2250" y="1678"/>
                  </a:lnTo>
                  <a:lnTo>
                    <a:pt x="2224" y="1717"/>
                  </a:lnTo>
                  <a:lnTo>
                    <a:pt x="2194" y="1755"/>
                  </a:lnTo>
                  <a:lnTo>
                    <a:pt x="2207" y="1800"/>
                  </a:lnTo>
                  <a:lnTo>
                    <a:pt x="2217" y="1840"/>
                  </a:lnTo>
                  <a:lnTo>
                    <a:pt x="2223" y="1878"/>
                  </a:lnTo>
                  <a:lnTo>
                    <a:pt x="2225" y="1912"/>
                  </a:lnTo>
                  <a:lnTo>
                    <a:pt x="2224" y="1963"/>
                  </a:lnTo>
                  <a:lnTo>
                    <a:pt x="2217" y="2013"/>
                  </a:lnTo>
                  <a:lnTo>
                    <a:pt x="2206" y="2061"/>
                  </a:lnTo>
                  <a:lnTo>
                    <a:pt x="2188" y="2107"/>
                  </a:lnTo>
                  <a:lnTo>
                    <a:pt x="2165" y="2151"/>
                  </a:lnTo>
                  <a:lnTo>
                    <a:pt x="2136" y="2194"/>
                  </a:lnTo>
                  <a:lnTo>
                    <a:pt x="2148" y="2241"/>
                  </a:lnTo>
                  <a:lnTo>
                    <a:pt x="2153" y="2288"/>
                  </a:lnTo>
                  <a:lnTo>
                    <a:pt x="2153" y="2336"/>
                  </a:lnTo>
                  <a:lnTo>
                    <a:pt x="2148" y="2385"/>
                  </a:lnTo>
                  <a:lnTo>
                    <a:pt x="2136" y="2434"/>
                  </a:lnTo>
                  <a:lnTo>
                    <a:pt x="2122" y="2480"/>
                  </a:lnTo>
                  <a:lnTo>
                    <a:pt x="2104" y="2522"/>
                  </a:lnTo>
                  <a:lnTo>
                    <a:pt x="2082" y="2561"/>
                  </a:lnTo>
                  <a:lnTo>
                    <a:pt x="2056" y="2596"/>
                  </a:lnTo>
                  <a:lnTo>
                    <a:pt x="2025" y="2628"/>
                  </a:lnTo>
                  <a:lnTo>
                    <a:pt x="2027" y="2685"/>
                  </a:lnTo>
                  <a:lnTo>
                    <a:pt x="2025" y="2738"/>
                  </a:lnTo>
                  <a:lnTo>
                    <a:pt x="2019" y="2789"/>
                  </a:lnTo>
                  <a:lnTo>
                    <a:pt x="2009" y="2836"/>
                  </a:lnTo>
                  <a:lnTo>
                    <a:pt x="1994" y="2882"/>
                  </a:lnTo>
                  <a:lnTo>
                    <a:pt x="1975" y="2925"/>
                  </a:lnTo>
                  <a:lnTo>
                    <a:pt x="1952" y="2964"/>
                  </a:lnTo>
                  <a:lnTo>
                    <a:pt x="1924" y="3001"/>
                  </a:lnTo>
                  <a:lnTo>
                    <a:pt x="1894" y="3033"/>
                  </a:lnTo>
                  <a:lnTo>
                    <a:pt x="1858" y="3062"/>
                  </a:lnTo>
                  <a:lnTo>
                    <a:pt x="1820" y="3089"/>
                  </a:lnTo>
                  <a:lnTo>
                    <a:pt x="1779" y="3110"/>
                  </a:lnTo>
                  <a:lnTo>
                    <a:pt x="1734" y="3128"/>
                  </a:lnTo>
                  <a:lnTo>
                    <a:pt x="1686" y="3142"/>
                  </a:lnTo>
                  <a:lnTo>
                    <a:pt x="1633" y="3152"/>
                  </a:lnTo>
                  <a:lnTo>
                    <a:pt x="1578" y="3159"/>
                  </a:lnTo>
                  <a:lnTo>
                    <a:pt x="1519" y="3161"/>
                  </a:lnTo>
                  <a:lnTo>
                    <a:pt x="1253" y="3161"/>
                  </a:lnTo>
                  <a:lnTo>
                    <a:pt x="1183" y="3159"/>
                  </a:lnTo>
                  <a:lnTo>
                    <a:pt x="1110" y="3153"/>
                  </a:lnTo>
                  <a:lnTo>
                    <a:pt x="1035" y="3144"/>
                  </a:lnTo>
                  <a:lnTo>
                    <a:pt x="957" y="3130"/>
                  </a:lnTo>
                  <a:lnTo>
                    <a:pt x="895" y="3117"/>
                  </a:lnTo>
                  <a:lnTo>
                    <a:pt x="839" y="3105"/>
                  </a:lnTo>
                  <a:lnTo>
                    <a:pt x="789" y="3093"/>
                  </a:lnTo>
                  <a:lnTo>
                    <a:pt x="744" y="3080"/>
                  </a:lnTo>
                  <a:lnTo>
                    <a:pt x="706" y="3069"/>
                  </a:lnTo>
                  <a:lnTo>
                    <a:pt x="667" y="3057"/>
                  </a:lnTo>
                  <a:lnTo>
                    <a:pt x="624" y="3043"/>
                  </a:lnTo>
                  <a:lnTo>
                    <a:pt x="573" y="3027"/>
                  </a:lnTo>
                  <a:lnTo>
                    <a:pt x="518" y="3009"/>
                  </a:lnTo>
                  <a:lnTo>
                    <a:pt x="458" y="2988"/>
                  </a:lnTo>
                  <a:lnTo>
                    <a:pt x="404" y="2970"/>
                  </a:lnTo>
                  <a:lnTo>
                    <a:pt x="354" y="2953"/>
                  </a:lnTo>
                  <a:lnTo>
                    <a:pt x="309" y="2939"/>
                  </a:lnTo>
                  <a:lnTo>
                    <a:pt x="269" y="2927"/>
                  </a:lnTo>
                  <a:lnTo>
                    <a:pt x="233" y="2917"/>
                  </a:lnTo>
                  <a:lnTo>
                    <a:pt x="200" y="2909"/>
                  </a:lnTo>
                  <a:lnTo>
                    <a:pt x="173" y="2903"/>
                  </a:lnTo>
                  <a:lnTo>
                    <a:pt x="151" y="2900"/>
                  </a:lnTo>
                  <a:lnTo>
                    <a:pt x="132" y="2898"/>
                  </a:lnTo>
                  <a:lnTo>
                    <a:pt x="107" y="2895"/>
                  </a:lnTo>
                  <a:lnTo>
                    <a:pt x="83" y="2887"/>
                  </a:lnTo>
                  <a:lnTo>
                    <a:pt x="61" y="2875"/>
                  </a:lnTo>
                  <a:lnTo>
                    <a:pt x="40" y="2857"/>
                  </a:lnTo>
                  <a:lnTo>
                    <a:pt x="22" y="2837"/>
                  </a:lnTo>
                  <a:lnTo>
                    <a:pt x="10" y="2816"/>
                  </a:lnTo>
                  <a:lnTo>
                    <a:pt x="3" y="2792"/>
                  </a:lnTo>
                  <a:lnTo>
                    <a:pt x="0" y="2766"/>
                  </a:lnTo>
                  <a:lnTo>
                    <a:pt x="0" y="1447"/>
                  </a:lnTo>
                  <a:lnTo>
                    <a:pt x="3" y="1422"/>
                  </a:lnTo>
                  <a:lnTo>
                    <a:pt x="9" y="1399"/>
                  </a:lnTo>
                  <a:lnTo>
                    <a:pt x="21" y="1378"/>
                  </a:lnTo>
                  <a:lnTo>
                    <a:pt x="38" y="1357"/>
                  </a:lnTo>
                  <a:lnTo>
                    <a:pt x="57" y="1340"/>
                  </a:lnTo>
                  <a:lnTo>
                    <a:pt x="79" y="1327"/>
                  </a:lnTo>
                  <a:lnTo>
                    <a:pt x="102" y="1319"/>
                  </a:lnTo>
                  <a:lnTo>
                    <a:pt x="126" y="1315"/>
                  </a:lnTo>
                  <a:lnTo>
                    <a:pt x="141" y="1311"/>
                  </a:lnTo>
                  <a:lnTo>
                    <a:pt x="159" y="1303"/>
                  </a:lnTo>
                  <a:lnTo>
                    <a:pt x="179" y="1291"/>
                  </a:lnTo>
                  <a:lnTo>
                    <a:pt x="201" y="1273"/>
                  </a:lnTo>
                  <a:lnTo>
                    <a:pt x="227" y="1252"/>
                  </a:lnTo>
                  <a:lnTo>
                    <a:pt x="254" y="1225"/>
                  </a:lnTo>
                  <a:lnTo>
                    <a:pt x="283" y="1194"/>
                  </a:lnTo>
                  <a:lnTo>
                    <a:pt x="353" y="1114"/>
                  </a:lnTo>
                  <a:lnTo>
                    <a:pt x="423" y="1031"/>
                  </a:lnTo>
                  <a:lnTo>
                    <a:pt x="491" y="945"/>
                  </a:lnTo>
                  <a:lnTo>
                    <a:pt x="529" y="895"/>
                  </a:lnTo>
                  <a:lnTo>
                    <a:pt x="565" y="851"/>
                  </a:lnTo>
                  <a:lnTo>
                    <a:pt x="598" y="812"/>
                  </a:lnTo>
                  <a:lnTo>
                    <a:pt x="628" y="777"/>
                  </a:lnTo>
                  <a:lnTo>
                    <a:pt x="654" y="746"/>
                  </a:lnTo>
                  <a:lnTo>
                    <a:pt x="678" y="719"/>
                  </a:lnTo>
                  <a:lnTo>
                    <a:pt x="699" y="697"/>
                  </a:lnTo>
                  <a:lnTo>
                    <a:pt x="722" y="670"/>
                  </a:lnTo>
                  <a:lnTo>
                    <a:pt x="743" y="637"/>
                  </a:lnTo>
                  <a:lnTo>
                    <a:pt x="762" y="599"/>
                  </a:lnTo>
                  <a:lnTo>
                    <a:pt x="775" y="570"/>
                  </a:lnTo>
                  <a:lnTo>
                    <a:pt x="785" y="543"/>
                  </a:lnTo>
                  <a:lnTo>
                    <a:pt x="793" y="520"/>
                  </a:lnTo>
                  <a:lnTo>
                    <a:pt x="799" y="499"/>
                  </a:lnTo>
                  <a:lnTo>
                    <a:pt x="804" y="477"/>
                  </a:lnTo>
                  <a:lnTo>
                    <a:pt x="811" y="449"/>
                  </a:lnTo>
                  <a:lnTo>
                    <a:pt x="818" y="415"/>
                  </a:lnTo>
                  <a:lnTo>
                    <a:pt x="827" y="375"/>
                  </a:lnTo>
                  <a:lnTo>
                    <a:pt x="834" y="337"/>
                  </a:lnTo>
                  <a:lnTo>
                    <a:pt x="840" y="304"/>
                  </a:lnTo>
                  <a:lnTo>
                    <a:pt x="847" y="274"/>
                  </a:lnTo>
                  <a:lnTo>
                    <a:pt x="852" y="249"/>
                  </a:lnTo>
                  <a:lnTo>
                    <a:pt x="862" y="217"/>
                  </a:lnTo>
                  <a:lnTo>
                    <a:pt x="875" y="181"/>
                  </a:lnTo>
                  <a:lnTo>
                    <a:pt x="892" y="142"/>
                  </a:lnTo>
                  <a:lnTo>
                    <a:pt x="913" y="104"/>
                  </a:lnTo>
                  <a:lnTo>
                    <a:pt x="936" y="68"/>
                  </a:lnTo>
                  <a:lnTo>
                    <a:pt x="963" y="39"/>
                  </a:lnTo>
                  <a:lnTo>
                    <a:pt x="983" y="22"/>
                  </a:lnTo>
                  <a:lnTo>
                    <a:pt x="1005" y="10"/>
                  </a:lnTo>
                  <a:lnTo>
                    <a:pt x="1029" y="2"/>
                  </a:lnTo>
                  <a:lnTo>
                    <a:pt x="10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9" name="Freeform 7"/>
            <p:cNvSpPr>
              <a:spLocks noEditPoints="1"/>
            </p:cNvSpPr>
            <p:nvPr/>
          </p:nvSpPr>
          <p:spPr bwMode="auto">
            <a:xfrm>
              <a:off x="543" y="941"/>
              <a:ext cx="122" cy="226"/>
            </a:xfrm>
            <a:custGeom>
              <a:avLst/>
              <a:gdLst>
                <a:gd name="T0" fmla="*/ 369 w 857"/>
                <a:gd name="T1" fmla="*/ 1056 h 1581"/>
                <a:gd name="T2" fmla="*/ 322 w 857"/>
                <a:gd name="T3" fmla="*/ 1076 h 1581"/>
                <a:gd name="T4" fmla="*/ 286 w 857"/>
                <a:gd name="T5" fmla="*/ 1113 h 1581"/>
                <a:gd name="T6" fmla="*/ 266 w 857"/>
                <a:gd name="T7" fmla="*/ 1160 h 1581"/>
                <a:gd name="T8" fmla="*/ 266 w 857"/>
                <a:gd name="T9" fmla="*/ 1213 h 1581"/>
                <a:gd name="T10" fmla="*/ 286 w 857"/>
                <a:gd name="T11" fmla="*/ 1259 h 1581"/>
                <a:gd name="T12" fmla="*/ 322 w 857"/>
                <a:gd name="T13" fmla="*/ 1296 h 1581"/>
                <a:gd name="T14" fmla="*/ 369 w 857"/>
                <a:gd name="T15" fmla="*/ 1315 h 1581"/>
                <a:gd name="T16" fmla="*/ 421 w 857"/>
                <a:gd name="T17" fmla="*/ 1315 h 1581"/>
                <a:gd name="T18" fmla="*/ 468 w 857"/>
                <a:gd name="T19" fmla="*/ 1296 h 1581"/>
                <a:gd name="T20" fmla="*/ 505 w 857"/>
                <a:gd name="T21" fmla="*/ 1259 h 1581"/>
                <a:gd name="T22" fmla="*/ 525 w 857"/>
                <a:gd name="T23" fmla="*/ 1213 h 1581"/>
                <a:gd name="T24" fmla="*/ 525 w 857"/>
                <a:gd name="T25" fmla="*/ 1160 h 1581"/>
                <a:gd name="T26" fmla="*/ 505 w 857"/>
                <a:gd name="T27" fmla="*/ 1113 h 1581"/>
                <a:gd name="T28" fmla="*/ 468 w 857"/>
                <a:gd name="T29" fmla="*/ 1076 h 1581"/>
                <a:gd name="T30" fmla="*/ 421 w 857"/>
                <a:gd name="T31" fmla="*/ 1056 h 1581"/>
                <a:gd name="T32" fmla="*/ 132 w 857"/>
                <a:gd name="T33" fmla="*/ 0 h 1581"/>
                <a:gd name="T34" fmla="*/ 751 w 857"/>
                <a:gd name="T35" fmla="*/ 2 h 1581"/>
                <a:gd name="T36" fmla="*/ 797 w 857"/>
                <a:gd name="T37" fmla="*/ 22 h 1581"/>
                <a:gd name="T38" fmla="*/ 835 w 857"/>
                <a:gd name="T39" fmla="*/ 60 h 1581"/>
                <a:gd name="T40" fmla="*/ 855 w 857"/>
                <a:gd name="T41" fmla="*/ 106 h 1581"/>
                <a:gd name="T42" fmla="*/ 857 w 857"/>
                <a:gd name="T43" fmla="*/ 1449 h 1581"/>
                <a:gd name="T44" fmla="*/ 847 w 857"/>
                <a:gd name="T45" fmla="*/ 1499 h 1581"/>
                <a:gd name="T46" fmla="*/ 817 w 857"/>
                <a:gd name="T47" fmla="*/ 1541 h 1581"/>
                <a:gd name="T48" fmla="*/ 775 w 857"/>
                <a:gd name="T49" fmla="*/ 1572 h 1581"/>
                <a:gd name="T50" fmla="*/ 725 w 857"/>
                <a:gd name="T51" fmla="*/ 1581 h 1581"/>
                <a:gd name="T52" fmla="*/ 106 w 857"/>
                <a:gd name="T53" fmla="*/ 1579 h 1581"/>
                <a:gd name="T54" fmla="*/ 59 w 857"/>
                <a:gd name="T55" fmla="*/ 1559 h 1581"/>
                <a:gd name="T56" fmla="*/ 22 w 857"/>
                <a:gd name="T57" fmla="*/ 1521 h 1581"/>
                <a:gd name="T58" fmla="*/ 2 w 857"/>
                <a:gd name="T59" fmla="*/ 1475 h 1581"/>
                <a:gd name="T60" fmla="*/ 0 w 857"/>
                <a:gd name="T61" fmla="*/ 132 h 1581"/>
                <a:gd name="T62" fmla="*/ 10 w 857"/>
                <a:gd name="T63" fmla="*/ 82 h 1581"/>
                <a:gd name="T64" fmla="*/ 39 w 857"/>
                <a:gd name="T65" fmla="*/ 39 h 1581"/>
                <a:gd name="T66" fmla="*/ 81 w 857"/>
                <a:gd name="T67" fmla="*/ 10 h 1581"/>
                <a:gd name="T68" fmla="*/ 132 w 857"/>
                <a:gd name="T69" fmla="*/ 0 h 15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57" h="1581">
                  <a:moveTo>
                    <a:pt x="395" y="1054"/>
                  </a:moveTo>
                  <a:lnTo>
                    <a:pt x="369" y="1056"/>
                  </a:lnTo>
                  <a:lnTo>
                    <a:pt x="344" y="1064"/>
                  </a:lnTo>
                  <a:lnTo>
                    <a:pt x="322" y="1076"/>
                  </a:lnTo>
                  <a:lnTo>
                    <a:pt x="302" y="1093"/>
                  </a:lnTo>
                  <a:lnTo>
                    <a:pt x="286" y="1113"/>
                  </a:lnTo>
                  <a:lnTo>
                    <a:pt x="273" y="1136"/>
                  </a:lnTo>
                  <a:lnTo>
                    <a:pt x="266" y="1160"/>
                  </a:lnTo>
                  <a:lnTo>
                    <a:pt x="263" y="1186"/>
                  </a:lnTo>
                  <a:lnTo>
                    <a:pt x="266" y="1213"/>
                  </a:lnTo>
                  <a:lnTo>
                    <a:pt x="273" y="1237"/>
                  </a:lnTo>
                  <a:lnTo>
                    <a:pt x="286" y="1259"/>
                  </a:lnTo>
                  <a:lnTo>
                    <a:pt x="302" y="1279"/>
                  </a:lnTo>
                  <a:lnTo>
                    <a:pt x="322" y="1296"/>
                  </a:lnTo>
                  <a:lnTo>
                    <a:pt x="344" y="1308"/>
                  </a:lnTo>
                  <a:lnTo>
                    <a:pt x="369" y="1315"/>
                  </a:lnTo>
                  <a:lnTo>
                    <a:pt x="395" y="1317"/>
                  </a:lnTo>
                  <a:lnTo>
                    <a:pt x="421" y="1315"/>
                  </a:lnTo>
                  <a:lnTo>
                    <a:pt x="445" y="1308"/>
                  </a:lnTo>
                  <a:lnTo>
                    <a:pt x="468" y="1296"/>
                  </a:lnTo>
                  <a:lnTo>
                    <a:pt x="488" y="1279"/>
                  </a:lnTo>
                  <a:lnTo>
                    <a:pt x="505" y="1259"/>
                  </a:lnTo>
                  <a:lnTo>
                    <a:pt x="518" y="1237"/>
                  </a:lnTo>
                  <a:lnTo>
                    <a:pt x="525" y="1213"/>
                  </a:lnTo>
                  <a:lnTo>
                    <a:pt x="527" y="1186"/>
                  </a:lnTo>
                  <a:lnTo>
                    <a:pt x="525" y="1160"/>
                  </a:lnTo>
                  <a:lnTo>
                    <a:pt x="518" y="1136"/>
                  </a:lnTo>
                  <a:lnTo>
                    <a:pt x="505" y="1113"/>
                  </a:lnTo>
                  <a:lnTo>
                    <a:pt x="488" y="1093"/>
                  </a:lnTo>
                  <a:lnTo>
                    <a:pt x="468" y="1076"/>
                  </a:lnTo>
                  <a:lnTo>
                    <a:pt x="445" y="1064"/>
                  </a:lnTo>
                  <a:lnTo>
                    <a:pt x="421" y="1056"/>
                  </a:lnTo>
                  <a:lnTo>
                    <a:pt x="395" y="1054"/>
                  </a:lnTo>
                  <a:close/>
                  <a:moveTo>
                    <a:pt x="132" y="0"/>
                  </a:moveTo>
                  <a:lnTo>
                    <a:pt x="725" y="0"/>
                  </a:lnTo>
                  <a:lnTo>
                    <a:pt x="751" y="2"/>
                  </a:lnTo>
                  <a:lnTo>
                    <a:pt x="775" y="10"/>
                  </a:lnTo>
                  <a:lnTo>
                    <a:pt x="797" y="22"/>
                  </a:lnTo>
                  <a:lnTo>
                    <a:pt x="817" y="39"/>
                  </a:lnTo>
                  <a:lnTo>
                    <a:pt x="835" y="60"/>
                  </a:lnTo>
                  <a:lnTo>
                    <a:pt x="847" y="82"/>
                  </a:lnTo>
                  <a:lnTo>
                    <a:pt x="855" y="106"/>
                  </a:lnTo>
                  <a:lnTo>
                    <a:pt x="857" y="132"/>
                  </a:lnTo>
                  <a:lnTo>
                    <a:pt x="857" y="1449"/>
                  </a:lnTo>
                  <a:lnTo>
                    <a:pt x="855" y="1475"/>
                  </a:lnTo>
                  <a:lnTo>
                    <a:pt x="847" y="1499"/>
                  </a:lnTo>
                  <a:lnTo>
                    <a:pt x="835" y="1521"/>
                  </a:lnTo>
                  <a:lnTo>
                    <a:pt x="817" y="1541"/>
                  </a:lnTo>
                  <a:lnTo>
                    <a:pt x="797" y="1559"/>
                  </a:lnTo>
                  <a:lnTo>
                    <a:pt x="775" y="1572"/>
                  </a:lnTo>
                  <a:lnTo>
                    <a:pt x="751" y="1579"/>
                  </a:lnTo>
                  <a:lnTo>
                    <a:pt x="725" y="1581"/>
                  </a:lnTo>
                  <a:lnTo>
                    <a:pt x="132" y="1581"/>
                  </a:lnTo>
                  <a:lnTo>
                    <a:pt x="106" y="1579"/>
                  </a:lnTo>
                  <a:lnTo>
                    <a:pt x="81" y="1572"/>
                  </a:lnTo>
                  <a:lnTo>
                    <a:pt x="59" y="1559"/>
                  </a:lnTo>
                  <a:lnTo>
                    <a:pt x="39" y="1541"/>
                  </a:lnTo>
                  <a:lnTo>
                    <a:pt x="22" y="1521"/>
                  </a:lnTo>
                  <a:lnTo>
                    <a:pt x="10" y="1499"/>
                  </a:lnTo>
                  <a:lnTo>
                    <a:pt x="2" y="1475"/>
                  </a:lnTo>
                  <a:lnTo>
                    <a:pt x="0" y="1449"/>
                  </a:lnTo>
                  <a:lnTo>
                    <a:pt x="0" y="132"/>
                  </a:lnTo>
                  <a:lnTo>
                    <a:pt x="2" y="106"/>
                  </a:lnTo>
                  <a:lnTo>
                    <a:pt x="10" y="82"/>
                  </a:lnTo>
                  <a:lnTo>
                    <a:pt x="22" y="60"/>
                  </a:lnTo>
                  <a:lnTo>
                    <a:pt x="39" y="39"/>
                  </a:lnTo>
                  <a:lnTo>
                    <a:pt x="59" y="22"/>
                  </a:lnTo>
                  <a:lnTo>
                    <a:pt x="81" y="10"/>
                  </a:lnTo>
                  <a:lnTo>
                    <a:pt x="106" y="2"/>
                  </a:lnTo>
                  <a:lnTo>
                    <a:pt x="13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60" name="Freeform 6"/>
          <p:cNvSpPr>
            <a:spLocks noEditPoints="1"/>
          </p:cNvSpPr>
          <p:nvPr/>
        </p:nvSpPr>
        <p:spPr bwMode="auto">
          <a:xfrm>
            <a:off x="8003068" y="2308555"/>
            <a:ext cx="772877" cy="774070"/>
          </a:xfrm>
          <a:custGeom>
            <a:avLst/>
            <a:gdLst>
              <a:gd name="T0" fmla="*/ 3451 w 3891"/>
              <a:gd name="T1" fmla="*/ 2705 h 3894"/>
              <a:gd name="T2" fmla="*/ 3435 w 3891"/>
              <a:gd name="T3" fmla="*/ 2855 h 3894"/>
              <a:gd name="T4" fmla="*/ 2809 w 3891"/>
              <a:gd name="T5" fmla="*/ 3405 h 3894"/>
              <a:gd name="T6" fmla="*/ 2373 w 3891"/>
              <a:gd name="T7" fmla="*/ 2981 h 3894"/>
              <a:gd name="T8" fmla="*/ 2424 w 3891"/>
              <a:gd name="T9" fmla="*/ 2838 h 3894"/>
              <a:gd name="T10" fmla="*/ 2575 w 3891"/>
              <a:gd name="T11" fmla="*/ 2855 h 3894"/>
              <a:gd name="T12" fmla="*/ 2919 w 3891"/>
              <a:gd name="T13" fmla="*/ 2190 h 3894"/>
              <a:gd name="T14" fmla="*/ 2511 w 3891"/>
              <a:gd name="T15" fmla="*/ 2315 h 3894"/>
              <a:gd name="T16" fmla="*/ 2246 w 3891"/>
              <a:gd name="T17" fmla="*/ 2636 h 3894"/>
              <a:gd name="T18" fmla="*/ 2203 w 3891"/>
              <a:gd name="T19" fmla="*/ 3067 h 3894"/>
              <a:gd name="T20" fmla="*/ 2403 w 3891"/>
              <a:gd name="T21" fmla="*/ 3437 h 3894"/>
              <a:gd name="T22" fmla="*/ 2771 w 3891"/>
              <a:gd name="T23" fmla="*/ 3636 h 3894"/>
              <a:gd name="T24" fmla="*/ 3202 w 3891"/>
              <a:gd name="T25" fmla="*/ 3593 h 3894"/>
              <a:gd name="T26" fmla="*/ 3523 w 3891"/>
              <a:gd name="T27" fmla="*/ 3328 h 3894"/>
              <a:gd name="T28" fmla="*/ 3648 w 3891"/>
              <a:gd name="T29" fmla="*/ 2920 h 3894"/>
              <a:gd name="T30" fmla="*/ 3523 w 3891"/>
              <a:gd name="T31" fmla="*/ 2512 h 3894"/>
              <a:gd name="T32" fmla="*/ 3202 w 3891"/>
              <a:gd name="T33" fmla="*/ 2248 h 3894"/>
              <a:gd name="T34" fmla="*/ 1702 w 3891"/>
              <a:gd name="T35" fmla="*/ 2190 h 3894"/>
              <a:gd name="T36" fmla="*/ 972 w 3891"/>
              <a:gd name="T37" fmla="*/ 2677 h 3894"/>
              <a:gd name="T38" fmla="*/ 3164 w 3891"/>
              <a:gd name="T39" fmla="*/ 1978 h 3894"/>
              <a:gd name="T40" fmla="*/ 3578 w 3891"/>
              <a:gd name="T41" fmla="*/ 2204 h 3894"/>
              <a:gd name="T42" fmla="*/ 3836 w 3891"/>
              <a:gd name="T43" fmla="*/ 2597 h 3894"/>
              <a:gd name="T44" fmla="*/ 3877 w 3891"/>
              <a:gd name="T45" fmla="*/ 3086 h 3894"/>
              <a:gd name="T46" fmla="*/ 3684 w 3891"/>
              <a:gd name="T47" fmla="*/ 3521 h 3894"/>
              <a:gd name="T48" fmla="*/ 3315 w 3891"/>
              <a:gd name="T49" fmla="*/ 3810 h 3894"/>
              <a:gd name="T50" fmla="*/ 2835 w 3891"/>
              <a:gd name="T51" fmla="*/ 3890 h 3894"/>
              <a:gd name="T52" fmla="*/ 2383 w 3891"/>
              <a:gd name="T53" fmla="*/ 3733 h 3894"/>
              <a:gd name="T54" fmla="*/ 2066 w 3891"/>
              <a:gd name="T55" fmla="*/ 3388 h 3894"/>
              <a:gd name="T56" fmla="*/ 1945 w 3891"/>
              <a:gd name="T57" fmla="*/ 2920 h 3894"/>
              <a:gd name="T58" fmla="*/ 2066 w 3891"/>
              <a:gd name="T59" fmla="*/ 2452 h 3894"/>
              <a:gd name="T60" fmla="*/ 2383 w 3891"/>
              <a:gd name="T61" fmla="*/ 2107 h 3894"/>
              <a:gd name="T62" fmla="*/ 2835 w 3891"/>
              <a:gd name="T63" fmla="*/ 1951 h 3894"/>
              <a:gd name="T64" fmla="*/ 1945 w 3891"/>
              <a:gd name="T65" fmla="*/ 1461 h 3894"/>
              <a:gd name="T66" fmla="*/ 486 w 3891"/>
              <a:gd name="T67" fmla="*/ 1461 h 3894"/>
              <a:gd name="T68" fmla="*/ 364 w 3891"/>
              <a:gd name="T69" fmla="*/ 486 h 3894"/>
              <a:gd name="T70" fmla="*/ 436 w 3891"/>
              <a:gd name="T71" fmla="*/ 780 h 3894"/>
              <a:gd name="T72" fmla="*/ 647 w 3891"/>
              <a:gd name="T73" fmla="*/ 848 h 3894"/>
              <a:gd name="T74" fmla="*/ 823 w 3891"/>
              <a:gd name="T75" fmla="*/ 719 h 3894"/>
              <a:gd name="T76" fmla="*/ 2311 w 3891"/>
              <a:gd name="T77" fmla="*/ 608 h 3894"/>
              <a:gd name="T78" fmla="*/ 2410 w 3891"/>
              <a:gd name="T79" fmla="*/ 805 h 3894"/>
              <a:gd name="T80" fmla="*/ 2630 w 3891"/>
              <a:gd name="T81" fmla="*/ 839 h 3894"/>
              <a:gd name="T82" fmla="*/ 2784 w 3891"/>
              <a:gd name="T83" fmla="*/ 685 h 3894"/>
              <a:gd name="T84" fmla="*/ 2982 w 3891"/>
              <a:gd name="T85" fmla="*/ 500 h 3894"/>
              <a:gd name="T86" fmla="*/ 3148 w 3891"/>
              <a:gd name="T87" fmla="*/ 670 h 3894"/>
              <a:gd name="T88" fmla="*/ 244 w 3891"/>
              <a:gd name="T89" fmla="*/ 1217 h 3894"/>
              <a:gd name="T90" fmla="*/ 1702 w 3891"/>
              <a:gd name="T91" fmla="*/ 3163 h 3894"/>
              <a:gd name="T92" fmla="*/ 77 w 3891"/>
              <a:gd name="T93" fmla="*/ 3085 h 3894"/>
              <a:gd name="T94" fmla="*/ 0 w 3891"/>
              <a:gd name="T95" fmla="*/ 754 h 3894"/>
              <a:gd name="T96" fmla="*/ 107 w 3891"/>
              <a:gd name="T97" fmla="*/ 538 h 3894"/>
              <a:gd name="T98" fmla="*/ 2582 w 3891"/>
              <a:gd name="T99" fmla="*/ 3 h 3894"/>
              <a:gd name="T100" fmla="*/ 2675 w 3891"/>
              <a:gd name="T101" fmla="*/ 122 h 3894"/>
              <a:gd name="T102" fmla="*/ 2606 w 3891"/>
              <a:gd name="T103" fmla="*/ 717 h 3894"/>
              <a:gd name="T104" fmla="*/ 2459 w 3891"/>
              <a:gd name="T105" fmla="*/ 684 h 3894"/>
              <a:gd name="T106" fmla="*/ 2444 w 3891"/>
              <a:gd name="T107" fmla="*/ 68 h 3894"/>
              <a:gd name="T108" fmla="*/ 608 w 3891"/>
              <a:gd name="T109" fmla="*/ 0 h 3894"/>
              <a:gd name="T110" fmla="*/ 726 w 3891"/>
              <a:gd name="T111" fmla="*/ 93 h 3894"/>
              <a:gd name="T112" fmla="*/ 684 w 3891"/>
              <a:gd name="T113" fmla="*/ 703 h 3894"/>
              <a:gd name="T114" fmla="*/ 532 w 3891"/>
              <a:gd name="T115" fmla="*/ 703 h 3894"/>
              <a:gd name="T116" fmla="*/ 490 w 3891"/>
              <a:gd name="T117" fmla="*/ 93 h 3894"/>
              <a:gd name="T118" fmla="*/ 608 w 3891"/>
              <a:gd name="T119" fmla="*/ 0 h 38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891" h="3894">
                <a:moveTo>
                  <a:pt x="3335" y="2648"/>
                </a:moveTo>
                <a:lnTo>
                  <a:pt x="3361" y="2648"/>
                </a:lnTo>
                <a:lnTo>
                  <a:pt x="3387" y="2654"/>
                </a:lnTo>
                <a:lnTo>
                  <a:pt x="3412" y="2666"/>
                </a:lnTo>
                <a:lnTo>
                  <a:pt x="3435" y="2682"/>
                </a:lnTo>
                <a:lnTo>
                  <a:pt x="3451" y="2705"/>
                </a:lnTo>
                <a:lnTo>
                  <a:pt x="3463" y="2730"/>
                </a:lnTo>
                <a:lnTo>
                  <a:pt x="3469" y="2756"/>
                </a:lnTo>
                <a:lnTo>
                  <a:pt x="3469" y="2782"/>
                </a:lnTo>
                <a:lnTo>
                  <a:pt x="3463" y="2808"/>
                </a:lnTo>
                <a:lnTo>
                  <a:pt x="3451" y="2833"/>
                </a:lnTo>
                <a:lnTo>
                  <a:pt x="3435" y="2855"/>
                </a:lnTo>
                <a:lnTo>
                  <a:pt x="2919" y="3372"/>
                </a:lnTo>
                <a:lnTo>
                  <a:pt x="2899" y="3387"/>
                </a:lnTo>
                <a:lnTo>
                  <a:pt x="2879" y="3398"/>
                </a:lnTo>
                <a:lnTo>
                  <a:pt x="2856" y="3405"/>
                </a:lnTo>
                <a:lnTo>
                  <a:pt x="2832" y="3407"/>
                </a:lnTo>
                <a:lnTo>
                  <a:pt x="2809" y="3405"/>
                </a:lnTo>
                <a:lnTo>
                  <a:pt x="2786" y="3398"/>
                </a:lnTo>
                <a:lnTo>
                  <a:pt x="2765" y="3387"/>
                </a:lnTo>
                <a:lnTo>
                  <a:pt x="2746" y="3372"/>
                </a:lnTo>
                <a:lnTo>
                  <a:pt x="2403" y="3027"/>
                </a:lnTo>
                <a:lnTo>
                  <a:pt x="2385" y="3006"/>
                </a:lnTo>
                <a:lnTo>
                  <a:pt x="2373" y="2981"/>
                </a:lnTo>
                <a:lnTo>
                  <a:pt x="2367" y="2955"/>
                </a:lnTo>
                <a:lnTo>
                  <a:pt x="2367" y="2928"/>
                </a:lnTo>
                <a:lnTo>
                  <a:pt x="2373" y="2902"/>
                </a:lnTo>
                <a:lnTo>
                  <a:pt x="2385" y="2877"/>
                </a:lnTo>
                <a:lnTo>
                  <a:pt x="2403" y="2855"/>
                </a:lnTo>
                <a:lnTo>
                  <a:pt x="2424" y="2838"/>
                </a:lnTo>
                <a:lnTo>
                  <a:pt x="2449" y="2826"/>
                </a:lnTo>
                <a:lnTo>
                  <a:pt x="2475" y="2820"/>
                </a:lnTo>
                <a:lnTo>
                  <a:pt x="2502" y="2820"/>
                </a:lnTo>
                <a:lnTo>
                  <a:pt x="2528" y="2826"/>
                </a:lnTo>
                <a:lnTo>
                  <a:pt x="2552" y="2838"/>
                </a:lnTo>
                <a:lnTo>
                  <a:pt x="2575" y="2855"/>
                </a:lnTo>
                <a:lnTo>
                  <a:pt x="2832" y="3113"/>
                </a:lnTo>
                <a:lnTo>
                  <a:pt x="3262" y="2682"/>
                </a:lnTo>
                <a:lnTo>
                  <a:pt x="3284" y="2666"/>
                </a:lnTo>
                <a:lnTo>
                  <a:pt x="3309" y="2654"/>
                </a:lnTo>
                <a:lnTo>
                  <a:pt x="3335" y="2648"/>
                </a:lnTo>
                <a:close/>
                <a:moveTo>
                  <a:pt x="2919" y="2190"/>
                </a:moveTo>
                <a:lnTo>
                  <a:pt x="2844" y="2193"/>
                </a:lnTo>
                <a:lnTo>
                  <a:pt x="2771" y="2205"/>
                </a:lnTo>
                <a:lnTo>
                  <a:pt x="2701" y="2223"/>
                </a:lnTo>
                <a:lnTo>
                  <a:pt x="2635" y="2248"/>
                </a:lnTo>
                <a:lnTo>
                  <a:pt x="2571" y="2279"/>
                </a:lnTo>
                <a:lnTo>
                  <a:pt x="2511" y="2315"/>
                </a:lnTo>
                <a:lnTo>
                  <a:pt x="2455" y="2357"/>
                </a:lnTo>
                <a:lnTo>
                  <a:pt x="2403" y="2404"/>
                </a:lnTo>
                <a:lnTo>
                  <a:pt x="2356" y="2456"/>
                </a:lnTo>
                <a:lnTo>
                  <a:pt x="2313" y="2512"/>
                </a:lnTo>
                <a:lnTo>
                  <a:pt x="2276" y="2572"/>
                </a:lnTo>
                <a:lnTo>
                  <a:pt x="2246" y="2636"/>
                </a:lnTo>
                <a:lnTo>
                  <a:pt x="2222" y="2704"/>
                </a:lnTo>
                <a:lnTo>
                  <a:pt x="2203" y="2774"/>
                </a:lnTo>
                <a:lnTo>
                  <a:pt x="2192" y="2846"/>
                </a:lnTo>
                <a:lnTo>
                  <a:pt x="2189" y="2920"/>
                </a:lnTo>
                <a:lnTo>
                  <a:pt x="2192" y="2995"/>
                </a:lnTo>
                <a:lnTo>
                  <a:pt x="2203" y="3067"/>
                </a:lnTo>
                <a:lnTo>
                  <a:pt x="2222" y="3137"/>
                </a:lnTo>
                <a:lnTo>
                  <a:pt x="2246" y="3205"/>
                </a:lnTo>
                <a:lnTo>
                  <a:pt x="2276" y="3267"/>
                </a:lnTo>
                <a:lnTo>
                  <a:pt x="2313" y="3328"/>
                </a:lnTo>
                <a:lnTo>
                  <a:pt x="2356" y="3385"/>
                </a:lnTo>
                <a:lnTo>
                  <a:pt x="2403" y="3437"/>
                </a:lnTo>
                <a:lnTo>
                  <a:pt x="2455" y="3483"/>
                </a:lnTo>
                <a:lnTo>
                  <a:pt x="2511" y="3525"/>
                </a:lnTo>
                <a:lnTo>
                  <a:pt x="2571" y="3562"/>
                </a:lnTo>
                <a:lnTo>
                  <a:pt x="2635" y="3593"/>
                </a:lnTo>
                <a:lnTo>
                  <a:pt x="2701" y="3618"/>
                </a:lnTo>
                <a:lnTo>
                  <a:pt x="2771" y="3636"/>
                </a:lnTo>
                <a:lnTo>
                  <a:pt x="2844" y="3646"/>
                </a:lnTo>
                <a:lnTo>
                  <a:pt x="2919" y="3650"/>
                </a:lnTo>
                <a:lnTo>
                  <a:pt x="2993" y="3646"/>
                </a:lnTo>
                <a:lnTo>
                  <a:pt x="3066" y="3636"/>
                </a:lnTo>
                <a:lnTo>
                  <a:pt x="3135" y="3618"/>
                </a:lnTo>
                <a:lnTo>
                  <a:pt x="3202" y="3593"/>
                </a:lnTo>
                <a:lnTo>
                  <a:pt x="3266" y="3562"/>
                </a:lnTo>
                <a:lnTo>
                  <a:pt x="3326" y="3525"/>
                </a:lnTo>
                <a:lnTo>
                  <a:pt x="3383" y="3483"/>
                </a:lnTo>
                <a:lnTo>
                  <a:pt x="3434" y="3437"/>
                </a:lnTo>
                <a:lnTo>
                  <a:pt x="3481" y="3385"/>
                </a:lnTo>
                <a:lnTo>
                  <a:pt x="3523" y="3328"/>
                </a:lnTo>
                <a:lnTo>
                  <a:pt x="3560" y="3267"/>
                </a:lnTo>
                <a:lnTo>
                  <a:pt x="3591" y="3205"/>
                </a:lnTo>
                <a:lnTo>
                  <a:pt x="3615" y="3137"/>
                </a:lnTo>
                <a:lnTo>
                  <a:pt x="3634" y="3067"/>
                </a:lnTo>
                <a:lnTo>
                  <a:pt x="3644" y="2995"/>
                </a:lnTo>
                <a:lnTo>
                  <a:pt x="3648" y="2920"/>
                </a:lnTo>
                <a:lnTo>
                  <a:pt x="3644" y="2846"/>
                </a:lnTo>
                <a:lnTo>
                  <a:pt x="3634" y="2774"/>
                </a:lnTo>
                <a:lnTo>
                  <a:pt x="3615" y="2704"/>
                </a:lnTo>
                <a:lnTo>
                  <a:pt x="3591" y="2636"/>
                </a:lnTo>
                <a:lnTo>
                  <a:pt x="3560" y="2572"/>
                </a:lnTo>
                <a:lnTo>
                  <a:pt x="3523" y="2512"/>
                </a:lnTo>
                <a:lnTo>
                  <a:pt x="3481" y="2456"/>
                </a:lnTo>
                <a:lnTo>
                  <a:pt x="3434" y="2404"/>
                </a:lnTo>
                <a:lnTo>
                  <a:pt x="3383" y="2357"/>
                </a:lnTo>
                <a:lnTo>
                  <a:pt x="3326" y="2315"/>
                </a:lnTo>
                <a:lnTo>
                  <a:pt x="3266" y="2279"/>
                </a:lnTo>
                <a:lnTo>
                  <a:pt x="3202" y="2248"/>
                </a:lnTo>
                <a:lnTo>
                  <a:pt x="3135" y="2223"/>
                </a:lnTo>
                <a:lnTo>
                  <a:pt x="3066" y="2205"/>
                </a:lnTo>
                <a:lnTo>
                  <a:pt x="2993" y="2193"/>
                </a:lnTo>
                <a:lnTo>
                  <a:pt x="2919" y="2190"/>
                </a:lnTo>
                <a:close/>
                <a:moveTo>
                  <a:pt x="1216" y="2190"/>
                </a:moveTo>
                <a:lnTo>
                  <a:pt x="1702" y="2190"/>
                </a:lnTo>
                <a:lnTo>
                  <a:pt x="1702" y="2677"/>
                </a:lnTo>
                <a:lnTo>
                  <a:pt x="1216" y="2677"/>
                </a:lnTo>
                <a:lnTo>
                  <a:pt x="1216" y="2190"/>
                </a:lnTo>
                <a:close/>
                <a:moveTo>
                  <a:pt x="486" y="2190"/>
                </a:moveTo>
                <a:lnTo>
                  <a:pt x="972" y="2190"/>
                </a:lnTo>
                <a:lnTo>
                  <a:pt x="972" y="2677"/>
                </a:lnTo>
                <a:lnTo>
                  <a:pt x="486" y="2677"/>
                </a:lnTo>
                <a:lnTo>
                  <a:pt x="486" y="2190"/>
                </a:lnTo>
                <a:close/>
                <a:moveTo>
                  <a:pt x="2919" y="1947"/>
                </a:moveTo>
                <a:lnTo>
                  <a:pt x="3003" y="1951"/>
                </a:lnTo>
                <a:lnTo>
                  <a:pt x="3084" y="1961"/>
                </a:lnTo>
                <a:lnTo>
                  <a:pt x="3164" y="1978"/>
                </a:lnTo>
                <a:lnTo>
                  <a:pt x="3241" y="2002"/>
                </a:lnTo>
                <a:lnTo>
                  <a:pt x="3315" y="2031"/>
                </a:lnTo>
                <a:lnTo>
                  <a:pt x="3386" y="2067"/>
                </a:lnTo>
                <a:lnTo>
                  <a:pt x="3454" y="2107"/>
                </a:lnTo>
                <a:lnTo>
                  <a:pt x="3518" y="2153"/>
                </a:lnTo>
                <a:lnTo>
                  <a:pt x="3578" y="2204"/>
                </a:lnTo>
                <a:lnTo>
                  <a:pt x="3634" y="2260"/>
                </a:lnTo>
                <a:lnTo>
                  <a:pt x="3684" y="2320"/>
                </a:lnTo>
                <a:lnTo>
                  <a:pt x="3731" y="2384"/>
                </a:lnTo>
                <a:lnTo>
                  <a:pt x="3772" y="2452"/>
                </a:lnTo>
                <a:lnTo>
                  <a:pt x="3806" y="2523"/>
                </a:lnTo>
                <a:lnTo>
                  <a:pt x="3836" y="2597"/>
                </a:lnTo>
                <a:lnTo>
                  <a:pt x="3860" y="2674"/>
                </a:lnTo>
                <a:lnTo>
                  <a:pt x="3877" y="2755"/>
                </a:lnTo>
                <a:lnTo>
                  <a:pt x="3888" y="2836"/>
                </a:lnTo>
                <a:lnTo>
                  <a:pt x="3891" y="2920"/>
                </a:lnTo>
                <a:lnTo>
                  <a:pt x="3888" y="3005"/>
                </a:lnTo>
                <a:lnTo>
                  <a:pt x="3877" y="3086"/>
                </a:lnTo>
                <a:lnTo>
                  <a:pt x="3860" y="3166"/>
                </a:lnTo>
                <a:lnTo>
                  <a:pt x="3836" y="3243"/>
                </a:lnTo>
                <a:lnTo>
                  <a:pt x="3806" y="3317"/>
                </a:lnTo>
                <a:lnTo>
                  <a:pt x="3772" y="3388"/>
                </a:lnTo>
                <a:lnTo>
                  <a:pt x="3731" y="3457"/>
                </a:lnTo>
                <a:lnTo>
                  <a:pt x="3684" y="3521"/>
                </a:lnTo>
                <a:lnTo>
                  <a:pt x="3634" y="3580"/>
                </a:lnTo>
                <a:lnTo>
                  <a:pt x="3578" y="3636"/>
                </a:lnTo>
                <a:lnTo>
                  <a:pt x="3518" y="3687"/>
                </a:lnTo>
                <a:lnTo>
                  <a:pt x="3454" y="3733"/>
                </a:lnTo>
                <a:lnTo>
                  <a:pt x="3386" y="3774"/>
                </a:lnTo>
                <a:lnTo>
                  <a:pt x="3315" y="3810"/>
                </a:lnTo>
                <a:lnTo>
                  <a:pt x="3241" y="3839"/>
                </a:lnTo>
                <a:lnTo>
                  <a:pt x="3164" y="3863"/>
                </a:lnTo>
                <a:lnTo>
                  <a:pt x="3084" y="3880"/>
                </a:lnTo>
                <a:lnTo>
                  <a:pt x="3003" y="3890"/>
                </a:lnTo>
                <a:lnTo>
                  <a:pt x="2919" y="3894"/>
                </a:lnTo>
                <a:lnTo>
                  <a:pt x="2835" y="3890"/>
                </a:lnTo>
                <a:lnTo>
                  <a:pt x="2752" y="3880"/>
                </a:lnTo>
                <a:lnTo>
                  <a:pt x="2673" y="3863"/>
                </a:lnTo>
                <a:lnTo>
                  <a:pt x="2596" y="3839"/>
                </a:lnTo>
                <a:lnTo>
                  <a:pt x="2521" y="3810"/>
                </a:lnTo>
                <a:lnTo>
                  <a:pt x="2450" y="3774"/>
                </a:lnTo>
                <a:lnTo>
                  <a:pt x="2383" y="3733"/>
                </a:lnTo>
                <a:lnTo>
                  <a:pt x="2319" y="3687"/>
                </a:lnTo>
                <a:lnTo>
                  <a:pt x="2259" y="3636"/>
                </a:lnTo>
                <a:lnTo>
                  <a:pt x="2203" y="3580"/>
                </a:lnTo>
                <a:lnTo>
                  <a:pt x="2152" y="3521"/>
                </a:lnTo>
                <a:lnTo>
                  <a:pt x="2106" y="3457"/>
                </a:lnTo>
                <a:lnTo>
                  <a:pt x="2066" y="3388"/>
                </a:lnTo>
                <a:lnTo>
                  <a:pt x="2030" y="3317"/>
                </a:lnTo>
                <a:lnTo>
                  <a:pt x="2001" y="3243"/>
                </a:lnTo>
                <a:lnTo>
                  <a:pt x="1977" y="3166"/>
                </a:lnTo>
                <a:lnTo>
                  <a:pt x="1959" y="3086"/>
                </a:lnTo>
                <a:lnTo>
                  <a:pt x="1949" y="3005"/>
                </a:lnTo>
                <a:lnTo>
                  <a:pt x="1945" y="2920"/>
                </a:lnTo>
                <a:lnTo>
                  <a:pt x="1949" y="2836"/>
                </a:lnTo>
                <a:lnTo>
                  <a:pt x="1959" y="2755"/>
                </a:lnTo>
                <a:lnTo>
                  <a:pt x="1977" y="2674"/>
                </a:lnTo>
                <a:lnTo>
                  <a:pt x="2001" y="2597"/>
                </a:lnTo>
                <a:lnTo>
                  <a:pt x="2030" y="2523"/>
                </a:lnTo>
                <a:lnTo>
                  <a:pt x="2066" y="2452"/>
                </a:lnTo>
                <a:lnTo>
                  <a:pt x="2106" y="2384"/>
                </a:lnTo>
                <a:lnTo>
                  <a:pt x="2152" y="2320"/>
                </a:lnTo>
                <a:lnTo>
                  <a:pt x="2203" y="2260"/>
                </a:lnTo>
                <a:lnTo>
                  <a:pt x="2259" y="2204"/>
                </a:lnTo>
                <a:lnTo>
                  <a:pt x="2319" y="2153"/>
                </a:lnTo>
                <a:lnTo>
                  <a:pt x="2383" y="2107"/>
                </a:lnTo>
                <a:lnTo>
                  <a:pt x="2450" y="2067"/>
                </a:lnTo>
                <a:lnTo>
                  <a:pt x="2521" y="2031"/>
                </a:lnTo>
                <a:lnTo>
                  <a:pt x="2596" y="2002"/>
                </a:lnTo>
                <a:lnTo>
                  <a:pt x="2673" y="1978"/>
                </a:lnTo>
                <a:lnTo>
                  <a:pt x="2752" y="1961"/>
                </a:lnTo>
                <a:lnTo>
                  <a:pt x="2835" y="1951"/>
                </a:lnTo>
                <a:lnTo>
                  <a:pt x="2919" y="1947"/>
                </a:lnTo>
                <a:close/>
                <a:moveTo>
                  <a:pt x="1945" y="1461"/>
                </a:moveTo>
                <a:lnTo>
                  <a:pt x="2431" y="1461"/>
                </a:lnTo>
                <a:lnTo>
                  <a:pt x="2431" y="1947"/>
                </a:lnTo>
                <a:lnTo>
                  <a:pt x="1945" y="1947"/>
                </a:lnTo>
                <a:lnTo>
                  <a:pt x="1945" y="1461"/>
                </a:lnTo>
                <a:close/>
                <a:moveTo>
                  <a:pt x="1216" y="1461"/>
                </a:moveTo>
                <a:lnTo>
                  <a:pt x="1702" y="1461"/>
                </a:lnTo>
                <a:lnTo>
                  <a:pt x="1702" y="1947"/>
                </a:lnTo>
                <a:lnTo>
                  <a:pt x="1216" y="1947"/>
                </a:lnTo>
                <a:lnTo>
                  <a:pt x="1216" y="1461"/>
                </a:lnTo>
                <a:close/>
                <a:moveTo>
                  <a:pt x="486" y="1461"/>
                </a:moveTo>
                <a:lnTo>
                  <a:pt x="972" y="1461"/>
                </a:lnTo>
                <a:lnTo>
                  <a:pt x="972" y="1947"/>
                </a:lnTo>
                <a:lnTo>
                  <a:pt x="486" y="1947"/>
                </a:lnTo>
                <a:lnTo>
                  <a:pt x="486" y="1461"/>
                </a:lnTo>
                <a:close/>
                <a:moveTo>
                  <a:pt x="264" y="486"/>
                </a:moveTo>
                <a:lnTo>
                  <a:pt x="364" y="486"/>
                </a:lnTo>
                <a:lnTo>
                  <a:pt x="364" y="608"/>
                </a:lnTo>
                <a:lnTo>
                  <a:pt x="368" y="647"/>
                </a:lnTo>
                <a:lnTo>
                  <a:pt x="377" y="685"/>
                </a:lnTo>
                <a:lnTo>
                  <a:pt x="391" y="719"/>
                </a:lnTo>
                <a:lnTo>
                  <a:pt x="412" y="751"/>
                </a:lnTo>
                <a:lnTo>
                  <a:pt x="436" y="780"/>
                </a:lnTo>
                <a:lnTo>
                  <a:pt x="465" y="805"/>
                </a:lnTo>
                <a:lnTo>
                  <a:pt x="496" y="825"/>
                </a:lnTo>
                <a:lnTo>
                  <a:pt x="531" y="839"/>
                </a:lnTo>
                <a:lnTo>
                  <a:pt x="569" y="848"/>
                </a:lnTo>
                <a:lnTo>
                  <a:pt x="608" y="852"/>
                </a:lnTo>
                <a:lnTo>
                  <a:pt x="647" y="848"/>
                </a:lnTo>
                <a:lnTo>
                  <a:pt x="685" y="839"/>
                </a:lnTo>
                <a:lnTo>
                  <a:pt x="719" y="825"/>
                </a:lnTo>
                <a:lnTo>
                  <a:pt x="751" y="805"/>
                </a:lnTo>
                <a:lnTo>
                  <a:pt x="780" y="780"/>
                </a:lnTo>
                <a:lnTo>
                  <a:pt x="804" y="751"/>
                </a:lnTo>
                <a:lnTo>
                  <a:pt x="823" y="719"/>
                </a:lnTo>
                <a:lnTo>
                  <a:pt x="839" y="685"/>
                </a:lnTo>
                <a:lnTo>
                  <a:pt x="848" y="647"/>
                </a:lnTo>
                <a:lnTo>
                  <a:pt x="851" y="608"/>
                </a:lnTo>
                <a:lnTo>
                  <a:pt x="851" y="486"/>
                </a:lnTo>
                <a:lnTo>
                  <a:pt x="2311" y="486"/>
                </a:lnTo>
                <a:lnTo>
                  <a:pt x="2311" y="608"/>
                </a:lnTo>
                <a:lnTo>
                  <a:pt x="2313" y="647"/>
                </a:lnTo>
                <a:lnTo>
                  <a:pt x="2322" y="685"/>
                </a:lnTo>
                <a:lnTo>
                  <a:pt x="2338" y="719"/>
                </a:lnTo>
                <a:lnTo>
                  <a:pt x="2357" y="751"/>
                </a:lnTo>
                <a:lnTo>
                  <a:pt x="2382" y="780"/>
                </a:lnTo>
                <a:lnTo>
                  <a:pt x="2410" y="805"/>
                </a:lnTo>
                <a:lnTo>
                  <a:pt x="2442" y="825"/>
                </a:lnTo>
                <a:lnTo>
                  <a:pt x="2476" y="839"/>
                </a:lnTo>
                <a:lnTo>
                  <a:pt x="2514" y="848"/>
                </a:lnTo>
                <a:lnTo>
                  <a:pt x="2553" y="852"/>
                </a:lnTo>
                <a:lnTo>
                  <a:pt x="2593" y="848"/>
                </a:lnTo>
                <a:lnTo>
                  <a:pt x="2630" y="839"/>
                </a:lnTo>
                <a:lnTo>
                  <a:pt x="2666" y="825"/>
                </a:lnTo>
                <a:lnTo>
                  <a:pt x="2698" y="805"/>
                </a:lnTo>
                <a:lnTo>
                  <a:pt x="2726" y="780"/>
                </a:lnTo>
                <a:lnTo>
                  <a:pt x="2750" y="751"/>
                </a:lnTo>
                <a:lnTo>
                  <a:pt x="2770" y="719"/>
                </a:lnTo>
                <a:lnTo>
                  <a:pt x="2784" y="685"/>
                </a:lnTo>
                <a:lnTo>
                  <a:pt x="2793" y="647"/>
                </a:lnTo>
                <a:lnTo>
                  <a:pt x="2797" y="608"/>
                </a:lnTo>
                <a:lnTo>
                  <a:pt x="2797" y="486"/>
                </a:lnTo>
                <a:lnTo>
                  <a:pt x="2899" y="486"/>
                </a:lnTo>
                <a:lnTo>
                  <a:pt x="2941" y="490"/>
                </a:lnTo>
                <a:lnTo>
                  <a:pt x="2982" y="500"/>
                </a:lnTo>
                <a:lnTo>
                  <a:pt x="3019" y="517"/>
                </a:lnTo>
                <a:lnTo>
                  <a:pt x="3054" y="538"/>
                </a:lnTo>
                <a:lnTo>
                  <a:pt x="3084" y="564"/>
                </a:lnTo>
                <a:lnTo>
                  <a:pt x="3111" y="596"/>
                </a:lnTo>
                <a:lnTo>
                  <a:pt x="3132" y="631"/>
                </a:lnTo>
                <a:lnTo>
                  <a:pt x="3148" y="670"/>
                </a:lnTo>
                <a:lnTo>
                  <a:pt x="3158" y="711"/>
                </a:lnTo>
                <a:lnTo>
                  <a:pt x="3161" y="754"/>
                </a:lnTo>
                <a:lnTo>
                  <a:pt x="3161" y="1703"/>
                </a:lnTo>
                <a:lnTo>
                  <a:pt x="2919" y="1703"/>
                </a:lnTo>
                <a:lnTo>
                  <a:pt x="2919" y="1217"/>
                </a:lnTo>
                <a:lnTo>
                  <a:pt x="244" y="1217"/>
                </a:lnTo>
                <a:lnTo>
                  <a:pt x="244" y="2896"/>
                </a:lnTo>
                <a:lnTo>
                  <a:pt x="246" y="2907"/>
                </a:lnTo>
                <a:lnTo>
                  <a:pt x="253" y="2917"/>
                </a:lnTo>
                <a:lnTo>
                  <a:pt x="264" y="2920"/>
                </a:lnTo>
                <a:lnTo>
                  <a:pt x="1702" y="2920"/>
                </a:lnTo>
                <a:lnTo>
                  <a:pt x="1702" y="3163"/>
                </a:lnTo>
                <a:lnTo>
                  <a:pt x="264" y="3163"/>
                </a:lnTo>
                <a:lnTo>
                  <a:pt x="221" y="3160"/>
                </a:lnTo>
                <a:lnTo>
                  <a:pt x="180" y="3150"/>
                </a:lnTo>
                <a:lnTo>
                  <a:pt x="142" y="3134"/>
                </a:lnTo>
                <a:lnTo>
                  <a:pt x="107" y="3112"/>
                </a:lnTo>
                <a:lnTo>
                  <a:pt x="77" y="3085"/>
                </a:lnTo>
                <a:lnTo>
                  <a:pt x="51" y="3054"/>
                </a:lnTo>
                <a:lnTo>
                  <a:pt x="29" y="3019"/>
                </a:lnTo>
                <a:lnTo>
                  <a:pt x="13" y="2981"/>
                </a:lnTo>
                <a:lnTo>
                  <a:pt x="3" y="2939"/>
                </a:lnTo>
                <a:lnTo>
                  <a:pt x="0" y="2896"/>
                </a:lnTo>
                <a:lnTo>
                  <a:pt x="0" y="754"/>
                </a:lnTo>
                <a:lnTo>
                  <a:pt x="3" y="711"/>
                </a:lnTo>
                <a:lnTo>
                  <a:pt x="13" y="670"/>
                </a:lnTo>
                <a:lnTo>
                  <a:pt x="29" y="631"/>
                </a:lnTo>
                <a:lnTo>
                  <a:pt x="51" y="596"/>
                </a:lnTo>
                <a:lnTo>
                  <a:pt x="77" y="564"/>
                </a:lnTo>
                <a:lnTo>
                  <a:pt x="107" y="538"/>
                </a:lnTo>
                <a:lnTo>
                  <a:pt x="142" y="517"/>
                </a:lnTo>
                <a:lnTo>
                  <a:pt x="180" y="500"/>
                </a:lnTo>
                <a:lnTo>
                  <a:pt x="221" y="490"/>
                </a:lnTo>
                <a:lnTo>
                  <a:pt x="264" y="486"/>
                </a:lnTo>
                <a:close/>
                <a:moveTo>
                  <a:pt x="2553" y="0"/>
                </a:moveTo>
                <a:lnTo>
                  <a:pt x="2582" y="3"/>
                </a:lnTo>
                <a:lnTo>
                  <a:pt x="2606" y="13"/>
                </a:lnTo>
                <a:lnTo>
                  <a:pt x="2630" y="27"/>
                </a:lnTo>
                <a:lnTo>
                  <a:pt x="2648" y="46"/>
                </a:lnTo>
                <a:lnTo>
                  <a:pt x="2663" y="68"/>
                </a:lnTo>
                <a:lnTo>
                  <a:pt x="2672" y="93"/>
                </a:lnTo>
                <a:lnTo>
                  <a:pt x="2675" y="122"/>
                </a:lnTo>
                <a:lnTo>
                  <a:pt x="2675" y="608"/>
                </a:lnTo>
                <a:lnTo>
                  <a:pt x="2672" y="637"/>
                </a:lnTo>
                <a:lnTo>
                  <a:pt x="2663" y="661"/>
                </a:lnTo>
                <a:lnTo>
                  <a:pt x="2648" y="684"/>
                </a:lnTo>
                <a:lnTo>
                  <a:pt x="2630" y="703"/>
                </a:lnTo>
                <a:lnTo>
                  <a:pt x="2606" y="717"/>
                </a:lnTo>
                <a:lnTo>
                  <a:pt x="2582" y="727"/>
                </a:lnTo>
                <a:lnTo>
                  <a:pt x="2553" y="730"/>
                </a:lnTo>
                <a:lnTo>
                  <a:pt x="2526" y="727"/>
                </a:lnTo>
                <a:lnTo>
                  <a:pt x="2500" y="717"/>
                </a:lnTo>
                <a:lnTo>
                  <a:pt x="2477" y="703"/>
                </a:lnTo>
                <a:lnTo>
                  <a:pt x="2459" y="684"/>
                </a:lnTo>
                <a:lnTo>
                  <a:pt x="2444" y="661"/>
                </a:lnTo>
                <a:lnTo>
                  <a:pt x="2435" y="637"/>
                </a:lnTo>
                <a:lnTo>
                  <a:pt x="2431" y="608"/>
                </a:lnTo>
                <a:lnTo>
                  <a:pt x="2431" y="122"/>
                </a:lnTo>
                <a:lnTo>
                  <a:pt x="2435" y="93"/>
                </a:lnTo>
                <a:lnTo>
                  <a:pt x="2444" y="68"/>
                </a:lnTo>
                <a:lnTo>
                  <a:pt x="2459" y="46"/>
                </a:lnTo>
                <a:lnTo>
                  <a:pt x="2477" y="27"/>
                </a:lnTo>
                <a:lnTo>
                  <a:pt x="2500" y="13"/>
                </a:lnTo>
                <a:lnTo>
                  <a:pt x="2526" y="3"/>
                </a:lnTo>
                <a:lnTo>
                  <a:pt x="2553" y="0"/>
                </a:lnTo>
                <a:close/>
                <a:moveTo>
                  <a:pt x="608" y="0"/>
                </a:moveTo>
                <a:lnTo>
                  <a:pt x="635" y="3"/>
                </a:lnTo>
                <a:lnTo>
                  <a:pt x="661" y="13"/>
                </a:lnTo>
                <a:lnTo>
                  <a:pt x="684" y="27"/>
                </a:lnTo>
                <a:lnTo>
                  <a:pt x="703" y="46"/>
                </a:lnTo>
                <a:lnTo>
                  <a:pt x="717" y="68"/>
                </a:lnTo>
                <a:lnTo>
                  <a:pt x="726" y="93"/>
                </a:lnTo>
                <a:lnTo>
                  <a:pt x="730" y="122"/>
                </a:lnTo>
                <a:lnTo>
                  <a:pt x="730" y="608"/>
                </a:lnTo>
                <a:lnTo>
                  <a:pt x="726" y="637"/>
                </a:lnTo>
                <a:lnTo>
                  <a:pt x="717" y="661"/>
                </a:lnTo>
                <a:lnTo>
                  <a:pt x="703" y="684"/>
                </a:lnTo>
                <a:lnTo>
                  <a:pt x="684" y="703"/>
                </a:lnTo>
                <a:lnTo>
                  <a:pt x="661" y="717"/>
                </a:lnTo>
                <a:lnTo>
                  <a:pt x="635" y="727"/>
                </a:lnTo>
                <a:lnTo>
                  <a:pt x="608" y="730"/>
                </a:lnTo>
                <a:lnTo>
                  <a:pt x="580" y="727"/>
                </a:lnTo>
                <a:lnTo>
                  <a:pt x="555" y="717"/>
                </a:lnTo>
                <a:lnTo>
                  <a:pt x="532" y="703"/>
                </a:lnTo>
                <a:lnTo>
                  <a:pt x="513" y="684"/>
                </a:lnTo>
                <a:lnTo>
                  <a:pt x="499" y="661"/>
                </a:lnTo>
                <a:lnTo>
                  <a:pt x="490" y="637"/>
                </a:lnTo>
                <a:lnTo>
                  <a:pt x="486" y="608"/>
                </a:lnTo>
                <a:lnTo>
                  <a:pt x="486" y="122"/>
                </a:lnTo>
                <a:lnTo>
                  <a:pt x="490" y="93"/>
                </a:lnTo>
                <a:lnTo>
                  <a:pt x="499" y="68"/>
                </a:lnTo>
                <a:lnTo>
                  <a:pt x="513" y="46"/>
                </a:lnTo>
                <a:lnTo>
                  <a:pt x="532" y="27"/>
                </a:lnTo>
                <a:lnTo>
                  <a:pt x="555" y="13"/>
                </a:lnTo>
                <a:lnTo>
                  <a:pt x="580" y="3"/>
                </a:lnTo>
                <a:lnTo>
                  <a:pt x="608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561" name="Group 560"/>
          <p:cNvGrpSpPr/>
          <p:nvPr/>
        </p:nvGrpSpPr>
        <p:grpSpPr>
          <a:xfrm>
            <a:off x="10298962" y="2284767"/>
            <a:ext cx="759680" cy="821647"/>
            <a:chOff x="-999963" y="3156492"/>
            <a:chExt cx="1100914" cy="1190720"/>
          </a:xfrm>
          <a:solidFill>
            <a:schemeClr val="bg1"/>
          </a:solidFill>
        </p:grpSpPr>
        <p:sp>
          <p:nvSpPr>
            <p:cNvPr id="562" name="Freeform 561"/>
            <p:cNvSpPr/>
            <p:nvPr/>
          </p:nvSpPr>
          <p:spPr>
            <a:xfrm rot="979343">
              <a:off x="-362597" y="3404644"/>
              <a:ext cx="238577" cy="240786"/>
            </a:xfrm>
            <a:custGeom>
              <a:avLst/>
              <a:gdLst>
                <a:gd name="connsiteX0" fmla="*/ 2689273 w 6279319"/>
                <a:gd name="connsiteY0" fmla="*/ 1798414 h 6337434"/>
                <a:gd name="connsiteX1" fmla="*/ 1710007 w 6279319"/>
                <a:gd name="connsiteY1" fmla="*/ 3588739 h 6337434"/>
                <a:gd name="connsiteX2" fmla="*/ 3500332 w 6279319"/>
                <a:gd name="connsiteY2" fmla="*/ 4568005 h 6337434"/>
                <a:gd name="connsiteX3" fmla="*/ 4479598 w 6279319"/>
                <a:gd name="connsiteY3" fmla="*/ 2777679 h 6337434"/>
                <a:gd name="connsiteX4" fmla="*/ 2689273 w 6279319"/>
                <a:gd name="connsiteY4" fmla="*/ 1798414 h 6337434"/>
                <a:gd name="connsiteX5" fmla="*/ 2639891 w 6279319"/>
                <a:gd name="connsiteY5" fmla="*/ 3590 h 6337434"/>
                <a:gd name="connsiteX6" fmla="*/ 2675502 w 6279319"/>
                <a:gd name="connsiteY6" fmla="*/ 1 h 6337434"/>
                <a:gd name="connsiteX7" fmla="*/ 3382278 w 6279319"/>
                <a:gd name="connsiteY7" fmla="*/ 0 h 6337434"/>
                <a:gd name="connsiteX8" fmla="*/ 3558978 w 6279319"/>
                <a:gd name="connsiteY8" fmla="*/ 176700 h 6337434"/>
                <a:gd name="connsiteX9" fmla="*/ 3558977 w 6279319"/>
                <a:gd name="connsiteY9" fmla="*/ 677790 h 6337434"/>
                <a:gd name="connsiteX10" fmla="*/ 3631139 w 6279319"/>
                <a:gd name="connsiteY10" fmla="*/ 689734 h 6337434"/>
                <a:gd name="connsiteX11" fmla="*/ 4318507 w 6279319"/>
                <a:gd name="connsiteY11" fmla="*/ 945993 h 6337434"/>
                <a:gd name="connsiteX12" fmla="*/ 4414675 w 6279319"/>
                <a:gd name="connsiteY12" fmla="*/ 1004720 h 6337434"/>
                <a:gd name="connsiteX13" fmla="*/ 4815800 w 6279319"/>
                <a:gd name="connsiteY13" fmla="*/ 632725 h 6337434"/>
                <a:gd name="connsiteX14" fmla="*/ 4875673 w 6279319"/>
                <a:gd name="connsiteY14" fmla="*/ 596138 h 6337434"/>
                <a:gd name="connsiteX15" fmla="*/ 5065513 w 6279319"/>
                <a:gd name="connsiteY15" fmla="*/ 642134 h 6337434"/>
                <a:gd name="connsiteX16" fmla="*/ 5546107 w 6279319"/>
                <a:gd name="connsiteY16" fmla="*/ 1160363 h 6337434"/>
                <a:gd name="connsiteX17" fmla="*/ 5536699 w 6279319"/>
                <a:gd name="connsiteY17" fmla="*/ 1410076 h 6337434"/>
                <a:gd name="connsiteX18" fmla="*/ 5189884 w 6279319"/>
                <a:gd name="connsiteY18" fmla="*/ 1731704 h 6337434"/>
                <a:gd name="connsiteX19" fmla="*/ 5218907 w 6279319"/>
                <a:gd name="connsiteY19" fmla="*/ 1771033 h 6337434"/>
                <a:gd name="connsiteX20" fmla="*/ 5542043 w 6279319"/>
                <a:gd name="connsiteY20" fmla="*/ 2466548 h 6337434"/>
                <a:gd name="connsiteX21" fmla="*/ 5558107 w 6279319"/>
                <a:gd name="connsiteY21" fmla="*/ 2533816 h 6337434"/>
                <a:gd name="connsiteX22" fmla="*/ 6114641 w 6279319"/>
                <a:gd name="connsiteY22" fmla="*/ 2571784 h 6337434"/>
                <a:gd name="connsiteX23" fmla="*/ 6278903 w 6279319"/>
                <a:gd name="connsiteY23" fmla="*/ 2760100 h 6337434"/>
                <a:gd name="connsiteX24" fmla="*/ 6230798 w 6279319"/>
                <a:gd name="connsiteY24" fmla="*/ 3465237 h 6337434"/>
                <a:gd name="connsiteX25" fmla="*/ 6042481 w 6279319"/>
                <a:gd name="connsiteY25" fmla="*/ 3629499 h 6337434"/>
                <a:gd name="connsiteX26" fmla="*/ 5608088 w 6279319"/>
                <a:gd name="connsiteY26" fmla="*/ 3599864 h 6337434"/>
                <a:gd name="connsiteX27" fmla="*/ 5588277 w 6279319"/>
                <a:gd name="connsiteY27" fmla="*/ 3719545 h 6337434"/>
                <a:gd name="connsiteX28" fmla="*/ 5332019 w 6279319"/>
                <a:gd name="connsiteY28" fmla="*/ 4406914 h 6337434"/>
                <a:gd name="connsiteX29" fmla="*/ 5267206 w 6279319"/>
                <a:gd name="connsiteY29" fmla="*/ 4513047 h 6337434"/>
                <a:gd name="connsiteX30" fmla="*/ 5699142 w 6279319"/>
                <a:gd name="connsiteY30" fmla="*/ 4909590 h 6337434"/>
                <a:gd name="connsiteX31" fmla="*/ 5709808 w 6279319"/>
                <a:gd name="connsiteY31" fmla="*/ 5159252 h 6337434"/>
                <a:gd name="connsiteX32" fmla="*/ 5231829 w 6279319"/>
                <a:gd name="connsiteY32" fmla="*/ 5679894 h 6337434"/>
                <a:gd name="connsiteX33" fmla="*/ 4982166 w 6279319"/>
                <a:gd name="connsiteY33" fmla="*/ 5690560 h 6337434"/>
                <a:gd name="connsiteX34" fmla="*/ 4538986 w 6279319"/>
                <a:gd name="connsiteY34" fmla="*/ 5283694 h 6337434"/>
                <a:gd name="connsiteX35" fmla="*/ 4506979 w 6279319"/>
                <a:gd name="connsiteY35" fmla="*/ 5307313 h 6337434"/>
                <a:gd name="connsiteX36" fmla="*/ 3811464 w 6279319"/>
                <a:gd name="connsiteY36" fmla="*/ 5630449 h 6337434"/>
                <a:gd name="connsiteX37" fmla="*/ 3774778 w 6279319"/>
                <a:gd name="connsiteY37" fmla="*/ 5639211 h 6337434"/>
                <a:gd name="connsiteX38" fmla="*/ 3812756 w 6279319"/>
                <a:gd name="connsiteY38" fmla="*/ 6085877 h 6337434"/>
                <a:gd name="connsiteX39" fmla="*/ 3651662 w 6279319"/>
                <a:gd name="connsiteY39" fmla="*/ 6276911 h 6337434"/>
                <a:gd name="connsiteX40" fmla="*/ 2947427 w 6279319"/>
                <a:gd name="connsiteY40" fmla="*/ 6336789 h 6337434"/>
                <a:gd name="connsiteX41" fmla="*/ 2756393 w 6279319"/>
                <a:gd name="connsiteY41" fmla="*/ 6175695 h 6337434"/>
                <a:gd name="connsiteX42" fmla="*/ 2716185 w 6279319"/>
                <a:gd name="connsiteY42" fmla="*/ 5702791 h 6337434"/>
                <a:gd name="connsiteX43" fmla="*/ 2558466 w 6279319"/>
                <a:gd name="connsiteY43" fmla="*/ 5676684 h 6337434"/>
                <a:gd name="connsiteX44" fmla="*/ 1871098 w 6279319"/>
                <a:gd name="connsiteY44" fmla="*/ 5420425 h 6337434"/>
                <a:gd name="connsiteX45" fmla="*/ 1775669 w 6279319"/>
                <a:gd name="connsiteY45" fmla="*/ 5362150 h 6337434"/>
                <a:gd name="connsiteX46" fmla="*/ 1419110 w 6279319"/>
                <a:gd name="connsiteY46" fmla="*/ 5728890 h 6337434"/>
                <a:gd name="connsiteX47" fmla="*/ 1169245 w 6279319"/>
                <a:gd name="connsiteY47" fmla="*/ 5732408 h 6337434"/>
                <a:gd name="connsiteX48" fmla="*/ 662494 w 6279319"/>
                <a:gd name="connsiteY48" fmla="*/ 5239726 h 6337434"/>
                <a:gd name="connsiteX49" fmla="*/ 658976 w 6279319"/>
                <a:gd name="connsiteY49" fmla="*/ 4989861 h 6337434"/>
                <a:gd name="connsiteX50" fmla="*/ 1001681 w 6279319"/>
                <a:gd name="connsiteY50" fmla="*/ 4637369 h 6337434"/>
                <a:gd name="connsiteX51" fmla="*/ 970699 w 6279319"/>
                <a:gd name="connsiteY51" fmla="*/ 4595385 h 6337434"/>
                <a:gd name="connsiteX52" fmla="*/ 647562 w 6279319"/>
                <a:gd name="connsiteY52" fmla="*/ 3899870 h 6337434"/>
                <a:gd name="connsiteX53" fmla="*/ 624203 w 6279319"/>
                <a:gd name="connsiteY53" fmla="*/ 3802057 h 6337434"/>
                <a:gd name="connsiteX54" fmla="*/ 199539 w 6279319"/>
                <a:gd name="connsiteY54" fmla="*/ 3813039 h 6337434"/>
                <a:gd name="connsiteX55" fmla="*/ 18331 w 6279319"/>
                <a:gd name="connsiteY55" fmla="*/ 3640966 h 6337434"/>
                <a:gd name="connsiteX56" fmla="*/ 60 w 6279319"/>
                <a:gd name="connsiteY56" fmla="*/ 2934427 h 6337434"/>
                <a:gd name="connsiteX57" fmla="*/ 136626 w 6279319"/>
                <a:gd name="connsiteY57" fmla="*/ 2757729 h 6337434"/>
                <a:gd name="connsiteX58" fmla="*/ 172132 w 6279319"/>
                <a:gd name="connsiteY58" fmla="*/ 2753219 h 6337434"/>
                <a:gd name="connsiteX59" fmla="*/ 585494 w 6279319"/>
                <a:gd name="connsiteY59" fmla="*/ 2742530 h 6337434"/>
                <a:gd name="connsiteX60" fmla="*/ 601328 w 6279319"/>
                <a:gd name="connsiteY60" fmla="*/ 2646873 h 6337434"/>
                <a:gd name="connsiteX61" fmla="*/ 857586 w 6279319"/>
                <a:gd name="connsiteY61" fmla="*/ 1959505 h 6337434"/>
                <a:gd name="connsiteX62" fmla="*/ 944188 w 6279319"/>
                <a:gd name="connsiteY62" fmla="*/ 1817690 h 6337434"/>
                <a:gd name="connsiteX63" fmla="*/ 622037 w 6279319"/>
                <a:gd name="connsiteY63" fmla="*/ 1540120 h 6337434"/>
                <a:gd name="connsiteX64" fmla="*/ 603512 w 6279319"/>
                <a:gd name="connsiteY64" fmla="*/ 1290918 h 6337434"/>
                <a:gd name="connsiteX65" fmla="*/ 1064854 w 6279319"/>
                <a:gd name="connsiteY65" fmla="*/ 755478 h 6337434"/>
                <a:gd name="connsiteX66" fmla="*/ 1120269 w 6279319"/>
                <a:gd name="connsiteY66" fmla="*/ 712436 h 6337434"/>
                <a:gd name="connsiteX67" fmla="*/ 1314057 w 6279319"/>
                <a:gd name="connsiteY67" fmla="*/ 736953 h 6337434"/>
                <a:gd name="connsiteX68" fmla="*/ 1685776 w 6279319"/>
                <a:gd name="connsiteY68" fmla="*/ 1057232 h 6337434"/>
                <a:gd name="connsiteX69" fmla="*/ 1899497 w 6279319"/>
                <a:gd name="connsiteY69" fmla="*/ 930121 h 6337434"/>
                <a:gd name="connsiteX70" fmla="*/ 2378142 w 6279319"/>
                <a:gd name="connsiteY70" fmla="*/ 735969 h 6337434"/>
                <a:gd name="connsiteX71" fmla="*/ 2498803 w 6279319"/>
                <a:gd name="connsiteY71" fmla="*/ 707153 h 6337434"/>
                <a:gd name="connsiteX72" fmla="*/ 2498803 w 6279319"/>
                <a:gd name="connsiteY72" fmla="*/ 176699 h 6337434"/>
                <a:gd name="connsiteX73" fmla="*/ 2639891 w 6279319"/>
                <a:gd name="connsiteY73" fmla="*/ 3590 h 633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6279319" h="6337434">
                  <a:moveTo>
                    <a:pt x="2689273" y="1798414"/>
                  </a:moveTo>
                  <a:cubicBezTo>
                    <a:pt x="1924471" y="2022382"/>
                    <a:pt x="1486039" y="2823938"/>
                    <a:pt x="1710007" y="3588739"/>
                  </a:cubicBezTo>
                  <a:cubicBezTo>
                    <a:pt x="1933975" y="4353541"/>
                    <a:pt x="2735531" y="4791973"/>
                    <a:pt x="3500332" y="4568005"/>
                  </a:cubicBezTo>
                  <a:cubicBezTo>
                    <a:pt x="4265134" y="4344037"/>
                    <a:pt x="4703566" y="3542481"/>
                    <a:pt x="4479598" y="2777679"/>
                  </a:cubicBezTo>
                  <a:cubicBezTo>
                    <a:pt x="4255630" y="2012878"/>
                    <a:pt x="3454074" y="1574446"/>
                    <a:pt x="2689273" y="1798414"/>
                  </a:cubicBezTo>
                  <a:close/>
                  <a:moveTo>
                    <a:pt x="2639891" y="3590"/>
                  </a:moveTo>
                  <a:cubicBezTo>
                    <a:pt x="2651394" y="1237"/>
                    <a:pt x="2663304" y="1"/>
                    <a:pt x="2675502" y="1"/>
                  </a:cubicBezTo>
                  <a:lnTo>
                    <a:pt x="3382278" y="0"/>
                  </a:lnTo>
                  <a:cubicBezTo>
                    <a:pt x="3479866" y="1"/>
                    <a:pt x="3558977" y="79112"/>
                    <a:pt x="3558978" y="176700"/>
                  </a:cubicBezTo>
                  <a:lnTo>
                    <a:pt x="3558977" y="677790"/>
                  </a:lnTo>
                  <a:lnTo>
                    <a:pt x="3631139" y="689734"/>
                  </a:lnTo>
                  <a:cubicBezTo>
                    <a:pt x="3872291" y="741829"/>
                    <a:pt x="4103799" y="828553"/>
                    <a:pt x="4318507" y="945993"/>
                  </a:cubicBezTo>
                  <a:lnTo>
                    <a:pt x="4414675" y="1004720"/>
                  </a:lnTo>
                  <a:lnTo>
                    <a:pt x="4815800" y="632725"/>
                  </a:lnTo>
                  <a:cubicBezTo>
                    <a:pt x="4833688" y="616136"/>
                    <a:pt x="4854093" y="603957"/>
                    <a:pt x="4875673" y="596138"/>
                  </a:cubicBezTo>
                  <a:cubicBezTo>
                    <a:pt x="4940414" y="572682"/>
                    <a:pt x="5015744" y="588468"/>
                    <a:pt x="5065513" y="642134"/>
                  </a:cubicBezTo>
                  <a:lnTo>
                    <a:pt x="5546107" y="1160363"/>
                  </a:lnTo>
                  <a:cubicBezTo>
                    <a:pt x="5612465" y="1231917"/>
                    <a:pt x="5608253" y="1343718"/>
                    <a:pt x="5536699" y="1410076"/>
                  </a:cubicBezTo>
                  <a:lnTo>
                    <a:pt x="5189884" y="1731704"/>
                  </a:lnTo>
                  <a:lnTo>
                    <a:pt x="5218907" y="1771033"/>
                  </a:lnTo>
                  <a:cubicBezTo>
                    <a:pt x="5357733" y="1979985"/>
                    <a:pt x="5467830" y="2213128"/>
                    <a:pt x="5542043" y="2466548"/>
                  </a:cubicBezTo>
                  <a:lnTo>
                    <a:pt x="5558107" y="2533816"/>
                  </a:lnTo>
                  <a:lnTo>
                    <a:pt x="6114641" y="2571784"/>
                  </a:lnTo>
                  <a:cubicBezTo>
                    <a:pt x="6212002" y="2578426"/>
                    <a:pt x="6285546" y="2662738"/>
                    <a:pt x="6278903" y="2760100"/>
                  </a:cubicBezTo>
                  <a:lnTo>
                    <a:pt x="6230798" y="3465237"/>
                  </a:lnTo>
                  <a:cubicBezTo>
                    <a:pt x="6224155" y="3562598"/>
                    <a:pt x="6139843" y="3636141"/>
                    <a:pt x="6042481" y="3629499"/>
                  </a:cubicBezTo>
                  <a:lnTo>
                    <a:pt x="5608088" y="3599864"/>
                  </a:lnTo>
                  <a:lnTo>
                    <a:pt x="5588277" y="3719545"/>
                  </a:lnTo>
                  <a:cubicBezTo>
                    <a:pt x="5536183" y="3960698"/>
                    <a:pt x="5449459" y="4192206"/>
                    <a:pt x="5332019" y="4406914"/>
                  </a:cubicBezTo>
                  <a:lnTo>
                    <a:pt x="5267206" y="4513047"/>
                  </a:lnTo>
                  <a:lnTo>
                    <a:pt x="5699142" y="4909590"/>
                  </a:lnTo>
                  <a:cubicBezTo>
                    <a:pt x="5771030" y="4975587"/>
                    <a:pt x="5775805" y="5087364"/>
                    <a:pt x="5709808" y="5159252"/>
                  </a:cubicBezTo>
                  <a:lnTo>
                    <a:pt x="5231829" y="5679894"/>
                  </a:lnTo>
                  <a:cubicBezTo>
                    <a:pt x="5165831" y="5751781"/>
                    <a:pt x="5054054" y="5756557"/>
                    <a:pt x="4982166" y="5690560"/>
                  </a:cubicBezTo>
                  <a:lnTo>
                    <a:pt x="4538986" y="5283694"/>
                  </a:lnTo>
                  <a:lnTo>
                    <a:pt x="4506979" y="5307313"/>
                  </a:lnTo>
                  <a:cubicBezTo>
                    <a:pt x="4298027" y="5446139"/>
                    <a:pt x="4064884" y="5556237"/>
                    <a:pt x="3811464" y="5630449"/>
                  </a:cubicBezTo>
                  <a:lnTo>
                    <a:pt x="3774778" y="5639211"/>
                  </a:lnTo>
                  <a:lnTo>
                    <a:pt x="3812756" y="6085877"/>
                  </a:lnTo>
                  <a:cubicBezTo>
                    <a:pt x="3821024" y="6183114"/>
                    <a:pt x="3748899" y="6268643"/>
                    <a:pt x="3651662" y="6276911"/>
                  </a:cubicBezTo>
                  <a:lnTo>
                    <a:pt x="2947427" y="6336789"/>
                  </a:lnTo>
                  <a:cubicBezTo>
                    <a:pt x="2850190" y="6345057"/>
                    <a:pt x="2764661" y="6272932"/>
                    <a:pt x="2756393" y="6175695"/>
                  </a:cubicBezTo>
                  <a:lnTo>
                    <a:pt x="2716185" y="5702791"/>
                  </a:lnTo>
                  <a:lnTo>
                    <a:pt x="2558466" y="5676684"/>
                  </a:lnTo>
                  <a:cubicBezTo>
                    <a:pt x="2317314" y="5624590"/>
                    <a:pt x="2085806" y="5537866"/>
                    <a:pt x="1871098" y="5420425"/>
                  </a:cubicBezTo>
                  <a:lnTo>
                    <a:pt x="1775669" y="5362150"/>
                  </a:lnTo>
                  <a:lnTo>
                    <a:pt x="1419110" y="5728890"/>
                  </a:lnTo>
                  <a:cubicBezTo>
                    <a:pt x="1351083" y="5798860"/>
                    <a:pt x="1239215" y="5800435"/>
                    <a:pt x="1169245" y="5732408"/>
                  </a:cubicBezTo>
                  <a:lnTo>
                    <a:pt x="662494" y="5239726"/>
                  </a:lnTo>
                  <a:cubicBezTo>
                    <a:pt x="592524" y="5171699"/>
                    <a:pt x="590950" y="5059830"/>
                    <a:pt x="658976" y="4989861"/>
                  </a:cubicBezTo>
                  <a:lnTo>
                    <a:pt x="1001681" y="4637369"/>
                  </a:lnTo>
                  <a:lnTo>
                    <a:pt x="970699" y="4595385"/>
                  </a:lnTo>
                  <a:cubicBezTo>
                    <a:pt x="831873" y="4386434"/>
                    <a:pt x="721775" y="4153290"/>
                    <a:pt x="647562" y="3899870"/>
                  </a:cubicBezTo>
                  <a:lnTo>
                    <a:pt x="624203" y="3802057"/>
                  </a:lnTo>
                  <a:lnTo>
                    <a:pt x="199539" y="3813039"/>
                  </a:lnTo>
                  <a:cubicBezTo>
                    <a:pt x="101984" y="3815562"/>
                    <a:pt x="20854" y="3738522"/>
                    <a:pt x="18331" y="3640966"/>
                  </a:cubicBezTo>
                  <a:lnTo>
                    <a:pt x="60" y="2934427"/>
                  </a:lnTo>
                  <a:cubicBezTo>
                    <a:pt x="-2148" y="2849066"/>
                    <a:pt x="56560" y="2776281"/>
                    <a:pt x="136626" y="2757729"/>
                  </a:cubicBezTo>
                  <a:cubicBezTo>
                    <a:pt x="148064" y="2755078"/>
                    <a:pt x="159938" y="2753534"/>
                    <a:pt x="172132" y="2753219"/>
                  </a:cubicBezTo>
                  <a:lnTo>
                    <a:pt x="585494" y="2742530"/>
                  </a:lnTo>
                  <a:lnTo>
                    <a:pt x="601328" y="2646873"/>
                  </a:lnTo>
                  <a:cubicBezTo>
                    <a:pt x="653422" y="2405721"/>
                    <a:pt x="740147" y="2174213"/>
                    <a:pt x="857586" y="1959505"/>
                  </a:cubicBezTo>
                  <a:lnTo>
                    <a:pt x="944188" y="1817690"/>
                  </a:lnTo>
                  <a:lnTo>
                    <a:pt x="622037" y="1540120"/>
                  </a:lnTo>
                  <a:cubicBezTo>
                    <a:pt x="548106" y="1476420"/>
                    <a:pt x="539812" y="1364848"/>
                    <a:pt x="603512" y="1290918"/>
                  </a:cubicBezTo>
                  <a:lnTo>
                    <a:pt x="1064854" y="755478"/>
                  </a:lnTo>
                  <a:cubicBezTo>
                    <a:pt x="1080779" y="736995"/>
                    <a:pt x="1099696" y="722615"/>
                    <a:pt x="1120269" y="712436"/>
                  </a:cubicBezTo>
                  <a:cubicBezTo>
                    <a:pt x="1181987" y="681900"/>
                    <a:pt x="1258608" y="689178"/>
                    <a:pt x="1314057" y="736953"/>
                  </a:cubicBezTo>
                  <a:lnTo>
                    <a:pt x="1685776" y="1057232"/>
                  </a:lnTo>
                  <a:lnTo>
                    <a:pt x="1899497" y="930121"/>
                  </a:lnTo>
                  <a:cubicBezTo>
                    <a:pt x="2049260" y="850868"/>
                    <a:pt x="2209195" y="785444"/>
                    <a:pt x="2378142" y="735969"/>
                  </a:cubicBezTo>
                  <a:lnTo>
                    <a:pt x="2498803" y="707153"/>
                  </a:lnTo>
                  <a:lnTo>
                    <a:pt x="2498803" y="176699"/>
                  </a:lnTo>
                  <a:cubicBezTo>
                    <a:pt x="2498803" y="91310"/>
                    <a:pt x="2559373" y="20067"/>
                    <a:pt x="2639891" y="359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3" name="Freeform 6"/>
            <p:cNvSpPr>
              <a:spLocks noEditPoints="1"/>
            </p:cNvSpPr>
            <p:nvPr/>
          </p:nvSpPr>
          <p:spPr bwMode="auto">
            <a:xfrm>
              <a:off x="-999963" y="3156492"/>
              <a:ext cx="1100914" cy="1190720"/>
            </a:xfrm>
            <a:custGeom>
              <a:avLst/>
              <a:gdLst>
                <a:gd name="T0" fmla="*/ 4832 w 15226"/>
                <a:gd name="T1" fmla="*/ 896 h 16467"/>
                <a:gd name="T2" fmla="*/ 1605 w 15226"/>
                <a:gd name="T3" fmla="*/ 7033 h 16467"/>
                <a:gd name="T4" fmla="*/ 304 w 15226"/>
                <a:gd name="T5" fmla="*/ 9224 h 16467"/>
                <a:gd name="T6" fmla="*/ 1058 w 15226"/>
                <a:gd name="T7" fmla="*/ 10928 h 16467"/>
                <a:gd name="T8" fmla="*/ 1422 w 15226"/>
                <a:gd name="T9" fmla="*/ 12190 h 16467"/>
                <a:gd name="T10" fmla="*/ 2984 w 15226"/>
                <a:gd name="T11" fmla="*/ 14527 h 16467"/>
                <a:gd name="T12" fmla="*/ 4829 w 15226"/>
                <a:gd name="T13" fmla="*/ 15055 h 16467"/>
                <a:gd name="T14" fmla="*/ 12782 w 15226"/>
                <a:gd name="T15" fmla="*/ 16467 h 16467"/>
                <a:gd name="T16" fmla="*/ 12300 w 15226"/>
                <a:gd name="T17" fmla="*/ 11850 h 16467"/>
                <a:gd name="T18" fmla="*/ 14839 w 15226"/>
                <a:gd name="T19" fmla="*/ 6845 h 16467"/>
                <a:gd name="T20" fmla="*/ 13183 w 15226"/>
                <a:gd name="T21" fmla="*/ 4884 h 16467"/>
                <a:gd name="T22" fmla="*/ 12974 w 15226"/>
                <a:gd name="T23" fmla="*/ 7580 h 16467"/>
                <a:gd name="T24" fmla="*/ 12990 w 15226"/>
                <a:gd name="T25" fmla="*/ 8137 h 16467"/>
                <a:gd name="T26" fmla="*/ 11564 w 15226"/>
                <a:gd name="T27" fmla="*/ 8803 h 16467"/>
                <a:gd name="T28" fmla="*/ 9576 w 15226"/>
                <a:gd name="T29" fmla="*/ 9556 h 16467"/>
                <a:gd name="T30" fmla="*/ 9292 w 15226"/>
                <a:gd name="T31" fmla="*/ 10313 h 16467"/>
                <a:gd name="T32" fmla="*/ 8706 w 15226"/>
                <a:gd name="T33" fmla="*/ 10320 h 16467"/>
                <a:gd name="T34" fmla="*/ 7839 w 15226"/>
                <a:gd name="T35" fmla="*/ 8485 h 16467"/>
                <a:gd name="T36" fmla="*/ 5955 w 15226"/>
                <a:gd name="T37" fmla="*/ 7333 h 16467"/>
                <a:gd name="T38" fmla="*/ 5045 w 15226"/>
                <a:gd name="T39" fmla="*/ 7333 h 16467"/>
                <a:gd name="T40" fmla="*/ 3688 w 15226"/>
                <a:gd name="T41" fmla="*/ 5821 h 16467"/>
                <a:gd name="T42" fmla="*/ 3816 w 15226"/>
                <a:gd name="T43" fmla="*/ 3624 h 16467"/>
                <a:gd name="T44" fmla="*/ 3890 w 15226"/>
                <a:gd name="T45" fmla="*/ 3517 h 16467"/>
                <a:gd name="T46" fmla="*/ 4340 w 15226"/>
                <a:gd name="T47" fmla="*/ 2966 h 16467"/>
                <a:gd name="T48" fmla="*/ 6121 w 15226"/>
                <a:gd name="T49" fmla="*/ 2105 h 16467"/>
                <a:gd name="T50" fmla="*/ 6264 w 15226"/>
                <a:gd name="T51" fmla="*/ 2138 h 16467"/>
                <a:gd name="T52" fmla="*/ 7575 w 15226"/>
                <a:gd name="T53" fmla="*/ 1688 h 16467"/>
                <a:gd name="T54" fmla="*/ 8580 w 15226"/>
                <a:gd name="T55" fmla="*/ 1347 h 16467"/>
                <a:gd name="T56" fmla="*/ 9313 w 15226"/>
                <a:gd name="T57" fmla="*/ 1689 h 16467"/>
                <a:gd name="T58" fmla="*/ 9910 w 15226"/>
                <a:gd name="T59" fmla="*/ 1627 h 16467"/>
                <a:gd name="T60" fmla="*/ 10645 w 15226"/>
                <a:gd name="T61" fmla="*/ 2180 h 16467"/>
                <a:gd name="T62" fmla="*/ 11452 w 15226"/>
                <a:gd name="T63" fmla="*/ 2381 h 16467"/>
                <a:gd name="T64" fmla="*/ 11765 w 15226"/>
                <a:gd name="T65" fmla="*/ 2398 h 16467"/>
                <a:gd name="T66" fmla="*/ 12518 w 15226"/>
                <a:gd name="T67" fmla="*/ 3326 h 16467"/>
                <a:gd name="T68" fmla="*/ 13130 w 15226"/>
                <a:gd name="T69" fmla="*/ 4042 h 16467"/>
                <a:gd name="T70" fmla="*/ 13183 w 15226"/>
                <a:gd name="T71" fmla="*/ 4884 h 164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5226" h="16467">
                  <a:moveTo>
                    <a:pt x="10368" y="416"/>
                  </a:moveTo>
                  <a:cubicBezTo>
                    <a:pt x="8478" y="0"/>
                    <a:pt x="6596" y="26"/>
                    <a:pt x="4832" y="896"/>
                  </a:cubicBezTo>
                  <a:cubicBezTo>
                    <a:pt x="2904" y="1847"/>
                    <a:pt x="1993" y="3579"/>
                    <a:pt x="1538" y="5586"/>
                  </a:cubicBezTo>
                  <a:cubicBezTo>
                    <a:pt x="1432" y="6054"/>
                    <a:pt x="1196" y="6558"/>
                    <a:pt x="1605" y="7033"/>
                  </a:cubicBezTo>
                  <a:cubicBezTo>
                    <a:pt x="1694" y="7136"/>
                    <a:pt x="1523" y="7277"/>
                    <a:pt x="1451" y="7391"/>
                  </a:cubicBezTo>
                  <a:cubicBezTo>
                    <a:pt x="1067" y="8001"/>
                    <a:pt x="668" y="8603"/>
                    <a:pt x="304" y="9224"/>
                  </a:cubicBezTo>
                  <a:cubicBezTo>
                    <a:pt x="0" y="9742"/>
                    <a:pt x="65" y="9931"/>
                    <a:pt x="617" y="10108"/>
                  </a:cubicBezTo>
                  <a:cubicBezTo>
                    <a:pt x="1059" y="10249"/>
                    <a:pt x="1276" y="10436"/>
                    <a:pt x="1058" y="10928"/>
                  </a:cubicBezTo>
                  <a:cubicBezTo>
                    <a:pt x="895" y="11292"/>
                    <a:pt x="1194" y="11405"/>
                    <a:pt x="1491" y="11491"/>
                  </a:cubicBezTo>
                  <a:cubicBezTo>
                    <a:pt x="1028" y="11792"/>
                    <a:pt x="1016" y="11870"/>
                    <a:pt x="1422" y="12190"/>
                  </a:cubicBezTo>
                  <a:cubicBezTo>
                    <a:pt x="1598" y="12328"/>
                    <a:pt x="1643" y="12442"/>
                    <a:pt x="1549" y="12654"/>
                  </a:cubicBezTo>
                  <a:cubicBezTo>
                    <a:pt x="975" y="13937"/>
                    <a:pt x="1574" y="14691"/>
                    <a:pt x="2984" y="14527"/>
                  </a:cubicBezTo>
                  <a:cubicBezTo>
                    <a:pt x="3319" y="14488"/>
                    <a:pt x="3653" y="14436"/>
                    <a:pt x="3986" y="14387"/>
                  </a:cubicBezTo>
                  <a:cubicBezTo>
                    <a:pt x="4569" y="14301"/>
                    <a:pt x="4773" y="14445"/>
                    <a:pt x="4829" y="15055"/>
                  </a:cubicBezTo>
                  <a:cubicBezTo>
                    <a:pt x="4873" y="15530"/>
                    <a:pt x="4913" y="16003"/>
                    <a:pt x="5027" y="16467"/>
                  </a:cubicBezTo>
                  <a:cubicBezTo>
                    <a:pt x="7612" y="16467"/>
                    <a:pt x="10197" y="16467"/>
                    <a:pt x="12782" y="16467"/>
                  </a:cubicBezTo>
                  <a:cubicBezTo>
                    <a:pt x="12903" y="16279"/>
                    <a:pt x="12716" y="16164"/>
                    <a:pt x="12656" y="16035"/>
                  </a:cubicBezTo>
                  <a:cubicBezTo>
                    <a:pt x="12030" y="14680"/>
                    <a:pt x="11981" y="13284"/>
                    <a:pt x="12300" y="11850"/>
                  </a:cubicBezTo>
                  <a:cubicBezTo>
                    <a:pt x="12418" y="11319"/>
                    <a:pt x="12716" y="10905"/>
                    <a:pt x="13068" y="10511"/>
                  </a:cubicBezTo>
                  <a:cubicBezTo>
                    <a:pt x="14008" y="9460"/>
                    <a:pt x="14655" y="8275"/>
                    <a:pt x="14839" y="6845"/>
                  </a:cubicBezTo>
                  <a:cubicBezTo>
                    <a:pt x="15226" y="3831"/>
                    <a:pt x="13333" y="1070"/>
                    <a:pt x="10368" y="416"/>
                  </a:cubicBezTo>
                  <a:close/>
                  <a:moveTo>
                    <a:pt x="13183" y="4884"/>
                  </a:moveTo>
                  <a:cubicBezTo>
                    <a:pt x="13866" y="5359"/>
                    <a:pt x="13615" y="6325"/>
                    <a:pt x="13615" y="6325"/>
                  </a:cubicBezTo>
                  <a:cubicBezTo>
                    <a:pt x="13583" y="6773"/>
                    <a:pt x="13370" y="7188"/>
                    <a:pt x="12974" y="7580"/>
                  </a:cubicBezTo>
                  <a:cubicBezTo>
                    <a:pt x="12908" y="7646"/>
                    <a:pt x="12897" y="7705"/>
                    <a:pt x="12896" y="7767"/>
                  </a:cubicBezTo>
                  <a:cubicBezTo>
                    <a:pt x="12954" y="7878"/>
                    <a:pt x="12990" y="8003"/>
                    <a:pt x="12990" y="8137"/>
                  </a:cubicBezTo>
                  <a:cubicBezTo>
                    <a:pt x="12990" y="8582"/>
                    <a:pt x="12815" y="8826"/>
                    <a:pt x="12185" y="8943"/>
                  </a:cubicBezTo>
                  <a:cubicBezTo>
                    <a:pt x="11734" y="9026"/>
                    <a:pt x="11564" y="8803"/>
                    <a:pt x="11564" y="8803"/>
                  </a:cubicBezTo>
                  <a:cubicBezTo>
                    <a:pt x="11564" y="9383"/>
                    <a:pt x="11050" y="10063"/>
                    <a:pt x="10470" y="10063"/>
                  </a:cubicBezTo>
                  <a:cubicBezTo>
                    <a:pt x="10090" y="10063"/>
                    <a:pt x="9760" y="9859"/>
                    <a:pt x="9576" y="9556"/>
                  </a:cubicBezTo>
                  <a:cubicBezTo>
                    <a:pt x="9544" y="9531"/>
                    <a:pt x="9513" y="9507"/>
                    <a:pt x="9481" y="9479"/>
                  </a:cubicBezTo>
                  <a:cubicBezTo>
                    <a:pt x="9412" y="9775"/>
                    <a:pt x="9334" y="10042"/>
                    <a:pt x="9292" y="10313"/>
                  </a:cubicBezTo>
                  <a:cubicBezTo>
                    <a:pt x="9266" y="10480"/>
                    <a:pt x="9214" y="10556"/>
                    <a:pt x="9034" y="10551"/>
                  </a:cubicBezTo>
                  <a:cubicBezTo>
                    <a:pt x="8863" y="10547"/>
                    <a:pt x="8759" y="10519"/>
                    <a:pt x="8706" y="10320"/>
                  </a:cubicBezTo>
                  <a:cubicBezTo>
                    <a:pt x="8600" y="9921"/>
                    <a:pt x="8450" y="9535"/>
                    <a:pt x="8320" y="9143"/>
                  </a:cubicBezTo>
                  <a:cubicBezTo>
                    <a:pt x="8221" y="8846"/>
                    <a:pt x="8056" y="8633"/>
                    <a:pt x="7839" y="8485"/>
                  </a:cubicBezTo>
                  <a:cubicBezTo>
                    <a:pt x="7662" y="8576"/>
                    <a:pt x="7462" y="8628"/>
                    <a:pt x="7250" y="8628"/>
                  </a:cubicBezTo>
                  <a:cubicBezTo>
                    <a:pt x="6535" y="8628"/>
                    <a:pt x="5955" y="8048"/>
                    <a:pt x="5955" y="7333"/>
                  </a:cubicBezTo>
                  <a:cubicBezTo>
                    <a:pt x="5955" y="7187"/>
                    <a:pt x="5980" y="7048"/>
                    <a:pt x="6024" y="6917"/>
                  </a:cubicBezTo>
                  <a:cubicBezTo>
                    <a:pt x="5776" y="7173"/>
                    <a:pt x="5429" y="7333"/>
                    <a:pt x="5045" y="7333"/>
                  </a:cubicBezTo>
                  <a:cubicBezTo>
                    <a:pt x="4291" y="7333"/>
                    <a:pt x="3680" y="6721"/>
                    <a:pt x="3680" y="5968"/>
                  </a:cubicBezTo>
                  <a:cubicBezTo>
                    <a:pt x="3680" y="5918"/>
                    <a:pt x="3683" y="5869"/>
                    <a:pt x="3688" y="5821"/>
                  </a:cubicBezTo>
                  <a:cubicBezTo>
                    <a:pt x="3254" y="5655"/>
                    <a:pt x="2945" y="5235"/>
                    <a:pt x="2945" y="4743"/>
                  </a:cubicBezTo>
                  <a:cubicBezTo>
                    <a:pt x="2945" y="4203"/>
                    <a:pt x="3316" y="3751"/>
                    <a:pt x="3816" y="3624"/>
                  </a:cubicBezTo>
                  <a:cubicBezTo>
                    <a:pt x="3843" y="3601"/>
                    <a:pt x="3869" y="3576"/>
                    <a:pt x="3894" y="3551"/>
                  </a:cubicBezTo>
                  <a:cubicBezTo>
                    <a:pt x="3893" y="3540"/>
                    <a:pt x="3890" y="3529"/>
                    <a:pt x="3890" y="3517"/>
                  </a:cubicBezTo>
                  <a:cubicBezTo>
                    <a:pt x="3890" y="3249"/>
                    <a:pt x="4079" y="3025"/>
                    <a:pt x="4332" y="2971"/>
                  </a:cubicBezTo>
                  <a:cubicBezTo>
                    <a:pt x="4335" y="2969"/>
                    <a:pt x="4337" y="2967"/>
                    <a:pt x="4340" y="2966"/>
                  </a:cubicBezTo>
                  <a:cubicBezTo>
                    <a:pt x="4464" y="2401"/>
                    <a:pt x="4968" y="1977"/>
                    <a:pt x="5570" y="1977"/>
                  </a:cubicBezTo>
                  <a:cubicBezTo>
                    <a:pt x="5768" y="1977"/>
                    <a:pt x="5954" y="2024"/>
                    <a:pt x="6121" y="2105"/>
                  </a:cubicBezTo>
                  <a:cubicBezTo>
                    <a:pt x="6158" y="2113"/>
                    <a:pt x="6195" y="2120"/>
                    <a:pt x="6234" y="2133"/>
                  </a:cubicBezTo>
                  <a:cubicBezTo>
                    <a:pt x="6245" y="2136"/>
                    <a:pt x="6254" y="2137"/>
                    <a:pt x="6264" y="2138"/>
                  </a:cubicBezTo>
                  <a:cubicBezTo>
                    <a:pt x="6396" y="1798"/>
                    <a:pt x="6724" y="1557"/>
                    <a:pt x="7110" y="1557"/>
                  </a:cubicBezTo>
                  <a:cubicBezTo>
                    <a:pt x="7281" y="1557"/>
                    <a:pt x="7438" y="1607"/>
                    <a:pt x="7575" y="1688"/>
                  </a:cubicBezTo>
                  <a:cubicBezTo>
                    <a:pt x="7688" y="1730"/>
                    <a:pt x="7786" y="1735"/>
                    <a:pt x="7890" y="1710"/>
                  </a:cubicBezTo>
                  <a:cubicBezTo>
                    <a:pt x="8042" y="1491"/>
                    <a:pt x="8294" y="1347"/>
                    <a:pt x="8580" y="1347"/>
                  </a:cubicBezTo>
                  <a:cubicBezTo>
                    <a:pt x="8828" y="1347"/>
                    <a:pt x="9048" y="1457"/>
                    <a:pt x="9202" y="1627"/>
                  </a:cubicBezTo>
                  <a:cubicBezTo>
                    <a:pt x="9239" y="1646"/>
                    <a:pt x="9276" y="1665"/>
                    <a:pt x="9313" y="1689"/>
                  </a:cubicBezTo>
                  <a:cubicBezTo>
                    <a:pt x="9375" y="1729"/>
                    <a:pt x="9431" y="1753"/>
                    <a:pt x="9494" y="1757"/>
                  </a:cubicBezTo>
                  <a:cubicBezTo>
                    <a:pt x="9612" y="1676"/>
                    <a:pt x="9755" y="1627"/>
                    <a:pt x="9910" y="1627"/>
                  </a:cubicBezTo>
                  <a:cubicBezTo>
                    <a:pt x="10237" y="1627"/>
                    <a:pt x="10511" y="1843"/>
                    <a:pt x="10607" y="2139"/>
                  </a:cubicBezTo>
                  <a:cubicBezTo>
                    <a:pt x="10619" y="2154"/>
                    <a:pt x="10632" y="2168"/>
                    <a:pt x="10645" y="2180"/>
                  </a:cubicBezTo>
                  <a:cubicBezTo>
                    <a:pt x="10735" y="2118"/>
                    <a:pt x="10843" y="2083"/>
                    <a:pt x="10960" y="2083"/>
                  </a:cubicBezTo>
                  <a:cubicBezTo>
                    <a:pt x="11174" y="2083"/>
                    <a:pt x="11358" y="2204"/>
                    <a:pt x="11452" y="2381"/>
                  </a:cubicBezTo>
                  <a:cubicBezTo>
                    <a:pt x="11477" y="2401"/>
                    <a:pt x="11502" y="2420"/>
                    <a:pt x="11528" y="2438"/>
                  </a:cubicBezTo>
                  <a:cubicBezTo>
                    <a:pt x="11603" y="2414"/>
                    <a:pt x="11682" y="2398"/>
                    <a:pt x="11765" y="2398"/>
                  </a:cubicBezTo>
                  <a:cubicBezTo>
                    <a:pt x="12190" y="2398"/>
                    <a:pt x="12535" y="2742"/>
                    <a:pt x="12535" y="3167"/>
                  </a:cubicBezTo>
                  <a:cubicBezTo>
                    <a:pt x="12535" y="3222"/>
                    <a:pt x="12529" y="3275"/>
                    <a:pt x="12518" y="3326"/>
                  </a:cubicBezTo>
                  <a:cubicBezTo>
                    <a:pt x="12521" y="3334"/>
                    <a:pt x="12523" y="3343"/>
                    <a:pt x="12525" y="3352"/>
                  </a:cubicBezTo>
                  <a:cubicBezTo>
                    <a:pt x="12866" y="3399"/>
                    <a:pt x="13130" y="3688"/>
                    <a:pt x="13130" y="4042"/>
                  </a:cubicBezTo>
                  <a:cubicBezTo>
                    <a:pt x="13130" y="4147"/>
                    <a:pt x="13106" y="4245"/>
                    <a:pt x="13064" y="4334"/>
                  </a:cubicBezTo>
                  <a:cubicBezTo>
                    <a:pt x="13065" y="4334"/>
                    <a:pt x="13480" y="4550"/>
                    <a:pt x="13183" y="48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4" name="Freeform 563"/>
            <p:cNvSpPr/>
            <p:nvPr/>
          </p:nvSpPr>
          <p:spPr>
            <a:xfrm rot="979343">
              <a:off x="-500105" y="3348840"/>
              <a:ext cx="162951" cy="164459"/>
            </a:xfrm>
            <a:custGeom>
              <a:avLst/>
              <a:gdLst>
                <a:gd name="connsiteX0" fmla="*/ 2689273 w 6279319"/>
                <a:gd name="connsiteY0" fmla="*/ 1798414 h 6337434"/>
                <a:gd name="connsiteX1" fmla="*/ 1710007 w 6279319"/>
                <a:gd name="connsiteY1" fmla="*/ 3588739 h 6337434"/>
                <a:gd name="connsiteX2" fmla="*/ 3500332 w 6279319"/>
                <a:gd name="connsiteY2" fmla="*/ 4568005 h 6337434"/>
                <a:gd name="connsiteX3" fmla="*/ 4479598 w 6279319"/>
                <a:gd name="connsiteY3" fmla="*/ 2777679 h 6337434"/>
                <a:gd name="connsiteX4" fmla="*/ 2689273 w 6279319"/>
                <a:gd name="connsiteY4" fmla="*/ 1798414 h 6337434"/>
                <a:gd name="connsiteX5" fmla="*/ 2639891 w 6279319"/>
                <a:gd name="connsiteY5" fmla="*/ 3590 h 6337434"/>
                <a:gd name="connsiteX6" fmla="*/ 2675502 w 6279319"/>
                <a:gd name="connsiteY6" fmla="*/ 1 h 6337434"/>
                <a:gd name="connsiteX7" fmla="*/ 3382278 w 6279319"/>
                <a:gd name="connsiteY7" fmla="*/ 0 h 6337434"/>
                <a:gd name="connsiteX8" fmla="*/ 3558978 w 6279319"/>
                <a:gd name="connsiteY8" fmla="*/ 176700 h 6337434"/>
                <a:gd name="connsiteX9" fmla="*/ 3558977 w 6279319"/>
                <a:gd name="connsiteY9" fmla="*/ 677790 h 6337434"/>
                <a:gd name="connsiteX10" fmla="*/ 3631139 w 6279319"/>
                <a:gd name="connsiteY10" fmla="*/ 689734 h 6337434"/>
                <a:gd name="connsiteX11" fmla="*/ 4318507 w 6279319"/>
                <a:gd name="connsiteY11" fmla="*/ 945993 h 6337434"/>
                <a:gd name="connsiteX12" fmla="*/ 4414675 w 6279319"/>
                <a:gd name="connsiteY12" fmla="*/ 1004720 h 6337434"/>
                <a:gd name="connsiteX13" fmla="*/ 4815800 w 6279319"/>
                <a:gd name="connsiteY13" fmla="*/ 632725 h 6337434"/>
                <a:gd name="connsiteX14" fmla="*/ 4875673 w 6279319"/>
                <a:gd name="connsiteY14" fmla="*/ 596138 h 6337434"/>
                <a:gd name="connsiteX15" fmla="*/ 5065513 w 6279319"/>
                <a:gd name="connsiteY15" fmla="*/ 642134 h 6337434"/>
                <a:gd name="connsiteX16" fmla="*/ 5546107 w 6279319"/>
                <a:gd name="connsiteY16" fmla="*/ 1160363 h 6337434"/>
                <a:gd name="connsiteX17" fmla="*/ 5536699 w 6279319"/>
                <a:gd name="connsiteY17" fmla="*/ 1410076 h 6337434"/>
                <a:gd name="connsiteX18" fmla="*/ 5189884 w 6279319"/>
                <a:gd name="connsiteY18" fmla="*/ 1731704 h 6337434"/>
                <a:gd name="connsiteX19" fmla="*/ 5218907 w 6279319"/>
                <a:gd name="connsiteY19" fmla="*/ 1771033 h 6337434"/>
                <a:gd name="connsiteX20" fmla="*/ 5542043 w 6279319"/>
                <a:gd name="connsiteY20" fmla="*/ 2466548 h 6337434"/>
                <a:gd name="connsiteX21" fmla="*/ 5558107 w 6279319"/>
                <a:gd name="connsiteY21" fmla="*/ 2533816 h 6337434"/>
                <a:gd name="connsiteX22" fmla="*/ 6114641 w 6279319"/>
                <a:gd name="connsiteY22" fmla="*/ 2571784 h 6337434"/>
                <a:gd name="connsiteX23" fmla="*/ 6278903 w 6279319"/>
                <a:gd name="connsiteY23" fmla="*/ 2760100 h 6337434"/>
                <a:gd name="connsiteX24" fmla="*/ 6230798 w 6279319"/>
                <a:gd name="connsiteY24" fmla="*/ 3465237 h 6337434"/>
                <a:gd name="connsiteX25" fmla="*/ 6042481 w 6279319"/>
                <a:gd name="connsiteY25" fmla="*/ 3629499 h 6337434"/>
                <a:gd name="connsiteX26" fmla="*/ 5608088 w 6279319"/>
                <a:gd name="connsiteY26" fmla="*/ 3599864 h 6337434"/>
                <a:gd name="connsiteX27" fmla="*/ 5588277 w 6279319"/>
                <a:gd name="connsiteY27" fmla="*/ 3719545 h 6337434"/>
                <a:gd name="connsiteX28" fmla="*/ 5332019 w 6279319"/>
                <a:gd name="connsiteY28" fmla="*/ 4406914 h 6337434"/>
                <a:gd name="connsiteX29" fmla="*/ 5267206 w 6279319"/>
                <a:gd name="connsiteY29" fmla="*/ 4513047 h 6337434"/>
                <a:gd name="connsiteX30" fmla="*/ 5699142 w 6279319"/>
                <a:gd name="connsiteY30" fmla="*/ 4909590 h 6337434"/>
                <a:gd name="connsiteX31" fmla="*/ 5709808 w 6279319"/>
                <a:gd name="connsiteY31" fmla="*/ 5159252 h 6337434"/>
                <a:gd name="connsiteX32" fmla="*/ 5231829 w 6279319"/>
                <a:gd name="connsiteY32" fmla="*/ 5679894 h 6337434"/>
                <a:gd name="connsiteX33" fmla="*/ 4982166 w 6279319"/>
                <a:gd name="connsiteY33" fmla="*/ 5690560 h 6337434"/>
                <a:gd name="connsiteX34" fmla="*/ 4538986 w 6279319"/>
                <a:gd name="connsiteY34" fmla="*/ 5283694 h 6337434"/>
                <a:gd name="connsiteX35" fmla="*/ 4506979 w 6279319"/>
                <a:gd name="connsiteY35" fmla="*/ 5307313 h 6337434"/>
                <a:gd name="connsiteX36" fmla="*/ 3811464 w 6279319"/>
                <a:gd name="connsiteY36" fmla="*/ 5630449 h 6337434"/>
                <a:gd name="connsiteX37" fmla="*/ 3774778 w 6279319"/>
                <a:gd name="connsiteY37" fmla="*/ 5639211 h 6337434"/>
                <a:gd name="connsiteX38" fmla="*/ 3812756 w 6279319"/>
                <a:gd name="connsiteY38" fmla="*/ 6085877 h 6337434"/>
                <a:gd name="connsiteX39" fmla="*/ 3651662 w 6279319"/>
                <a:gd name="connsiteY39" fmla="*/ 6276911 h 6337434"/>
                <a:gd name="connsiteX40" fmla="*/ 2947427 w 6279319"/>
                <a:gd name="connsiteY40" fmla="*/ 6336789 h 6337434"/>
                <a:gd name="connsiteX41" fmla="*/ 2756393 w 6279319"/>
                <a:gd name="connsiteY41" fmla="*/ 6175695 h 6337434"/>
                <a:gd name="connsiteX42" fmla="*/ 2716185 w 6279319"/>
                <a:gd name="connsiteY42" fmla="*/ 5702791 h 6337434"/>
                <a:gd name="connsiteX43" fmla="*/ 2558466 w 6279319"/>
                <a:gd name="connsiteY43" fmla="*/ 5676684 h 6337434"/>
                <a:gd name="connsiteX44" fmla="*/ 1871098 w 6279319"/>
                <a:gd name="connsiteY44" fmla="*/ 5420425 h 6337434"/>
                <a:gd name="connsiteX45" fmla="*/ 1775669 w 6279319"/>
                <a:gd name="connsiteY45" fmla="*/ 5362150 h 6337434"/>
                <a:gd name="connsiteX46" fmla="*/ 1419110 w 6279319"/>
                <a:gd name="connsiteY46" fmla="*/ 5728890 h 6337434"/>
                <a:gd name="connsiteX47" fmla="*/ 1169245 w 6279319"/>
                <a:gd name="connsiteY47" fmla="*/ 5732408 h 6337434"/>
                <a:gd name="connsiteX48" fmla="*/ 662494 w 6279319"/>
                <a:gd name="connsiteY48" fmla="*/ 5239726 h 6337434"/>
                <a:gd name="connsiteX49" fmla="*/ 658976 w 6279319"/>
                <a:gd name="connsiteY49" fmla="*/ 4989861 h 6337434"/>
                <a:gd name="connsiteX50" fmla="*/ 1001681 w 6279319"/>
                <a:gd name="connsiteY50" fmla="*/ 4637369 h 6337434"/>
                <a:gd name="connsiteX51" fmla="*/ 970699 w 6279319"/>
                <a:gd name="connsiteY51" fmla="*/ 4595385 h 6337434"/>
                <a:gd name="connsiteX52" fmla="*/ 647562 w 6279319"/>
                <a:gd name="connsiteY52" fmla="*/ 3899870 h 6337434"/>
                <a:gd name="connsiteX53" fmla="*/ 624203 w 6279319"/>
                <a:gd name="connsiteY53" fmla="*/ 3802057 h 6337434"/>
                <a:gd name="connsiteX54" fmla="*/ 199539 w 6279319"/>
                <a:gd name="connsiteY54" fmla="*/ 3813039 h 6337434"/>
                <a:gd name="connsiteX55" fmla="*/ 18331 w 6279319"/>
                <a:gd name="connsiteY55" fmla="*/ 3640966 h 6337434"/>
                <a:gd name="connsiteX56" fmla="*/ 60 w 6279319"/>
                <a:gd name="connsiteY56" fmla="*/ 2934427 h 6337434"/>
                <a:gd name="connsiteX57" fmla="*/ 136626 w 6279319"/>
                <a:gd name="connsiteY57" fmla="*/ 2757729 h 6337434"/>
                <a:gd name="connsiteX58" fmla="*/ 172132 w 6279319"/>
                <a:gd name="connsiteY58" fmla="*/ 2753219 h 6337434"/>
                <a:gd name="connsiteX59" fmla="*/ 585494 w 6279319"/>
                <a:gd name="connsiteY59" fmla="*/ 2742530 h 6337434"/>
                <a:gd name="connsiteX60" fmla="*/ 601328 w 6279319"/>
                <a:gd name="connsiteY60" fmla="*/ 2646873 h 6337434"/>
                <a:gd name="connsiteX61" fmla="*/ 857586 w 6279319"/>
                <a:gd name="connsiteY61" fmla="*/ 1959505 h 6337434"/>
                <a:gd name="connsiteX62" fmla="*/ 944188 w 6279319"/>
                <a:gd name="connsiteY62" fmla="*/ 1817690 h 6337434"/>
                <a:gd name="connsiteX63" fmla="*/ 622037 w 6279319"/>
                <a:gd name="connsiteY63" fmla="*/ 1540120 h 6337434"/>
                <a:gd name="connsiteX64" fmla="*/ 603512 w 6279319"/>
                <a:gd name="connsiteY64" fmla="*/ 1290918 h 6337434"/>
                <a:gd name="connsiteX65" fmla="*/ 1064854 w 6279319"/>
                <a:gd name="connsiteY65" fmla="*/ 755478 h 6337434"/>
                <a:gd name="connsiteX66" fmla="*/ 1120269 w 6279319"/>
                <a:gd name="connsiteY66" fmla="*/ 712436 h 6337434"/>
                <a:gd name="connsiteX67" fmla="*/ 1314057 w 6279319"/>
                <a:gd name="connsiteY67" fmla="*/ 736953 h 6337434"/>
                <a:gd name="connsiteX68" fmla="*/ 1685776 w 6279319"/>
                <a:gd name="connsiteY68" fmla="*/ 1057232 h 6337434"/>
                <a:gd name="connsiteX69" fmla="*/ 1899497 w 6279319"/>
                <a:gd name="connsiteY69" fmla="*/ 930121 h 6337434"/>
                <a:gd name="connsiteX70" fmla="*/ 2378142 w 6279319"/>
                <a:gd name="connsiteY70" fmla="*/ 735969 h 6337434"/>
                <a:gd name="connsiteX71" fmla="*/ 2498803 w 6279319"/>
                <a:gd name="connsiteY71" fmla="*/ 707153 h 6337434"/>
                <a:gd name="connsiteX72" fmla="*/ 2498803 w 6279319"/>
                <a:gd name="connsiteY72" fmla="*/ 176699 h 6337434"/>
                <a:gd name="connsiteX73" fmla="*/ 2639891 w 6279319"/>
                <a:gd name="connsiteY73" fmla="*/ 3590 h 633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6279319" h="6337434">
                  <a:moveTo>
                    <a:pt x="2689273" y="1798414"/>
                  </a:moveTo>
                  <a:cubicBezTo>
                    <a:pt x="1924471" y="2022382"/>
                    <a:pt x="1486039" y="2823938"/>
                    <a:pt x="1710007" y="3588739"/>
                  </a:cubicBezTo>
                  <a:cubicBezTo>
                    <a:pt x="1933975" y="4353541"/>
                    <a:pt x="2735531" y="4791973"/>
                    <a:pt x="3500332" y="4568005"/>
                  </a:cubicBezTo>
                  <a:cubicBezTo>
                    <a:pt x="4265134" y="4344037"/>
                    <a:pt x="4703566" y="3542481"/>
                    <a:pt x="4479598" y="2777679"/>
                  </a:cubicBezTo>
                  <a:cubicBezTo>
                    <a:pt x="4255630" y="2012878"/>
                    <a:pt x="3454074" y="1574446"/>
                    <a:pt x="2689273" y="1798414"/>
                  </a:cubicBezTo>
                  <a:close/>
                  <a:moveTo>
                    <a:pt x="2639891" y="3590"/>
                  </a:moveTo>
                  <a:cubicBezTo>
                    <a:pt x="2651394" y="1237"/>
                    <a:pt x="2663304" y="1"/>
                    <a:pt x="2675502" y="1"/>
                  </a:cubicBezTo>
                  <a:lnTo>
                    <a:pt x="3382278" y="0"/>
                  </a:lnTo>
                  <a:cubicBezTo>
                    <a:pt x="3479866" y="1"/>
                    <a:pt x="3558977" y="79112"/>
                    <a:pt x="3558978" y="176700"/>
                  </a:cubicBezTo>
                  <a:lnTo>
                    <a:pt x="3558977" y="677790"/>
                  </a:lnTo>
                  <a:lnTo>
                    <a:pt x="3631139" y="689734"/>
                  </a:lnTo>
                  <a:cubicBezTo>
                    <a:pt x="3872291" y="741829"/>
                    <a:pt x="4103799" y="828553"/>
                    <a:pt x="4318507" y="945993"/>
                  </a:cubicBezTo>
                  <a:lnTo>
                    <a:pt x="4414675" y="1004720"/>
                  </a:lnTo>
                  <a:lnTo>
                    <a:pt x="4815800" y="632725"/>
                  </a:lnTo>
                  <a:cubicBezTo>
                    <a:pt x="4833688" y="616136"/>
                    <a:pt x="4854093" y="603957"/>
                    <a:pt x="4875673" y="596138"/>
                  </a:cubicBezTo>
                  <a:cubicBezTo>
                    <a:pt x="4940414" y="572682"/>
                    <a:pt x="5015744" y="588468"/>
                    <a:pt x="5065513" y="642134"/>
                  </a:cubicBezTo>
                  <a:lnTo>
                    <a:pt x="5546107" y="1160363"/>
                  </a:lnTo>
                  <a:cubicBezTo>
                    <a:pt x="5612465" y="1231917"/>
                    <a:pt x="5608253" y="1343718"/>
                    <a:pt x="5536699" y="1410076"/>
                  </a:cubicBezTo>
                  <a:lnTo>
                    <a:pt x="5189884" y="1731704"/>
                  </a:lnTo>
                  <a:lnTo>
                    <a:pt x="5218907" y="1771033"/>
                  </a:lnTo>
                  <a:cubicBezTo>
                    <a:pt x="5357733" y="1979985"/>
                    <a:pt x="5467830" y="2213128"/>
                    <a:pt x="5542043" y="2466548"/>
                  </a:cubicBezTo>
                  <a:lnTo>
                    <a:pt x="5558107" y="2533816"/>
                  </a:lnTo>
                  <a:lnTo>
                    <a:pt x="6114641" y="2571784"/>
                  </a:lnTo>
                  <a:cubicBezTo>
                    <a:pt x="6212002" y="2578426"/>
                    <a:pt x="6285546" y="2662738"/>
                    <a:pt x="6278903" y="2760100"/>
                  </a:cubicBezTo>
                  <a:lnTo>
                    <a:pt x="6230798" y="3465237"/>
                  </a:lnTo>
                  <a:cubicBezTo>
                    <a:pt x="6224155" y="3562598"/>
                    <a:pt x="6139843" y="3636141"/>
                    <a:pt x="6042481" y="3629499"/>
                  </a:cubicBezTo>
                  <a:lnTo>
                    <a:pt x="5608088" y="3599864"/>
                  </a:lnTo>
                  <a:lnTo>
                    <a:pt x="5588277" y="3719545"/>
                  </a:lnTo>
                  <a:cubicBezTo>
                    <a:pt x="5536183" y="3960698"/>
                    <a:pt x="5449459" y="4192206"/>
                    <a:pt x="5332019" y="4406914"/>
                  </a:cubicBezTo>
                  <a:lnTo>
                    <a:pt x="5267206" y="4513047"/>
                  </a:lnTo>
                  <a:lnTo>
                    <a:pt x="5699142" y="4909590"/>
                  </a:lnTo>
                  <a:cubicBezTo>
                    <a:pt x="5771030" y="4975587"/>
                    <a:pt x="5775805" y="5087364"/>
                    <a:pt x="5709808" y="5159252"/>
                  </a:cubicBezTo>
                  <a:lnTo>
                    <a:pt x="5231829" y="5679894"/>
                  </a:lnTo>
                  <a:cubicBezTo>
                    <a:pt x="5165831" y="5751781"/>
                    <a:pt x="5054054" y="5756557"/>
                    <a:pt x="4982166" y="5690560"/>
                  </a:cubicBezTo>
                  <a:lnTo>
                    <a:pt x="4538986" y="5283694"/>
                  </a:lnTo>
                  <a:lnTo>
                    <a:pt x="4506979" y="5307313"/>
                  </a:lnTo>
                  <a:cubicBezTo>
                    <a:pt x="4298027" y="5446139"/>
                    <a:pt x="4064884" y="5556237"/>
                    <a:pt x="3811464" y="5630449"/>
                  </a:cubicBezTo>
                  <a:lnTo>
                    <a:pt x="3774778" y="5639211"/>
                  </a:lnTo>
                  <a:lnTo>
                    <a:pt x="3812756" y="6085877"/>
                  </a:lnTo>
                  <a:cubicBezTo>
                    <a:pt x="3821024" y="6183114"/>
                    <a:pt x="3748899" y="6268643"/>
                    <a:pt x="3651662" y="6276911"/>
                  </a:cubicBezTo>
                  <a:lnTo>
                    <a:pt x="2947427" y="6336789"/>
                  </a:lnTo>
                  <a:cubicBezTo>
                    <a:pt x="2850190" y="6345057"/>
                    <a:pt x="2764661" y="6272932"/>
                    <a:pt x="2756393" y="6175695"/>
                  </a:cubicBezTo>
                  <a:lnTo>
                    <a:pt x="2716185" y="5702791"/>
                  </a:lnTo>
                  <a:lnTo>
                    <a:pt x="2558466" y="5676684"/>
                  </a:lnTo>
                  <a:cubicBezTo>
                    <a:pt x="2317314" y="5624590"/>
                    <a:pt x="2085806" y="5537866"/>
                    <a:pt x="1871098" y="5420425"/>
                  </a:cubicBezTo>
                  <a:lnTo>
                    <a:pt x="1775669" y="5362150"/>
                  </a:lnTo>
                  <a:lnTo>
                    <a:pt x="1419110" y="5728890"/>
                  </a:lnTo>
                  <a:cubicBezTo>
                    <a:pt x="1351083" y="5798860"/>
                    <a:pt x="1239215" y="5800435"/>
                    <a:pt x="1169245" y="5732408"/>
                  </a:cubicBezTo>
                  <a:lnTo>
                    <a:pt x="662494" y="5239726"/>
                  </a:lnTo>
                  <a:cubicBezTo>
                    <a:pt x="592524" y="5171699"/>
                    <a:pt x="590950" y="5059830"/>
                    <a:pt x="658976" y="4989861"/>
                  </a:cubicBezTo>
                  <a:lnTo>
                    <a:pt x="1001681" y="4637369"/>
                  </a:lnTo>
                  <a:lnTo>
                    <a:pt x="970699" y="4595385"/>
                  </a:lnTo>
                  <a:cubicBezTo>
                    <a:pt x="831873" y="4386434"/>
                    <a:pt x="721775" y="4153290"/>
                    <a:pt x="647562" y="3899870"/>
                  </a:cubicBezTo>
                  <a:lnTo>
                    <a:pt x="624203" y="3802057"/>
                  </a:lnTo>
                  <a:lnTo>
                    <a:pt x="199539" y="3813039"/>
                  </a:lnTo>
                  <a:cubicBezTo>
                    <a:pt x="101984" y="3815562"/>
                    <a:pt x="20854" y="3738522"/>
                    <a:pt x="18331" y="3640966"/>
                  </a:cubicBezTo>
                  <a:lnTo>
                    <a:pt x="60" y="2934427"/>
                  </a:lnTo>
                  <a:cubicBezTo>
                    <a:pt x="-2148" y="2849066"/>
                    <a:pt x="56560" y="2776281"/>
                    <a:pt x="136626" y="2757729"/>
                  </a:cubicBezTo>
                  <a:cubicBezTo>
                    <a:pt x="148064" y="2755078"/>
                    <a:pt x="159938" y="2753534"/>
                    <a:pt x="172132" y="2753219"/>
                  </a:cubicBezTo>
                  <a:lnTo>
                    <a:pt x="585494" y="2742530"/>
                  </a:lnTo>
                  <a:lnTo>
                    <a:pt x="601328" y="2646873"/>
                  </a:lnTo>
                  <a:cubicBezTo>
                    <a:pt x="653422" y="2405721"/>
                    <a:pt x="740147" y="2174213"/>
                    <a:pt x="857586" y="1959505"/>
                  </a:cubicBezTo>
                  <a:lnTo>
                    <a:pt x="944188" y="1817690"/>
                  </a:lnTo>
                  <a:lnTo>
                    <a:pt x="622037" y="1540120"/>
                  </a:lnTo>
                  <a:cubicBezTo>
                    <a:pt x="548106" y="1476420"/>
                    <a:pt x="539812" y="1364848"/>
                    <a:pt x="603512" y="1290918"/>
                  </a:cubicBezTo>
                  <a:lnTo>
                    <a:pt x="1064854" y="755478"/>
                  </a:lnTo>
                  <a:cubicBezTo>
                    <a:pt x="1080779" y="736995"/>
                    <a:pt x="1099696" y="722615"/>
                    <a:pt x="1120269" y="712436"/>
                  </a:cubicBezTo>
                  <a:cubicBezTo>
                    <a:pt x="1181987" y="681900"/>
                    <a:pt x="1258608" y="689178"/>
                    <a:pt x="1314057" y="736953"/>
                  </a:cubicBezTo>
                  <a:lnTo>
                    <a:pt x="1685776" y="1057232"/>
                  </a:lnTo>
                  <a:lnTo>
                    <a:pt x="1899497" y="930121"/>
                  </a:lnTo>
                  <a:cubicBezTo>
                    <a:pt x="2049260" y="850868"/>
                    <a:pt x="2209195" y="785444"/>
                    <a:pt x="2378142" y="735969"/>
                  </a:cubicBezTo>
                  <a:lnTo>
                    <a:pt x="2498803" y="707153"/>
                  </a:lnTo>
                  <a:lnTo>
                    <a:pt x="2498803" y="176699"/>
                  </a:lnTo>
                  <a:cubicBezTo>
                    <a:pt x="2498803" y="91310"/>
                    <a:pt x="2559373" y="20067"/>
                    <a:pt x="2639891" y="359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5" name="Freeform 564"/>
            <p:cNvSpPr/>
            <p:nvPr/>
          </p:nvSpPr>
          <p:spPr>
            <a:xfrm rot="979343">
              <a:off x="-297597" y="3641624"/>
              <a:ext cx="111297" cy="112327"/>
            </a:xfrm>
            <a:custGeom>
              <a:avLst/>
              <a:gdLst>
                <a:gd name="connsiteX0" fmla="*/ 2689273 w 6279319"/>
                <a:gd name="connsiteY0" fmla="*/ 1798414 h 6337434"/>
                <a:gd name="connsiteX1" fmla="*/ 1710007 w 6279319"/>
                <a:gd name="connsiteY1" fmla="*/ 3588739 h 6337434"/>
                <a:gd name="connsiteX2" fmla="*/ 3500332 w 6279319"/>
                <a:gd name="connsiteY2" fmla="*/ 4568005 h 6337434"/>
                <a:gd name="connsiteX3" fmla="*/ 4479598 w 6279319"/>
                <a:gd name="connsiteY3" fmla="*/ 2777679 h 6337434"/>
                <a:gd name="connsiteX4" fmla="*/ 2689273 w 6279319"/>
                <a:gd name="connsiteY4" fmla="*/ 1798414 h 6337434"/>
                <a:gd name="connsiteX5" fmla="*/ 2639891 w 6279319"/>
                <a:gd name="connsiteY5" fmla="*/ 3590 h 6337434"/>
                <a:gd name="connsiteX6" fmla="*/ 2675502 w 6279319"/>
                <a:gd name="connsiteY6" fmla="*/ 1 h 6337434"/>
                <a:gd name="connsiteX7" fmla="*/ 3382278 w 6279319"/>
                <a:gd name="connsiteY7" fmla="*/ 0 h 6337434"/>
                <a:gd name="connsiteX8" fmla="*/ 3558978 w 6279319"/>
                <a:gd name="connsiteY8" fmla="*/ 176700 h 6337434"/>
                <a:gd name="connsiteX9" fmla="*/ 3558977 w 6279319"/>
                <a:gd name="connsiteY9" fmla="*/ 677790 h 6337434"/>
                <a:gd name="connsiteX10" fmla="*/ 3631139 w 6279319"/>
                <a:gd name="connsiteY10" fmla="*/ 689734 h 6337434"/>
                <a:gd name="connsiteX11" fmla="*/ 4318507 w 6279319"/>
                <a:gd name="connsiteY11" fmla="*/ 945993 h 6337434"/>
                <a:gd name="connsiteX12" fmla="*/ 4414675 w 6279319"/>
                <a:gd name="connsiteY12" fmla="*/ 1004720 h 6337434"/>
                <a:gd name="connsiteX13" fmla="*/ 4815800 w 6279319"/>
                <a:gd name="connsiteY13" fmla="*/ 632725 h 6337434"/>
                <a:gd name="connsiteX14" fmla="*/ 4875673 w 6279319"/>
                <a:gd name="connsiteY14" fmla="*/ 596138 h 6337434"/>
                <a:gd name="connsiteX15" fmla="*/ 5065513 w 6279319"/>
                <a:gd name="connsiteY15" fmla="*/ 642134 h 6337434"/>
                <a:gd name="connsiteX16" fmla="*/ 5546107 w 6279319"/>
                <a:gd name="connsiteY16" fmla="*/ 1160363 h 6337434"/>
                <a:gd name="connsiteX17" fmla="*/ 5536699 w 6279319"/>
                <a:gd name="connsiteY17" fmla="*/ 1410076 h 6337434"/>
                <a:gd name="connsiteX18" fmla="*/ 5189884 w 6279319"/>
                <a:gd name="connsiteY18" fmla="*/ 1731704 h 6337434"/>
                <a:gd name="connsiteX19" fmla="*/ 5218907 w 6279319"/>
                <a:gd name="connsiteY19" fmla="*/ 1771033 h 6337434"/>
                <a:gd name="connsiteX20" fmla="*/ 5542043 w 6279319"/>
                <a:gd name="connsiteY20" fmla="*/ 2466548 h 6337434"/>
                <a:gd name="connsiteX21" fmla="*/ 5558107 w 6279319"/>
                <a:gd name="connsiteY21" fmla="*/ 2533816 h 6337434"/>
                <a:gd name="connsiteX22" fmla="*/ 6114641 w 6279319"/>
                <a:gd name="connsiteY22" fmla="*/ 2571784 h 6337434"/>
                <a:gd name="connsiteX23" fmla="*/ 6278903 w 6279319"/>
                <a:gd name="connsiteY23" fmla="*/ 2760100 h 6337434"/>
                <a:gd name="connsiteX24" fmla="*/ 6230798 w 6279319"/>
                <a:gd name="connsiteY24" fmla="*/ 3465237 h 6337434"/>
                <a:gd name="connsiteX25" fmla="*/ 6042481 w 6279319"/>
                <a:gd name="connsiteY25" fmla="*/ 3629499 h 6337434"/>
                <a:gd name="connsiteX26" fmla="*/ 5608088 w 6279319"/>
                <a:gd name="connsiteY26" fmla="*/ 3599864 h 6337434"/>
                <a:gd name="connsiteX27" fmla="*/ 5588277 w 6279319"/>
                <a:gd name="connsiteY27" fmla="*/ 3719545 h 6337434"/>
                <a:gd name="connsiteX28" fmla="*/ 5332019 w 6279319"/>
                <a:gd name="connsiteY28" fmla="*/ 4406914 h 6337434"/>
                <a:gd name="connsiteX29" fmla="*/ 5267206 w 6279319"/>
                <a:gd name="connsiteY29" fmla="*/ 4513047 h 6337434"/>
                <a:gd name="connsiteX30" fmla="*/ 5699142 w 6279319"/>
                <a:gd name="connsiteY30" fmla="*/ 4909590 h 6337434"/>
                <a:gd name="connsiteX31" fmla="*/ 5709808 w 6279319"/>
                <a:gd name="connsiteY31" fmla="*/ 5159252 h 6337434"/>
                <a:gd name="connsiteX32" fmla="*/ 5231829 w 6279319"/>
                <a:gd name="connsiteY32" fmla="*/ 5679894 h 6337434"/>
                <a:gd name="connsiteX33" fmla="*/ 4982166 w 6279319"/>
                <a:gd name="connsiteY33" fmla="*/ 5690560 h 6337434"/>
                <a:gd name="connsiteX34" fmla="*/ 4538986 w 6279319"/>
                <a:gd name="connsiteY34" fmla="*/ 5283694 h 6337434"/>
                <a:gd name="connsiteX35" fmla="*/ 4506979 w 6279319"/>
                <a:gd name="connsiteY35" fmla="*/ 5307313 h 6337434"/>
                <a:gd name="connsiteX36" fmla="*/ 3811464 w 6279319"/>
                <a:gd name="connsiteY36" fmla="*/ 5630449 h 6337434"/>
                <a:gd name="connsiteX37" fmla="*/ 3774778 w 6279319"/>
                <a:gd name="connsiteY37" fmla="*/ 5639211 h 6337434"/>
                <a:gd name="connsiteX38" fmla="*/ 3812756 w 6279319"/>
                <a:gd name="connsiteY38" fmla="*/ 6085877 h 6337434"/>
                <a:gd name="connsiteX39" fmla="*/ 3651662 w 6279319"/>
                <a:gd name="connsiteY39" fmla="*/ 6276911 h 6337434"/>
                <a:gd name="connsiteX40" fmla="*/ 2947427 w 6279319"/>
                <a:gd name="connsiteY40" fmla="*/ 6336789 h 6337434"/>
                <a:gd name="connsiteX41" fmla="*/ 2756393 w 6279319"/>
                <a:gd name="connsiteY41" fmla="*/ 6175695 h 6337434"/>
                <a:gd name="connsiteX42" fmla="*/ 2716185 w 6279319"/>
                <a:gd name="connsiteY42" fmla="*/ 5702791 h 6337434"/>
                <a:gd name="connsiteX43" fmla="*/ 2558466 w 6279319"/>
                <a:gd name="connsiteY43" fmla="*/ 5676684 h 6337434"/>
                <a:gd name="connsiteX44" fmla="*/ 1871098 w 6279319"/>
                <a:gd name="connsiteY44" fmla="*/ 5420425 h 6337434"/>
                <a:gd name="connsiteX45" fmla="*/ 1775669 w 6279319"/>
                <a:gd name="connsiteY45" fmla="*/ 5362150 h 6337434"/>
                <a:gd name="connsiteX46" fmla="*/ 1419110 w 6279319"/>
                <a:gd name="connsiteY46" fmla="*/ 5728890 h 6337434"/>
                <a:gd name="connsiteX47" fmla="*/ 1169245 w 6279319"/>
                <a:gd name="connsiteY47" fmla="*/ 5732408 h 6337434"/>
                <a:gd name="connsiteX48" fmla="*/ 662494 w 6279319"/>
                <a:gd name="connsiteY48" fmla="*/ 5239726 h 6337434"/>
                <a:gd name="connsiteX49" fmla="*/ 658976 w 6279319"/>
                <a:gd name="connsiteY49" fmla="*/ 4989861 h 6337434"/>
                <a:gd name="connsiteX50" fmla="*/ 1001681 w 6279319"/>
                <a:gd name="connsiteY50" fmla="*/ 4637369 h 6337434"/>
                <a:gd name="connsiteX51" fmla="*/ 970699 w 6279319"/>
                <a:gd name="connsiteY51" fmla="*/ 4595385 h 6337434"/>
                <a:gd name="connsiteX52" fmla="*/ 647562 w 6279319"/>
                <a:gd name="connsiteY52" fmla="*/ 3899870 h 6337434"/>
                <a:gd name="connsiteX53" fmla="*/ 624203 w 6279319"/>
                <a:gd name="connsiteY53" fmla="*/ 3802057 h 6337434"/>
                <a:gd name="connsiteX54" fmla="*/ 199539 w 6279319"/>
                <a:gd name="connsiteY54" fmla="*/ 3813039 h 6337434"/>
                <a:gd name="connsiteX55" fmla="*/ 18331 w 6279319"/>
                <a:gd name="connsiteY55" fmla="*/ 3640966 h 6337434"/>
                <a:gd name="connsiteX56" fmla="*/ 60 w 6279319"/>
                <a:gd name="connsiteY56" fmla="*/ 2934427 h 6337434"/>
                <a:gd name="connsiteX57" fmla="*/ 136626 w 6279319"/>
                <a:gd name="connsiteY57" fmla="*/ 2757729 h 6337434"/>
                <a:gd name="connsiteX58" fmla="*/ 172132 w 6279319"/>
                <a:gd name="connsiteY58" fmla="*/ 2753219 h 6337434"/>
                <a:gd name="connsiteX59" fmla="*/ 585494 w 6279319"/>
                <a:gd name="connsiteY59" fmla="*/ 2742530 h 6337434"/>
                <a:gd name="connsiteX60" fmla="*/ 601328 w 6279319"/>
                <a:gd name="connsiteY60" fmla="*/ 2646873 h 6337434"/>
                <a:gd name="connsiteX61" fmla="*/ 857586 w 6279319"/>
                <a:gd name="connsiteY61" fmla="*/ 1959505 h 6337434"/>
                <a:gd name="connsiteX62" fmla="*/ 944188 w 6279319"/>
                <a:gd name="connsiteY62" fmla="*/ 1817690 h 6337434"/>
                <a:gd name="connsiteX63" fmla="*/ 622037 w 6279319"/>
                <a:gd name="connsiteY63" fmla="*/ 1540120 h 6337434"/>
                <a:gd name="connsiteX64" fmla="*/ 603512 w 6279319"/>
                <a:gd name="connsiteY64" fmla="*/ 1290918 h 6337434"/>
                <a:gd name="connsiteX65" fmla="*/ 1064854 w 6279319"/>
                <a:gd name="connsiteY65" fmla="*/ 755478 h 6337434"/>
                <a:gd name="connsiteX66" fmla="*/ 1120269 w 6279319"/>
                <a:gd name="connsiteY66" fmla="*/ 712436 h 6337434"/>
                <a:gd name="connsiteX67" fmla="*/ 1314057 w 6279319"/>
                <a:gd name="connsiteY67" fmla="*/ 736953 h 6337434"/>
                <a:gd name="connsiteX68" fmla="*/ 1685776 w 6279319"/>
                <a:gd name="connsiteY68" fmla="*/ 1057232 h 6337434"/>
                <a:gd name="connsiteX69" fmla="*/ 1899497 w 6279319"/>
                <a:gd name="connsiteY69" fmla="*/ 930121 h 6337434"/>
                <a:gd name="connsiteX70" fmla="*/ 2378142 w 6279319"/>
                <a:gd name="connsiteY70" fmla="*/ 735969 h 6337434"/>
                <a:gd name="connsiteX71" fmla="*/ 2498803 w 6279319"/>
                <a:gd name="connsiteY71" fmla="*/ 707153 h 6337434"/>
                <a:gd name="connsiteX72" fmla="*/ 2498803 w 6279319"/>
                <a:gd name="connsiteY72" fmla="*/ 176699 h 6337434"/>
                <a:gd name="connsiteX73" fmla="*/ 2639891 w 6279319"/>
                <a:gd name="connsiteY73" fmla="*/ 3590 h 63374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</a:cxnLst>
              <a:rect l="l" t="t" r="r" b="b"/>
              <a:pathLst>
                <a:path w="6279319" h="6337434">
                  <a:moveTo>
                    <a:pt x="2689273" y="1798414"/>
                  </a:moveTo>
                  <a:cubicBezTo>
                    <a:pt x="1924471" y="2022382"/>
                    <a:pt x="1486039" y="2823938"/>
                    <a:pt x="1710007" y="3588739"/>
                  </a:cubicBezTo>
                  <a:cubicBezTo>
                    <a:pt x="1933975" y="4353541"/>
                    <a:pt x="2735531" y="4791973"/>
                    <a:pt x="3500332" y="4568005"/>
                  </a:cubicBezTo>
                  <a:cubicBezTo>
                    <a:pt x="4265134" y="4344037"/>
                    <a:pt x="4703566" y="3542481"/>
                    <a:pt x="4479598" y="2777679"/>
                  </a:cubicBezTo>
                  <a:cubicBezTo>
                    <a:pt x="4255630" y="2012878"/>
                    <a:pt x="3454074" y="1574446"/>
                    <a:pt x="2689273" y="1798414"/>
                  </a:cubicBezTo>
                  <a:close/>
                  <a:moveTo>
                    <a:pt x="2639891" y="3590"/>
                  </a:moveTo>
                  <a:cubicBezTo>
                    <a:pt x="2651394" y="1237"/>
                    <a:pt x="2663304" y="1"/>
                    <a:pt x="2675502" y="1"/>
                  </a:cubicBezTo>
                  <a:lnTo>
                    <a:pt x="3382278" y="0"/>
                  </a:lnTo>
                  <a:cubicBezTo>
                    <a:pt x="3479866" y="1"/>
                    <a:pt x="3558977" y="79112"/>
                    <a:pt x="3558978" y="176700"/>
                  </a:cubicBezTo>
                  <a:lnTo>
                    <a:pt x="3558977" y="677790"/>
                  </a:lnTo>
                  <a:lnTo>
                    <a:pt x="3631139" y="689734"/>
                  </a:lnTo>
                  <a:cubicBezTo>
                    <a:pt x="3872291" y="741829"/>
                    <a:pt x="4103799" y="828553"/>
                    <a:pt x="4318507" y="945993"/>
                  </a:cubicBezTo>
                  <a:lnTo>
                    <a:pt x="4414675" y="1004720"/>
                  </a:lnTo>
                  <a:lnTo>
                    <a:pt x="4815800" y="632725"/>
                  </a:lnTo>
                  <a:cubicBezTo>
                    <a:pt x="4833688" y="616136"/>
                    <a:pt x="4854093" y="603957"/>
                    <a:pt x="4875673" y="596138"/>
                  </a:cubicBezTo>
                  <a:cubicBezTo>
                    <a:pt x="4940414" y="572682"/>
                    <a:pt x="5015744" y="588468"/>
                    <a:pt x="5065513" y="642134"/>
                  </a:cubicBezTo>
                  <a:lnTo>
                    <a:pt x="5546107" y="1160363"/>
                  </a:lnTo>
                  <a:cubicBezTo>
                    <a:pt x="5612465" y="1231917"/>
                    <a:pt x="5608253" y="1343718"/>
                    <a:pt x="5536699" y="1410076"/>
                  </a:cubicBezTo>
                  <a:lnTo>
                    <a:pt x="5189884" y="1731704"/>
                  </a:lnTo>
                  <a:lnTo>
                    <a:pt x="5218907" y="1771033"/>
                  </a:lnTo>
                  <a:cubicBezTo>
                    <a:pt x="5357733" y="1979985"/>
                    <a:pt x="5467830" y="2213128"/>
                    <a:pt x="5542043" y="2466548"/>
                  </a:cubicBezTo>
                  <a:lnTo>
                    <a:pt x="5558107" y="2533816"/>
                  </a:lnTo>
                  <a:lnTo>
                    <a:pt x="6114641" y="2571784"/>
                  </a:lnTo>
                  <a:cubicBezTo>
                    <a:pt x="6212002" y="2578426"/>
                    <a:pt x="6285546" y="2662738"/>
                    <a:pt x="6278903" y="2760100"/>
                  </a:cubicBezTo>
                  <a:lnTo>
                    <a:pt x="6230798" y="3465237"/>
                  </a:lnTo>
                  <a:cubicBezTo>
                    <a:pt x="6224155" y="3562598"/>
                    <a:pt x="6139843" y="3636141"/>
                    <a:pt x="6042481" y="3629499"/>
                  </a:cubicBezTo>
                  <a:lnTo>
                    <a:pt x="5608088" y="3599864"/>
                  </a:lnTo>
                  <a:lnTo>
                    <a:pt x="5588277" y="3719545"/>
                  </a:lnTo>
                  <a:cubicBezTo>
                    <a:pt x="5536183" y="3960698"/>
                    <a:pt x="5449459" y="4192206"/>
                    <a:pt x="5332019" y="4406914"/>
                  </a:cubicBezTo>
                  <a:lnTo>
                    <a:pt x="5267206" y="4513047"/>
                  </a:lnTo>
                  <a:lnTo>
                    <a:pt x="5699142" y="4909590"/>
                  </a:lnTo>
                  <a:cubicBezTo>
                    <a:pt x="5771030" y="4975587"/>
                    <a:pt x="5775805" y="5087364"/>
                    <a:pt x="5709808" y="5159252"/>
                  </a:cubicBezTo>
                  <a:lnTo>
                    <a:pt x="5231829" y="5679894"/>
                  </a:lnTo>
                  <a:cubicBezTo>
                    <a:pt x="5165831" y="5751781"/>
                    <a:pt x="5054054" y="5756557"/>
                    <a:pt x="4982166" y="5690560"/>
                  </a:cubicBezTo>
                  <a:lnTo>
                    <a:pt x="4538986" y="5283694"/>
                  </a:lnTo>
                  <a:lnTo>
                    <a:pt x="4506979" y="5307313"/>
                  </a:lnTo>
                  <a:cubicBezTo>
                    <a:pt x="4298027" y="5446139"/>
                    <a:pt x="4064884" y="5556237"/>
                    <a:pt x="3811464" y="5630449"/>
                  </a:cubicBezTo>
                  <a:lnTo>
                    <a:pt x="3774778" y="5639211"/>
                  </a:lnTo>
                  <a:lnTo>
                    <a:pt x="3812756" y="6085877"/>
                  </a:lnTo>
                  <a:cubicBezTo>
                    <a:pt x="3821024" y="6183114"/>
                    <a:pt x="3748899" y="6268643"/>
                    <a:pt x="3651662" y="6276911"/>
                  </a:cubicBezTo>
                  <a:lnTo>
                    <a:pt x="2947427" y="6336789"/>
                  </a:lnTo>
                  <a:cubicBezTo>
                    <a:pt x="2850190" y="6345057"/>
                    <a:pt x="2764661" y="6272932"/>
                    <a:pt x="2756393" y="6175695"/>
                  </a:cubicBezTo>
                  <a:lnTo>
                    <a:pt x="2716185" y="5702791"/>
                  </a:lnTo>
                  <a:lnTo>
                    <a:pt x="2558466" y="5676684"/>
                  </a:lnTo>
                  <a:cubicBezTo>
                    <a:pt x="2317314" y="5624590"/>
                    <a:pt x="2085806" y="5537866"/>
                    <a:pt x="1871098" y="5420425"/>
                  </a:cubicBezTo>
                  <a:lnTo>
                    <a:pt x="1775669" y="5362150"/>
                  </a:lnTo>
                  <a:lnTo>
                    <a:pt x="1419110" y="5728890"/>
                  </a:lnTo>
                  <a:cubicBezTo>
                    <a:pt x="1351083" y="5798860"/>
                    <a:pt x="1239215" y="5800435"/>
                    <a:pt x="1169245" y="5732408"/>
                  </a:cubicBezTo>
                  <a:lnTo>
                    <a:pt x="662494" y="5239726"/>
                  </a:lnTo>
                  <a:cubicBezTo>
                    <a:pt x="592524" y="5171699"/>
                    <a:pt x="590950" y="5059830"/>
                    <a:pt x="658976" y="4989861"/>
                  </a:cubicBezTo>
                  <a:lnTo>
                    <a:pt x="1001681" y="4637369"/>
                  </a:lnTo>
                  <a:lnTo>
                    <a:pt x="970699" y="4595385"/>
                  </a:lnTo>
                  <a:cubicBezTo>
                    <a:pt x="831873" y="4386434"/>
                    <a:pt x="721775" y="4153290"/>
                    <a:pt x="647562" y="3899870"/>
                  </a:cubicBezTo>
                  <a:lnTo>
                    <a:pt x="624203" y="3802057"/>
                  </a:lnTo>
                  <a:lnTo>
                    <a:pt x="199539" y="3813039"/>
                  </a:lnTo>
                  <a:cubicBezTo>
                    <a:pt x="101984" y="3815562"/>
                    <a:pt x="20854" y="3738522"/>
                    <a:pt x="18331" y="3640966"/>
                  </a:cubicBezTo>
                  <a:lnTo>
                    <a:pt x="60" y="2934427"/>
                  </a:lnTo>
                  <a:cubicBezTo>
                    <a:pt x="-2148" y="2849066"/>
                    <a:pt x="56560" y="2776281"/>
                    <a:pt x="136626" y="2757729"/>
                  </a:cubicBezTo>
                  <a:cubicBezTo>
                    <a:pt x="148064" y="2755078"/>
                    <a:pt x="159938" y="2753534"/>
                    <a:pt x="172132" y="2753219"/>
                  </a:cubicBezTo>
                  <a:lnTo>
                    <a:pt x="585494" y="2742530"/>
                  </a:lnTo>
                  <a:lnTo>
                    <a:pt x="601328" y="2646873"/>
                  </a:lnTo>
                  <a:cubicBezTo>
                    <a:pt x="653422" y="2405721"/>
                    <a:pt x="740147" y="2174213"/>
                    <a:pt x="857586" y="1959505"/>
                  </a:cubicBezTo>
                  <a:lnTo>
                    <a:pt x="944188" y="1817690"/>
                  </a:lnTo>
                  <a:lnTo>
                    <a:pt x="622037" y="1540120"/>
                  </a:lnTo>
                  <a:cubicBezTo>
                    <a:pt x="548106" y="1476420"/>
                    <a:pt x="539812" y="1364848"/>
                    <a:pt x="603512" y="1290918"/>
                  </a:cubicBezTo>
                  <a:lnTo>
                    <a:pt x="1064854" y="755478"/>
                  </a:lnTo>
                  <a:cubicBezTo>
                    <a:pt x="1080779" y="736995"/>
                    <a:pt x="1099696" y="722615"/>
                    <a:pt x="1120269" y="712436"/>
                  </a:cubicBezTo>
                  <a:cubicBezTo>
                    <a:pt x="1181987" y="681900"/>
                    <a:pt x="1258608" y="689178"/>
                    <a:pt x="1314057" y="736953"/>
                  </a:cubicBezTo>
                  <a:lnTo>
                    <a:pt x="1685776" y="1057232"/>
                  </a:lnTo>
                  <a:lnTo>
                    <a:pt x="1899497" y="930121"/>
                  </a:lnTo>
                  <a:cubicBezTo>
                    <a:pt x="2049260" y="850868"/>
                    <a:pt x="2209195" y="785444"/>
                    <a:pt x="2378142" y="735969"/>
                  </a:cubicBezTo>
                  <a:lnTo>
                    <a:pt x="2498803" y="707153"/>
                  </a:lnTo>
                  <a:lnTo>
                    <a:pt x="2498803" y="176699"/>
                  </a:lnTo>
                  <a:cubicBezTo>
                    <a:pt x="2498803" y="91310"/>
                    <a:pt x="2559373" y="20067"/>
                    <a:pt x="2639891" y="359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797016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WILL ASSETS BE DIVIDED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5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758190" y="1447800"/>
            <a:ext cx="1082421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ivorce</a:t>
            </a:r>
          </a:p>
        </p:txBody>
      </p:sp>
      <p:sp>
        <p:nvSpPr>
          <p:cNvPr id="6" name="Rectangle 5"/>
          <p:cNvSpPr/>
          <p:nvPr/>
        </p:nvSpPr>
        <p:spPr>
          <a:xfrm>
            <a:off x="758190" y="2408035"/>
            <a:ext cx="1082421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Death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758190" y="3368269"/>
            <a:ext cx="1082421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Spousal support and alimony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758190" y="4328504"/>
            <a:ext cx="1082421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>
                <a:solidFill>
                  <a:schemeClr val="tx1">
                    <a:lumMod val="75000"/>
                    <a:lumOff val="25000"/>
                  </a:schemeClr>
                </a:solidFill>
              </a:rPr>
              <a:t>Economic responsibility during the term of marriage (Refer to next slide)</a:t>
            </a: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58190" y="5288739"/>
            <a:ext cx="1082421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Laws of state or states where individuals reside and apply to determine property rights.</a:t>
            </a:r>
          </a:p>
        </p:txBody>
      </p:sp>
      <p:sp>
        <p:nvSpPr>
          <p:cNvPr id="12" name="Rectangle 11"/>
          <p:cNvSpPr/>
          <p:nvPr/>
        </p:nvSpPr>
        <p:spPr>
          <a:xfrm>
            <a:off x="609600" y="1447800"/>
            <a:ext cx="91440" cy="883461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609600" y="2408035"/>
            <a:ext cx="91440" cy="883461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09600" y="3368269"/>
            <a:ext cx="91440" cy="883461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609600" y="4328504"/>
            <a:ext cx="91440" cy="883461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609600" y="5288739"/>
            <a:ext cx="91440" cy="883461"/>
          </a:xfrm>
          <a:prstGeom prst="rect">
            <a:avLst/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10668000" y="2301162"/>
            <a:ext cx="914400" cy="30099"/>
          </a:xfrm>
          <a:prstGeom prst="rect">
            <a:avLst/>
          </a:prstGeom>
          <a:solidFill>
            <a:srgbClr val="26867C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10668000" y="3261397"/>
            <a:ext cx="914400" cy="30099"/>
          </a:xfrm>
          <a:prstGeom prst="rect">
            <a:avLst/>
          </a:prstGeom>
          <a:solidFill>
            <a:srgbClr val="26867C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10668000" y="4221632"/>
            <a:ext cx="914400" cy="30099"/>
          </a:xfrm>
          <a:prstGeom prst="rect">
            <a:avLst/>
          </a:prstGeom>
          <a:solidFill>
            <a:srgbClr val="26867C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/>
          <p:cNvSpPr/>
          <p:nvPr/>
        </p:nvSpPr>
        <p:spPr>
          <a:xfrm>
            <a:off x="10668000" y="5181867"/>
            <a:ext cx="914400" cy="30099"/>
          </a:xfrm>
          <a:prstGeom prst="rect">
            <a:avLst/>
          </a:prstGeom>
          <a:solidFill>
            <a:srgbClr val="26867C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/>
        </p:nvSpPr>
        <p:spPr>
          <a:xfrm>
            <a:off x="10668000" y="6142101"/>
            <a:ext cx="914400" cy="30099"/>
          </a:xfrm>
          <a:prstGeom prst="rect">
            <a:avLst/>
          </a:prstGeom>
          <a:solidFill>
            <a:srgbClr val="26867C">
              <a:alpha val="54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reeform 6"/>
          <p:cNvSpPr>
            <a:spLocks noEditPoints="1"/>
          </p:cNvSpPr>
          <p:nvPr/>
        </p:nvSpPr>
        <p:spPr bwMode="auto">
          <a:xfrm>
            <a:off x="10875963" y="1626005"/>
            <a:ext cx="498475" cy="527050"/>
          </a:xfrm>
          <a:custGeom>
            <a:avLst/>
            <a:gdLst>
              <a:gd name="T0" fmla="*/ 972 w 3141"/>
              <a:gd name="T1" fmla="*/ 757 h 3320"/>
              <a:gd name="T2" fmla="*/ 1137 w 3141"/>
              <a:gd name="T3" fmla="*/ 1038 h 3320"/>
              <a:gd name="T4" fmla="*/ 1258 w 3141"/>
              <a:gd name="T5" fmla="*/ 1458 h 3320"/>
              <a:gd name="T6" fmla="*/ 1301 w 3141"/>
              <a:gd name="T7" fmla="*/ 1607 h 3320"/>
              <a:gd name="T8" fmla="*/ 1279 w 3141"/>
              <a:gd name="T9" fmla="*/ 1708 h 3320"/>
              <a:gd name="T10" fmla="*/ 1162 w 3141"/>
              <a:gd name="T11" fmla="*/ 1716 h 3320"/>
              <a:gd name="T12" fmla="*/ 1118 w 3141"/>
              <a:gd name="T13" fmla="*/ 1623 h 3320"/>
              <a:gd name="T14" fmla="*/ 1029 w 3141"/>
              <a:gd name="T15" fmla="*/ 1322 h 3320"/>
              <a:gd name="T16" fmla="*/ 887 w 3141"/>
              <a:gd name="T17" fmla="*/ 1030 h 3320"/>
              <a:gd name="T18" fmla="*/ 892 w 3141"/>
              <a:gd name="T19" fmla="*/ 2956 h 3320"/>
              <a:gd name="T20" fmla="*/ 792 w 3141"/>
              <a:gd name="T21" fmla="*/ 3012 h 3320"/>
              <a:gd name="T22" fmla="*/ 692 w 3141"/>
              <a:gd name="T23" fmla="*/ 2948 h 3320"/>
              <a:gd name="T24" fmla="*/ 628 w 3141"/>
              <a:gd name="T25" fmla="*/ 2928 h 3320"/>
              <a:gd name="T26" fmla="*/ 546 w 3141"/>
              <a:gd name="T27" fmla="*/ 3010 h 3320"/>
              <a:gd name="T28" fmla="*/ 432 w 3141"/>
              <a:gd name="T29" fmla="*/ 2970 h 3320"/>
              <a:gd name="T30" fmla="*/ 107 w 3141"/>
              <a:gd name="T31" fmla="*/ 2096 h 3320"/>
              <a:gd name="T32" fmla="*/ 297 w 3141"/>
              <a:gd name="T33" fmla="*/ 1274 h 3320"/>
              <a:gd name="T34" fmla="*/ 198 w 3141"/>
              <a:gd name="T35" fmla="*/ 1600 h 3320"/>
              <a:gd name="T36" fmla="*/ 160 w 3141"/>
              <a:gd name="T37" fmla="*/ 1703 h 3320"/>
              <a:gd name="T38" fmla="*/ 45 w 3141"/>
              <a:gd name="T39" fmla="*/ 1718 h 3320"/>
              <a:gd name="T40" fmla="*/ 1 w 3141"/>
              <a:gd name="T41" fmla="*/ 1627 h 3320"/>
              <a:gd name="T42" fmla="*/ 29 w 3141"/>
              <a:gd name="T43" fmla="*/ 1533 h 3320"/>
              <a:gd name="T44" fmla="*/ 119 w 3141"/>
              <a:gd name="T45" fmla="*/ 1227 h 3320"/>
              <a:gd name="T46" fmla="*/ 236 w 3141"/>
              <a:gd name="T47" fmla="*/ 866 h 3320"/>
              <a:gd name="T48" fmla="*/ 403 w 3141"/>
              <a:gd name="T49" fmla="*/ 725 h 3320"/>
              <a:gd name="T50" fmla="*/ 2922 w 3141"/>
              <a:gd name="T51" fmla="*/ 719 h 3320"/>
              <a:gd name="T52" fmla="*/ 3103 w 3141"/>
              <a:gd name="T53" fmla="*/ 861 h 3320"/>
              <a:gd name="T54" fmla="*/ 3139 w 3141"/>
              <a:gd name="T55" fmla="*/ 1754 h 3320"/>
              <a:gd name="T56" fmla="*/ 3062 w 3141"/>
              <a:gd name="T57" fmla="*/ 1831 h 3320"/>
              <a:gd name="T58" fmla="*/ 2954 w 3141"/>
              <a:gd name="T59" fmla="*/ 1789 h 3320"/>
              <a:gd name="T60" fmla="*/ 2884 w 3141"/>
              <a:gd name="T61" fmla="*/ 2881 h 3320"/>
              <a:gd name="T62" fmla="*/ 2804 w 3141"/>
              <a:gd name="T63" fmla="*/ 3003 h 3320"/>
              <a:gd name="T64" fmla="*/ 2671 w 3141"/>
              <a:gd name="T65" fmla="*/ 2988 h 3320"/>
              <a:gd name="T66" fmla="*/ 2616 w 3141"/>
              <a:gd name="T67" fmla="*/ 1839 h 3320"/>
              <a:gd name="T68" fmla="*/ 2532 w 3141"/>
              <a:gd name="T69" fmla="*/ 2957 h 3320"/>
              <a:gd name="T70" fmla="*/ 2421 w 3141"/>
              <a:gd name="T71" fmla="*/ 3012 h 3320"/>
              <a:gd name="T72" fmla="*/ 2294 w 3141"/>
              <a:gd name="T73" fmla="*/ 2931 h 3320"/>
              <a:gd name="T74" fmla="*/ 2228 w 3141"/>
              <a:gd name="T75" fmla="*/ 1754 h 3320"/>
              <a:gd name="T76" fmla="*/ 2151 w 3141"/>
              <a:gd name="T77" fmla="*/ 1831 h 3320"/>
              <a:gd name="T78" fmla="*/ 2044 w 3141"/>
              <a:gd name="T79" fmla="*/ 1789 h 3320"/>
              <a:gd name="T80" fmla="*/ 2037 w 3141"/>
              <a:gd name="T81" fmla="*/ 932 h 3320"/>
              <a:gd name="T82" fmla="*/ 2179 w 3141"/>
              <a:gd name="T83" fmla="*/ 749 h 3320"/>
              <a:gd name="T84" fmla="*/ 2623 w 3141"/>
              <a:gd name="T85" fmla="*/ 189 h 3320"/>
              <a:gd name="T86" fmla="*/ 2793 w 3141"/>
              <a:gd name="T87" fmla="*/ 314 h 3320"/>
              <a:gd name="T88" fmla="*/ 2801 w 3141"/>
              <a:gd name="T89" fmla="*/ 510 h 3320"/>
              <a:gd name="T90" fmla="*/ 2658 w 3141"/>
              <a:gd name="T91" fmla="*/ 639 h 3320"/>
              <a:gd name="T92" fmla="*/ 2468 w 3141"/>
              <a:gd name="T93" fmla="*/ 621 h 3320"/>
              <a:gd name="T94" fmla="*/ 2362 w 3141"/>
              <a:gd name="T95" fmla="*/ 481 h 3320"/>
              <a:gd name="T96" fmla="*/ 2396 w 3141"/>
              <a:gd name="T97" fmla="*/ 284 h 3320"/>
              <a:gd name="T98" fmla="*/ 2553 w 3141"/>
              <a:gd name="T99" fmla="*/ 188 h 3320"/>
              <a:gd name="T100" fmla="*/ 775 w 3141"/>
              <a:gd name="T101" fmla="*/ 216 h 3320"/>
              <a:gd name="T102" fmla="*/ 884 w 3141"/>
              <a:gd name="T103" fmla="*/ 381 h 3320"/>
              <a:gd name="T104" fmla="*/ 841 w 3141"/>
              <a:gd name="T105" fmla="*/ 561 h 3320"/>
              <a:gd name="T106" fmla="*/ 660 w 3141"/>
              <a:gd name="T107" fmla="*/ 650 h 3320"/>
              <a:gd name="T108" fmla="*/ 470 w 3141"/>
              <a:gd name="T109" fmla="*/ 561 h 3320"/>
              <a:gd name="T110" fmla="*/ 426 w 3141"/>
              <a:gd name="T111" fmla="*/ 381 h 3320"/>
              <a:gd name="T112" fmla="*/ 540 w 3141"/>
              <a:gd name="T113" fmla="*/ 216 h 3320"/>
              <a:gd name="T114" fmla="*/ 1781 w 3141"/>
              <a:gd name="T115" fmla="*/ 0 h 3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141" h="3320">
                <a:moveTo>
                  <a:pt x="469" y="715"/>
                </a:moveTo>
                <a:lnTo>
                  <a:pt x="840" y="715"/>
                </a:lnTo>
                <a:lnTo>
                  <a:pt x="874" y="718"/>
                </a:lnTo>
                <a:lnTo>
                  <a:pt x="907" y="725"/>
                </a:lnTo>
                <a:lnTo>
                  <a:pt x="941" y="738"/>
                </a:lnTo>
                <a:lnTo>
                  <a:pt x="972" y="757"/>
                </a:lnTo>
                <a:lnTo>
                  <a:pt x="1003" y="782"/>
                </a:lnTo>
                <a:lnTo>
                  <a:pt x="1037" y="815"/>
                </a:lnTo>
                <a:lnTo>
                  <a:pt x="1065" y="851"/>
                </a:lnTo>
                <a:lnTo>
                  <a:pt x="1089" y="889"/>
                </a:lnTo>
                <a:lnTo>
                  <a:pt x="1106" y="930"/>
                </a:lnTo>
                <a:lnTo>
                  <a:pt x="1137" y="1038"/>
                </a:lnTo>
                <a:lnTo>
                  <a:pt x="1169" y="1152"/>
                </a:lnTo>
                <a:lnTo>
                  <a:pt x="1190" y="1227"/>
                </a:lnTo>
                <a:lnTo>
                  <a:pt x="1211" y="1299"/>
                </a:lnTo>
                <a:lnTo>
                  <a:pt x="1230" y="1367"/>
                </a:lnTo>
                <a:lnTo>
                  <a:pt x="1244" y="1415"/>
                </a:lnTo>
                <a:lnTo>
                  <a:pt x="1258" y="1458"/>
                </a:lnTo>
                <a:lnTo>
                  <a:pt x="1270" y="1498"/>
                </a:lnTo>
                <a:lnTo>
                  <a:pt x="1280" y="1533"/>
                </a:lnTo>
                <a:lnTo>
                  <a:pt x="1286" y="1558"/>
                </a:lnTo>
                <a:lnTo>
                  <a:pt x="1292" y="1580"/>
                </a:lnTo>
                <a:lnTo>
                  <a:pt x="1297" y="1596"/>
                </a:lnTo>
                <a:lnTo>
                  <a:pt x="1301" y="1607"/>
                </a:lnTo>
                <a:lnTo>
                  <a:pt x="1304" y="1614"/>
                </a:lnTo>
                <a:lnTo>
                  <a:pt x="1309" y="1637"/>
                </a:lnTo>
                <a:lnTo>
                  <a:pt x="1307" y="1659"/>
                </a:lnTo>
                <a:lnTo>
                  <a:pt x="1301" y="1679"/>
                </a:lnTo>
                <a:lnTo>
                  <a:pt x="1292" y="1695"/>
                </a:lnTo>
                <a:lnTo>
                  <a:pt x="1279" y="1708"/>
                </a:lnTo>
                <a:lnTo>
                  <a:pt x="1263" y="1719"/>
                </a:lnTo>
                <a:lnTo>
                  <a:pt x="1242" y="1727"/>
                </a:lnTo>
                <a:lnTo>
                  <a:pt x="1220" y="1733"/>
                </a:lnTo>
                <a:lnTo>
                  <a:pt x="1198" y="1731"/>
                </a:lnTo>
                <a:lnTo>
                  <a:pt x="1178" y="1726"/>
                </a:lnTo>
                <a:lnTo>
                  <a:pt x="1162" y="1716"/>
                </a:lnTo>
                <a:lnTo>
                  <a:pt x="1148" y="1703"/>
                </a:lnTo>
                <a:lnTo>
                  <a:pt x="1138" y="1687"/>
                </a:lnTo>
                <a:lnTo>
                  <a:pt x="1131" y="1666"/>
                </a:lnTo>
                <a:lnTo>
                  <a:pt x="1128" y="1657"/>
                </a:lnTo>
                <a:lnTo>
                  <a:pt x="1124" y="1642"/>
                </a:lnTo>
                <a:lnTo>
                  <a:pt x="1118" y="1623"/>
                </a:lnTo>
                <a:lnTo>
                  <a:pt x="1111" y="1600"/>
                </a:lnTo>
                <a:lnTo>
                  <a:pt x="1104" y="1571"/>
                </a:lnTo>
                <a:lnTo>
                  <a:pt x="1095" y="1539"/>
                </a:lnTo>
                <a:lnTo>
                  <a:pt x="1073" y="1469"/>
                </a:lnTo>
                <a:lnTo>
                  <a:pt x="1052" y="1396"/>
                </a:lnTo>
                <a:lnTo>
                  <a:pt x="1029" y="1322"/>
                </a:lnTo>
                <a:lnTo>
                  <a:pt x="1013" y="1274"/>
                </a:lnTo>
                <a:lnTo>
                  <a:pt x="997" y="1221"/>
                </a:lnTo>
                <a:lnTo>
                  <a:pt x="980" y="1163"/>
                </a:lnTo>
                <a:lnTo>
                  <a:pt x="961" y="1099"/>
                </a:lnTo>
                <a:lnTo>
                  <a:pt x="942" y="1030"/>
                </a:lnTo>
                <a:lnTo>
                  <a:pt x="887" y="1030"/>
                </a:lnTo>
                <a:lnTo>
                  <a:pt x="1202" y="2096"/>
                </a:lnTo>
                <a:lnTo>
                  <a:pt x="903" y="2096"/>
                </a:lnTo>
                <a:lnTo>
                  <a:pt x="903" y="2906"/>
                </a:lnTo>
                <a:lnTo>
                  <a:pt x="902" y="2924"/>
                </a:lnTo>
                <a:lnTo>
                  <a:pt x="898" y="2941"/>
                </a:lnTo>
                <a:lnTo>
                  <a:pt x="892" y="2956"/>
                </a:lnTo>
                <a:lnTo>
                  <a:pt x="883" y="2970"/>
                </a:lnTo>
                <a:lnTo>
                  <a:pt x="870" y="2982"/>
                </a:lnTo>
                <a:lnTo>
                  <a:pt x="853" y="2995"/>
                </a:lnTo>
                <a:lnTo>
                  <a:pt x="835" y="3005"/>
                </a:lnTo>
                <a:lnTo>
                  <a:pt x="815" y="3010"/>
                </a:lnTo>
                <a:lnTo>
                  <a:pt x="792" y="3012"/>
                </a:lnTo>
                <a:lnTo>
                  <a:pt x="769" y="3010"/>
                </a:lnTo>
                <a:lnTo>
                  <a:pt x="749" y="3005"/>
                </a:lnTo>
                <a:lnTo>
                  <a:pt x="730" y="2995"/>
                </a:lnTo>
                <a:lnTo>
                  <a:pt x="713" y="2982"/>
                </a:lnTo>
                <a:lnTo>
                  <a:pt x="700" y="2966"/>
                </a:lnTo>
                <a:lnTo>
                  <a:pt x="692" y="2948"/>
                </a:lnTo>
                <a:lnTo>
                  <a:pt x="687" y="2928"/>
                </a:lnTo>
                <a:lnTo>
                  <a:pt x="685" y="2906"/>
                </a:lnTo>
                <a:lnTo>
                  <a:pt x="685" y="2096"/>
                </a:lnTo>
                <a:lnTo>
                  <a:pt x="630" y="2096"/>
                </a:lnTo>
                <a:lnTo>
                  <a:pt x="630" y="2906"/>
                </a:lnTo>
                <a:lnTo>
                  <a:pt x="628" y="2928"/>
                </a:lnTo>
                <a:lnTo>
                  <a:pt x="623" y="2948"/>
                </a:lnTo>
                <a:lnTo>
                  <a:pt x="614" y="2966"/>
                </a:lnTo>
                <a:lnTo>
                  <a:pt x="601" y="2982"/>
                </a:lnTo>
                <a:lnTo>
                  <a:pt x="585" y="2995"/>
                </a:lnTo>
                <a:lnTo>
                  <a:pt x="566" y="3005"/>
                </a:lnTo>
                <a:lnTo>
                  <a:pt x="546" y="3010"/>
                </a:lnTo>
                <a:lnTo>
                  <a:pt x="523" y="3012"/>
                </a:lnTo>
                <a:lnTo>
                  <a:pt x="500" y="3010"/>
                </a:lnTo>
                <a:lnTo>
                  <a:pt x="480" y="3005"/>
                </a:lnTo>
                <a:lnTo>
                  <a:pt x="461" y="2995"/>
                </a:lnTo>
                <a:lnTo>
                  <a:pt x="444" y="2982"/>
                </a:lnTo>
                <a:lnTo>
                  <a:pt x="432" y="2970"/>
                </a:lnTo>
                <a:lnTo>
                  <a:pt x="422" y="2956"/>
                </a:lnTo>
                <a:lnTo>
                  <a:pt x="416" y="2941"/>
                </a:lnTo>
                <a:lnTo>
                  <a:pt x="411" y="2924"/>
                </a:lnTo>
                <a:lnTo>
                  <a:pt x="410" y="2906"/>
                </a:lnTo>
                <a:lnTo>
                  <a:pt x="410" y="2096"/>
                </a:lnTo>
                <a:lnTo>
                  <a:pt x="107" y="2096"/>
                </a:lnTo>
                <a:lnTo>
                  <a:pt x="423" y="1031"/>
                </a:lnTo>
                <a:lnTo>
                  <a:pt x="368" y="1031"/>
                </a:lnTo>
                <a:lnTo>
                  <a:pt x="348" y="1100"/>
                </a:lnTo>
                <a:lnTo>
                  <a:pt x="330" y="1163"/>
                </a:lnTo>
                <a:lnTo>
                  <a:pt x="313" y="1221"/>
                </a:lnTo>
                <a:lnTo>
                  <a:pt x="297" y="1274"/>
                </a:lnTo>
                <a:lnTo>
                  <a:pt x="282" y="1322"/>
                </a:lnTo>
                <a:lnTo>
                  <a:pt x="261" y="1396"/>
                </a:lnTo>
                <a:lnTo>
                  <a:pt x="239" y="1469"/>
                </a:lnTo>
                <a:lnTo>
                  <a:pt x="218" y="1539"/>
                </a:lnTo>
                <a:lnTo>
                  <a:pt x="207" y="1571"/>
                </a:lnTo>
                <a:lnTo>
                  <a:pt x="198" y="1600"/>
                </a:lnTo>
                <a:lnTo>
                  <a:pt x="191" y="1623"/>
                </a:lnTo>
                <a:lnTo>
                  <a:pt x="185" y="1642"/>
                </a:lnTo>
                <a:lnTo>
                  <a:pt x="181" y="1657"/>
                </a:lnTo>
                <a:lnTo>
                  <a:pt x="179" y="1666"/>
                </a:lnTo>
                <a:lnTo>
                  <a:pt x="171" y="1687"/>
                </a:lnTo>
                <a:lnTo>
                  <a:pt x="160" y="1703"/>
                </a:lnTo>
                <a:lnTo>
                  <a:pt x="147" y="1716"/>
                </a:lnTo>
                <a:lnTo>
                  <a:pt x="130" y="1726"/>
                </a:lnTo>
                <a:lnTo>
                  <a:pt x="111" y="1731"/>
                </a:lnTo>
                <a:lnTo>
                  <a:pt x="89" y="1733"/>
                </a:lnTo>
                <a:lnTo>
                  <a:pt x="64" y="1727"/>
                </a:lnTo>
                <a:lnTo>
                  <a:pt x="45" y="1718"/>
                </a:lnTo>
                <a:lnTo>
                  <a:pt x="29" y="1707"/>
                </a:lnTo>
                <a:lnTo>
                  <a:pt x="16" y="1694"/>
                </a:lnTo>
                <a:lnTo>
                  <a:pt x="7" y="1679"/>
                </a:lnTo>
                <a:lnTo>
                  <a:pt x="2" y="1662"/>
                </a:lnTo>
                <a:lnTo>
                  <a:pt x="0" y="1643"/>
                </a:lnTo>
                <a:lnTo>
                  <a:pt x="1" y="1627"/>
                </a:lnTo>
                <a:lnTo>
                  <a:pt x="6" y="1614"/>
                </a:lnTo>
                <a:lnTo>
                  <a:pt x="8" y="1607"/>
                </a:lnTo>
                <a:lnTo>
                  <a:pt x="12" y="1596"/>
                </a:lnTo>
                <a:lnTo>
                  <a:pt x="17" y="1580"/>
                </a:lnTo>
                <a:lnTo>
                  <a:pt x="23" y="1558"/>
                </a:lnTo>
                <a:lnTo>
                  <a:pt x="29" y="1533"/>
                </a:lnTo>
                <a:lnTo>
                  <a:pt x="39" y="1498"/>
                </a:lnTo>
                <a:lnTo>
                  <a:pt x="50" y="1458"/>
                </a:lnTo>
                <a:lnTo>
                  <a:pt x="62" y="1415"/>
                </a:lnTo>
                <a:lnTo>
                  <a:pt x="76" y="1367"/>
                </a:lnTo>
                <a:lnTo>
                  <a:pt x="97" y="1299"/>
                </a:lnTo>
                <a:lnTo>
                  <a:pt x="119" y="1227"/>
                </a:lnTo>
                <a:lnTo>
                  <a:pt x="141" y="1152"/>
                </a:lnTo>
                <a:lnTo>
                  <a:pt x="163" y="1076"/>
                </a:lnTo>
                <a:lnTo>
                  <a:pt x="185" y="1002"/>
                </a:lnTo>
                <a:lnTo>
                  <a:pt x="209" y="930"/>
                </a:lnTo>
                <a:lnTo>
                  <a:pt x="221" y="897"/>
                </a:lnTo>
                <a:lnTo>
                  <a:pt x="236" y="866"/>
                </a:lnTo>
                <a:lnTo>
                  <a:pt x="257" y="836"/>
                </a:lnTo>
                <a:lnTo>
                  <a:pt x="281" y="808"/>
                </a:lnTo>
                <a:lnTo>
                  <a:pt x="309" y="782"/>
                </a:lnTo>
                <a:lnTo>
                  <a:pt x="340" y="757"/>
                </a:lnTo>
                <a:lnTo>
                  <a:pt x="371" y="738"/>
                </a:lnTo>
                <a:lnTo>
                  <a:pt x="403" y="725"/>
                </a:lnTo>
                <a:lnTo>
                  <a:pt x="436" y="718"/>
                </a:lnTo>
                <a:lnTo>
                  <a:pt x="469" y="715"/>
                </a:lnTo>
                <a:close/>
                <a:moveTo>
                  <a:pt x="2326" y="709"/>
                </a:moveTo>
                <a:lnTo>
                  <a:pt x="2842" y="709"/>
                </a:lnTo>
                <a:lnTo>
                  <a:pt x="2883" y="711"/>
                </a:lnTo>
                <a:lnTo>
                  <a:pt x="2922" y="719"/>
                </a:lnTo>
                <a:lnTo>
                  <a:pt x="2958" y="731"/>
                </a:lnTo>
                <a:lnTo>
                  <a:pt x="2992" y="749"/>
                </a:lnTo>
                <a:lnTo>
                  <a:pt x="3023" y="771"/>
                </a:lnTo>
                <a:lnTo>
                  <a:pt x="3053" y="798"/>
                </a:lnTo>
                <a:lnTo>
                  <a:pt x="3081" y="829"/>
                </a:lnTo>
                <a:lnTo>
                  <a:pt x="3103" y="861"/>
                </a:lnTo>
                <a:lnTo>
                  <a:pt x="3119" y="895"/>
                </a:lnTo>
                <a:lnTo>
                  <a:pt x="3131" y="932"/>
                </a:lnTo>
                <a:lnTo>
                  <a:pt x="3138" y="969"/>
                </a:lnTo>
                <a:lnTo>
                  <a:pt x="3141" y="1007"/>
                </a:lnTo>
                <a:lnTo>
                  <a:pt x="3141" y="1733"/>
                </a:lnTo>
                <a:lnTo>
                  <a:pt x="3139" y="1754"/>
                </a:lnTo>
                <a:lnTo>
                  <a:pt x="3133" y="1772"/>
                </a:lnTo>
                <a:lnTo>
                  <a:pt x="3125" y="1789"/>
                </a:lnTo>
                <a:lnTo>
                  <a:pt x="3114" y="1805"/>
                </a:lnTo>
                <a:lnTo>
                  <a:pt x="3099" y="1817"/>
                </a:lnTo>
                <a:lnTo>
                  <a:pt x="3082" y="1826"/>
                </a:lnTo>
                <a:lnTo>
                  <a:pt x="3062" y="1831"/>
                </a:lnTo>
                <a:lnTo>
                  <a:pt x="3040" y="1833"/>
                </a:lnTo>
                <a:lnTo>
                  <a:pt x="3019" y="1831"/>
                </a:lnTo>
                <a:lnTo>
                  <a:pt x="3000" y="1826"/>
                </a:lnTo>
                <a:lnTo>
                  <a:pt x="2982" y="1817"/>
                </a:lnTo>
                <a:lnTo>
                  <a:pt x="2966" y="1805"/>
                </a:lnTo>
                <a:lnTo>
                  <a:pt x="2954" y="1789"/>
                </a:lnTo>
                <a:lnTo>
                  <a:pt x="2945" y="1772"/>
                </a:lnTo>
                <a:lnTo>
                  <a:pt x="2940" y="1754"/>
                </a:lnTo>
                <a:lnTo>
                  <a:pt x="2939" y="1733"/>
                </a:lnTo>
                <a:lnTo>
                  <a:pt x="2939" y="1084"/>
                </a:lnTo>
                <a:lnTo>
                  <a:pt x="2884" y="1084"/>
                </a:lnTo>
                <a:lnTo>
                  <a:pt x="2884" y="2881"/>
                </a:lnTo>
                <a:lnTo>
                  <a:pt x="2882" y="2907"/>
                </a:lnTo>
                <a:lnTo>
                  <a:pt x="2875" y="2931"/>
                </a:lnTo>
                <a:lnTo>
                  <a:pt x="2863" y="2953"/>
                </a:lnTo>
                <a:lnTo>
                  <a:pt x="2846" y="2973"/>
                </a:lnTo>
                <a:lnTo>
                  <a:pt x="2826" y="2991"/>
                </a:lnTo>
                <a:lnTo>
                  <a:pt x="2804" y="3003"/>
                </a:lnTo>
                <a:lnTo>
                  <a:pt x="2780" y="3010"/>
                </a:lnTo>
                <a:lnTo>
                  <a:pt x="2755" y="3012"/>
                </a:lnTo>
                <a:lnTo>
                  <a:pt x="2731" y="3010"/>
                </a:lnTo>
                <a:lnTo>
                  <a:pt x="2709" y="3006"/>
                </a:lnTo>
                <a:lnTo>
                  <a:pt x="2689" y="2998"/>
                </a:lnTo>
                <a:lnTo>
                  <a:pt x="2671" y="2988"/>
                </a:lnTo>
                <a:lnTo>
                  <a:pt x="2655" y="2973"/>
                </a:lnTo>
                <a:lnTo>
                  <a:pt x="2638" y="2953"/>
                </a:lnTo>
                <a:lnTo>
                  <a:pt x="2626" y="2931"/>
                </a:lnTo>
                <a:lnTo>
                  <a:pt x="2618" y="2907"/>
                </a:lnTo>
                <a:lnTo>
                  <a:pt x="2616" y="2881"/>
                </a:lnTo>
                <a:lnTo>
                  <a:pt x="2616" y="1839"/>
                </a:lnTo>
                <a:lnTo>
                  <a:pt x="2557" y="1839"/>
                </a:lnTo>
                <a:lnTo>
                  <a:pt x="2557" y="2881"/>
                </a:lnTo>
                <a:lnTo>
                  <a:pt x="2555" y="2901"/>
                </a:lnTo>
                <a:lnTo>
                  <a:pt x="2551" y="2922"/>
                </a:lnTo>
                <a:lnTo>
                  <a:pt x="2543" y="2940"/>
                </a:lnTo>
                <a:lnTo>
                  <a:pt x="2532" y="2957"/>
                </a:lnTo>
                <a:lnTo>
                  <a:pt x="2517" y="2973"/>
                </a:lnTo>
                <a:lnTo>
                  <a:pt x="2501" y="2988"/>
                </a:lnTo>
                <a:lnTo>
                  <a:pt x="2484" y="2998"/>
                </a:lnTo>
                <a:lnTo>
                  <a:pt x="2465" y="3006"/>
                </a:lnTo>
                <a:lnTo>
                  <a:pt x="2444" y="3010"/>
                </a:lnTo>
                <a:lnTo>
                  <a:pt x="2421" y="3012"/>
                </a:lnTo>
                <a:lnTo>
                  <a:pt x="2394" y="3010"/>
                </a:lnTo>
                <a:lnTo>
                  <a:pt x="2370" y="3003"/>
                </a:lnTo>
                <a:lnTo>
                  <a:pt x="2347" y="2991"/>
                </a:lnTo>
                <a:lnTo>
                  <a:pt x="2326" y="2973"/>
                </a:lnTo>
                <a:lnTo>
                  <a:pt x="2307" y="2953"/>
                </a:lnTo>
                <a:lnTo>
                  <a:pt x="2294" y="2931"/>
                </a:lnTo>
                <a:lnTo>
                  <a:pt x="2286" y="2907"/>
                </a:lnTo>
                <a:lnTo>
                  <a:pt x="2283" y="2881"/>
                </a:lnTo>
                <a:lnTo>
                  <a:pt x="2283" y="1084"/>
                </a:lnTo>
                <a:lnTo>
                  <a:pt x="2229" y="1084"/>
                </a:lnTo>
                <a:lnTo>
                  <a:pt x="2229" y="1733"/>
                </a:lnTo>
                <a:lnTo>
                  <a:pt x="2228" y="1754"/>
                </a:lnTo>
                <a:lnTo>
                  <a:pt x="2223" y="1772"/>
                </a:lnTo>
                <a:lnTo>
                  <a:pt x="2215" y="1789"/>
                </a:lnTo>
                <a:lnTo>
                  <a:pt x="2203" y="1805"/>
                </a:lnTo>
                <a:lnTo>
                  <a:pt x="2188" y="1817"/>
                </a:lnTo>
                <a:lnTo>
                  <a:pt x="2171" y="1826"/>
                </a:lnTo>
                <a:lnTo>
                  <a:pt x="2151" y="1831"/>
                </a:lnTo>
                <a:lnTo>
                  <a:pt x="2129" y="1833"/>
                </a:lnTo>
                <a:lnTo>
                  <a:pt x="2109" y="1831"/>
                </a:lnTo>
                <a:lnTo>
                  <a:pt x="2091" y="1826"/>
                </a:lnTo>
                <a:lnTo>
                  <a:pt x="2073" y="1817"/>
                </a:lnTo>
                <a:lnTo>
                  <a:pt x="2057" y="1805"/>
                </a:lnTo>
                <a:lnTo>
                  <a:pt x="2044" y="1789"/>
                </a:lnTo>
                <a:lnTo>
                  <a:pt x="2034" y="1772"/>
                </a:lnTo>
                <a:lnTo>
                  <a:pt x="2029" y="1754"/>
                </a:lnTo>
                <a:lnTo>
                  <a:pt x="2027" y="1733"/>
                </a:lnTo>
                <a:lnTo>
                  <a:pt x="2027" y="1007"/>
                </a:lnTo>
                <a:lnTo>
                  <a:pt x="2030" y="969"/>
                </a:lnTo>
                <a:lnTo>
                  <a:pt x="2037" y="932"/>
                </a:lnTo>
                <a:lnTo>
                  <a:pt x="2050" y="895"/>
                </a:lnTo>
                <a:lnTo>
                  <a:pt x="2067" y="861"/>
                </a:lnTo>
                <a:lnTo>
                  <a:pt x="2090" y="828"/>
                </a:lnTo>
                <a:lnTo>
                  <a:pt x="2116" y="797"/>
                </a:lnTo>
                <a:lnTo>
                  <a:pt x="2147" y="771"/>
                </a:lnTo>
                <a:lnTo>
                  <a:pt x="2179" y="749"/>
                </a:lnTo>
                <a:lnTo>
                  <a:pt x="2212" y="731"/>
                </a:lnTo>
                <a:lnTo>
                  <a:pt x="2249" y="719"/>
                </a:lnTo>
                <a:lnTo>
                  <a:pt x="2286" y="711"/>
                </a:lnTo>
                <a:lnTo>
                  <a:pt x="2326" y="709"/>
                </a:lnTo>
                <a:close/>
                <a:moveTo>
                  <a:pt x="2586" y="186"/>
                </a:moveTo>
                <a:lnTo>
                  <a:pt x="2623" y="189"/>
                </a:lnTo>
                <a:lnTo>
                  <a:pt x="2657" y="197"/>
                </a:lnTo>
                <a:lnTo>
                  <a:pt x="2690" y="210"/>
                </a:lnTo>
                <a:lnTo>
                  <a:pt x="2721" y="230"/>
                </a:lnTo>
                <a:lnTo>
                  <a:pt x="2750" y="256"/>
                </a:lnTo>
                <a:lnTo>
                  <a:pt x="2774" y="284"/>
                </a:lnTo>
                <a:lnTo>
                  <a:pt x="2793" y="314"/>
                </a:lnTo>
                <a:lnTo>
                  <a:pt x="2807" y="346"/>
                </a:lnTo>
                <a:lnTo>
                  <a:pt x="2815" y="381"/>
                </a:lnTo>
                <a:lnTo>
                  <a:pt x="2818" y="419"/>
                </a:lnTo>
                <a:lnTo>
                  <a:pt x="2816" y="451"/>
                </a:lnTo>
                <a:lnTo>
                  <a:pt x="2810" y="481"/>
                </a:lnTo>
                <a:lnTo>
                  <a:pt x="2801" y="510"/>
                </a:lnTo>
                <a:lnTo>
                  <a:pt x="2788" y="536"/>
                </a:lnTo>
                <a:lnTo>
                  <a:pt x="2771" y="561"/>
                </a:lnTo>
                <a:lnTo>
                  <a:pt x="2750" y="585"/>
                </a:lnTo>
                <a:lnTo>
                  <a:pt x="2721" y="608"/>
                </a:lnTo>
                <a:lnTo>
                  <a:pt x="2691" y="626"/>
                </a:lnTo>
                <a:lnTo>
                  <a:pt x="2658" y="639"/>
                </a:lnTo>
                <a:lnTo>
                  <a:pt x="2623" y="647"/>
                </a:lnTo>
                <a:lnTo>
                  <a:pt x="2586" y="650"/>
                </a:lnTo>
                <a:lnTo>
                  <a:pt x="2553" y="648"/>
                </a:lnTo>
                <a:lnTo>
                  <a:pt x="2522" y="643"/>
                </a:lnTo>
                <a:lnTo>
                  <a:pt x="2494" y="634"/>
                </a:lnTo>
                <a:lnTo>
                  <a:pt x="2468" y="621"/>
                </a:lnTo>
                <a:lnTo>
                  <a:pt x="2443" y="605"/>
                </a:lnTo>
                <a:lnTo>
                  <a:pt x="2421" y="585"/>
                </a:lnTo>
                <a:lnTo>
                  <a:pt x="2400" y="561"/>
                </a:lnTo>
                <a:lnTo>
                  <a:pt x="2383" y="536"/>
                </a:lnTo>
                <a:lnTo>
                  <a:pt x="2371" y="510"/>
                </a:lnTo>
                <a:lnTo>
                  <a:pt x="2362" y="481"/>
                </a:lnTo>
                <a:lnTo>
                  <a:pt x="2357" y="451"/>
                </a:lnTo>
                <a:lnTo>
                  <a:pt x="2355" y="419"/>
                </a:lnTo>
                <a:lnTo>
                  <a:pt x="2357" y="381"/>
                </a:lnTo>
                <a:lnTo>
                  <a:pt x="2365" y="346"/>
                </a:lnTo>
                <a:lnTo>
                  <a:pt x="2378" y="314"/>
                </a:lnTo>
                <a:lnTo>
                  <a:pt x="2396" y="284"/>
                </a:lnTo>
                <a:lnTo>
                  <a:pt x="2421" y="256"/>
                </a:lnTo>
                <a:lnTo>
                  <a:pt x="2443" y="233"/>
                </a:lnTo>
                <a:lnTo>
                  <a:pt x="2468" y="216"/>
                </a:lnTo>
                <a:lnTo>
                  <a:pt x="2494" y="203"/>
                </a:lnTo>
                <a:lnTo>
                  <a:pt x="2522" y="193"/>
                </a:lnTo>
                <a:lnTo>
                  <a:pt x="2553" y="188"/>
                </a:lnTo>
                <a:lnTo>
                  <a:pt x="2586" y="186"/>
                </a:lnTo>
                <a:close/>
                <a:moveTo>
                  <a:pt x="660" y="186"/>
                </a:moveTo>
                <a:lnTo>
                  <a:pt x="691" y="188"/>
                </a:lnTo>
                <a:lnTo>
                  <a:pt x="720" y="193"/>
                </a:lnTo>
                <a:lnTo>
                  <a:pt x="749" y="203"/>
                </a:lnTo>
                <a:lnTo>
                  <a:pt x="775" y="216"/>
                </a:lnTo>
                <a:lnTo>
                  <a:pt x="798" y="233"/>
                </a:lnTo>
                <a:lnTo>
                  <a:pt x="820" y="256"/>
                </a:lnTo>
                <a:lnTo>
                  <a:pt x="844" y="284"/>
                </a:lnTo>
                <a:lnTo>
                  <a:pt x="863" y="314"/>
                </a:lnTo>
                <a:lnTo>
                  <a:pt x="876" y="346"/>
                </a:lnTo>
                <a:lnTo>
                  <a:pt x="884" y="381"/>
                </a:lnTo>
                <a:lnTo>
                  <a:pt x="887" y="419"/>
                </a:lnTo>
                <a:lnTo>
                  <a:pt x="885" y="451"/>
                </a:lnTo>
                <a:lnTo>
                  <a:pt x="879" y="481"/>
                </a:lnTo>
                <a:lnTo>
                  <a:pt x="870" y="510"/>
                </a:lnTo>
                <a:lnTo>
                  <a:pt x="857" y="536"/>
                </a:lnTo>
                <a:lnTo>
                  <a:pt x="841" y="561"/>
                </a:lnTo>
                <a:lnTo>
                  <a:pt x="820" y="585"/>
                </a:lnTo>
                <a:lnTo>
                  <a:pt x="794" y="608"/>
                </a:lnTo>
                <a:lnTo>
                  <a:pt x="764" y="626"/>
                </a:lnTo>
                <a:lnTo>
                  <a:pt x="732" y="639"/>
                </a:lnTo>
                <a:lnTo>
                  <a:pt x="697" y="647"/>
                </a:lnTo>
                <a:lnTo>
                  <a:pt x="660" y="650"/>
                </a:lnTo>
                <a:lnTo>
                  <a:pt x="622" y="647"/>
                </a:lnTo>
                <a:lnTo>
                  <a:pt x="586" y="639"/>
                </a:lnTo>
                <a:lnTo>
                  <a:pt x="551" y="626"/>
                </a:lnTo>
                <a:lnTo>
                  <a:pt x="519" y="608"/>
                </a:lnTo>
                <a:lnTo>
                  <a:pt x="491" y="585"/>
                </a:lnTo>
                <a:lnTo>
                  <a:pt x="470" y="561"/>
                </a:lnTo>
                <a:lnTo>
                  <a:pt x="453" y="536"/>
                </a:lnTo>
                <a:lnTo>
                  <a:pt x="440" y="510"/>
                </a:lnTo>
                <a:lnTo>
                  <a:pt x="430" y="481"/>
                </a:lnTo>
                <a:lnTo>
                  <a:pt x="425" y="451"/>
                </a:lnTo>
                <a:lnTo>
                  <a:pt x="423" y="419"/>
                </a:lnTo>
                <a:lnTo>
                  <a:pt x="426" y="381"/>
                </a:lnTo>
                <a:lnTo>
                  <a:pt x="434" y="346"/>
                </a:lnTo>
                <a:lnTo>
                  <a:pt x="447" y="314"/>
                </a:lnTo>
                <a:lnTo>
                  <a:pt x="466" y="284"/>
                </a:lnTo>
                <a:lnTo>
                  <a:pt x="490" y="256"/>
                </a:lnTo>
                <a:lnTo>
                  <a:pt x="514" y="233"/>
                </a:lnTo>
                <a:lnTo>
                  <a:pt x="540" y="216"/>
                </a:lnTo>
                <a:lnTo>
                  <a:pt x="567" y="203"/>
                </a:lnTo>
                <a:lnTo>
                  <a:pt x="597" y="193"/>
                </a:lnTo>
                <a:lnTo>
                  <a:pt x="628" y="188"/>
                </a:lnTo>
                <a:lnTo>
                  <a:pt x="660" y="186"/>
                </a:lnTo>
                <a:close/>
                <a:moveTo>
                  <a:pt x="1551" y="0"/>
                </a:moveTo>
                <a:lnTo>
                  <a:pt x="1781" y="0"/>
                </a:lnTo>
                <a:lnTo>
                  <a:pt x="1781" y="3320"/>
                </a:lnTo>
                <a:lnTo>
                  <a:pt x="1551" y="3320"/>
                </a:lnTo>
                <a:lnTo>
                  <a:pt x="1551" y="0"/>
                </a:lnTo>
                <a:close/>
              </a:path>
            </a:pathLst>
          </a:custGeom>
          <a:solidFill>
            <a:srgbClr val="26867C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3" name="Group 22"/>
          <p:cNvGrpSpPr/>
          <p:nvPr/>
        </p:nvGrpSpPr>
        <p:grpSpPr>
          <a:xfrm>
            <a:off x="10885522" y="3575125"/>
            <a:ext cx="479356" cy="469748"/>
            <a:chOff x="2405063" y="711201"/>
            <a:chExt cx="2771775" cy="2716212"/>
          </a:xfrm>
          <a:solidFill>
            <a:srgbClr val="26867C"/>
          </a:solidFill>
        </p:grpSpPr>
        <p:sp>
          <p:nvSpPr>
            <p:cNvPr id="24" name="Freeform 5"/>
            <p:cNvSpPr>
              <a:spLocks noEditPoints="1"/>
            </p:cNvSpPr>
            <p:nvPr/>
          </p:nvSpPr>
          <p:spPr bwMode="auto">
            <a:xfrm>
              <a:off x="3138488" y="711201"/>
              <a:ext cx="2038350" cy="1878012"/>
            </a:xfrm>
            <a:custGeom>
              <a:avLst/>
              <a:gdLst>
                <a:gd name="T0" fmla="*/ 5390 w 12583"/>
                <a:gd name="T1" fmla="*/ 1416 h 11576"/>
                <a:gd name="T2" fmla="*/ 4649 w 12583"/>
                <a:gd name="T3" fmla="*/ 1592 h 11576"/>
                <a:gd name="T4" fmla="*/ 3803 w 12583"/>
                <a:gd name="T5" fmla="*/ 639 h 11576"/>
                <a:gd name="T6" fmla="*/ 2914 w 12583"/>
                <a:gd name="T7" fmla="*/ 1127 h 11576"/>
                <a:gd name="T8" fmla="*/ 2961 w 12583"/>
                <a:gd name="T9" fmla="*/ 2222 h 11576"/>
                <a:gd name="T10" fmla="*/ 3062 w 12583"/>
                <a:gd name="T11" fmla="*/ 2509 h 11576"/>
                <a:gd name="T12" fmla="*/ 2788 w 12583"/>
                <a:gd name="T13" fmla="*/ 2765 h 11576"/>
                <a:gd name="T14" fmla="*/ 1953 w 12583"/>
                <a:gd name="T15" fmla="*/ 2842 h 11576"/>
                <a:gd name="T16" fmla="*/ 979 w 12583"/>
                <a:gd name="T17" fmla="*/ 3178 h 11576"/>
                <a:gd name="T18" fmla="*/ 811 w 12583"/>
                <a:gd name="T19" fmla="*/ 3468 h 11576"/>
                <a:gd name="T20" fmla="*/ 663 w 12583"/>
                <a:gd name="T21" fmla="*/ 3779 h 11576"/>
                <a:gd name="T22" fmla="*/ 1615 w 12583"/>
                <a:gd name="T23" fmla="*/ 4626 h 11576"/>
                <a:gd name="T24" fmla="*/ 1439 w 12583"/>
                <a:gd name="T25" fmla="*/ 5367 h 11576"/>
                <a:gd name="T26" fmla="*/ 742 w 12583"/>
                <a:gd name="T27" fmla="*/ 5482 h 11576"/>
                <a:gd name="T28" fmla="*/ 134 w 12583"/>
                <a:gd name="T29" fmla="*/ 6813 h 11576"/>
                <a:gd name="T30" fmla="*/ 713 w 12583"/>
                <a:gd name="T31" fmla="*/ 7045 h 11576"/>
                <a:gd name="T32" fmla="*/ 1439 w 12583"/>
                <a:gd name="T33" fmla="*/ 7166 h 11576"/>
                <a:gd name="T34" fmla="*/ 1615 w 12583"/>
                <a:gd name="T35" fmla="*/ 7907 h 11576"/>
                <a:gd name="T36" fmla="*/ 895 w 12583"/>
                <a:gd name="T37" fmla="*/ 8527 h 11576"/>
                <a:gd name="T38" fmla="*/ 663 w 12583"/>
                <a:gd name="T39" fmla="*/ 8753 h 11576"/>
                <a:gd name="T40" fmla="*/ 945 w 12583"/>
                <a:gd name="T41" fmla="*/ 9318 h 11576"/>
                <a:gd name="T42" fmla="*/ 3266 w 12583"/>
                <a:gd name="T43" fmla="*/ 9643 h 11576"/>
                <a:gd name="T44" fmla="*/ 5711 w 12583"/>
                <a:gd name="T45" fmla="*/ 10479 h 11576"/>
                <a:gd name="T46" fmla="*/ 7498 w 12583"/>
                <a:gd name="T47" fmla="*/ 10702 h 11576"/>
                <a:gd name="T48" fmla="*/ 9306 w 12583"/>
                <a:gd name="T49" fmla="*/ 11576 h 11576"/>
                <a:gd name="T50" fmla="*/ 9906 w 12583"/>
                <a:gd name="T51" fmla="*/ 11223 h 11576"/>
                <a:gd name="T52" fmla="*/ 9518 w 12583"/>
                <a:gd name="T53" fmla="*/ 10023 h 11576"/>
                <a:gd name="T54" fmla="*/ 10047 w 12583"/>
                <a:gd name="T55" fmla="*/ 9494 h 11576"/>
                <a:gd name="T56" fmla="*/ 11211 w 12583"/>
                <a:gd name="T57" fmla="*/ 9882 h 11576"/>
                <a:gd name="T58" fmla="*/ 11412 w 12583"/>
                <a:gd name="T59" fmla="*/ 9660 h 11576"/>
                <a:gd name="T60" fmla="*/ 11881 w 12583"/>
                <a:gd name="T61" fmla="*/ 8753 h 11576"/>
                <a:gd name="T62" fmla="*/ 11798 w 12583"/>
                <a:gd name="T63" fmla="*/ 8625 h 11576"/>
                <a:gd name="T64" fmla="*/ 11056 w 12583"/>
                <a:gd name="T65" fmla="*/ 7540 h 11576"/>
                <a:gd name="T66" fmla="*/ 11140 w 12583"/>
                <a:gd name="T67" fmla="*/ 7166 h 11576"/>
                <a:gd name="T68" fmla="*/ 11473 w 12583"/>
                <a:gd name="T69" fmla="*/ 7110 h 11576"/>
                <a:gd name="T70" fmla="*/ 11806 w 12583"/>
                <a:gd name="T71" fmla="*/ 7055 h 11576"/>
                <a:gd name="T72" fmla="*/ 12410 w 12583"/>
                <a:gd name="T73" fmla="*/ 5684 h 11576"/>
                <a:gd name="T74" fmla="*/ 11836 w 12583"/>
                <a:gd name="T75" fmla="*/ 5483 h 11576"/>
                <a:gd name="T76" fmla="*/ 11140 w 12583"/>
                <a:gd name="T77" fmla="*/ 5367 h 11576"/>
                <a:gd name="T78" fmla="*/ 11058 w 12583"/>
                <a:gd name="T79" fmla="*/ 4990 h 11576"/>
                <a:gd name="T80" fmla="*/ 11430 w 12583"/>
                <a:gd name="T81" fmla="*/ 4210 h 11576"/>
                <a:gd name="T82" fmla="*/ 11593 w 12583"/>
                <a:gd name="T83" fmla="*/ 3186 h 11576"/>
                <a:gd name="T84" fmla="*/ 10651 w 12583"/>
                <a:gd name="T85" fmla="*/ 2831 h 11576"/>
                <a:gd name="T86" fmla="*/ 10047 w 12583"/>
                <a:gd name="T87" fmla="*/ 3038 h 11576"/>
                <a:gd name="T88" fmla="*/ 9518 w 12583"/>
                <a:gd name="T89" fmla="*/ 2509 h 11576"/>
                <a:gd name="T90" fmla="*/ 9707 w 12583"/>
                <a:gd name="T91" fmla="*/ 1922 h 11576"/>
                <a:gd name="T92" fmla="*/ 9101 w 12583"/>
                <a:gd name="T93" fmla="*/ 809 h 11576"/>
                <a:gd name="T94" fmla="*/ 8812 w 12583"/>
                <a:gd name="T95" fmla="*/ 639 h 11576"/>
                <a:gd name="T96" fmla="*/ 7930 w 12583"/>
                <a:gd name="T97" fmla="*/ 1592 h 11576"/>
                <a:gd name="T98" fmla="*/ 7189 w 12583"/>
                <a:gd name="T99" fmla="*/ 1416 h 11576"/>
                <a:gd name="T100" fmla="*/ 6999 w 12583"/>
                <a:gd name="T101" fmla="*/ 336 h 11576"/>
                <a:gd name="T102" fmla="*/ 5813 w 12583"/>
                <a:gd name="T103" fmla="*/ 110 h 11576"/>
                <a:gd name="T104" fmla="*/ 5511 w 12583"/>
                <a:gd name="T105" fmla="*/ 654 h 11576"/>
                <a:gd name="T106" fmla="*/ 5390 w 12583"/>
                <a:gd name="T107" fmla="*/ 1416 h 11576"/>
                <a:gd name="T108" fmla="*/ 6360 w 12583"/>
                <a:gd name="T109" fmla="*/ 3125 h 11576"/>
                <a:gd name="T110" fmla="*/ 9260 w 12583"/>
                <a:gd name="T111" fmla="*/ 6025 h 11576"/>
                <a:gd name="T112" fmla="*/ 6360 w 12583"/>
                <a:gd name="T113" fmla="*/ 8925 h 11576"/>
                <a:gd name="T114" fmla="*/ 3460 w 12583"/>
                <a:gd name="T115" fmla="*/ 6025 h 11576"/>
                <a:gd name="T116" fmla="*/ 6360 w 12583"/>
                <a:gd name="T117" fmla="*/ 3125 h 11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583" h="11576">
                  <a:moveTo>
                    <a:pt x="5390" y="1416"/>
                  </a:moveTo>
                  <a:cubicBezTo>
                    <a:pt x="5168" y="1420"/>
                    <a:pt x="4852" y="1545"/>
                    <a:pt x="4649" y="1592"/>
                  </a:cubicBezTo>
                  <a:cubicBezTo>
                    <a:pt x="4490" y="1485"/>
                    <a:pt x="4035" y="841"/>
                    <a:pt x="3803" y="639"/>
                  </a:cubicBezTo>
                  <a:cubicBezTo>
                    <a:pt x="3657" y="673"/>
                    <a:pt x="3080" y="1029"/>
                    <a:pt x="2914" y="1127"/>
                  </a:cubicBezTo>
                  <a:cubicBezTo>
                    <a:pt x="2569" y="1330"/>
                    <a:pt x="2605" y="1275"/>
                    <a:pt x="2961" y="2222"/>
                  </a:cubicBezTo>
                  <a:cubicBezTo>
                    <a:pt x="2998" y="2321"/>
                    <a:pt x="3033" y="2385"/>
                    <a:pt x="3062" y="2509"/>
                  </a:cubicBezTo>
                  <a:cubicBezTo>
                    <a:pt x="3020" y="2566"/>
                    <a:pt x="2863" y="2690"/>
                    <a:pt x="2788" y="2765"/>
                  </a:cubicBezTo>
                  <a:cubicBezTo>
                    <a:pt x="2452" y="3101"/>
                    <a:pt x="2679" y="3122"/>
                    <a:pt x="1953" y="2842"/>
                  </a:cubicBezTo>
                  <a:cubicBezTo>
                    <a:pt x="1211" y="2555"/>
                    <a:pt x="1336" y="2557"/>
                    <a:pt x="979" y="3178"/>
                  </a:cubicBezTo>
                  <a:cubicBezTo>
                    <a:pt x="926" y="3269"/>
                    <a:pt x="870" y="3370"/>
                    <a:pt x="811" y="3468"/>
                  </a:cubicBezTo>
                  <a:cubicBezTo>
                    <a:pt x="748" y="3572"/>
                    <a:pt x="693" y="3652"/>
                    <a:pt x="663" y="3779"/>
                  </a:cubicBezTo>
                  <a:cubicBezTo>
                    <a:pt x="808" y="3996"/>
                    <a:pt x="1493" y="4458"/>
                    <a:pt x="1615" y="4626"/>
                  </a:cubicBezTo>
                  <a:cubicBezTo>
                    <a:pt x="1563" y="4852"/>
                    <a:pt x="1439" y="5095"/>
                    <a:pt x="1439" y="5367"/>
                  </a:cubicBezTo>
                  <a:cubicBezTo>
                    <a:pt x="1254" y="5371"/>
                    <a:pt x="934" y="5444"/>
                    <a:pt x="742" y="5482"/>
                  </a:cubicBezTo>
                  <a:cubicBezTo>
                    <a:pt x="0" y="5627"/>
                    <a:pt x="134" y="5374"/>
                    <a:pt x="134" y="6813"/>
                  </a:cubicBezTo>
                  <a:cubicBezTo>
                    <a:pt x="134" y="7007"/>
                    <a:pt x="511" y="7011"/>
                    <a:pt x="713" y="7045"/>
                  </a:cubicBezTo>
                  <a:cubicBezTo>
                    <a:pt x="942" y="7083"/>
                    <a:pt x="1229" y="7161"/>
                    <a:pt x="1439" y="7166"/>
                  </a:cubicBezTo>
                  <a:cubicBezTo>
                    <a:pt x="1439" y="7437"/>
                    <a:pt x="1563" y="7680"/>
                    <a:pt x="1615" y="7907"/>
                  </a:cubicBezTo>
                  <a:lnTo>
                    <a:pt x="895" y="8527"/>
                  </a:lnTo>
                  <a:cubicBezTo>
                    <a:pt x="785" y="8612"/>
                    <a:pt x="736" y="8644"/>
                    <a:pt x="663" y="8753"/>
                  </a:cubicBezTo>
                  <a:cubicBezTo>
                    <a:pt x="693" y="8883"/>
                    <a:pt x="864" y="9165"/>
                    <a:pt x="945" y="9318"/>
                  </a:cubicBezTo>
                  <a:cubicBezTo>
                    <a:pt x="2140" y="9318"/>
                    <a:pt x="2195" y="9349"/>
                    <a:pt x="3266" y="9643"/>
                  </a:cubicBezTo>
                  <a:cubicBezTo>
                    <a:pt x="4193" y="9897"/>
                    <a:pt x="4293" y="10363"/>
                    <a:pt x="5711" y="10479"/>
                  </a:cubicBezTo>
                  <a:cubicBezTo>
                    <a:pt x="6404" y="10536"/>
                    <a:pt x="6804" y="10563"/>
                    <a:pt x="7498" y="10702"/>
                  </a:cubicBezTo>
                  <a:cubicBezTo>
                    <a:pt x="7945" y="10792"/>
                    <a:pt x="9168" y="11058"/>
                    <a:pt x="9306" y="11576"/>
                  </a:cubicBezTo>
                  <a:cubicBezTo>
                    <a:pt x="9409" y="11552"/>
                    <a:pt x="9906" y="11297"/>
                    <a:pt x="9906" y="11223"/>
                  </a:cubicBezTo>
                  <a:cubicBezTo>
                    <a:pt x="9906" y="11025"/>
                    <a:pt x="9518" y="10220"/>
                    <a:pt x="9518" y="10023"/>
                  </a:cubicBezTo>
                  <a:cubicBezTo>
                    <a:pt x="9518" y="9983"/>
                    <a:pt x="9986" y="9535"/>
                    <a:pt x="10047" y="9494"/>
                  </a:cubicBezTo>
                  <a:cubicBezTo>
                    <a:pt x="10325" y="9559"/>
                    <a:pt x="11051" y="9882"/>
                    <a:pt x="11211" y="9882"/>
                  </a:cubicBezTo>
                  <a:cubicBezTo>
                    <a:pt x="11332" y="9882"/>
                    <a:pt x="11361" y="9754"/>
                    <a:pt x="11412" y="9660"/>
                  </a:cubicBezTo>
                  <a:cubicBezTo>
                    <a:pt x="11526" y="9449"/>
                    <a:pt x="11881" y="8907"/>
                    <a:pt x="11881" y="8753"/>
                  </a:cubicBezTo>
                  <a:cubicBezTo>
                    <a:pt x="11881" y="8666"/>
                    <a:pt x="11850" y="8672"/>
                    <a:pt x="11798" y="8625"/>
                  </a:cubicBezTo>
                  <a:cubicBezTo>
                    <a:pt x="10850" y="7786"/>
                    <a:pt x="10911" y="8119"/>
                    <a:pt x="11056" y="7540"/>
                  </a:cubicBezTo>
                  <a:cubicBezTo>
                    <a:pt x="11089" y="7409"/>
                    <a:pt x="11130" y="7290"/>
                    <a:pt x="11140" y="7166"/>
                  </a:cubicBezTo>
                  <a:cubicBezTo>
                    <a:pt x="11264" y="7163"/>
                    <a:pt x="11348" y="7133"/>
                    <a:pt x="11473" y="7110"/>
                  </a:cubicBezTo>
                  <a:cubicBezTo>
                    <a:pt x="11608" y="7086"/>
                    <a:pt x="11678" y="7076"/>
                    <a:pt x="11806" y="7055"/>
                  </a:cubicBezTo>
                  <a:cubicBezTo>
                    <a:pt x="12583" y="6926"/>
                    <a:pt x="12410" y="7160"/>
                    <a:pt x="12410" y="5684"/>
                  </a:cubicBezTo>
                  <a:cubicBezTo>
                    <a:pt x="12410" y="5530"/>
                    <a:pt x="12065" y="5520"/>
                    <a:pt x="11836" y="5483"/>
                  </a:cubicBezTo>
                  <a:cubicBezTo>
                    <a:pt x="11617" y="5447"/>
                    <a:pt x="11345" y="5371"/>
                    <a:pt x="11140" y="5367"/>
                  </a:cubicBezTo>
                  <a:cubicBezTo>
                    <a:pt x="11130" y="5242"/>
                    <a:pt x="11092" y="5109"/>
                    <a:pt x="11058" y="4990"/>
                  </a:cubicBezTo>
                  <a:cubicBezTo>
                    <a:pt x="10916" y="4501"/>
                    <a:pt x="10872" y="4697"/>
                    <a:pt x="11430" y="4210"/>
                  </a:cubicBezTo>
                  <a:cubicBezTo>
                    <a:pt x="11961" y="3748"/>
                    <a:pt x="12038" y="3922"/>
                    <a:pt x="11593" y="3186"/>
                  </a:cubicBezTo>
                  <a:cubicBezTo>
                    <a:pt x="11168" y="2485"/>
                    <a:pt x="11423" y="2577"/>
                    <a:pt x="10651" y="2831"/>
                  </a:cubicBezTo>
                  <a:cubicBezTo>
                    <a:pt x="10455" y="2896"/>
                    <a:pt x="10253" y="2990"/>
                    <a:pt x="10047" y="3038"/>
                  </a:cubicBezTo>
                  <a:cubicBezTo>
                    <a:pt x="9986" y="2997"/>
                    <a:pt x="9518" y="2549"/>
                    <a:pt x="9518" y="2509"/>
                  </a:cubicBezTo>
                  <a:cubicBezTo>
                    <a:pt x="9518" y="2384"/>
                    <a:pt x="9659" y="2065"/>
                    <a:pt x="9707" y="1922"/>
                  </a:cubicBezTo>
                  <a:cubicBezTo>
                    <a:pt x="9988" y="1089"/>
                    <a:pt x="10108" y="1419"/>
                    <a:pt x="9101" y="809"/>
                  </a:cubicBezTo>
                  <a:cubicBezTo>
                    <a:pt x="8998" y="747"/>
                    <a:pt x="8913" y="693"/>
                    <a:pt x="8812" y="639"/>
                  </a:cubicBezTo>
                  <a:cubicBezTo>
                    <a:pt x="8548" y="779"/>
                    <a:pt x="7996" y="1592"/>
                    <a:pt x="7930" y="1592"/>
                  </a:cubicBezTo>
                  <a:cubicBezTo>
                    <a:pt x="7749" y="1592"/>
                    <a:pt x="7454" y="1421"/>
                    <a:pt x="7189" y="1416"/>
                  </a:cubicBezTo>
                  <a:lnTo>
                    <a:pt x="6999" y="336"/>
                  </a:lnTo>
                  <a:cubicBezTo>
                    <a:pt x="6927" y="0"/>
                    <a:pt x="6683" y="110"/>
                    <a:pt x="5813" y="110"/>
                  </a:cubicBezTo>
                  <a:cubicBezTo>
                    <a:pt x="5526" y="110"/>
                    <a:pt x="5558" y="404"/>
                    <a:pt x="5511" y="654"/>
                  </a:cubicBezTo>
                  <a:cubicBezTo>
                    <a:pt x="5470" y="873"/>
                    <a:pt x="5390" y="1199"/>
                    <a:pt x="5390" y="1416"/>
                  </a:cubicBezTo>
                  <a:close/>
                  <a:moveTo>
                    <a:pt x="6360" y="3125"/>
                  </a:moveTo>
                  <a:cubicBezTo>
                    <a:pt x="7962" y="3125"/>
                    <a:pt x="9260" y="4423"/>
                    <a:pt x="9260" y="6025"/>
                  </a:cubicBezTo>
                  <a:cubicBezTo>
                    <a:pt x="9260" y="7626"/>
                    <a:pt x="7962" y="8925"/>
                    <a:pt x="6360" y="8925"/>
                  </a:cubicBezTo>
                  <a:cubicBezTo>
                    <a:pt x="4759" y="8925"/>
                    <a:pt x="3460" y="7626"/>
                    <a:pt x="3460" y="6025"/>
                  </a:cubicBezTo>
                  <a:cubicBezTo>
                    <a:pt x="3460" y="4423"/>
                    <a:pt x="4759" y="3125"/>
                    <a:pt x="6360" y="3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2787651" y="2271713"/>
              <a:ext cx="2320925" cy="1155700"/>
            </a:xfrm>
            <a:custGeom>
              <a:avLst/>
              <a:gdLst>
                <a:gd name="T0" fmla="*/ 0 w 14318"/>
                <a:gd name="T1" fmla="*/ 898 h 7128"/>
                <a:gd name="T2" fmla="*/ 0 w 14318"/>
                <a:gd name="T3" fmla="*/ 4179 h 7128"/>
                <a:gd name="T4" fmla="*/ 787 w 14318"/>
                <a:gd name="T5" fmla="*/ 4662 h 7128"/>
                <a:gd name="T6" fmla="*/ 1753 w 14318"/>
                <a:gd name="T7" fmla="*/ 5001 h 7128"/>
                <a:gd name="T8" fmla="*/ 2645 w 14318"/>
                <a:gd name="T9" fmla="*/ 5414 h 7128"/>
                <a:gd name="T10" fmla="*/ 3069 w 14318"/>
                <a:gd name="T11" fmla="*/ 5626 h 7128"/>
                <a:gd name="T12" fmla="*/ 5730 w 14318"/>
                <a:gd name="T13" fmla="*/ 6845 h 7128"/>
                <a:gd name="T14" fmla="*/ 7405 w 14318"/>
                <a:gd name="T15" fmla="*/ 6998 h 7128"/>
                <a:gd name="T16" fmla="*/ 9635 w 14318"/>
                <a:gd name="T17" fmla="*/ 6653 h 7128"/>
                <a:gd name="T18" fmla="*/ 11719 w 14318"/>
                <a:gd name="T19" fmla="*/ 6127 h 7128"/>
                <a:gd name="T20" fmla="*/ 12473 w 14318"/>
                <a:gd name="T21" fmla="*/ 5611 h 7128"/>
                <a:gd name="T22" fmla="*/ 13960 w 14318"/>
                <a:gd name="T23" fmla="*/ 4487 h 7128"/>
                <a:gd name="T24" fmla="*/ 14158 w 14318"/>
                <a:gd name="T25" fmla="*/ 4047 h 7128"/>
                <a:gd name="T26" fmla="*/ 13899 w 14318"/>
                <a:gd name="T27" fmla="*/ 3685 h 7128"/>
                <a:gd name="T28" fmla="*/ 14118 w 14318"/>
                <a:gd name="T29" fmla="*/ 2973 h 7128"/>
                <a:gd name="T30" fmla="*/ 11809 w 14318"/>
                <a:gd name="T31" fmla="*/ 3289 h 7128"/>
                <a:gd name="T32" fmla="*/ 8572 w 14318"/>
                <a:gd name="T33" fmla="*/ 4073 h 7128"/>
                <a:gd name="T34" fmla="*/ 6504 w 14318"/>
                <a:gd name="T35" fmla="*/ 3496 h 7128"/>
                <a:gd name="T36" fmla="*/ 6385 w 14318"/>
                <a:gd name="T37" fmla="*/ 3438 h 7128"/>
                <a:gd name="T38" fmla="*/ 6602 w 14318"/>
                <a:gd name="T39" fmla="*/ 3408 h 7128"/>
                <a:gd name="T40" fmla="*/ 8855 w 14318"/>
                <a:gd name="T41" fmla="*/ 3473 h 7128"/>
                <a:gd name="T42" fmla="*/ 11160 w 14318"/>
                <a:gd name="T43" fmla="*/ 2957 h 7128"/>
                <a:gd name="T44" fmla="*/ 7175 w 14318"/>
                <a:gd name="T45" fmla="*/ 1166 h 7128"/>
                <a:gd name="T46" fmla="*/ 4536 w 14318"/>
                <a:gd name="T47" fmla="*/ 172 h 7128"/>
                <a:gd name="T48" fmla="*/ 3714 w 14318"/>
                <a:gd name="T49" fmla="*/ 77 h 7128"/>
                <a:gd name="T50" fmla="*/ 1249 w 14318"/>
                <a:gd name="T51" fmla="*/ 313 h 7128"/>
                <a:gd name="T52" fmla="*/ 0 w 14318"/>
                <a:gd name="T53" fmla="*/ 898 h 7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318" h="7128">
                  <a:moveTo>
                    <a:pt x="0" y="898"/>
                  </a:moveTo>
                  <a:lnTo>
                    <a:pt x="0" y="4179"/>
                  </a:lnTo>
                  <a:cubicBezTo>
                    <a:pt x="0" y="4652"/>
                    <a:pt x="402" y="4609"/>
                    <a:pt x="787" y="4662"/>
                  </a:cubicBezTo>
                  <a:cubicBezTo>
                    <a:pt x="1192" y="4718"/>
                    <a:pt x="1432" y="4862"/>
                    <a:pt x="1753" y="5001"/>
                  </a:cubicBezTo>
                  <a:lnTo>
                    <a:pt x="2645" y="5414"/>
                  </a:lnTo>
                  <a:cubicBezTo>
                    <a:pt x="2787" y="5484"/>
                    <a:pt x="2928" y="5554"/>
                    <a:pt x="3069" y="5626"/>
                  </a:cubicBezTo>
                  <a:cubicBezTo>
                    <a:pt x="3797" y="5993"/>
                    <a:pt x="4972" y="6542"/>
                    <a:pt x="5730" y="6845"/>
                  </a:cubicBezTo>
                  <a:cubicBezTo>
                    <a:pt x="6436" y="7128"/>
                    <a:pt x="6569" y="7076"/>
                    <a:pt x="7405" y="6998"/>
                  </a:cubicBezTo>
                  <a:cubicBezTo>
                    <a:pt x="7893" y="6953"/>
                    <a:pt x="9113" y="6741"/>
                    <a:pt x="9635" y="6653"/>
                  </a:cubicBezTo>
                  <a:cubicBezTo>
                    <a:pt x="10538" y="6501"/>
                    <a:pt x="10969" y="6592"/>
                    <a:pt x="11719" y="6127"/>
                  </a:cubicBezTo>
                  <a:cubicBezTo>
                    <a:pt x="11989" y="5959"/>
                    <a:pt x="12189" y="5784"/>
                    <a:pt x="12473" y="5611"/>
                  </a:cubicBezTo>
                  <a:cubicBezTo>
                    <a:pt x="12844" y="5385"/>
                    <a:pt x="13693" y="4800"/>
                    <a:pt x="13960" y="4487"/>
                  </a:cubicBezTo>
                  <a:cubicBezTo>
                    <a:pt x="14065" y="4364"/>
                    <a:pt x="14127" y="4246"/>
                    <a:pt x="14158" y="4047"/>
                  </a:cubicBezTo>
                  <a:cubicBezTo>
                    <a:pt x="14197" y="3798"/>
                    <a:pt x="14090" y="3786"/>
                    <a:pt x="13899" y="3685"/>
                  </a:cubicBezTo>
                  <a:cubicBezTo>
                    <a:pt x="13951" y="3491"/>
                    <a:pt x="14318" y="3376"/>
                    <a:pt x="14118" y="2973"/>
                  </a:cubicBezTo>
                  <a:cubicBezTo>
                    <a:pt x="13767" y="2267"/>
                    <a:pt x="12476" y="2620"/>
                    <a:pt x="11809" y="3289"/>
                  </a:cubicBezTo>
                  <a:cubicBezTo>
                    <a:pt x="11065" y="4036"/>
                    <a:pt x="9603" y="4073"/>
                    <a:pt x="8572" y="4073"/>
                  </a:cubicBezTo>
                  <a:cubicBezTo>
                    <a:pt x="7722" y="4073"/>
                    <a:pt x="7218" y="3782"/>
                    <a:pt x="6504" y="3496"/>
                  </a:cubicBezTo>
                  <a:lnTo>
                    <a:pt x="6385" y="3438"/>
                  </a:lnTo>
                  <a:cubicBezTo>
                    <a:pt x="6502" y="3436"/>
                    <a:pt x="6510" y="3418"/>
                    <a:pt x="6602" y="3408"/>
                  </a:cubicBezTo>
                  <a:cubicBezTo>
                    <a:pt x="7233" y="3343"/>
                    <a:pt x="8268" y="3477"/>
                    <a:pt x="8855" y="3473"/>
                  </a:cubicBezTo>
                  <a:cubicBezTo>
                    <a:pt x="9863" y="3466"/>
                    <a:pt x="10682" y="3939"/>
                    <a:pt x="11160" y="2957"/>
                  </a:cubicBezTo>
                  <a:cubicBezTo>
                    <a:pt x="11975" y="1282"/>
                    <a:pt x="8206" y="1325"/>
                    <a:pt x="7175" y="1166"/>
                  </a:cubicBezTo>
                  <a:cubicBezTo>
                    <a:pt x="6541" y="1069"/>
                    <a:pt x="6009" y="506"/>
                    <a:pt x="4536" y="172"/>
                  </a:cubicBezTo>
                  <a:cubicBezTo>
                    <a:pt x="4238" y="105"/>
                    <a:pt x="4032" y="119"/>
                    <a:pt x="3714" y="77"/>
                  </a:cubicBezTo>
                  <a:cubicBezTo>
                    <a:pt x="3133" y="0"/>
                    <a:pt x="1857" y="178"/>
                    <a:pt x="1249" y="313"/>
                  </a:cubicBezTo>
                  <a:cubicBezTo>
                    <a:pt x="809" y="411"/>
                    <a:pt x="0" y="525"/>
                    <a:pt x="0" y="8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2405063" y="2233613"/>
              <a:ext cx="307975" cy="909637"/>
            </a:xfrm>
            <a:custGeom>
              <a:avLst/>
              <a:gdLst>
                <a:gd name="T0" fmla="*/ 0 w 1905"/>
                <a:gd name="T1" fmla="*/ 318 h 5609"/>
                <a:gd name="T2" fmla="*/ 0 w 1905"/>
                <a:gd name="T3" fmla="*/ 5292 h 5609"/>
                <a:gd name="T4" fmla="*/ 318 w 1905"/>
                <a:gd name="T5" fmla="*/ 5609 h 5609"/>
                <a:gd name="T6" fmla="*/ 1588 w 1905"/>
                <a:gd name="T7" fmla="*/ 5609 h 5609"/>
                <a:gd name="T8" fmla="*/ 1905 w 1905"/>
                <a:gd name="T9" fmla="*/ 5257 h 5609"/>
                <a:gd name="T10" fmla="*/ 1905 w 1905"/>
                <a:gd name="T11" fmla="*/ 283 h 5609"/>
                <a:gd name="T12" fmla="*/ 1552 w 1905"/>
                <a:gd name="T13" fmla="*/ 0 h 5609"/>
                <a:gd name="T14" fmla="*/ 318 w 1905"/>
                <a:gd name="T15" fmla="*/ 0 h 5609"/>
                <a:gd name="T16" fmla="*/ 0 w 1905"/>
                <a:gd name="T17" fmla="*/ 318 h 5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05" h="5609">
                  <a:moveTo>
                    <a:pt x="0" y="318"/>
                  </a:moveTo>
                  <a:lnTo>
                    <a:pt x="0" y="5292"/>
                  </a:lnTo>
                  <a:cubicBezTo>
                    <a:pt x="0" y="5466"/>
                    <a:pt x="143" y="5609"/>
                    <a:pt x="318" y="5609"/>
                  </a:cubicBezTo>
                  <a:lnTo>
                    <a:pt x="1588" y="5609"/>
                  </a:lnTo>
                  <a:cubicBezTo>
                    <a:pt x="1778" y="5609"/>
                    <a:pt x="1905" y="5435"/>
                    <a:pt x="1905" y="5257"/>
                  </a:cubicBezTo>
                  <a:lnTo>
                    <a:pt x="1905" y="283"/>
                  </a:lnTo>
                  <a:cubicBezTo>
                    <a:pt x="1905" y="175"/>
                    <a:pt x="1743" y="0"/>
                    <a:pt x="1552" y="0"/>
                  </a:cubicBezTo>
                  <a:lnTo>
                    <a:pt x="318" y="0"/>
                  </a:lnTo>
                  <a:cubicBezTo>
                    <a:pt x="143" y="0"/>
                    <a:pt x="0" y="143"/>
                    <a:pt x="0" y="3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10912464" y="4500505"/>
            <a:ext cx="425473" cy="539459"/>
            <a:chOff x="4144754" y="4230048"/>
            <a:chExt cx="873396" cy="1107388"/>
          </a:xfrm>
          <a:solidFill>
            <a:srgbClr val="26867C"/>
          </a:solidFill>
        </p:grpSpPr>
        <p:grpSp>
          <p:nvGrpSpPr>
            <p:cNvPr id="28" name="Group 27"/>
            <p:cNvGrpSpPr/>
            <p:nvPr/>
          </p:nvGrpSpPr>
          <p:grpSpPr>
            <a:xfrm>
              <a:off x="4144754" y="4230048"/>
              <a:ext cx="682248" cy="1107388"/>
              <a:chOff x="2112134" y="12479"/>
              <a:chExt cx="4134119" cy="6710293"/>
            </a:xfrm>
            <a:grpFill/>
          </p:grpSpPr>
          <p:sp>
            <p:nvSpPr>
              <p:cNvPr id="36" name="Freeform 35"/>
              <p:cNvSpPr/>
              <p:nvPr/>
            </p:nvSpPr>
            <p:spPr>
              <a:xfrm>
                <a:off x="2112134" y="592428"/>
                <a:ext cx="4134119" cy="6130344"/>
              </a:xfrm>
              <a:custGeom>
                <a:avLst/>
                <a:gdLst>
                  <a:gd name="connsiteX0" fmla="*/ 399245 w 4134119"/>
                  <a:gd name="connsiteY0" fmla="*/ 1146220 h 6130344"/>
                  <a:gd name="connsiteX1" fmla="*/ 399245 w 4134119"/>
                  <a:gd name="connsiteY1" fmla="*/ 5550795 h 6130344"/>
                  <a:gd name="connsiteX2" fmla="*/ 3734873 w 4134119"/>
                  <a:gd name="connsiteY2" fmla="*/ 5550795 h 6130344"/>
                  <a:gd name="connsiteX3" fmla="*/ 3734873 w 4134119"/>
                  <a:gd name="connsiteY3" fmla="*/ 1146220 h 6130344"/>
                  <a:gd name="connsiteX4" fmla="*/ 398446 w 4134119"/>
                  <a:gd name="connsiteY4" fmla="*/ 0 h 6130344"/>
                  <a:gd name="connsiteX5" fmla="*/ 862886 w 4134119"/>
                  <a:gd name="connsiteY5" fmla="*/ 0 h 6130344"/>
                  <a:gd name="connsiteX6" fmla="*/ 862886 w 4134119"/>
                  <a:gd name="connsiteY6" fmla="*/ 257429 h 6130344"/>
                  <a:gd name="connsiteX7" fmla="*/ 1197885 w 4134119"/>
                  <a:gd name="connsiteY7" fmla="*/ 592428 h 6130344"/>
                  <a:gd name="connsiteX8" fmla="*/ 2923357 w 4134119"/>
                  <a:gd name="connsiteY8" fmla="*/ 592428 h 6130344"/>
                  <a:gd name="connsiteX9" fmla="*/ 3258356 w 4134119"/>
                  <a:gd name="connsiteY9" fmla="*/ 257429 h 6130344"/>
                  <a:gd name="connsiteX10" fmla="*/ 3258356 w 4134119"/>
                  <a:gd name="connsiteY10" fmla="*/ 0 h 6130344"/>
                  <a:gd name="connsiteX11" fmla="*/ 3735673 w 4134119"/>
                  <a:gd name="connsiteY11" fmla="*/ 0 h 6130344"/>
                  <a:gd name="connsiteX12" fmla="*/ 4134119 w 4134119"/>
                  <a:gd name="connsiteY12" fmla="*/ 398446 h 6130344"/>
                  <a:gd name="connsiteX13" fmla="*/ 4134119 w 4134119"/>
                  <a:gd name="connsiteY13" fmla="*/ 5731898 h 6130344"/>
                  <a:gd name="connsiteX14" fmla="*/ 3735673 w 4134119"/>
                  <a:gd name="connsiteY14" fmla="*/ 6130344 h 6130344"/>
                  <a:gd name="connsiteX15" fmla="*/ 398446 w 4134119"/>
                  <a:gd name="connsiteY15" fmla="*/ 6130344 h 6130344"/>
                  <a:gd name="connsiteX16" fmla="*/ 0 w 4134119"/>
                  <a:gd name="connsiteY16" fmla="*/ 5731898 h 6130344"/>
                  <a:gd name="connsiteX17" fmla="*/ 0 w 4134119"/>
                  <a:gd name="connsiteY17" fmla="*/ 398446 h 6130344"/>
                  <a:gd name="connsiteX18" fmla="*/ 398446 w 4134119"/>
                  <a:gd name="connsiteY18" fmla="*/ 0 h 6130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134119" h="6130344">
                    <a:moveTo>
                      <a:pt x="399245" y="1146220"/>
                    </a:moveTo>
                    <a:lnTo>
                      <a:pt x="399245" y="5550795"/>
                    </a:lnTo>
                    <a:lnTo>
                      <a:pt x="3734873" y="5550795"/>
                    </a:lnTo>
                    <a:lnTo>
                      <a:pt x="3734873" y="1146220"/>
                    </a:lnTo>
                    <a:close/>
                    <a:moveTo>
                      <a:pt x="398446" y="0"/>
                    </a:moveTo>
                    <a:lnTo>
                      <a:pt x="862886" y="0"/>
                    </a:lnTo>
                    <a:lnTo>
                      <a:pt x="862886" y="257429"/>
                    </a:lnTo>
                    <a:cubicBezTo>
                      <a:pt x="862886" y="442444"/>
                      <a:pt x="1012870" y="592428"/>
                      <a:pt x="1197885" y="592428"/>
                    </a:cubicBezTo>
                    <a:lnTo>
                      <a:pt x="2923357" y="592428"/>
                    </a:lnTo>
                    <a:cubicBezTo>
                      <a:pt x="3108372" y="592428"/>
                      <a:pt x="3258356" y="442444"/>
                      <a:pt x="3258356" y="257429"/>
                    </a:cubicBezTo>
                    <a:lnTo>
                      <a:pt x="3258356" y="0"/>
                    </a:lnTo>
                    <a:lnTo>
                      <a:pt x="3735673" y="0"/>
                    </a:lnTo>
                    <a:cubicBezTo>
                      <a:pt x="3955729" y="0"/>
                      <a:pt x="4134119" y="178390"/>
                      <a:pt x="4134119" y="398446"/>
                    </a:cubicBezTo>
                    <a:lnTo>
                      <a:pt x="4134119" y="5731898"/>
                    </a:lnTo>
                    <a:cubicBezTo>
                      <a:pt x="4134119" y="5951954"/>
                      <a:pt x="3955729" y="6130344"/>
                      <a:pt x="3735673" y="6130344"/>
                    </a:cubicBezTo>
                    <a:lnTo>
                      <a:pt x="398446" y="6130344"/>
                    </a:lnTo>
                    <a:cubicBezTo>
                      <a:pt x="178390" y="6130344"/>
                      <a:pt x="0" y="5951954"/>
                      <a:pt x="0" y="5731898"/>
                    </a:cubicBezTo>
                    <a:lnTo>
                      <a:pt x="0" y="398446"/>
                    </a:lnTo>
                    <a:cubicBezTo>
                      <a:pt x="0" y="178390"/>
                      <a:pt x="178390" y="0"/>
                      <a:pt x="3984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7" name="Freeform 36"/>
              <p:cNvSpPr/>
              <p:nvPr/>
            </p:nvSpPr>
            <p:spPr>
              <a:xfrm>
                <a:off x="3181082" y="12479"/>
                <a:ext cx="1996225" cy="1007769"/>
              </a:xfrm>
              <a:custGeom>
                <a:avLst/>
                <a:gdLst>
                  <a:gd name="connsiteX0" fmla="*/ 998111 w 1996225"/>
                  <a:gd name="connsiteY0" fmla="*/ 180304 h 1007769"/>
                  <a:gd name="connsiteX1" fmla="*/ 759853 w 1996225"/>
                  <a:gd name="connsiteY1" fmla="*/ 418562 h 1007769"/>
                  <a:gd name="connsiteX2" fmla="*/ 998111 w 1996225"/>
                  <a:gd name="connsiteY2" fmla="*/ 656820 h 1007769"/>
                  <a:gd name="connsiteX3" fmla="*/ 1236369 w 1996225"/>
                  <a:gd name="connsiteY3" fmla="*/ 418562 h 1007769"/>
                  <a:gd name="connsiteX4" fmla="*/ 998111 w 1996225"/>
                  <a:gd name="connsiteY4" fmla="*/ 180304 h 1007769"/>
                  <a:gd name="connsiteX5" fmla="*/ 998111 w 1996225"/>
                  <a:gd name="connsiteY5" fmla="*/ 0 h 1007769"/>
                  <a:gd name="connsiteX6" fmla="*/ 1408170 w 1996225"/>
                  <a:gd name="connsiteY6" fmla="*/ 334207 h 1007769"/>
                  <a:gd name="connsiteX7" fmla="*/ 1408559 w 1996225"/>
                  <a:gd name="connsiteY7" fmla="*/ 338068 h 1007769"/>
                  <a:gd name="connsiteX8" fmla="*/ 1897484 w 1996225"/>
                  <a:gd name="connsiteY8" fmla="*/ 338068 h 1007769"/>
                  <a:gd name="connsiteX9" fmla="*/ 1996225 w 1996225"/>
                  <a:gd name="connsiteY9" fmla="*/ 436809 h 1007769"/>
                  <a:gd name="connsiteX10" fmla="*/ 1996225 w 1996225"/>
                  <a:gd name="connsiteY10" fmla="*/ 909028 h 1007769"/>
                  <a:gd name="connsiteX11" fmla="*/ 1897484 w 1996225"/>
                  <a:gd name="connsiteY11" fmla="*/ 1007769 h 1007769"/>
                  <a:gd name="connsiteX12" fmla="*/ 98741 w 1996225"/>
                  <a:gd name="connsiteY12" fmla="*/ 1007769 h 1007769"/>
                  <a:gd name="connsiteX13" fmla="*/ 0 w 1996225"/>
                  <a:gd name="connsiteY13" fmla="*/ 909028 h 1007769"/>
                  <a:gd name="connsiteX14" fmla="*/ 0 w 1996225"/>
                  <a:gd name="connsiteY14" fmla="*/ 436809 h 1007769"/>
                  <a:gd name="connsiteX15" fmla="*/ 98741 w 1996225"/>
                  <a:gd name="connsiteY15" fmla="*/ 338068 h 1007769"/>
                  <a:gd name="connsiteX16" fmla="*/ 587664 w 1996225"/>
                  <a:gd name="connsiteY16" fmla="*/ 338068 h 1007769"/>
                  <a:gd name="connsiteX17" fmla="*/ 588053 w 1996225"/>
                  <a:gd name="connsiteY17" fmla="*/ 334207 h 1007769"/>
                  <a:gd name="connsiteX18" fmla="*/ 998111 w 1996225"/>
                  <a:gd name="connsiteY18" fmla="*/ 0 h 1007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96225" h="1007769">
                    <a:moveTo>
                      <a:pt x="998111" y="180304"/>
                    </a:moveTo>
                    <a:cubicBezTo>
                      <a:pt x="866525" y="180304"/>
                      <a:pt x="759853" y="286976"/>
                      <a:pt x="759853" y="418562"/>
                    </a:cubicBezTo>
                    <a:cubicBezTo>
                      <a:pt x="759853" y="550148"/>
                      <a:pt x="866525" y="656820"/>
                      <a:pt x="998111" y="656820"/>
                    </a:cubicBezTo>
                    <a:cubicBezTo>
                      <a:pt x="1129697" y="656820"/>
                      <a:pt x="1236369" y="550148"/>
                      <a:pt x="1236369" y="418562"/>
                    </a:cubicBezTo>
                    <a:cubicBezTo>
                      <a:pt x="1236369" y="286976"/>
                      <a:pt x="1129697" y="180304"/>
                      <a:pt x="998111" y="180304"/>
                    </a:cubicBezTo>
                    <a:close/>
                    <a:moveTo>
                      <a:pt x="998111" y="0"/>
                    </a:moveTo>
                    <a:cubicBezTo>
                      <a:pt x="1200381" y="0"/>
                      <a:pt x="1369140" y="143476"/>
                      <a:pt x="1408170" y="334207"/>
                    </a:cubicBezTo>
                    <a:lnTo>
                      <a:pt x="1408559" y="338068"/>
                    </a:lnTo>
                    <a:lnTo>
                      <a:pt x="1897484" y="338068"/>
                    </a:lnTo>
                    <a:cubicBezTo>
                      <a:pt x="1952017" y="338068"/>
                      <a:pt x="1996225" y="382276"/>
                      <a:pt x="1996225" y="436809"/>
                    </a:cubicBezTo>
                    <a:lnTo>
                      <a:pt x="1996225" y="909028"/>
                    </a:lnTo>
                    <a:cubicBezTo>
                      <a:pt x="1996225" y="963561"/>
                      <a:pt x="1952017" y="1007769"/>
                      <a:pt x="1897484" y="1007769"/>
                    </a:cubicBezTo>
                    <a:lnTo>
                      <a:pt x="98741" y="1007769"/>
                    </a:lnTo>
                    <a:cubicBezTo>
                      <a:pt x="44208" y="1007769"/>
                      <a:pt x="0" y="963561"/>
                      <a:pt x="0" y="909028"/>
                    </a:cubicBezTo>
                    <a:lnTo>
                      <a:pt x="0" y="436809"/>
                    </a:lnTo>
                    <a:cubicBezTo>
                      <a:pt x="0" y="382276"/>
                      <a:pt x="44208" y="338068"/>
                      <a:pt x="98741" y="338068"/>
                    </a:cubicBezTo>
                    <a:lnTo>
                      <a:pt x="587664" y="338068"/>
                    </a:lnTo>
                    <a:lnTo>
                      <a:pt x="588053" y="334207"/>
                    </a:lnTo>
                    <a:cubicBezTo>
                      <a:pt x="627082" y="143476"/>
                      <a:pt x="795842" y="0"/>
                      <a:pt x="9981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38" name="Group 37"/>
              <p:cNvGrpSpPr/>
              <p:nvPr/>
            </p:nvGrpSpPr>
            <p:grpSpPr>
              <a:xfrm>
                <a:off x="2979287" y="1957742"/>
                <a:ext cx="1174521" cy="1120738"/>
                <a:chOff x="2971799" y="1957742"/>
                <a:chExt cx="1174521" cy="1120738"/>
              </a:xfrm>
              <a:grpFill/>
            </p:grpSpPr>
            <p:sp>
              <p:nvSpPr>
                <p:cNvPr id="54" name="Freeform 53"/>
                <p:cNvSpPr/>
                <p:nvPr/>
              </p:nvSpPr>
              <p:spPr>
                <a:xfrm>
                  <a:off x="2971799" y="2354580"/>
                  <a:ext cx="543605" cy="723900"/>
                </a:xfrm>
                <a:custGeom>
                  <a:avLst/>
                  <a:gdLst>
                    <a:gd name="connsiteX0" fmla="*/ 432877 w 546522"/>
                    <a:gd name="connsiteY0" fmla="*/ 0 h 723900"/>
                    <a:gd name="connsiteX1" fmla="*/ 457198 w 546522"/>
                    <a:gd name="connsiteY1" fmla="*/ 0 h 723900"/>
                    <a:gd name="connsiteX2" fmla="*/ 541454 w 546522"/>
                    <a:gd name="connsiteY2" fmla="*/ 55849 h 723900"/>
                    <a:gd name="connsiteX3" fmla="*/ 546522 w 546522"/>
                    <a:gd name="connsiteY3" fmla="*/ 80948 h 723900"/>
                    <a:gd name="connsiteX4" fmla="*/ 91442 w 546522"/>
                    <a:gd name="connsiteY4" fmla="*/ 0 h 723900"/>
                    <a:gd name="connsiteX5" fmla="*/ 294237 w 546522"/>
                    <a:gd name="connsiteY5" fmla="*/ 0 h 723900"/>
                    <a:gd name="connsiteX6" fmla="*/ 259248 w 546522"/>
                    <a:gd name="connsiteY6" fmla="*/ 99060 h 723900"/>
                    <a:gd name="connsiteX7" fmla="*/ 147939 w 546522"/>
                    <a:gd name="connsiteY7" fmla="*/ 99060 h 723900"/>
                    <a:gd name="connsiteX8" fmla="*/ 84747 w 546522"/>
                    <a:gd name="connsiteY8" fmla="*/ 162252 h 723900"/>
                    <a:gd name="connsiteX9" fmla="*/ 84747 w 546522"/>
                    <a:gd name="connsiteY9" fmla="*/ 561648 h 723900"/>
                    <a:gd name="connsiteX10" fmla="*/ 147939 w 546522"/>
                    <a:gd name="connsiteY10" fmla="*/ 624840 h 723900"/>
                    <a:gd name="connsiteX11" fmla="*/ 400702 w 546522"/>
                    <a:gd name="connsiteY11" fmla="*/ 624840 h 723900"/>
                    <a:gd name="connsiteX12" fmla="*/ 458928 w 546522"/>
                    <a:gd name="connsiteY12" fmla="*/ 586245 h 723900"/>
                    <a:gd name="connsiteX13" fmla="*/ 460480 w 546522"/>
                    <a:gd name="connsiteY13" fmla="*/ 578560 h 723900"/>
                    <a:gd name="connsiteX14" fmla="*/ 543605 w 546522"/>
                    <a:gd name="connsiteY14" fmla="*/ 657400 h 723900"/>
                    <a:gd name="connsiteX15" fmla="*/ 541454 w 546522"/>
                    <a:gd name="connsiteY15" fmla="*/ 668051 h 723900"/>
                    <a:gd name="connsiteX16" fmla="*/ 457198 w 546522"/>
                    <a:gd name="connsiteY16" fmla="*/ 723900 h 723900"/>
                    <a:gd name="connsiteX17" fmla="*/ 91442 w 546522"/>
                    <a:gd name="connsiteY17" fmla="*/ 723900 h 723900"/>
                    <a:gd name="connsiteX18" fmla="*/ 0 w 546522"/>
                    <a:gd name="connsiteY18" fmla="*/ 632458 h 723900"/>
                    <a:gd name="connsiteX19" fmla="*/ 0 w 546522"/>
                    <a:gd name="connsiteY19" fmla="*/ 91442 h 723900"/>
                    <a:gd name="connsiteX20" fmla="*/ 91442 w 546522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541454 w 543605"/>
                    <a:gd name="connsiteY2" fmla="*/ 55849 h 723900"/>
                    <a:gd name="connsiteX3" fmla="*/ 432877 w 543605"/>
                    <a:gd name="connsiteY3" fmla="*/ 0 h 723900"/>
                    <a:gd name="connsiteX4" fmla="*/ 91442 w 543605"/>
                    <a:gd name="connsiteY4" fmla="*/ 0 h 723900"/>
                    <a:gd name="connsiteX5" fmla="*/ 294237 w 543605"/>
                    <a:gd name="connsiteY5" fmla="*/ 0 h 723900"/>
                    <a:gd name="connsiteX6" fmla="*/ 259248 w 543605"/>
                    <a:gd name="connsiteY6" fmla="*/ 99060 h 723900"/>
                    <a:gd name="connsiteX7" fmla="*/ 147939 w 543605"/>
                    <a:gd name="connsiteY7" fmla="*/ 99060 h 723900"/>
                    <a:gd name="connsiteX8" fmla="*/ 84747 w 543605"/>
                    <a:gd name="connsiteY8" fmla="*/ 162252 h 723900"/>
                    <a:gd name="connsiteX9" fmla="*/ 84747 w 543605"/>
                    <a:gd name="connsiteY9" fmla="*/ 561648 h 723900"/>
                    <a:gd name="connsiteX10" fmla="*/ 147939 w 543605"/>
                    <a:gd name="connsiteY10" fmla="*/ 624840 h 723900"/>
                    <a:gd name="connsiteX11" fmla="*/ 400702 w 543605"/>
                    <a:gd name="connsiteY11" fmla="*/ 624840 h 723900"/>
                    <a:gd name="connsiteX12" fmla="*/ 458928 w 543605"/>
                    <a:gd name="connsiteY12" fmla="*/ 586245 h 723900"/>
                    <a:gd name="connsiteX13" fmla="*/ 460480 w 543605"/>
                    <a:gd name="connsiteY13" fmla="*/ 578560 h 723900"/>
                    <a:gd name="connsiteX14" fmla="*/ 543605 w 543605"/>
                    <a:gd name="connsiteY14" fmla="*/ 657400 h 723900"/>
                    <a:gd name="connsiteX15" fmla="*/ 541454 w 543605"/>
                    <a:gd name="connsiteY15" fmla="*/ 668051 h 723900"/>
                    <a:gd name="connsiteX16" fmla="*/ 457198 w 543605"/>
                    <a:gd name="connsiteY16" fmla="*/ 723900 h 723900"/>
                    <a:gd name="connsiteX17" fmla="*/ 91442 w 543605"/>
                    <a:gd name="connsiteY17" fmla="*/ 723900 h 723900"/>
                    <a:gd name="connsiteX18" fmla="*/ 0 w 543605"/>
                    <a:gd name="connsiteY18" fmla="*/ 632458 h 723900"/>
                    <a:gd name="connsiteX19" fmla="*/ 0 w 543605"/>
                    <a:gd name="connsiteY19" fmla="*/ 91442 h 723900"/>
                    <a:gd name="connsiteX20" fmla="*/ 91442 w 543605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432877 w 543605"/>
                    <a:gd name="connsiteY2" fmla="*/ 0 h 723900"/>
                    <a:gd name="connsiteX3" fmla="*/ 91442 w 543605"/>
                    <a:gd name="connsiteY3" fmla="*/ 0 h 723900"/>
                    <a:gd name="connsiteX4" fmla="*/ 294237 w 543605"/>
                    <a:gd name="connsiteY4" fmla="*/ 0 h 723900"/>
                    <a:gd name="connsiteX5" fmla="*/ 259248 w 543605"/>
                    <a:gd name="connsiteY5" fmla="*/ 99060 h 723900"/>
                    <a:gd name="connsiteX6" fmla="*/ 147939 w 543605"/>
                    <a:gd name="connsiteY6" fmla="*/ 99060 h 723900"/>
                    <a:gd name="connsiteX7" fmla="*/ 84747 w 543605"/>
                    <a:gd name="connsiteY7" fmla="*/ 162252 h 723900"/>
                    <a:gd name="connsiteX8" fmla="*/ 84747 w 543605"/>
                    <a:gd name="connsiteY8" fmla="*/ 561648 h 723900"/>
                    <a:gd name="connsiteX9" fmla="*/ 147939 w 543605"/>
                    <a:gd name="connsiteY9" fmla="*/ 624840 h 723900"/>
                    <a:gd name="connsiteX10" fmla="*/ 400702 w 543605"/>
                    <a:gd name="connsiteY10" fmla="*/ 624840 h 723900"/>
                    <a:gd name="connsiteX11" fmla="*/ 458928 w 543605"/>
                    <a:gd name="connsiteY11" fmla="*/ 586245 h 723900"/>
                    <a:gd name="connsiteX12" fmla="*/ 460480 w 543605"/>
                    <a:gd name="connsiteY12" fmla="*/ 578560 h 723900"/>
                    <a:gd name="connsiteX13" fmla="*/ 543605 w 543605"/>
                    <a:gd name="connsiteY13" fmla="*/ 657400 h 723900"/>
                    <a:gd name="connsiteX14" fmla="*/ 541454 w 543605"/>
                    <a:gd name="connsiteY14" fmla="*/ 668051 h 723900"/>
                    <a:gd name="connsiteX15" fmla="*/ 457198 w 543605"/>
                    <a:gd name="connsiteY15" fmla="*/ 723900 h 723900"/>
                    <a:gd name="connsiteX16" fmla="*/ 91442 w 543605"/>
                    <a:gd name="connsiteY16" fmla="*/ 723900 h 723900"/>
                    <a:gd name="connsiteX17" fmla="*/ 0 w 543605"/>
                    <a:gd name="connsiteY17" fmla="*/ 632458 h 723900"/>
                    <a:gd name="connsiteX18" fmla="*/ 0 w 543605"/>
                    <a:gd name="connsiteY18" fmla="*/ 91442 h 723900"/>
                    <a:gd name="connsiteX19" fmla="*/ 91442 w 543605"/>
                    <a:gd name="connsiteY19" fmla="*/ 0 h 723900"/>
                    <a:gd name="connsiteX0" fmla="*/ 91442 w 543605"/>
                    <a:gd name="connsiteY0" fmla="*/ 0 h 723900"/>
                    <a:gd name="connsiteX1" fmla="*/ 294237 w 543605"/>
                    <a:gd name="connsiteY1" fmla="*/ 0 h 723900"/>
                    <a:gd name="connsiteX2" fmla="*/ 259248 w 543605"/>
                    <a:gd name="connsiteY2" fmla="*/ 99060 h 723900"/>
                    <a:gd name="connsiteX3" fmla="*/ 147939 w 543605"/>
                    <a:gd name="connsiteY3" fmla="*/ 99060 h 723900"/>
                    <a:gd name="connsiteX4" fmla="*/ 84747 w 543605"/>
                    <a:gd name="connsiteY4" fmla="*/ 162252 h 723900"/>
                    <a:gd name="connsiteX5" fmla="*/ 84747 w 543605"/>
                    <a:gd name="connsiteY5" fmla="*/ 561648 h 723900"/>
                    <a:gd name="connsiteX6" fmla="*/ 147939 w 543605"/>
                    <a:gd name="connsiteY6" fmla="*/ 624840 h 723900"/>
                    <a:gd name="connsiteX7" fmla="*/ 400702 w 543605"/>
                    <a:gd name="connsiteY7" fmla="*/ 624840 h 723900"/>
                    <a:gd name="connsiteX8" fmla="*/ 458928 w 543605"/>
                    <a:gd name="connsiteY8" fmla="*/ 586245 h 723900"/>
                    <a:gd name="connsiteX9" fmla="*/ 460480 w 543605"/>
                    <a:gd name="connsiteY9" fmla="*/ 578560 h 723900"/>
                    <a:gd name="connsiteX10" fmla="*/ 543605 w 543605"/>
                    <a:gd name="connsiteY10" fmla="*/ 657400 h 723900"/>
                    <a:gd name="connsiteX11" fmla="*/ 541454 w 543605"/>
                    <a:gd name="connsiteY11" fmla="*/ 668051 h 723900"/>
                    <a:gd name="connsiteX12" fmla="*/ 457198 w 543605"/>
                    <a:gd name="connsiteY12" fmla="*/ 723900 h 723900"/>
                    <a:gd name="connsiteX13" fmla="*/ 91442 w 543605"/>
                    <a:gd name="connsiteY13" fmla="*/ 723900 h 723900"/>
                    <a:gd name="connsiteX14" fmla="*/ 0 w 543605"/>
                    <a:gd name="connsiteY14" fmla="*/ 632458 h 723900"/>
                    <a:gd name="connsiteX15" fmla="*/ 0 w 543605"/>
                    <a:gd name="connsiteY15" fmla="*/ 91442 h 723900"/>
                    <a:gd name="connsiteX16" fmla="*/ 91442 w 543605"/>
                    <a:gd name="connsiteY1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43605" h="723900">
                      <a:moveTo>
                        <a:pt x="91442" y="0"/>
                      </a:moveTo>
                      <a:lnTo>
                        <a:pt x="294237" y="0"/>
                      </a:lnTo>
                      <a:lnTo>
                        <a:pt x="259248" y="99060"/>
                      </a:lnTo>
                      <a:lnTo>
                        <a:pt x="147939" y="99060"/>
                      </a:lnTo>
                      <a:cubicBezTo>
                        <a:pt x="113039" y="99060"/>
                        <a:pt x="84747" y="127352"/>
                        <a:pt x="84747" y="162252"/>
                      </a:cubicBezTo>
                      <a:lnTo>
                        <a:pt x="84747" y="561648"/>
                      </a:lnTo>
                      <a:cubicBezTo>
                        <a:pt x="84747" y="596548"/>
                        <a:pt x="113039" y="624840"/>
                        <a:pt x="147939" y="624840"/>
                      </a:cubicBezTo>
                      <a:lnTo>
                        <a:pt x="400702" y="624840"/>
                      </a:lnTo>
                      <a:cubicBezTo>
                        <a:pt x="426877" y="624840"/>
                        <a:pt x="449335" y="608926"/>
                        <a:pt x="458928" y="586245"/>
                      </a:cubicBezTo>
                      <a:lnTo>
                        <a:pt x="460480" y="578560"/>
                      </a:lnTo>
                      <a:lnTo>
                        <a:pt x="543605" y="657400"/>
                      </a:lnTo>
                      <a:lnTo>
                        <a:pt x="541454" y="668051"/>
                      </a:lnTo>
                      <a:cubicBezTo>
                        <a:pt x="527573" y="700871"/>
                        <a:pt x="495075" y="723900"/>
                        <a:pt x="457198" y="723900"/>
                      </a:cubicBezTo>
                      <a:lnTo>
                        <a:pt x="91442" y="723900"/>
                      </a:lnTo>
                      <a:cubicBezTo>
                        <a:pt x="40940" y="723900"/>
                        <a:pt x="0" y="682960"/>
                        <a:pt x="0" y="632458"/>
                      </a:cubicBezTo>
                      <a:lnTo>
                        <a:pt x="0" y="91442"/>
                      </a:lnTo>
                      <a:cubicBezTo>
                        <a:pt x="0" y="40940"/>
                        <a:pt x="40940" y="0"/>
                        <a:pt x="9144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5" name="Rectangle 20"/>
                <p:cNvSpPr/>
                <p:nvPr/>
              </p:nvSpPr>
              <p:spPr>
                <a:xfrm>
                  <a:off x="3267940" y="1957742"/>
                  <a:ext cx="878380" cy="946077"/>
                </a:xfrm>
                <a:custGeom>
                  <a:avLst/>
                  <a:gdLst>
                    <a:gd name="connsiteX0" fmla="*/ 0 w 910858"/>
                    <a:gd name="connsiteY0" fmla="*/ 0 h 1112520"/>
                    <a:gd name="connsiteX1" fmla="*/ 9108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10858"/>
                    <a:gd name="connsiteY0" fmla="*/ 0 h 1112520"/>
                    <a:gd name="connsiteX1" fmla="*/ 8727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94678"/>
                    <a:gd name="connsiteY0" fmla="*/ 0 h 1112520"/>
                    <a:gd name="connsiteX1" fmla="*/ 872758 w 994678"/>
                    <a:gd name="connsiteY1" fmla="*/ 0 h 1112520"/>
                    <a:gd name="connsiteX2" fmla="*/ 994678 w 994678"/>
                    <a:gd name="connsiteY2" fmla="*/ 68580 h 1112520"/>
                    <a:gd name="connsiteX3" fmla="*/ 0 w 994678"/>
                    <a:gd name="connsiteY3" fmla="*/ 1112520 h 1112520"/>
                    <a:gd name="connsiteX4" fmla="*/ 0 w 994678"/>
                    <a:gd name="connsiteY4" fmla="*/ 0 h 1112520"/>
                    <a:gd name="connsiteX0" fmla="*/ 0 w 994678"/>
                    <a:gd name="connsiteY0" fmla="*/ 0 h 883920"/>
                    <a:gd name="connsiteX1" fmla="*/ 872758 w 994678"/>
                    <a:gd name="connsiteY1" fmla="*/ 0 h 883920"/>
                    <a:gd name="connsiteX2" fmla="*/ 994678 w 994678"/>
                    <a:gd name="connsiteY2" fmla="*/ 68580 h 883920"/>
                    <a:gd name="connsiteX3" fmla="*/ 434340 w 994678"/>
                    <a:gd name="connsiteY3" fmla="*/ 883920 h 883920"/>
                    <a:gd name="connsiteX4" fmla="*/ 0 w 994678"/>
                    <a:gd name="connsiteY4" fmla="*/ 0 h 883920"/>
                    <a:gd name="connsiteX0" fmla="*/ 7620 w 560338"/>
                    <a:gd name="connsiteY0" fmla="*/ 548640 h 883920"/>
                    <a:gd name="connsiteX1" fmla="*/ 438418 w 560338"/>
                    <a:gd name="connsiteY1" fmla="*/ 0 h 883920"/>
                    <a:gd name="connsiteX2" fmla="*/ 560338 w 560338"/>
                    <a:gd name="connsiteY2" fmla="*/ 68580 h 883920"/>
                    <a:gd name="connsiteX3" fmla="*/ 0 w 560338"/>
                    <a:gd name="connsiteY3" fmla="*/ 883920 h 883920"/>
                    <a:gd name="connsiteX4" fmla="*/ 7620 w 560338"/>
                    <a:gd name="connsiteY4" fmla="*/ 548640 h 883920"/>
                    <a:gd name="connsiteX0" fmla="*/ 18782 w 571500"/>
                    <a:gd name="connsiteY0" fmla="*/ 548640 h 883920"/>
                    <a:gd name="connsiteX1" fmla="*/ 449580 w 571500"/>
                    <a:gd name="connsiteY1" fmla="*/ 0 h 883920"/>
                    <a:gd name="connsiteX2" fmla="*/ 571500 w 571500"/>
                    <a:gd name="connsiteY2" fmla="*/ 68580 h 883920"/>
                    <a:gd name="connsiteX3" fmla="*/ 11162 w 571500"/>
                    <a:gd name="connsiteY3" fmla="*/ 883920 h 883920"/>
                    <a:gd name="connsiteX4" fmla="*/ 0 w 571500"/>
                    <a:gd name="connsiteY4" fmla="*/ 739140 h 883920"/>
                    <a:gd name="connsiteX5" fmla="*/ 18782 w 5715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0 w 800100"/>
                    <a:gd name="connsiteY4" fmla="*/ 472440 h 883920"/>
                    <a:gd name="connsiteX5" fmla="*/ 247382 w 8001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129540 w 800100"/>
                    <a:gd name="connsiteY4" fmla="*/ 678180 h 883920"/>
                    <a:gd name="connsiteX5" fmla="*/ 0 w 800100"/>
                    <a:gd name="connsiteY5" fmla="*/ 472440 h 883920"/>
                    <a:gd name="connsiteX6" fmla="*/ 247382 w 8001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31596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27024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23582 w 876300"/>
                    <a:gd name="connsiteY6" fmla="*/ 548640 h 914400"/>
                    <a:gd name="connsiteX0" fmla="*/ 308342 w 876300"/>
                    <a:gd name="connsiteY0" fmla="*/ 60198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08342 w 876300"/>
                    <a:gd name="connsiteY6" fmla="*/ 601980 h 914400"/>
                    <a:gd name="connsiteX0" fmla="*/ 308342 w 876300"/>
                    <a:gd name="connsiteY0" fmla="*/ 601980 h 876300"/>
                    <a:gd name="connsiteX1" fmla="*/ 754380 w 876300"/>
                    <a:gd name="connsiteY1" fmla="*/ 0 h 876300"/>
                    <a:gd name="connsiteX2" fmla="*/ 876300 w 876300"/>
                    <a:gd name="connsiteY2" fmla="*/ 68580 h 876300"/>
                    <a:gd name="connsiteX3" fmla="*/ 285482 w 876300"/>
                    <a:gd name="connsiteY3" fmla="*/ 876300 h 876300"/>
                    <a:gd name="connsiteX4" fmla="*/ 0 w 876300"/>
                    <a:gd name="connsiteY4" fmla="*/ 609600 h 876300"/>
                    <a:gd name="connsiteX5" fmla="*/ 76200 w 876300"/>
                    <a:gd name="connsiteY5" fmla="*/ 472440 h 876300"/>
                    <a:gd name="connsiteX6" fmla="*/ 308342 w 876300"/>
                    <a:gd name="connsiteY6" fmla="*/ 601980 h 876300"/>
                    <a:gd name="connsiteX0" fmla="*/ 331202 w 899160"/>
                    <a:gd name="connsiteY0" fmla="*/ 60198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31202 w 899160"/>
                    <a:gd name="connsiteY6" fmla="*/ 601980 h 876300"/>
                    <a:gd name="connsiteX0" fmla="*/ 323582 w 899160"/>
                    <a:gd name="connsiteY0" fmla="*/ 65532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23582 w 899160"/>
                    <a:gd name="connsiteY6" fmla="*/ 655320 h 876300"/>
                    <a:gd name="connsiteX0" fmla="*/ 323582 w 899160"/>
                    <a:gd name="connsiteY0" fmla="*/ 67056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70560 h 891540"/>
                    <a:gd name="connsiteX0" fmla="*/ 323582 w 899160"/>
                    <a:gd name="connsiteY0" fmla="*/ 64008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40080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283538 w 899160"/>
                    <a:gd name="connsiteY6" fmla="*/ 700339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67025 w 899160"/>
                    <a:gd name="connsiteY5" fmla="*/ 514462 h 891540"/>
                    <a:gd name="connsiteX6" fmla="*/ 283538 w 899160"/>
                    <a:gd name="connsiteY6" fmla="*/ 700339 h 891540"/>
                    <a:gd name="connsiteX0" fmla="*/ 283538 w 891151"/>
                    <a:gd name="connsiteY0" fmla="*/ 700339 h 891540"/>
                    <a:gd name="connsiteX1" fmla="*/ 746760 w 891151"/>
                    <a:gd name="connsiteY1" fmla="*/ 0 h 891540"/>
                    <a:gd name="connsiteX2" fmla="*/ 891151 w 891151"/>
                    <a:gd name="connsiteY2" fmla="*/ 150774 h 891540"/>
                    <a:gd name="connsiteX3" fmla="*/ 308342 w 891151"/>
                    <a:gd name="connsiteY3" fmla="*/ 891540 h 891540"/>
                    <a:gd name="connsiteX4" fmla="*/ 0 w 891151"/>
                    <a:gd name="connsiteY4" fmla="*/ 647700 h 891540"/>
                    <a:gd name="connsiteX5" fmla="*/ 67025 w 891151"/>
                    <a:gd name="connsiteY5" fmla="*/ 514462 h 891540"/>
                    <a:gd name="connsiteX6" fmla="*/ 283538 w 891151"/>
                    <a:gd name="connsiteY6" fmla="*/ 700339 h 891540"/>
                    <a:gd name="connsiteX0" fmla="*/ 283538 w 891151"/>
                    <a:gd name="connsiteY0" fmla="*/ 640080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83538 w 891151"/>
                    <a:gd name="connsiteY6" fmla="*/ 640080 h 831281"/>
                    <a:gd name="connsiteX0" fmla="*/ 275530 w 891151"/>
                    <a:gd name="connsiteY0" fmla="*/ 599908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75530 w 891151"/>
                    <a:gd name="connsiteY6" fmla="*/ 599908 h 831281"/>
                    <a:gd name="connsiteX0" fmla="*/ 307565 w 923186"/>
                    <a:gd name="connsiteY0" fmla="*/ 599908 h 831281"/>
                    <a:gd name="connsiteX1" fmla="*/ 762778 w 923186"/>
                    <a:gd name="connsiteY1" fmla="*/ 0 h 831281"/>
                    <a:gd name="connsiteX2" fmla="*/ 923186 w 923186"/>
                    <a:gd name="connsiteY2" fmla="*/ 90515 h 831281"/>
                    <a:gd name="connsiteX3" fmla="*/ 340377 w 923186"/>
                    <a:gd name="connsiteY3" fmla="*/ 831281 h 831281"/>
                    <a:gd name="connsiteX4" fmla="*/ 0 w 923186"/>
                    <a:gd name="connsiteY4" fmla="*/ 620918 h 831281"/>
                    <a:gd name="connsiteX5" fmla="*/ 99060 w 923186"/>
                    <a:gd name="connsiteY5" fmla="*/ 454203 h 831281"/>
                    <a:gd name="connsiteX6" fmla="*/ 307565 w 923186"/>
                    <a:gd name="connsiteY6" fmla="*/ 599908 h 831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3186" h="831281">
                      <a:moveTo>
                        <a:pt x="307565" y="599908"/>
                      </a:moveTo>
                      <a:lnTo>
                        <a:pt x="762778" y="0"/>
                      </a:lnTo>
                      <a:lnTo>
                        <a:pt x="923186" y="90515"/>
                      </a:lnTo>
                      <a:lnTo>
                        <a:pt x="340377" y="831281"/>
                      </a:lnTo>
                      <a:lnTo>
                        <a:pt x="0" y="620918"/>
                      </a:lnTo>
                      <a:lnTo>
                        <a:pt x="99060" y="454203"/>
                      </a:lnTo>
                      <a:lnTo>
                        <a:pt x="307565" y="5999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39" name="Group 38"/>
              <p:cNvGrpSpPr/>
              <p:nvPr/>
            </p:nvGrpSpPr>
            <p:grpSpPr>
              <a:xfrm>
                <a:off x="2979287" y="3257864"/>
                <a:ext cx="1174521" cy="1120738"/>
                <a:chOff x="2971799" y="1957742"/>
                <a:chExt cx="1174521" cy="1120738"/>
              </a:xfrm>
              <a:grpFill/>
            </p:grpSpPr>
            <p:sp>
              <p:nvSpPr>
                <p:cNvPr id="52" name="Freeform 51"/>
                <p:cNvSpPr/>
                <p:nvPr/>
              </p:nvSpPr>
              <p:spPr>
                <a:xfrm>
                  <a:off x="2971799" y="2354580"/>
                  <a:ext cx="543605" cy="723900"/>
                </a:xfrm>
                <a:custGeom>
                  <a:avLst/>
                  <a:gdLst>
                    <a:gd name="connsiteX0" fmla="*/ 432877 w 546522"/>
                    <a:gd name="connsiteY0" fmla="*/ 0 h 723900"/>
                    <a:gd name="connsiteX1" fmla="*/ 457198 w 546522"/>
                    <a:gd name="connsiteY1" fmla="*/ 0 h 723900"/>
                    <a:gd name="connsiteX2" fmla="*/ 541454 w 546522"/>
                    <a:gd name="connsiteY2" fmla="*/ 55849 h 723900"/>
                    <a:gd name="connsiteX3" fmla="*/ 546522 w 546522"/>
                    <a:gd name="connsiteY3" fmla="*/ 80948 h 723900"/>
                    <a:gd name="connsiteX4" fmla="*/ 91442 w 546522"/>
                    <a:gd name="connsiteY4" fmla="*/ 0 h 723900"/>
                    <a:gd name="connsiteX5" fmla="*/ 294237 w 546522"/>
                    <a:gd name="connsiteY5" fmla="*/ 0 h 723900"/>
                    <a:gd name="connsiteX6" fmla="*/ 259248 w 546522"/>
                    <a:gd name="connsiteY6" fmla="*/ 99060 h 723900"/>
                    <a:gd name="connsiteX7" fmla="*/ 147939 w 546522"/>
                    <a:gd name="connsiteY7" fmla="*/ 99060 h 723900"/>
                    <a:gd name="connsiteX8" fmla="*/ 84747 w 546522"/>
                    <a:gd name="connsiteY8" fmla="*/ 162252 h 723900"/>
                    <a:gd name="connsiteX9" fmla="*/ 84747 w 546522"/>
                    <a:gd name="connsiteY9" fmla="*/ 561648 h 723900"/>
                    <a:gd name="connsiteX10" fmla="*/ 147939 w 546522"/>
                    <a:gd name="connsiteY10" fmla="*/ 624840 h 723900"/>
                    <a:gd name="connsiteX11" fmla="*/ 400702 w 546522"/>
                    <a:gd name="connsiteY11" fmla="*/ 624840 h 723900"/>
                    <a:gd name="connsiteX12" fmla="*/ 458928 w 546522"/>
                    <a:gd name="connsiteY12" fmla="*/ 586245 h 723900"/>
                    <a:gd name="connsiteX13" fmla="*/ 460480 w 546522"/>
                    <a:gd name="connsiteY13" fmla="*/ 578560 h 723900"/>
                    <a:gd name="connsiteX14" fmla="*/ 543605 w 546522"/>
                    <a:gd name="connsiteY14" fmla="*/ 657400 h 723900"/>
                    <a:gd name="connsiteX15" fmla="*/ 541454 w 546522"/>
                    <a:gd name="connsiteY15" fmla="*/ 668051 h 723900"/>
                    <a:gd name="connsiteX16" fmla="*/ 457198 w 546522"/>
                    <a:gd name="connsiteY16" fmla="*/ 723900 h 723900"/>
                    <a:gd name="connsiteX17" fmla="*/ 91442 w 546522"/>
                    <a:gd name="connsiteY17" fmla="*/ 723900 h 723900"/>
                    <a:gd name="connsiteX18" fmla="*/ 0 w 546522"/>
                    <a:gd name="connsiteY18" fmla="*/ 632458 h 723900"/>
                    <a:gd name="connsiteX19" fmla="*/ 0 w 546522"/>
                    <a:gd name="connsiteY19" fmla="*/ 91442 h 723900"/>
                    <a:gd name="connsiteX20" fmla="*/ 91442 w 546522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541454 w 543605"/>
                    <a:gd name="connsiteY2" fmla="*/ 55849 h 723900"/>
                    <a:gd name="connsiteX3" fmla="*/ 432877 w 543605"/>
                    <a:gd name="connsiteY3" fmla="*/ 0 h 723900"/>
                    <a:gd name="connsiteX4" fmla="*/ 91442 w 543605"/>
                    <a:gd name="connsiteY4" fmla="*/ 0 h 723900"/>
                    <a:gd name="connsiteX5" fmla="*/ 294237 w 543605"/>
                    <a:gd name="connsiteY5" fmla="*/ 0 h 723900"/>
                    <a:gd name="connsiteX6" fmla="*/ 259248 w 543605"/>
                    <a:gd name="connsiteY6" fmla="*/ 99060 h 723900"/>
                    <a:gd name="connsiteX7" fmla="*/ 147939 w 543605"/>
                    <a:gd name="connsiteY7" fmla="*/ 99060 h 723900"/>
                    <a:gd name="connsiteX8" fmla="*/ 84747 w 543605"/>
                    <a:gd name="connsiteY8" fmla="*/ 162252 h 723900"/>
                    <a:gd name="connsiteX9" fmla="*/ 84747 w 543605"/>
                    <a:gd name="connsiteY9" fmla="*/ 561648 h 723900"/>
                    <a:gd name="connsiteX10" fmla="*/ 147939 w 543605"/>
                    <a:gd name="connsiteY10" fmla="*/ 624840 h 723900"/>
                    <a:gd name="connsiteX11" fmla="*/ 400702 w 543605"/>
                    <a:gd name="connsiteY11" fmla="*/ 624840 h 723900"/>
                    <a:gd name="connsiteX12" fmla="*/ 458928 w 543605"/>
                    <a:gd name="connsiteY12" fmla="*/ 586245 h 723900"/>
                    <a:gd name="connsiteX13" fmla="*/ 460480 w 543605"/>
                    <a:gd name="connsiteY13" fmla="*/ 578560 h 723900"/>
                    <a:gd name="connsiteX14" fmla="*/ 543605 w 543605"/>
                    <a:gd name="connsiteY14" fmla="*/ 657400 h 723900"/>
                    <a:gd name="connsiteX15" fmla="*/ 541454 w 543605"/>
                    <a:gd name="connsiteY15" fmla="*/ 668051 h 723900"/>
                    <a:gd name="connsiteX16" fmla="*/ 457198 w 543605"/>
                    <a:gd name="connsiteY16" fmla="*/ 723900 h 723900"/>
                    <a:gd name="connsiteX17" fmla="*/ 91442 w 543605"/>
                    <a:gd name="connsiteY17" fmla="*/ 723900 h 723900"/>
                    <a:gd name="connsiteX18" fmla="*/ 0 w 543605"/>
                    <a:gd name="connsiteY18" fmla="*/ 632458 h 723900"/>
                    <a:gd name="connsiteX19" fmla="*/ 0 w 543605"/>
                    <a:gd name="connsiteY19" fmla="*/ 91442 h 723900"/>
                    <a:gd name="connsiteX20" fmla="*/ 91442 w 543605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432877 w 543605"/>
                    <a:gd name="connsiteY2" fmla="*/ 0 h 723900"/>
                    <a:gd name="connsiteX3" fmla="*/ 91442 w 543605"/>
                    <a:gd name="connsiteY3" fmla="*/ 0 h 723900"/>
                    <a:gd name="connsiteX4" fmla="*/ 294237 w 543605"/>
                    <a:gd name="connsiteY4" fmla="*/ 0 h 723900"/>
                    <a:gd name="connsiteX5" fmla="*/ 259248 w 543605"/>
                    <a:gd name="connsiteY5" fmla="*/ 99060 h 723900"/>
                    <a:gd name="connsiteX6" fmla="*/ 147939 w 543605"/>
                    <a:gd name="connsiteY6" fmla="*/ 99060 h 723900"/>
                    <a:gd name="connsiteX7" fmla="*/ 84747 w 543605"/>
                    <a:gd name="connsiteY7" fmla="*/ 162252 h 723900"/>
                    <a:gd name="connsiteX8" fmla="*/ 84747 w 543605"/>
                    <a:gd name="connsiteY8" fmla="*/ 561648 h 723900"/>
                    <a:gd name="connsiteX9" fmla="*/ 147939 w 543605"/>
                    <a:gd name="connsiteY9" fmla="*/ 624840 h 723900"/>
                    <a:gd name="connsiteX10" fmla="*/ 400702 w 543605"/>
                    <a:gd name="connsiteY10" fmla="*/ 624840 h 723900"/>
                    <a:gd name="connsiteX11" fmla="*/ 458928 w 543605"/>
                    <a:gd name="connsiteY11" fmla="*/ 586245 h 723900"/>
                    <a:gd name="connsiteX12" fmla="*/ 460480 w 543605"/>
                    <a:gd name="connsiteY12" fmla="*/ 578560 h 723900"/>
                    <a:gd name="connsiteX13" fmla="*/ 543605 w 543605"/>
                    <a:gd name="connsiteY13" fmla="*/ 657400 h 723900"/>
                    <a:gd name="connsiteX14" fmla="*/ 541454 w 543605"/>
                    <a:gd name="connsiteY14" fmla="*/ 668051 h 723900"/>
                    <a:gd name="connsiteX15" fmla="*/ 457198 w 543605"/>
                    <a:gd name="connsiteY15" fmla="*/ 723900 h 723900"/>
                    <a:gd name="connsiteX16" fmla="*/ 91442 w 543605"/>
                    <a:gd name="connsiteY16" fmla="*/ 723900 h 723900"/>
                    <a:gd name="connsiteX17" fmla="*/ 0 w 543605"/>
                    <a:gd name="connsiteY17" fmla="*/ 632458 h 723900"/>
                    <a:gd name="connsiteX18" fmla="*/ 0 w 543605"/>
                    <a:gd name="connsiteY18" fmla="*/ 91442 h 723900"/>
                    <a:gd name="connsiteX19" fmla="*/ 91442 w 543605"/>
                    <a:gd name="connsiteY19" fmla="*/ 0 h 723900"/>
                    <a:gd name="connsiteX0" fmla="*/ 91442 w 543605"/>
                    <a:gd name="connsiteY0" fmla="*/ 0 h 723900"/>
                    <a:gd name="connsiteX1" fmla="*/ 294237 w 543605"/>
                    <a:gd name="connsiteY1" fmla="*/ 0 h 723900"/>
                    <a:gd name="connsiteX2" fmla="*/ 259248 w 543605"/>
                    <a:gd name="connsiteY2" fmla="*/ 99060 h 723900"/>
                    <a:gd name="connsiteX3" fmla="*/ 147939 w 543605"/>
                    <a:gd name="connsiteY3" fmla="*/ 99060 h 723900"/>
                    <a:gd name="connsiteX4" fmla="*/ 84747 w 543605"/>
                    <a:gd name="connsiteY4" fmla="*/ 162252 h 723900"/>
                    <a:gd name="connsiteX5" fmla="*/ 84747 w 543605"/>
                    <a:gd name="connsiteY5" fmla="*/ 561648 h 723900"/>
                    <a:gd name="connsiteX6" fmla="*/ 147939 w 543605"/>
                    <a:gd name="connsiteY6" fmla="*/ 624840 h 723900"/>
                    <a:gd name="connsiteX7" fmla="*/ 400702 w 543605"/>
                    <a:gd name="connsiteY7" fmla="*/ 624840 h 723900"/>
                    <a:gd name="connsiteX8" fmla="*/ 458928 w 543605"/>
                    <a:gd name="connsiteY8" fmla="*/ 586245 h 723900"/>
                    <a:gd name="connsiteX9" fmla="*/ 460480 w 543605"/>
                    <a:gd name="connsiteY9" fmla="*/ 578560 h 723900"/>
                    <a:gd name="connsiteX10" fmla="*/ 543605 w 543605"/>
                    <a:gd name="connsiteY10" fmla="*/ 657400 h 723900"/>
                    <a:gd name="connsiteX11" fmla="*/ 541454 w 543605"/>
                    <a:gd name="connsiteY11" fmla="*/ 668051 h 723900"/>
                    <a:gd name="connsiteX12" fmla="*/ 457198 w 543605"/>
                    <a:gd name="connsiteY12" fmla="*/ 723900 h 723900"/>
                    <a:gd name="connsiteX13" fmla="*/ 91442 w 543605"/>
                    <a:gd name="connsiteY13" fmla="*/ 723900 h 723900"/>
                    <a:gd name="connsiteX14" fmla="*/ 0 w 543605"/>
                    <a:gd name="connsiteY14" fmla="*/ 632458 h 723900"/>
                    <a:gd name="connsiteX15" fmla="*/ 0 w 543605"/>
                    <a:gd name="connsiteY15" fmla="*/ 91442 h 723900"/>
                    <a:gd name="connsiteX16" fmla="*/ 91442 w 543605"/>
                    <a:gd name="connsiteY1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43605" h="723900">
                      <a:moveTo>
                        <a:pt x="91442" y="0"/>
                      </a:moveTo>
                      <a:lnTo>
                        <a:pt x="294237" y="0"/>
                      </a:lnTo>
                      <a:lnTo>
                        <a:pt x="259248" y="99060"/>
                      </a:lnTo>
                      <a:lnTo>
                        <a:pt x="147939" y="99060"/>
                      </a:lnTo>
                      <a:cubicBezTo>
                        <a:pt x="113039" y="99060"/>
                        <a:pt x="84747" y="127352"/>
                        <a:pt x="84747" y="162252"/>
                      </a:cubicBezTo>
                      <a:lnTo>
                        <a:pt x="84747" y="561648"/>
                      </a:lnTo>
                      <a:cubicBezTo>
                        <a:pt x="84747" y="596548"/>
                        <a:pt x="113039" y="624840"/>
                        <a:pt x="147939" y="624840"/>
                      </a:cubicBezTo>
                      <a:lnTo>
                        <a:pt x="400702" y="624840"/>
                      </a:lnTo>
                      <a:cubicBezTo>
                        <a:pt x="426877" y="624840"/>
                        <a:pt x="449335" y="608926"/>
                        <a:pt x="458928" y="586245"/>
                      </a:cubicBezTo>
                      <a:lnTo>
                        <a:pt x="460480" y="578560"/>
                      </a:lnTo>
                      <a:lnTo>
                        <a:pt x="543605" y="657400"/>
                      </a:lnTo>
                      <a:lnTo>
                        <a:pt x="541454" y="668051"/>
                      </a:lnTo>
                      <a:cubicBezTo>
                        <a:pt x="527573" y="700871"/>
                        <a:pt x="495075" y="723900"/>
                        <a:pt x="457198" y="723900"/>
                      </a:cubicBezTo>
                      <a:lnTo>
                        <a:pt x="91442" y="723900"/>
                      </a:lnTo>
                      <a:cubicBezTo>
                        <a:pt x="40940" y="723900"/>
                        <a:pt x="0" y="682960"/>
                        <a:pt x="0" y="632458"/>
                      </a:cubicBezTo>
                      <a:lnTo>
                        <a:pt x="0" y="91442"/>
                      </a:lnTo>
                      <a:cubicBezTo>
                        <a:pt x="0" y="40940"/>
                        <a:pt x="40940" y="0"/>
                        <a:pt x="9144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3" name="Rectangle 20"/>
                <p:cNvSpPr/>
                <p:nvPr/>
              </p:nvSpPr>
              <p:spPr>
                <a:xfrm>
                  <a:off x="3267940" y="1957742"/>
                  <a:ext cx="878380" cy="946077"/>
                </a:xfrm>
                <a:custGeom>
                  <a:avLst/>
                  <a:gdLst>
                    <a:gd name="connsiteX0" fmla="*/ 0 w 910858"/>
                    <a:gd name="connsiteY0" fmla="*/ 0 h 1112520"/>
                    <a:gd name="connsiteX1" fmla="*/ 9108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10858"/>
                    <a:gd name="connsiteY0" fmla="*/ 0 h 1112520"/>
                    <a:gd name="connsiteX1" fmla="*/ 8727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94678"/>
                    <a:gd name="connsiteY0" fmla="*/ 0 h 1112520"/>
                    <a:gd name="connsiteX1" fmla="*/ 872758 w 994678"/>
                    <a:gd name="connsiteY1" fmla="*/ 0 h 1112520"/>
                    <a:gd name="connsiteX2" fmla="*/ 994678 w 994678"/>
                    <a:gd name="connsiteY2" fmla="*/ 68580 h 1112520"/>
                    <a:gd name="connsiteX3" fmla="*/ 0 w 994678"/>
                    <a:gd name="connsiteY3" fmla="*/ 1112520 h 1112520"/>
                    <a:gd name="connsiteX4" fmla="*/ 0 w 994678"/>
                    <a:gd name="connsiteY4" fmla="*/ 0 h 1112520"/>
                    <a:gd name="connsiteX0" fmla="*/ 0 w 994678"/>
                    <a:gd name="connsiteY0" fmla="*/ 0 h 883920"/>
                    <a:gd name="connsiteX1" fmla="*/ 872758 w 994678"/>
                    <a:gd name="connsiteY1" fmla="*/ 0 h 883920"/>
                    <a:gd name="connsiteX2" fmla="*/ 994678 w 994678"/>
                    <a:gd name="connsiteY2" fmla="*/ 68580 h 883920"/>
                    <a:gd name="connsiteX3" fmla="*/ 434340 w 994678"/>
                    <a:gd name="connsiteY3" fmla="*/ 883920 h 883920"/>
                    <a:gd name="connsiteX4" fmla="*/ 0 w 994678"/>
                    <a:gd name="connsiteY4" fmla="*/ 0 h 883920"/>
                    <a:gd name="connsiteX0" fmla="*/ 7620 w 560338"/>
                    <a:gd name="connsiteY0" fmla="*/ 548640 h 883920"/>
                    <a:gd name="connsiteX1" fmla="*/ 438418 w 560338"/>
                    <a:gd name="connsiteY1" fmla="*/ 0 h 883920"/>
                    <a:gd name="connsiteX2" fmla="*/ 560338 w 560338"/>
                    <a:gd name="connsiteY2" fmla="*/ 68580 h 883920"/>
                    <a:gd name="connsiteX3" fmla="*/ 0 w 560338"/>
                    <a:gd name="connsiteY3" fmla="*/ 883920 h 883920"/>
                    <a:gd name="connsiteX4" fmla="*/ 7620 w 560338"/>
                    <a:gd name="connsiteY4" fmla="*/ 548640 h 883920"/>
                    <a:gd name="connsiteX0" fmla="*/ 18782 w 571500"/>
                    <a:gd name="connsiteY0" fmla="*/ 548640 h 883920"/>
                    <a:gd name="connsiteX1" fmla="*/ 449580 w 571500"/>
                    <a:gd name="connsiteY1" fmla="*/ 0 h 883920"/>
                    <a:gd name="connsiteX2" fmla="*/ 571500 w 571500"/>
                    <a:gd name="connsiteY2" fmla="*/ 68580 h 883920"/>
                    <a:gd name="connsiteX3" fmla="*/ 11162 w 571500"/>
                    <a:gd name="connsiteY3" fmla="*/ 883920 h 883920"/>
                    <a:gd name="connsiteX4" fmla="*/ 0 w 571500"/>
                    <a:gd name="connsiteY4" fmla="*/ 739140 h 883920"/>
                    <a:gd name="connsiteX5" fmla="*/ 18782 w 5715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0 w 800100"/>
                    <a:gd name="connsiteY4" fmla="*/ 472440 h 883920"/>
                    <a:gd name="connsiteX5" fmla="*/ 247382 w 8001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129540 w 800100"/>
                    <a:gd name="connsiteY4" fmla="*/ 678180 h 883920"/>
                    <a:gd name="connsiteX5" fmla="*/ 0 w 800100"/>
                    <a:gd name="connsiteY5" fmla="*/ 472440 h 883920"/>
                    <a:gd name="connsiteX6" fmla="*/ 247382 w 8001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31596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27024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23582 w 876300"/>
                    <a:gd name="connsiteY6" fmla="*/ 548640 h 914400"/>
                    <a:gd name="connsiteX0" fmla="*/ 308342 w 876300"/>
                    <a:gd name="connsiteY0" fmla="*/ 60198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08342 w 876300"/>
                    <a:gd name="connsiteY6" fmla="*/ 601980 h 914400"/>
                    <a:gd name="connsiteX0" fmla="*/ 308342 w 876300"/>
                    <a:gd name="connsiteY0" fmla="*/ 601980 h 876300"/>
                    <a:gd name="connsiteX1" fmla="*/ 754380 w 876300"/>
                    <a:gd name="connsiteY1" fmla="*/ 0 h 876300"/>
                    <a:gd name="connsiteX2" fmla="*/ 876300 w 876300"/>
                    <a:gd name="connsiteY2" fmla="*/ 68580 h 876300"/>
                    <a:gd name="connsiteX3" fmla="*/ 285482 w 876300"/>
                    <a:gd name="connsiteY3" fmla="*/ 876300 h 876300"/>
                    <a:gd name="connsiteX4" fmla="*/ 0 w 876300"/>
                    <a:gd name="connsiteY4" fmla="*/ 609600 h 876300"/>
                    <a:gd name="connsiteX5" fmla="*/ 76200 w 876300"/>
                    <a:gd name="connsiteY5" fmla="*/ 472440 h 876300"/>
                    <a:gd name="connsiteX6" fmla="*/ 308342 w 876300"/>
                    <a:gd name="connsiteY6" fmla="*/ 601980 h 876300"/>
                    <a:gd name="connsiteX0" fmla="*/ 331202 w 899160"/>
                    <a:gd name="connsiteY0" fmla="*/ 60198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31202 w 899160"/>
                    <a:gd name="connsiteY6" fmla="*/ 601980 h 876300"/>
                    <a:gd name="connsiteX0" fmla="*/ 323582 w 899160"/>
                    <a:gd name="connsiteY0" fmla="*/ 65532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23582 w 899160"/>
                    <a:gd name="connsiteY6" fmla="*/ 655320 h 876300"/>
                    <a:gd name="connsiteX0" fmla="*/ 323582 w 899160"/>
                    <a:gd name="connsiteY0" fmla="*/ 67056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70560 h 891540"/>
                    <a:gd name="connsiteX0" fmla="*/ 323582 w 899160"/>
                    <a:gd name="connsiteY0" fmla="*/ 64008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40080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283538 w 899160"/>
                    <a:gd name="connsiteY6" fmla="*/ 700339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67025 w 899160"/>
                    <a:gd name="connsiteY5" fmla="*/ 514462 h 891540"/>
                    <a:gd name="connsiteX6" fmla="*/ 283538 w 899160"/>
                    <a:gd name="connsiteY6" fmla="*/ 700339 h 891540"/>
                    <a:gd name="connsiteX0" fmla="*/ 283538 w 891151"/>
                    <a:gd name="connsiteY0" fmla="*/ 700339 h 891540"/>
                    <a:gd name="connsiteX1" fmla="*/ 746760 w 891151"/>
                    <a:gd name="connsiteY1" fmla="*/ 0 h 891540"/>
                    <a:gd name="connsiteX2" fmla="*/ 891151 w 891151"/>
                    <a:gd name="connsiteY2" fmla="*/ 150774 h 891540"/>
                    <a:gd name="connsiteX3" fmla="*/ 308342 w 891151"/>
                    <a:gd name="connsiteY3" fmla="*/ 891540 h 891540"/>
                    <a:gd name="connsiteX4" fmla="*/ 0 w 891151"/>
                    <a:gd name="connsiteY4" fmla="*/ 647700 h 891540"/>
                    <a:gd name="connsiteX5" fmla="*/ 67025 w 891151"/>
                    <a:gd name="connsiteY5" fmla="*/ 514462 h 891540"/>
                    <a:gd name="connsiteX6" fmla="*/ 283538 w 891151"/>
                    <a:gd name="connsiteY6" fmla="*/ 700339 h 891540"/>
                    <a:gd name="connsiteX0" fmla="*/ 283538 w 891151"/>
                    <a:gd name="connsiteY0" fmla="*/ 640080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83538 w 891151"/>
                    <a:gd name="connsiteY6" fmla="*/ 640080 h 831281"/>
                    <a:gd name="connsiteX0" fmla="*/ 275530 w 891151"/>
                    <a:gd name="connsiteY0" fmla="*/ 599908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75530 w 891151"/>
                    <a:gd name="connsiteY6" fmla="*/ 599908 h 831281"/>
                    <a:gd name="connsiteX0" fmla="*/ 307565 w 923186"/>
                    <a:gd name="connsiteY0" fmla="*/ 599908 h 831281"/>
                    <a:gd name="connsiteX1" fmla="*/ 762778 w 923186"/>
                    <a:gd name="connsiteY1" fmla="*/ 0 h 831281"/>
                    <a:gd name="connsiteX2" fmla="*/ 923186 w 923186"/>
                    <a:gd name="connsiteY2" fmla="*/ 90515 h 831281"/>
                    <a:gd name="connsiteX3" fmla="*/ 340377 w 923186"/>
                    <a:gd name="connsiteY3" fmla="*/ 831281 h 831281"/>
                    <a:gd name="connsiteX4" fmla="*/ 0 w 923186"/>
                    <a:gd name="connsiteY4" fmla="*/ 620918 h 831281"/>
                    <a:gd name="connsiteX5" fmla="*/ 99060 w 923186"/>
                    <a:gd name="connsiteY5" fmla="*/ 454203 h 831281"/>
                    <a:gd name="connsiteX6" fmla="*/ 307565 w 923186"/>
                    <a:gd name="connsiteY6" fmla="*/ 599908 h 831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3186" h="831281">
                      <a:moveTo>
                        <a:pt x="307565" y="599908"/>
                      </a:moveTo>
                      <a:lnTo>
                        <a:pt x="762778" y="0"/>
                      </a:lnTo>
                      <a:lnTo>
                        <a:pt x="923186" y="90515"/>
                      </a:lnTo>
                      <a:lnTo>
                        <a:pt x="340377" y="831281"/>
                      </a:lnTo>
                      <a:lnTo>
                        <a:pt x="0" y="620918"/>
                      </a:lnTo>
                      <a:lnTo>
                        <a:pt x="99060" y="454203"/>
                      </a:lnTo>
                      <a:lnTo>
                        <a:pt x="307565" y="5999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40" name="Group 39"/>
              <p:cNvGrpSpPr/>
              <p:nvPr/>
            </p:nvGrpSpPr>
            <p:grpSpPr>
              <a:xfrm>
                <a:off x="2979287" y="4557986"/>
                <a:ext cx="1174521" cy="1120738"/>
                <a:chOff x="2971799" y="1957742"/>
                <a:chExt cx="1174521" cy="1120738"/>
              </a:xfrm>
              <a:grpFill/>
            </p:grpSpPr>
            <p:sp>
              <p:nvSpPr>
                <p:cNvPr id="50" name="Freeform 49"/>
                <p:cNvSpPr/>
                <p:nvPr/>
              </p:nvSpPr>
              <p:spPr>
                <a:xfrm>
                  <a:off x="2971799" y="2354580"/>
                  <a:ext cx="543605" cy="723900"/>
                </a:xfrm>
                <a:custGeom>
                  <a:avLst/>
                  <a:gdLst>
                    <a:gd name="connsiteX0" fmla="*/ 432877 w 546522"/>
                    <a:gd name="connsiteY0" fmla="*/ 0 h 723900"/>
                    <a:gd name="connsiteX1" fmla="*/ 457198 w 546522"/>
                    <a:gd name="connsiteY1" fmla="*/ 0 h 723900"/>
                    <a:gd name="connsiteX2" fmla="*/ 541454 w 546522"/>
                    <a:gd name="connsiteY2" fmla="*/ 55849 h 723900"/>
                    <a:gd name="connsiteX3" fmla="*/ 546522 w 546522"/>
                    <a:gd name="connsiteY3" fmla="*/ 80948 h 723900"/>
                    <a:gd name="connsiteX4" fmla="*/ 91442 w 546522"/>
                    <a:gd name="connsiteY4" fmla="*/ 0 h 723900"/>
                    <a:gd name="connsiteX5" fmla="*/ 294237 w 546522"/>
                    <a:gd name="connsiteY5" fmla="*/ 0 h 723900"/>
                    <a:gd name="connsiteX6" fmla="*/ 259248 w 546522"/>
                    <a:gd name="connsiteY6" fmla="*/ 99060 h 723900"/>
                    <a:gd name="connsiteX7" fmla="*/ 147939 w 546522"/>
                    <a:gd name="connsiteY7" fmla="*/ 99060 h 723900"/>
                    <a:gd name="connsiteX8" fmla="*/ 84747 w 546522"/>
                    <a:gd name="connsiteY8" fmla="*/ 162252 h 723900"/>
                    <a:gd name="connsiteX9" fmla="*/ 84747 w 546522"/>
                    <a:gd name="connsiteY9" fmla="*/ 561648 h 723900"/>
                    <a:gd name="connsiteX10" fmla="*/ 147939 w 546522"/>
                    <a:gd name="connsiteY10" fmla="*/ 624840 h 723900"/>
                    <a:gd name="connsiteX11" fmla="*/ 400702 w 546522"/>
                    <a:gd name="connsiteY11" fmla="*/ 624840 h 723900"/>
                    <a:gd name="connsiteX12" fmla="*/ 458928 w 546522"/>
                    <a:gd name="connsiteY12" fmla="*/ 586245 h 723900"/>
                    <a:gd name="connsiteX13" fmla="*/ 460480 w 546522"/>
                    <a:gd name="connsiteY13" fmla="*/ 578560 h 723900"/>
                    <a:gd name="connsiteX14" fmla="*/ 543605 w 546522"/>
                    <a:gd name="connsiteY14" fmla="*/ 657400 h 723900"/>
                    <a:gd name="connsiteX15" fmla="*/ 541454 w 546522"/>
                    <a:gd name="connsiteY15" fmla="*/ 668051 h 723900"/>
                    <a:gd name="connsiteX16" fmla="*/ 457198 w 546522"/>
                    <a:gd name="connsiteY16" fmla="*/ 723900 h 723900"/>
                    <a:gd name="connsiteX17" fmla="*/ 91442 w 546522"/>
                    <a:gd name="connsiteY17" fmla="*/ 723900 h 723900"/>
                    <a:gd name="connsiteX18" fmla="*/ 0 w 546522"/>
                    <a:gd name="connsiteY18" fmla="*/ 632458 h 723900"/>
                    <a:gd name="connsiteX19" fmla="*/ 0 w 546522"/>
                    <a:gd name="connsiteY19" fmla="*/ 91442 h 723900"/>
                    <a:gd name="connsiteX20" fmla="*/ 91442 w 546522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541454 w 543605"/>
                    <a:gd name="connsiteY2" fmla="*/ 55849 h 723900"/>
                    <a:gd name="connsiteX3" fmla="*/ 432877 w 543605"/>
                    <a:gd name="connsiteY3" fmla="*/ 0 h 723900"/>
                    <a:gd name="connsiteX4" fmla="*/ 91442 w 543605"/>
                    <a:gd name="connsiteY4" fmla="*/ 0 h 723900"/>
                    <a:gd name="connsiteX5" fmla="*/ 294237 w 543605"/>
                    <a:gd name="connsiteY5" fmla="*/ 0 h 723900"/>
                    <a:gd name="connsiteX6" fmla="*/ 259248 w 543605"/>
                    <a:gd name="connsiteY6" fmla="*/ 99060 h 723900"/>
                    <a:gd name="connsiteX7" fmla="*/ 147939 w 543605"/>
                    <a:gd name="connsiteY7" fmla="*/ 99060 h 723900"/>
                    <a:gd name="connsiteX8" fmla="*/ 84747 w 543605"/>
                    <a:gd name="connsiteY8" fmla="*/ 162252 h 723900"/>
                    <a:gd name="connsiteX9" fmla="*/ 84747 w 543605"/>
                    <a:gd name="connsiteY9" fmla="*/ 561648 h 723900"/>
                    <a:gd name="connsiteX10" fmla="*/ 147939 w 543605"/>
                    <a:gd name="connsiteY10" fmla="*/ 624840 h 723900"/>
                    <a:gd name="connsiteX11" fmla="*/ 400702 w 543605"/>
                    <a:gd name="connsiteY11" fmla="*/ 624840 h 723900"/>
                    <a:gd name="connsiteX12" fmla="*/ 458928 w 543605"/>
                    <a:gd name="connsiteY12" fmla="*/ 586245 h 723900"/>
                    <a:gd name="connsiteX13" fmla="*/ 460480 w 543605"/>
                    <a:gd name="connsiteY13" fmla="*/ 578560 h 723900"/>
                    <a:gd name="connsiteX14" fmla="*/ 543605 w 543605"/>
                    <a:gd name="connsiteY14" fmla="*/ 657400 h 723900"/>
                    <a:gd name="connsiteX15" fmla="*/ 541454 w 543605"/>
                    <a:gd name="connsiteY15" fmla="*/ 668051 h 723900"/>
                    <a:gd name="connsiteX16" fmla="*/ 457198 w 543605"/>
                    <a:gd name="connsiteY16" fmla="*/ 723900 h 723900"/>
                    <a:gd name="connsiteX17" fmla="*/ 91442 w 543605"/>
                    <a:gd name="connsiteY17" fmla="*/ 723900 h 723900"/>
                    <a:gd name="connsiteX18" fmla="*/ 0 w 543605"/>
                    <a:gd name="connsiteY18" fmla="*/ 632458 h 723900"/>
                    <a:gd name="connsiteX19" fmla="*/ 0 w 543605"/>
                    <a:gd name="connsiteY19" fmla="*/ 91442 h 723900"/>
                    <a:gd name="connsiteX20" fmla="*/ 91442 w 543605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432877 w 543605"/>
                    <a:gd name="connsiteY2" fmla="*/ 0 h 723900"/>
                    <a:gd name="connsiteX3" fmla="*/ 91442 w 543605"/>
                    <a:gd name="connsiteY3" fmla="*/ 0 h 723900"/>
                    <a:gd name="connsiteX4" fmla="*/ 294237 w 543605"/>
                    <a:gd name="connsiteY4" fmla="*/ 0 h 723900"/>
                    <a:gd name="connsiteX5" fmla="*/ 259248 w 543605"/>
                    <a:gd name="connsiteY5" fmla="*/ 99060 h 723900"/>
                    <a:gd name="connsiteX6" fmla="*/ 147939 w 543605"/>
                    <a:gd name="connsiteY6" fmla="*/ 99060 h 723900"/>
                    <a:gd name="connsiteX7" fmla="*/ 84747 w 543605"/>
                    <a:gd name="connsiteY7" fmla="*/ 162252 h 723900"/>
                    <a:gd name="connsiteX8" fmla="*/ 84747 w 543605"/>
                    <a:gd name="connsiteY8" fmla="*/ 561648 h 723900"/>
                    <a:gd name="connsiteX9" fmla="*/ 147939 w 543605"/>
                    <a:gd name="connsiteY9" fmla="*/ 624840 h 723900"/>
                    <a:gd name="connsiteX10" fmla="*/ 400702 w 543605"/>
                    <a:gd name="connsiteY10" fmla="*/ 624840 h 723900"/>
                    <a:gd name="connsiteX11" fmla="*/ 458928 w 543605"/>
                    <a:gd name="connsiteY11" fmla="*/ 586245 h 723900"/>
                    <a:gd name="connsiteX12" fmla="*/ 460480 w 543605"/>
                    <a:gd name="connsiteY12" fmla="*/ 578560 h 723900"/>
                    <a:gd name="connsiteX13" fmla="*/ 543605 w 543605"/>
                    <a:gd name="connsiteY13" fmla="*/ 657400 h 723900"/>
                    <a:gd name="connsiteX14" fmla="*/ 541454 w 543605"/>
                    <a:gd name="connsiteY14" fmla="*/ 668051 h 723900"/>
                    <a:gd name="connsiteX15" fmla="*/ 457198 w 543605"/>
                    <a:gd name="connsiteY15" fmla="*/ 723900 h 723900"/>
                    <a:gd name="connsiteX16" fmla="*/ 91442 w 543605"/>
                    <a:gd name="connsiteY16" fmla="*/ 723900 h 723900"/>
                    <a:gd name="connsiteX17" fmla="*/ 0 w 543605"/>
                    <a:gd name="connsiteY17" fmla="*/ 632458 h 723900"/>
                    <a:gd name="connsiteX18" fmla="*/ 0 w 543605"/>
                    <a:gd name="connsiteY18" fmla="*/ 91442 h 723900"/>
                    <a:gd name="connsiteX19" fmla="*/ 91442 w 543605"/>
                    <a:gd name="connsiteY19" fmla="*/ 0 h 723900"/>
                    <a:gd name="connsiteX0" fmla="*/ 91442 w 543605"/>
                    <a:gd name="connsiteY0" fmla="*/ 0 h 723900"/>
                    <a:gd name="connsiteX1" fmla="*/ 294237 w 543605"/>
                    <a:gd name="connsiteY1" fmla="*/ 0 h 723900"/>
                    <a:gd name="connsiteX2" fmla="*/ 259248 w 543605"/>
                    <a:gd name="connsiteY2" fmla="*/ 99060 h 723900"/>
                    <a:gd name="connsiteX3" fmla="*/ 147939 w 543605"/>
                    <a:gd name="connsiteY3" fmla="*/ 99060 h 723900"/>
                    <a:gd name="connsiteX4" fmla="*/ 84747 w 543605"/>
                    <a:gd name="connsiteY4" fmla="*/ 162252 h 723900"/>
                    <a:gd name="connsiteX5" fmla="*/ 84747 w 543605"/>
                    <a:gd name="connsiteY5" fmla="*/ 561648 h 723900"/>
                    <a:gd name="connsiteX6" fmla="*/ 147939 w 543605"/>
                    <a:gd name="connsiteY6" fmla="*/ 624840 h 723900"/>
                    <a:gd name="connsiteX7" fmla="*/ 400702 w 543605"/>
                    <a:gd name="connsiteY7" fmla="*/ 624840 h 723900"/>
                    <a:gd name="connsiteX8" fmla="*/ 458928 w 543605"/>
                    <a:gd name="connsiteY8" fmla="*/ 586245 h 723900"/>
                    <a:gd name="connsiteX9" fmla="*/ 460480 w 543605"/>
                    <a:gd name="connsiteY9" fmla="*/ 578560 h 723900"/>
                    <a:gd name="connsiteX10" fmla="*/ 543605 w 543605"/>
                    <a:gd name="connsiteY10" fmla="*/ 657400 h 723900"/>
                    <a:gd name="connsiteX11" fmla="*/ 541454 w 543605"/>
                    <a:gd name="connsiteY11" fmla="*/ 668051 h 723900"/>
                    <a:gd name="connsiteX12" fmla="*/ 457198 w 543605"/>
                    <a:gd name="connsiteY12" fmla="*/ 723900 h 723900"/>
                    <a:gd name="connsiteX13" fmla="*/ 91442 w 543605"/>
                    <a:gd name="connsiteY13" fmla="*/ 723900 h 723900"/>
                    <a:gd name="connsiteX14" fmla="*/ 0 w 543605"/>
                    <a:gd name="connsiteY14" fmla="*/ 632458 h 723900"/>
                    <a:gd name="connsiteX15" fmla="*/ 0 w 543605"/>
                    <a:gd name="connsiteY15" fmla="*/ 91442 h 723900"/>
                    <a:gd name="connsiteX16" fmla="*/ 91442 w 543605"/>
                    <a:gd name="connsiteY1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43605" h="723900">
                      <a:moveTo>
                        <a:pt x="91442" y="0"/>
                      </a:moveTo>
                      <a:lnTo>
                        <a:pt x="294237" y="0"/>
                      </a:lnTo>
                      <a:lnTo>
                        <a:pt x="259248" y="99060"/>
                      </a:lnTo>
                      <a:lnTo>
                        <a:pt x="147939" y="99060"/>
                      </a:lnTo>
                      <a:cubicBezTo>
                        <a:pt x="113039" y="99060"/>
                        <a:pt x="84747" y="127352"/>
                        <a:pt x="84747" y="162252"/>
                      </a:cubicBezTo>
                      <a:lnTo>
                        <a:pt x="84747" y="561648"/>
                      </a:lnTo>
                      <a:cubicBezTo>
                        <a:pt x="84747" y="596548"/>
                        <a:pt x="113039" y="624840"/>
                        <a:pt x="147939" y="624840"/>
                      </a:cubicBezTo>
                      <a:lnTo>
                        <a:pt x="400702" y="624840"/>
                      </a:lnTo>
                      <a:cubicBezTo>
                        <a:pt x="426877" y="624840"/>
                        <a:pt x="449335" y="608926"/>
                        <a:pt x="458928" y="586245"/>
                      </a:cubicBezTo>
                      <a:lnTo>
                        <a:pt x="460480" y="578560"/>
                      </a:lnTo>
                      <a:lnTo>
                        <a:pt x="543605" y="657400"/>
                      </a:lnTo>
                      <a:lnTo>
                        <a:pt x="541454" y="668051"/>
                      </a:lnTo>
                      <a:cubicBezTo>
                        <a:pt x="527573" y="700871"/>
                        <a:pt x="495075" y="723900"/>
                        <a:pt x="457198" y="723900"/>
                      </a:cubicBezTo>
                      <a:lnTo>
                        <a:pt x="91442" y="723900"/>
                      </a:lnTo>
                      <a:cubicBezTo>
                        <a:pt x="40940" y="723900"/>
                        <a:pt x="0" y="682960"/>
                        <a:pt x="0" y="632458"/>
                      </a:cubicBezTo>
                      <a:lnTo>
                        <a:pt x="0" y="91442"/>
                      </a:lnTo>
                      <a:cubicBezTo>
                        <a:pt x="0" y="40940"/>
                        <a:pt x="40940" y="0"/>
                        <a:pt x="9144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1" name="Rectangle 20"/>
                <p:cNvSpPr/>
                <p:nvPr/>
              </p:nvSpPr>
              <p:spPr>
                <a:xfrm>
                  <a:off x="3267940" y="1957742"/>
                  <a:ext cx="878380" cy="946077"/>
                </a:xfrm>
                <a:custGeom>
                  <a:avLst/>
                  <a:gdLst>
                    <a:gd name="connsiteX0" fmla="*/ 0 w 910858"/>
                    <a:gd name="connsiteY0" fmla="*/ 0 h 1112520"/>
                    <a:gd name="connsiteX1" fmla="*/ 9108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10858"/>
                    <a:gd name="connsiteY0" fmla="*/ 0 h 1112520"/>
                    <a:gd name="connsiteX1" fmla="*/ 8727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94678"/>
                    <a:gd name="connsiteY0" fmla="*/ 0 h 1112520"/>
                    <a:gd name="connsiteX1" fmla="*/ 872758 w 994678"/>
                    <a:gd name="connsiteY1" fmla="*/ 0 h 1112520"/>
                    <a:gd name="connsiteX2" fmla="*/ 994678 w 994678"/>
                    <a:gd name="connsiteY2" fmla="*/ 68580 h 1112520"/>
                    <a:gd name="connsiteX3" fmla="*/ 0 w 994678"/>
                    <a:gd name="connsiteY3" fmla="*/ 1112520 h 1112520"/>
                    <a:gd name="connsiteX4" fmla="*/ 0 w 994678"/>
                    <a:gd name="connsiteY4" fmla="*/ 0 h 1112520"/>
                    <a:gd name="connsiteX0" fmla="*/ 0 w 994678"/>
                    <a:gd name="connsiteY0" fmla="*/ 0 h 883920"/>
                    <a:gd name="connsiteX1" fmla="*/ 872758 w 994678"/>
                    <a:gd name="connsiteY1" fmla="*/ 0 h 883920"/>
                    <a:gd name="connsiteX2" fmla="*/ 994678 w 994678"/>
                    <a:gd name="connsiteY2" fmla="*/ 68580 h 883920"/>
                    <a:gd name="connsiteX3" fmla="*/ 434340 w 994678"/>
                    <a:gd name="connsiteY3" fmla="*/ 883920 h 883920"/>
                    <a:gd name="connsiteX4" fmla="*/ 0 w 994678"/>
                    <a:gd name="connsiteY4" fmla="*/ 0 h 883920"/>
                    <a:gd name="connsiteX0" fmla="*/ 7620 w 560338"/>
                    <a:gd name="connsiteY0" fmla="*/ 548640 h 883920"/>
                    <a:gd name="connsiteX1" fmla="*/ 438418 w 560338"/>
                    <a:gd name="connsiteY1" fmla="*/ 0 h 883920"/>
                    <a:gd name="connsiteX2" fmla="*/ 560338 w 560338"/>
                    <a:gd name="connsiteY2" fmla="*/ 68580 h 883920"/>
                    <a:gd name="connsiteX3" fmla="*/ 0 w 560338"/>
                    <a:gd name="connsiteY3" fmla="*/ 883920 h 883920"/>
                    <a:gd name="connsiteX4" fmla="*/ 7620 w 560338"/>
                    <a:gd name="connsiteY4" fmla="*/ 548640 h 883920"/>
                    <a:gd name="connsiteX0" fmla="*/ 18782 w 571500"/>
                    <a:gd name="connsiteY0" fmla="*/ 548640 h 883920"/>
                    <a:gd name="connsiteX1" fmla="*/ 449580 w 571500"/>
                    <a:gd name="connsiteY1" fmla="*/ 0 h 883920"/>
                    <a:gd name="connsiteX2" fmla="*/ 571500 w 571500"/>
                    <a:gd name="connsiteY2" fmla="*/ 68580 h 883920"/>
                    <a:gd name="connsiteX3" fmla="*/ 11162 w 571500"/>
                    <a:gd name="connsiteY3" fmla="*/ 883920 h 883920"/>
                    <a:gd name="connsiteX4" fmla="*/ 0 w 571500"/>
                    <a:gd name="connsiteY4" fmla="*/ 739140 h 883920"/>
                    <a:gd name="connsiteX5" fmla="*/ 18782 w 5715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0 w 800100"/>
                    <a:gd name="connsiteY4" fmla="*/ 472440 h 883920"/>
                    <a:gd name="connsiteX5" fmla="*/ 247382 w 8001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129540 w 800100"/>
                    <a:gd name="connsiteY4" fmla="*/ 678180 h 883920"/>
                    <a:gd name="connsiteX5" fmla="*/ 0 w 800100"/>
                    <a:gd name="connsiteY5" fmla="*/ 472440 h 883920"/>
                    <a:gd name="connsiteX6" fmla="*/ 247382 w 8001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31596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27024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23582 w 876300"/>
                    <a:gd name="connsiteY6" fmla="*/ 548640 h 914400"/>
                    <a:gd name="connsiteX0" fmla="*/ 308342 w 876300"/>
                    <a:gd name="connsiteY0" fmla="*/ 60198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08342 w 876300"/>
                    <a:gd name="connsiteY6" fmla="*/ 601980 h 914400"/>
                    <a:gd name="connsiteX0" fmla="*/ 308342 w 876300"/>
                    <a:gd name="connsiteY0" fmla="*/ 601980 h 876300"/>
                    <a:gd name="connsiteX1" fmla="*/ 754380 w 876300"/>
                    <a:gd name="connsiteY1" fmla="*/ 0 h 876300"/>
                    <a:gd name="connsiteX2" fmla="*/ 876300 w 876300"/>
                    <a:gd name="connsiteY2" fmla="*/ 68580 h 876300"/>
                    <a:gd name="connsiteX3" fmla="*/ 285482 w 876300"/>
                    <a:gd name="connsiteY3" fmla="*/ 876300 h 876300"/>
                    <a:gd name="connsiteX4" fmla="*/ 0 w 876300"/>
                    <a:gd name="connsiteY4" fmla="*/ 609600 h 876300"/>
                    <a:gd name="connsiteX5" fmla="*/ 76200 w 876300"/>
                    <a:gd name="connsiteY5" fmla="*/ 472440 h 876300"/>
                    <a:gd name="connsiteX6" fmla="*/ 308342 w 876300"/>
                    <a:gd name="connsiteY6" fmla="*/ 601980 h 876300"/>
                    <a:gd name="connsiteX0" fmla="*/ 331202 w 899160"/>
                    <a:gd name="connsiteY0" fmla="*/ 60198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31202 w 899160"/>
                    <a:gd name="connsiteY6" fmla="*/ 601980 h 876300"/>
                    <a:gd name="connsiteX0" fmla="*/ 323582 w 899160"/>
                    <a:gd name="connsiteY0" fmla="*/ 65532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23582 w 899160"/>
                    <a:gd name="connsiteY6" fmla="*/ 655320 h 876300"/>
                    <a:gd name="connsiteX0" fmla="*/ 323582 w 899160"/>
                    <a:gd name="connsiteY0" fmla="*/ 67056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70560 h 891540"/>
                    <a:gd name="connsiteX0" fmla="*/ 323582 w 899160"/>
                    <a:gd name="connsiteY0" fmla="*/ 64008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40080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283538 w 899160"/>
                    <a:gd name="connsiteY6" fmla="*/ 700339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67025 w 899160"/>
                    <a:gd name="connsiteY5" fmla="*/ 514462 h 891540"/>
                    <a:gd name="connsiteX6" fmla="*/ 283538 w 899160"/>
                    <a:gd name="connsiteY6" fmla="*/ 700339 h 891540"/>
                    <a:gd name="connsiteX0" fmla="*/ 283538 w 891151"/>
                    <a:gd name="connsiteY0" fmla="*/ 700339 h 891540"/>
                    <a:gd name="connsiteX1" fmla="*/ 746760 w 891151"/>
                    <a:gd name="connsiteY1" fmla="*/ 0 h 891540"/>
                    <a:gd name="connsiteX2" fmla="*/ 891151 w 891151"/>
                    <a:gd name="connsiteY2" fmla="*/ 150774 h 891540"/>
                    <a:gd name="connsiteX3" fmla="*/ 308342 w 891151"/>
                    <a:gd name="connsiteY3" fmla="*/ 891540 h 891540"/>
                    <a:gd name="connsiteX4" fmla="*/ 0 w 891151"/>
                    <a:gd name="connsiteY4" fmla="*/ 647700 h 891540"/>
                    <a:gd name="connsiteX5" fmla="*/ 67025 w 891151"/>
                    <a:gd name="connsiteY5" fmla="*/ 514462 h 891540"/>
                    <a:gd name="connsiteX6" fmla="*/ 283538 w 891151"/>
                    <a:gd name="connsiteY6" fmla="*/ 700339 h 891540"/>
                    <a:gd name="connsiteX0" fmla="*/ 283538 w 891151"/>
                    <a:gd name="connsiteY0" fmla="*/ 640080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83538 w 891151"/>
                    <a:gd name="connsiteY6" fmla="*/ 640080 h 831281"/>
                    <a:gd name="connsiteX0" fmla="*/ 275530 w 891151"/>
                    <a:gd name="connsiteY0" fmla="*/ 599908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75530 w 891151"/>
                    <a:gd name="connsiteY6" fmla="*/ 599908 h 831281"/>
                    <a:gd name="connsiteX0" fmla="*/ 307565 w 923186"/>
                    <a:gd name="connsiteY0" fmla="*/ 599908 h 831281"/>
                    <a:gd name="connsiteX1" fmla="*/ 762778 w 923186"/>
                    <a:gd name="connsiteY1" fmla="*/ 0 h 831281"/>
                    <a:gd name="connsiteX2" fmla="*/ 923186 w 923186"/>
                    <a:gd name="connsiteY2" fmla="*/ 90515 h 831281"/>
                    <a:gd name="connsiteX3" fmla="*/ 340377 w 923186"/>
                    <a:gd name="connsiteY3" fmla="*/ 831281 h 831281"/>
                    <a:gd name="connsiteX4" fmla="*/ 0 w 923186"/>
                    <a:gd name="connsiteY4" fmla="*/ 620918 h 831281"/>
                    <a:gd name="connsiteX5" fmla="*/ 99060 w 923186"/>
                    <a:gd name="connsiteY5" fmla="*/ 454203 h 831281"/>
                    <a:gd name="connsiteX6" fmla="*/ 307565 w 923186"/>
                    <a:gd name="connsiteY6" fmla="*/ 599908 h 831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3186" h="831281">
                      <a:moveTo>
                        <a:pt x="307565" y="599908"/>
                      </a:moveTo>
                      <a:lnTo>
                        <a:pt x="762778" y="0"/>
                      </a:lnTo>
                      <a:lnTo>
                        <a:pt x="923186" y="90515"/>
                      </a:lnTo>
                      <a:lnTo>
                        <a:pt x="340377" y="831281"/>
                      </a:lnTo>
                      <a:lnTo>
                        <a:pt x="0" y="620918"/>
                      </a:lnTo>
                      <a:lnTo>
                        <a:pt x="99060" y="454203"/>
                      </a:lnTo>
                      <a:lnTo>
                        <a:pt x="307565" y="5999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41" name="Group 40"/>
              <p:cNvGrpSpPr/>
              <p:nvPr/>
            </p:nvGrpSpPr>
            <p:grpSpPr>
              <a:xfrm>
                <a:off x="4060893" y="2430780"/>
                <a:ext cx="1403798" cy="430745"/>
                <a:chOff x="4043965" y="2430780"/>
                <a:chExt cx="1403798" cy="430745"/>
              </a:xfrm>
              <a:grpFill/>
            </p:grpSpPr>
            <p:sp>
              <p:nvSpPr>
                <p:cNvPr id="48" name="Rectangle 47"/>
                <p:cNvSpPr/>
                <p:nvPr/>
              </p:nvSpPr>
              <p:spPr>
                <a:xfrm>
                  <a:off x="4043966" y="243078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9" name="Rectangle 48"/>
                <p:cNvSpPr/>
                <p:nvPr/>
              </p:nvSpPr>
              <p:spPr>
                <a:xfrm>
                  <a:off x="4043965" y="271653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42" name="Group 41"/>
              <p:cNvGrpSpPr/>
              <p:nvPr/>
            </p:nvGrpSpPr>
            <p:grpSpPr>
              <a:xfrm>
                <a:off x="4060893" y="3771968"/>
                <a:ext cx="1403798" cy="430745"/>
                <a:chOff x="4043965" y="2430780"/>
                <a:chExt cx="1403798" cy="430745"/>
              </a:xfrm>
              <a:grpFill/>
            </p:grpSpPr>
            <p:sp>
              <p:nvSpPr>
                <p:cNvPr id="46" name="Rectangle 45"/>
                <p:cNvSpPr/>
                <p:nvPr/>
              </p:nvSpPr>
              <p:spPr>
                <a:xfrm>
                  <a:off x="4043966" y="243078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7" name="Rectangle 46"/>
                <p:cNvSpPr/>
                <p:nvPr/>
              </p:nvSpPr>
              <p:spPr>
                <a:xfrm>
                  <a:off x="4043965" y="271653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43" name="Group 42"/>
              <p:cNvGrpSpPr/>
              <p:nvPr/>
            </p:nvGrpSpPr>
            <p:grpSpPr>
              <a:xfrm>
                <a:off x="4060893" y="5113157"/>
                <a:ext cx="1403798" cy="430745"/>
                <a:chOff x="4043965" y="2430780"/>
                <a:chExt cx="1403798" cy="430745"/>
              </a:xfrm>
              <a:grpFill/>
            </p:grpSpPr>
            <p:sp>
              <p:nvSpPr>
                <p:cNvPr id="44" name="Rectangle 43"/>
                <p:cNvSpPr/>
                <p:nvPr/>
              </p:nvSpPr>
              <p:spPr>
                <a:xfrm>
                  <a:off x="4043966" y="243078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5" name="Rectangle 44"/>
                <p:cNvSpPr/>
                <p:nvPr/>
              </p:nvSpPr>
              <p:spPr>
                <a:xfrm>
                  <a:off x="4043965" y="271653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</p:grpSp>
        <p:grpSp>
          <p:nvGrpSpPr>
            <p:cNvPr id="29" name="Group 28"/>
            <p:cNvGrpSpPr/>
            <p:nvPr/>
          </p:nvGrpSpPr>
          <p:grpSpPr>
            <a:xfrm rot="21219949">
              <a:off x="4596429" y="4634545"/>
              <a:ext cx="421721" cy="387807"/>
              <a:chOff x="7862023" y="5744193"/>
              <a:chExt cx="561310" cy="516172"/>
            </a:xfrm>
            <a:grpFill/>
          </p:grpSpPr>
          <p:sp>
            <p:nvSpPr>
              <p:cNvPr id="30" name="Round Same Side Corner Rectangle 29"/>
              <p:cNvSpPr/>
              <p:nvPr/>
            </p:nvSpPr>
            <p:spPr>
              <a:xfrm rot="2819098">
                <a:off x="8360133" y="5766821"/>
                <a:ext cx="85827" cy="4057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Rectangle 87"/>
              <p:cNvSpPr/>
              <p:nvPr/>
            </p:nvSpPr>
            <p:spPr>
              <a:xfrm rot="18993470">
                <a:off x="8258931" y="5801083"/>
                <a:ext cx="138649" cy="102307"/>
              </a:xfrm>
              <a:custGeom>
                <a:avLst/>
                <a:gdLst>
                  <a:gd name="connsiteX0" fmla="*/ 0 w 1067195"/>
                  <a:gd name="connsiteY0" fmla="*/ 0 h 767452"/>
                  <a:gd name="connsiteX1" fmla="*/ 1067195 w 1067195"/>
                  <a:gd name="connsiteY1" fmla="*/ 0 h 767452"/>
                  <a:gd name="connsiteX2" fmla="*/ 1067195 w 1067195"/>
                  <a:gd name="connsiteY2" fmla="*/ 767452 h 767452"/>
                  <a:gd name="connsiteX3" fmla="*/ 0 w 1067195"/>
                  <a:gd name="connsiteY3" fmla="*/ 767452 h 767452"/>
                  <a:gd name="connsiteX4" fmla="*/ 0 w 1067195"/>
                  <a:gd name="connsiteY4" fmla="*/ 0 h 767452"/>
                  <a:gd name="connsiteX0" fmla="*/ 0 w 1077007"/>
                  <a:gd name="connsiteY0" fmla="*/ 0 h 767452"/>
                  <a:gd name="connsiteX1" fmla="*/ 1077007 w 1077007"/>
                  <a:gd name="connsiteY1" fmla="*/ 4141 h 767452"/>
                  <a:gd name="connsiteX2" fmla="*/ 1067195 w 1077007"/>
                  <a:gd name="connsiteY2" fmla="*/ 767452 h 767452"/>
                  <a:gd name="connsiteX3" fmla="*/ 0 w 1077007"/>
                  <a:gd name="connsiteY3" fmla="*/ 767452 h 767452"/>
                  <a:gd name="connsiteX4" fmla="*/ 0 w 1077007"/>
                  <a:gd name="connsiteY4" fmla="*/ 0 h 767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77007" h="767452">
                    <a:moveTo>
                      <a:pt x="0" y="0"/>
                    </a:moveTo>
                    <a:lnTo>
                      <a:pt x="1077007" y="4141"/>
                    </a:lnTo>
                    <a:lnTo>
                      <a:pt x="1067195" y="767452"/>
                    </a:lnTo>
                    <a:lnTo>
                      <a:pt x="0" y="76745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tangle 88"/>
              <p:cNvSpPr/>
              <p:nvPr/>
            </p:nvSpPr>
            <p:spPr>
              <a:xfrm rot="18964861">
                <a:off x="8385144" y="5858800"/>
                <a:ext cx="34828" cy="40222"/>
              </a:xfrm>
              <a:custGeom>
                <a:avLst/>
                <a:gdLst>
                  <a:gd name="connsiteX0" fmla="*/ 0 w 270532"/>
                  <a:gd name="connsiteY0" fmla="*/ 0 h 333375"/>
                  <a:gd name="connsiteX1" fmla="*/ 270532 w 270532"/>
                  <a:gd name="connsiteY1" fmla="*/ 0 h 333375"/>
                  <a:gd name="connsiteX2" fmla="*/ 270532 w 270532"/>
                  <a:gd name="connsiteY2" fmla="*/ 333375 h 333375"/>
                  <a:gd name="connsiteX3" fmla="*/ 0 w 270532"/>
                  <a:gd name="connsiteY3" fmla="*/ 333375 h 333375"/>
                  <a:gd name="connsiteX4" fmla="*/ 0 w 270532"/>
                  <a:gd name="connsiteY4" fmla="*/ 0 h 333375"/>
                  <a:gd name="connsiteX0" fmla="*/ 0 w 270532"/>
                  <a:gd name="connsiteY0" fmla="*/ 0 h 333375"/>
                  <a:gd name="connsiteX1" fmla="*/ 270532 w 270532"/>
                  <a:gd name="connsiteY1" fmla="*/ 0 h 333375"/>
                  <a:gd name="connsiteX2" fmla="*/ 256354 w 270532"/>
                  <a:gd name="connsiteY2" fmla="*/ 301734 h 333375"/>
                  <a:gd name="connsiteX3" fmla="*/ 0 w 270532"/>
                  <a:gd name="connsiteY3" fmla="*/ 333375 h 333375"/>
                  <a:gd name="connsiteX4" fmla="*/ 0 w 270532"/>
                  <a:gd name="connsiteY4" fmla="*/ 0 h 333375"/>
                  <a:gd name="connsiteX0" fmla="*/ 0 w 270532"/>
                  <a:gd name="connsiteY0" fmla="*/ 0 h 301734"/>
                  <a:gd name="connsiteX1" fmla="*/ 270532 w 270532"/>
                  <a:gd name="connsiteY1" fmla="*/ 0 h 301734"/>
                  <a:gd name="connsiteX2" fmla="*/ 256354 w 270532"/>
                  <a:gd name="connsiteY2" fmla="*/ 301734 h 301734"/>
                  <a:gd name="connsiteX3" fmla="*/ 21107 w 270532"/>
                  <a:gd name="connsiteY3" fmla="*/ 284491 h 301734"/>
                  <a:gd name="connsiteX4" fmla="*/ 0 w 270532"/>
                  <a:gd name="connsiteY4" fmla="*/ 0 h 301734"/>
                  <a:gd name="connsiteX0" fmla="*/ 0 w 270532"/>
                  <a:gd name="connsiteY0" fmla="*/ 0 h 301734"/>
                  <a:gd name="connsiteX1" fmla="*/ 270532 w 270532"/>
                  <a:gd name="connsiteY1" fmla="*/ 0 h 301734"/>
                  <a:gd name="connsiteX2" fmla="*/ 256354 w 270532"/>
                  <a:gd name="connsiteY2" fmla="*/ 301734 h 301734"/>
                  <a:gd name="connsiteX3" fmla="*/ 18040 w 270532"/>
                  <a:gd name="connsiteY3" fmla="*/ 280847 h 301734"/>
                  <a:gd name="connsiteX4" fmla="*/ 0 w 270532"/>
                  <a:gd name="connsiteY4" fmla="*/ 0 h 301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532" h="301734">
                    <a:moveTo>
                      <a:pt x="0" y="0"/>
                    </a:moveTo>
                    <a:lnTo>
                      <a:pt x="270532" y="0"/>
                    </a:lnTo>
                    <a:lnTo>
                      <a:pt x="256354" y="301734"/>
                    </a:lnTo>
                    <a:lnTo>
                      <a:pt x="18040" y="28084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tangle 89"/>
              <p:cNvSpPr/>
              <p:nvPr/>
            </p:nvSpPr>
            <p:spPr>
              <a:xfrm rot="3060000">
                <a:off x="8298191" y="5848534"/>
                <a:ext cx="23943" cy="220137"/>
              </a:xfrm>
              <a:custGeom>
                <a:avLst/>
                <a:gdLst>
                  <a:gd name="connsiteX0" fmla="*/ 0 w 111898"/>
                  <a:gd name="connsiteY0" fmla="*/ 0 h 1644627"/>
                  <a:gd name="connsiteX1" fmla="*/ 111898 w 111898"/>
                  <a:gd name="connsiteY1" fmla="*/ 0 h 1644627"/>
                  <a:gd name="connsiteX2" fmla="*/ 111898 w 111898"/>
                  <a:gd name="connsiteY2" fmla="*/ 1644627 h 1644627"/>
                  <a:gd name="connsiteX3" fmla="*/ 0 w 111898"/>
                  <a:gd name="connsiteY3" fmla="*/ 1644627 h 1644627"/>
                  <a:gd name="connsiteX4" fmla="*/ 0 w 111898"/>
                  <a:gd name="connsiteY4" fmla="*/ 0 h 1644627"/>
                  <a:gd name="connsiteX0" fmla="*/ 0 w 148942"/>
                  <a:gd name="connsiteY0" fmla="*/ 23574 h 1668201"/>
                  <a:gd name="connsiteX1" fmla="*/ 148942 w 148942"/>
                  <a:gd name="connsiteY1" fmla="*/ 0 h 1668201"/>
                  <a:gd name="connsiteX2" fmla="*/ 111898 w 148942"/>
                  <a:gd name="connsiteY2" fmla="*/ 1668201 h 1668201"/>
                  <a:gd name="connsiteX3" fmla="*/ 0 w 148942"/>
                  <a:gd name="connsiteY3" fmla="*/ 1668201 h 1668201"/>
                  <a:gd name="connsiteX4" fmla="*/ 0 w 148942"/>
                  <a:gd name="connsiteY4" fmla="*/ 23574 h 1668201"/>
                  <a:gd name="connsiteX0" fmla="*/ 0 w 185985"/>
                  <a:gd name="connsiteY0" fmla="*/ 26941 h 1668201"/>
                  <a:gd name="connsiteX1" fmla="*/ 185985 w 185985"/>
                  <a:gd name="connsiteY1" fmla="*/ 0 h 1668201"/>
                  <a:gd name="connsiteX2" fmla="*/ 148941 w 185985"/>
                  <a:gd name="connsiteY2" fmla="*/ 1668201 h 1668201"/>
                  <a:gd name="connsiteX3" fmla="*/ 37043 w 185985"/>
                  <a:gd name="connsiteY3" fmla="*/ 1668201 h 1668201"/>
                  <a:gd name="connsiteX4" fmla="*/ 0 w 185985"/>
                  <a:gd name="connsiteY4" fmla="*/ 26941 h 1668201"/>
                  <a:gd name="connsiteX0" fmla="*/ 0 w 185985"/>
                  <a:gd name="connsiteY0" fmla="*/ 26941 h 1668201"/>
                  <a:gd name="connsiteX1" fmla="*/ 185985 w 185985"/>
                  <a:gd name="connsiteY1" fmla="*/ 0 h 1668201"/>
                  <a:gd name="connsiteX2" fmla="*/ 145574 w 185985"/>
                  <a:gd name="connsiteY2" fmla="*/ 1631158 h 1668201"/>
                  <a:gd name="connsiteX3" fmla="*/ 37043 w 185985"/>
                  <a:gd name="connsiteY3" fmla="*/ 1668201 h 1668201"/>
                  <a:gd name="connsiteX4" fmla="*/ 0 w 185985"/>
                  <a:gd name="connsiteY4" fmla="*/ 26941 h 1668201"/>
                  <a:gd name="connsiteX0" fmla="*/ 0 w 185985"/>
                  <a:gd name="connsiteY0" fmla="*/ 26941 h 1651362"/>
                  <a:gd name="connsiteX1" fmla="*/ 185985 w 185985"/>
                  <a:gd name="connsiteY1" fmla="*/ 0 h 1651362"/>
                  <a:gd name="connsiteX2" fmla="*/ 145574 w 185985"/>
                  <a:gd name="connsiteY2" fmla="*/ 1631158 h 1651362"/>
                  <a:gd name="connsiteX3" fmla="*/ 67352 w 185985"/>
                  <a:gd name="connsiteY3" fmla="*/ 1651362 h 1651362"/>
                  <a:gd name="connsiteX4" fmla="*/ 0 w 185985"/>
                  <a:gd name="connsiteY4" fmla="*/ 26941 h 1651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985" h="1651362">
                    <a:moveTo>
                      <a:pt x="0" y="26941"/>
                    </a:moveTo>
                    <a:lnTo>
                      <a:pt x="185985" y="0"/>
                    </a:lnTo>
                    <a:lnTo>
                      <a:pt x="145574" y="1631158"/>
                    </a:lnTo>
                    <a:lnTo>
                      <a:pt x="67352" y="1651362"/>
                    </a:lnTo>
                    <a:lnTo>
                      <a:pt x="0" y="26941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Rectangle 109"/>
              <p:cNvSpPr/>
              <p:nvPr/>
            </p:nvSpPr>
            <p:spPr>
              <a:xfrm rot="19015320">
                <a:off x="7883921" y="6003368"/>
                <a:ext cx="441960" cy="100976"/>
              </a:xfrm>
              <a:custGeom>
                <a:avLst/>
                <a:gdLst>
                  <a:gd name="connsiteX0" fmla="*/ 0 w 3429000"/>
                  <a:gd name="connsiteY0" fmla="*/ 0 h 772673"/>
                  <a:gd name="connsiteX1" fmla="*/ 3429000 w 3429000"/>
                  <a:gd name="connsiteY1" fmla="*/ 0 h 772673"/>
                  <a:gd name="connsiteX2" fmla="*/ 3429000 w 3429000"/>
                  <a:gd name="connsiteY2" fmla="*/ 772673 h 772673"/>
                  <a:gd name="connsiteX3" fmla="*/ 0 w 3429000"/>
                  <a:gd name="connsiteY3" fmla="*/ 772673 h 772673"/>
                  <a:gd name="connsiteX4" fmla="*/ 0 w 3429000"/>
                  <a:gd name="connsiteY4" fmla="*/ 0 h 772673"/>
                  <a:gd name="connsiteX0" fmla="*/ 18453 w 3447453"/>
                  <a:gd name="connsiteY0" fmla="*/ 0 h 772673"/>
                  <a:gd name="connsiteX1" fmla="*/ 3447453 w 3447453"/>
                  <a:gd name="connsiteY1" fmla="*/ 0 h 772673"/>
                  <a:gd name="connsiteX2" fmla="*/ 3447453 w 3447453"/>
                  <a:gd name="connsiteY2" fmla="*/ 772673 h 772673"/>
                  <a:gd name="connsiteX3" fmla="*/ 0 w 3447453"/>
                  <a:gd name="connsiteY3" fmla="*/ 576890 h 772673"/>
                  <a:gd name="connsiteX4" fmla="*/ 18453 w 3447453"/>
                  <a:gd name="connsiteY4" fmla="*/ 0 h 772673"/>
                  <a:gd name="connsiteX0" fmla="*/ 28456 w 3447453"/>
                  <a:gd name="connsiteY0" fmla="*/ 162768 h 772673"/>
                  <a:gd name="connsiteX1" fmla="*/ 3447453 w 3447453"/>
                  <a:gd name="connsiteY1" fmla="*/ 0 h 772673"/>
                  <a:gd name="connsiteX2" fmla="*/ 3447453 w 3447453"/>
                  <a:gd name="connsiteY2" fmla="*/ 772673 h 772673"/>
                  <a:gd name="connsiteX3" fmla="*/ 0 w 3447453"/>
                  <a:gd name="connsiteY3" fmla="*/ 576890 h 772673"/>
                  <a:gd name="connsiteX4" fmla="*/ 28456 w 3447453"/>
                  <a:gd name="connsiteY4" fmla="*/ 162768 h 772673"/>
                  <a:gd name="connsiteX0" fmla="*/ 28456 w 3447453"/>
                  <a:gd name="connsiteY0" fmla="*/ 161327 h 771232"/>
                  <a:gd name="connsiteX1" fmla="*/ 3436096 w 3447453"/>
                  <a:gd name="connsiteY1" fmla="*/ 0 h 771232"/>
                  <a:gd name="connsiteX2" fmla="*/ 3447453 w 3447453"/>
                  <a:gd name="connsiteY2" fmla="*/ 771232 h 771232"/>
                  <a:gd name="connsiteX3" fmla="*/ 0 w 3447453"/>
                  <a:gd name="connsiteY3" fmla="*/ 575449 h 771232"/>
                  <a:gd name="connsiteX4" fmla="*/ 28456 w 3447453"/>
                  <a:gd name="connsiteY4" fmla="*/ 161327 h 771232"/>
                  <a:gd name="connsiteX0" fmla="*/ 28456 w 3443932"/>
                  <a:gd name="connsiteY0" fmla="*/ 161327 h 757477"/>
                  <a:gd name="connsiteX1" fmla="*/ 3436096 w 3443932"/>
                  <a:gd name="connsiteY1" fmla="*/ 0 h 757477"/>
                  <a:gd name="connsiteX2" fmla="*/ 3443932 w 3443932"/>
                  <a:gd name="connsiteY2" fmla="*/ 757477 h 757477"/>
                  <a:gd name="connsiteX3" fmla="*/ 0 w 3443932"/>
                  <a:gd name="connsiteY3" fmla="*/ 575449 h 757477"/>
                  <a:gd name="connsiteX4" fmla="*/ 28456 w 3443932"/>
                  <a:gd name="connsiteY4" fmla="*/ 161327 h 757477"/>
                  <a:gd name="connsiteX0" fmla="*/ 22217 w 3443932"/>
                  <a:gd name="connsiteY0" fmla="*/ 154130 h 757477"/>
                  <a:gd name="connsiteX1" fmla="*/ 3436096 w 3443932"/>
                  <a:gd name="connsiteY1" fmla="*/ 0 h 757477"/>
                  <a:gd name="connsiteX2" fmla="*/ 3443932 w 3443932"/>
                  <a:gd name="connsiteY2" fmla="*/ 757477 h 757477"/>
                  <a:gd name="connsiteX3" fmla="*/ 0 w 3443932"/>
                  <a:gd name="connsiteY3" fmla="*/ 575449 h 757477"/>
                  <a:gd name="connsiteX4" fmla="*/ 22217 w 3443932"/>
                  <a:gd name="connsiteY4" fmla="*/ 154130 h 757477"/>
                  <a:gd name="connsiteX0" fmla="*/ 10222 w 3431937"/>
                  <a:gd name="connsiteY0" fmla="*/ 154130 h 757477"/>
                  <a:gd name="connsiteX1" fmla="*/ 3424101 w 3431937"/>
                  <a:gd name="connsiteY1" fmla="*/ 0 h 757477"/>
                  <a:gd name="connsiteX2" fmla="*/ 3431937 w 3431937"/>
                  <a:gd name="connsiteY2" fmla="*/ 757477 h 757477"/>
                  <a:gd name="connsiteX3" fmla="*/ 0 w 3431937"/>
                  <a:gd name="connsiteY3" fmla="*/ 565050 h 757477"/>
                  <a:gd name="connsiteX4" fmla="*/ 10222 w 3431937"/>
                  <a:gd name="connsiteY4" fmla="*/ 154130 h 757477"/>
                  <a:gd name="connsiteX0" fmla="*/ 0 w 3433071"/>
                  <a:gd name="connsiteY0" fmla="*/ 155571 h 757477"/>
                  <a:gd name="connsiteX1" fmla="*/ 3425235 w 3433071"/>
                  <a:gd name="connsiteY1" fmla="*/ 0 h 757477"/>
                  <a:gd name="connsiteX2" fmla="*/ 3433071 w 3433071"/>
                  <a:gd name="connsiteY2" fmla="*/ 757477 h 757477"/>
                  <a:gd name="connsiteX3" fmla="*/ 1134 w 3433071"/>
                  <a:gd name="connsiteY3" fmla="*/ 565050 h 757477"/>
                  <a:gd name="connsiteX4" fmla="*/ 0 w 3433071"/>
                  <a:gd name="connsiteY4" fmla="*/ 155571 h 757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33071" h="757477">
                    <a:moveTo>
                      <a:pt x="0" y="155571"/>
                    </a:moveTo>
                    <a:lnTo>
                      <a:pt x="3425235" y="0"/>
                    </a:lnTo>
                    <a:lnTo>
                      <a:pt x="3433071" y="757477"/>
                    </a:lnTo>
                    <a:lnTo>
                      <a:pt x="1134" y="565050"/>
                    </a:lnTo>
                    <a:lnTo>
                      <a:pt x="0" y="155571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5" name="Isosceles Triangle 110"/>
              <p:cNvSpPr/>
              <p:nvPr/>
            </p:nvSpPr>
            <p:spPr>
              <a:xfrm rot="13692272">
                <a:off x="7875737" y="6192469"/>
                <a:ext cx="54182" cy="81609"/>
              </a:xfrm>
              <a:custGeom>
                <a:avLst/>
                <a:gdLst>
                  <a:gd name="connsiteX0" fmla="*/ 0 w 405957"/>
                  <a:gd name="connsiteY0" fmla="*/ 609600 h 609600"/>
                  <a:gd name="connsiteX1" fmla="*/ 202979 w 405957"/>
                  <a:gd name="connsiteY1" fmla="*/ 0 h 609600"/>
                  <a:gd name="connsiteX2" fmla="*/ 405957 w 405957"/>
                  <a:gd name="connsiteY2" fmla="*/ 609600 h 609600"/>
                  <a:gd name="connsiteX3" fmla="*/ 0 w 405957"/>
                  <a:gd name="connsiteY3" fmla="*/ 609600 h 609600"/>
                  <a:gd name="connsiteX0" fmla="*/ 0 w 389754"/>
                  <a:gd name="connsiteY0" fmla="*/ 609600 h 630725"/>
                  <a:gd name="connsiteX1" fmla="*/ 202979 w 389754"/>
                  <a:gd name="connsiteY1" fmla="*/ 0 h 630725"/>
                  <a:gd name="connsiteX2" fmla="*/ 389754 w 389754"/>
                  <a:gd name="connsiteY2" fmla="*/ 630725 h 630725"/>
                  <a:gd name="connsiteX3" fmla="*/ 0 w 389754"/>
                  <a:gd name="connsiteY3" fmla="*/ 609600 h 630725"/>
                  <a:gd name="connsiteX0" fmla="*/ 0 w 406450"/>
                  <a:gd name="connsiteY0" fmla="*/ 640815 h 640815"/>
                  <a:gd name="connsiteX1" fmla="*/ 219675 w 406450"/>
                  <a:gd name="connsiteY1" fmla="*/ 0 h 640815"/>
                  <a:gd name="connsiteX2" fmla="*/ 406450 w 406450"/>
                  <a:gd name="connsiteY2" fmla="*/ 630725 h 640815"/>
                  <a:gd name="connsiteX3" fmla="*/ 0 w 406450"/>
                  <a:gd name="connsiteY3" fmla="*/ 640815 h 640815"/>
                  <a:gd name="connsiteX0" fmla="*/ 0 w 406450"/>
                  <a:gd name="connsiteY0" fmla="*/ 633759 h 633759"/>
                  <a:gd name="connsiteX1" fmla="*/ 226073 w 406450"/>
                  <a:gd name="connsiteY1" fmla="*/ 0 h 633759"/>
                  <a:gd name="connsiteX2" fmla="*/ 406450 w 406450"/>
                  <a:gd name="connsiteY2" fmla="*/ 623669 h 633759"/>
                  <a:gd name="connsiteX3" fmla="*/ 0 w 406450"/>
                  <a:gd name="connsiteY3" fmla="*/ 633759 h 633759"/>
                  <a:gd name="connsiteX0" fmla="*/ 0 w 406450"/>
                  <a:gd name="connsiteY0" fmla="*/ 633923 h 633923"/>
                  <a:gd name="connsiteX1" fmla="*/ 222709 w 406450"/>
                  <a:gd name="connsiteY1" fmla="*/ 0 h 633923"/>
                  <a:gd name="connsiteX2" fmla="*/ 406450 w 406450"/>
                  <a:gd name="connsiteY2" fmla="*/ 623833 h 633923"/>
                  <a:gd name="connsiteX3" fmla="*/ 0 w 406450"/>
                  <a:gd name="connsiteY3" fmla="*/ 633923 h 633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6450" h="633923">
                    <a:moveTo>
                      <a:pt x="0" y="633923"/>
                    </a:moveTo>
                    <a:lnTo>
                      <a:pt x="222709" y="0"/>
                    </a:lnTo>
                    <a:lnTo>
                      <a:pt x="406450" y="623833"/>
                    </a:lnTo>
                    <a:lnTo>
                      <a:pt x="0" y="63392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10" name="Group 4"/>
          <p:cNvGrpSpPr>
            <a:grpSpLocks noChangeAspect="1"/>
          </p:cNvGrpSpPr>
          <p:nvPr/>
        </p:nvGrpSpPr>
        <p:grpSpPr bwMode="auto">
          <a:xfrm>
            <a:off x="10824242" y="2685968"/>
            <a:ext cx="630945" cy="356622"/>
            <a:chOff x="6720" y="1599"/>
            <a:chExt cx="529" cy="299"/>
          </a:xfrm>
          <a:solidFill>
            <a:srgbClr val="26867C"/>
          </a:solidFill>
        </p:grpSpPr>
        <p:sp>
          <p:nvSpPr>
            <p:cNvPr id="58" name="Freeform 6"/>
            <p:cNvSpPr>
              <a:spLocks/>
            </p:cNvSpPr>
            <p:nvPr/>
          </p:nvSpPr>
          <p:spPr bwMode="auto">
            <a:xfrm>
              <a:off x="6754" y="1635"/>
              <a:ext cx="78" cy="77"/>
            </a:xfrm>
            <a:custGeom>
              <a:avLst/>
              <a:gdLst>
                <a:gd name="T0" fmla="*/ 271 w 541"/>
                <a:gd name="T1" fmla="*/ 0 h 542"/>
                <a:gd name="T2" fmla="*/ 314 w 541"/>
                <a:gd name="T3" fmla="*/ 3 h 542"/>
                <a:gd name="T4" fmla="*/ 356 w 541"/>
                <a:gd name="T5" fmla="*/ 13 h 542"/>
                <a:gd name="T6" fmla="*/ 395 w 541"/>
                <a:gd name="T7" fmla="*/ 30 h 542"/>
                <a:gd name="T8" fmla="*/ 431 w 541"/>
                <a:gd name="T9" fmla="*/ 51 h 542"/>
                <a:gd name="T10" fmla="*/ 463 w 541"/>
                <a:gd name="T11" fmla="*/ 78 h 542"/>
                <a:gd name="T12" fmla="*/ 490 w 541"/>
                <a:gd name="T13" fmla="*/ 110 h 542"/>
                <a:gd name="T14" fmla="*/ 511 w 541"/>
                <a:gd name="T15" fmla="*/ 146 h 542"/>
                <a:gd name="T16" fmla="*/ 528 w 541"/>
                <a:gd name="T17" fmla="*/ 185 h 542"/>
                <a:gd name="T18" fmla="*/ 538 w 541"/>
                <a:gd name="T19" fmla="*/ 227 h 542"/>
                <a:gd name="T20" fmla="*/ 541 w 541"/>
                <a:gd name="T21" fmla="*/ 271 h 542"/>
                <a:gd name="T22" fmla="*/ 538 w 541"/>
                <a:gd name="T23" fmla="*/ 314 h 542"/>
                <a:gd name="T24" fmla="*/ 528 w 541"/>
                <a:gd name="T25" fmla="*/ 356 h 542"/>
                <a:gd name="T26" fmla="*/ 511 w 541"/>
                <a:gd name="T27" fmla="*/ 395 h 542"/>
                <a:gd name="T28" fmla="*/ 490 w 541"/>
                <a:gd name="T29" fmla="*/ 430 h 542"/>
                <a:gd name="T30" fmla="*/ 463 w 541"/>
                <a:gd name="T31" fmla="*/ 462 h 542"/>
                <a:gd name="T32" fmla="*/ 431 w 541"/>
                <a:gd name="T33" fmla="*/ 489 h 542"/>
                <a:gd name="T34" fmla="*/ 395 w 541"/>
                <a:gd name="T35" fmla="*/ 511 h 542"/>
                <a:gd name="T36" fmla="*/ 356 w 541"/>
                <a:gd name="T37" fmla="*/ 528 h 542"/>
                <a:gd name="T38" fmla="*/ 314 w 541"/>
                <a:gd name="T39" fmla="*/ 538 h 542"/>
                <a:gd name="T40" fmla="*/ 271 w 541"/>
                <a:gd name="T41" fmla="*/ 542 h 542"/>
                <a:gd name="T42" fmla="*/ 227 w 541"/>
                <a:gd name="T43" fmla="*/ 538 h 542"/>
                <a:gd name="T44" fmla="*/ 185 w 541"/>
                <a:gd name="T45" fmla="*/ 528 h 542"/>
                <a:gd name="T46" fmla="*/ 146 w 541"/>
                <a:gd name="T47" fmla="*/ 511 h 542"/>
                <a:gd name="T48" fmla="*/ 111 w 541"/>
                <a:gd name="T49" fmla="*/ 489 h 542"/>
                <a:gd name="T50" fmla="*/ 79 w 541"/>
                <a:gd name="T51" fmla="*/ 462 h 542"/>
                <a:gd name="T52" fmla="*/ 52 w 541"/>
                <a:gd name="T53" fmla="*/ 430 h 542"/>
                <a:gd name="T54" fmla="*/ 30 w 541"/>
                <a:gd name="T55" fmla="*/ 395 h 542"/>
                <a:gd name="T56" fmla="*/ 13 w 541"/>
                <a:gd name="T57" fmla="*/ 356 h 542"/>
                <a:gd name="T58" fmla="*/ 3 w 541"/>
                <a:gd name="T59" fmla="*/ 314 h 542"/>
                <a:gd name="T60" fmla="*/ 0 w 541"/>
                <a:gd name="T61" fmla="*/ 271 h 542"/>
                <a:gd name="T62" fmla="*/ 3 w 541"/>
                <a:gd name="T63" fmla="*/ 227 h 542"/>
                <a:gd name="T64" fmla="*/ 13 w 541"/>
                <a:gd name="T65" fmla="*/ 185 h 542"/>
                <a:gd name="T66" fmla="*/ 30 w 541"/>
                <a:gd name="T67" fmla="*/ 146 h 542"/>
                <a:gd name="T68" fmla="*/ 52 w 541"/>
                <a:gd name="T69" fmla="*/ 110 h 542"/>
                <a:gd name="T70" fmla="*/ 79 w 541"/>
                <a:gd name="T71" fmla="*/ 78 h 542"/>
                <a:gd name="T72" fmla="*/ 111 w 541"/>
                <a:gd name="T73" fmla="*/ 51 h 542"/>
                <a:gd name="T74" fmla="*/ 146 w 541"/>
                <a:gd name="T75" fmla="*/ 30 h 542"/>
                <a:gd name="T76" fmla="*/ 185 w 541"/>
                <a:gd name="T77" fmla="*/ 13 h 542"/>
                <a:gd name="T78" fmla="*/ 227 w 541"/>
                <a:gd name="T79" fmla="*/ 3 h 542"/>
                <a:gd name="T80" fmla="*/ 271 w 541"/>
                <a:gd name="T81" fmla="*/ 0 h 5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541" h="542">
                  <a:moveTo>
                    <a:pt x="271" y="0"/>
                  </a:moveTo>
                  <a:lnTo>
                    <a:pt x="314" y="3"/>
                  </a:lnTo>
                  <a:lnTo>
                    <a:pt x="356" y="13"/>
                  </a:lnTo>
                  <a:lnTo>
                    <a:pt x="395" y="30"/>
                  </a:lnTo>
                  <a:lnTo>
                    <a:pt x="431" y="51"/>
                  </a:lnTo>
                  <a:lnTo>
                    <a:pt x="463" y="78"/>
                  </a:lnTo>
                  <a:lnTo>
                    <a:pt x="490" y="110"/>
                  </a:lnTo>
                  <a:lnTo>
                    <a:pt x="511" y="146"/>
                  </a:lnTo>
                  <a:lnTo>
                    <a:pt x="528" y="185"/>
                  </a:lnTo>
                  <a:lnTo>
                    <a:pt x="538" y="227"/>
                  </a:lnTo>
                  <a:lnTo>
                    <a:pt x="541" y="271"/>
                  </a:lnTo>
                  <a:lnTo>
                    <a:pt x="538" y="314"/>
                  </a:lnTo>
                  <a:lnTo>
                    <a:pt x="528" y="356"/>
                  </a:lnTo>
                  <a:lnTo>
                    <a:pt x="511" y="395"/>
                  </a:lnTo>
                  <a:lnTo>
                    <a:pt x="490" y="430"/>
                  </a:lnTo>
                  <a:lnTo>
                    <a:pt x="463" y="462"/>
                  </a:lnTo>
                  <a:lnTo>
                    <a:pt x="431" y="489"/>
                  </a:lnTo>
                  <a:lnTo>
                    <a:pt x="395" y="511"/>
                  </a:lnTo>
                  <a:lnTo>
                    <a:pt x="356" y="528"/>
                  </a:lnTo>
                  <a:lnTo>
                    <a:pt x="314" y="538"/>
                  </a:lnTo>
                  <a:lnTo>
                    <a:pt x="271" y="542"/>
                  </a:lnTo>
                  <a:lnTo>
                    <a:pt x="227" y="538"/>
                  </a:lnTo>
                  <a:lnTo>
                    <a:pt x="185" y="528"/>
                  </a:lnTo>
                  <a:lnTo>
                    <a:pt x="146" y="511"/>
                  </a:lnTo>
                  <a:lnTo>
                    <a:pt x="111" y="489"/>
                  </a:lnTo>
                  <a:lnTo>
                    <a:pt x="79" y="462"/>
                  </a:lnTo>
                  <a:lnTo>
                    <a:pt x="52" y="430"/>
                  </a:lnTo>
                  <a:lnTo>
                    <a:pt x="30" y="395"/>
                  </a:lnTo>
                  <a:lnTo>
                    <a:pt x="13" y="356"/>
                  </a:lnTo>
                  <a:lnTo>
                    <a:pt x="3" y="314"/>
                  </a:lnTo>
                  <a:lnTo>
                    <a:pt x="0" y="271"/>
                  </a:lnTo>
                  <a:lnTo>
                    <a:pt x="3" y="227"/>
                  </a:lnTo>
                  <a:lnTo>
                    <a:pt x="13" y="185"/>
                  </a:lnTo>
                  <a:lnTo>
                    <a:pt x="30" y="146"/>
                  </a:lnTo>
                  <a:lnTo>
                    <a:pt x="52" y="110"/>
                  </a:lnTo>
                  <a:lnTo>
                    <a:pt x="79" y="78"/>
                  </a:lnTo>
                  <a:lnTo>
                    <a:pt x="111" y="51"/>
                  </a:lnTo>
                  <a:lnTo>
                    <a:pt x="146" y="30"/>
                  </a:lnTo>
                  <a:lnTo>
                    <a:pt x="185" y="13"/>
                  </a:lnTo>
                  <a:lnTo>
                    <a:pt x="227" y="3"/>
                  </a:lnTo>
                  <a:lnTo>
                    <a:pt x="2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7"/>
            <p:cNvSpPr>
              <a:spLocks/>
            </p:cNvSpPr>
            <p:nvPr/>
          </p:nvSpPr>
          <p:spPr bwMode="auto">
            <a:xfrm>
              <a:off x="6935" y="1617"/>
              <a:ext cx="296" cy="139"/>
            </a:xfrm>
            <a:custGeom>
              <a:avLst/>
              <a:gdLst>
                <a:gd name="T0" fmla="*/ 392 w 2072"/>
                <a:gd name="T1" fmla="*/ 1 h 969"/>
                <a:gd name="T2" fmla="*/ 533 w 2072"/>
                <a:gd name="T3" fmla="*/ 12 h 969"/>
                <a:gd name="T4" fmla="*/ 690 w 2072"/>
                <a:gd name="T5" fmla="*/ 30 h 969"/>
                <a:gd name="T6" fmla="*/ 862 w 2072"/>
                <a:gd name="T7" fmla="*/ 56 h 969"/>
                <a:gd name="T8" fmla="*/ 1043 w 2072"/>
                <a:gd name="T9" fmla="*/ 89 h 969"/>
                <a:gd name="T10" fmla="*/ 1228 w 2072"/>
                <a:gd name="T11" fmla="*/ 126 h 969"/>
                <a:gd name="T12" fmla="*/ 1415 w 2072"/>
                <a:gd name="T13" fmla="*/ 169 h 969"/>
                <a:gd name="T14" fmla="*/ 1598 w 2072"/>
                <a:gd name="T15" fmla="*/ 216 h 969"/>
                <a:gd name="T16" fmla="*/ 1739 w 2072"/>
                <a:gd name="T17" fmla="*/ 259 h 969"/>
                <a:gd name="T18" fmla="*/ 1833 w 2072"/>
                <a:gd name="T19" fmla="*/ 306 h 969"/>
                <a:gd name="T20" fmla="*/ 1916 w 2072"/>
                <a:gd name="T21" fmla="*/ 367 h 969"/>
                <a:gd name="T22" fmla="*/ 1984 w 2072"/>
                <a:gd name="T23" fmla="*/ 441 h 969"/>
                <a:gd name="T24" fmla="*/ 2034 w 2072"/>
                <a:gd name="T25" fmla="*/ 526 h 969"/>
                <a:gd name="T26" fmla="*/ 2064 w 2072"/>
                <a:gd name="T27" fmla="*/ 622 h 969"/>
                <a:gd name="T28" fmla="*/ 2072 w 2072"/>
                <a:gd name="T29" fmla="*/ 724 h 969"/>
                <a:gd name="T30" fmla="*/ 2028 w 2072"/>
                <a:gd name="T31" fmla="*/ 920 h 969"/>
                <a:gd name="T32" fmla="*/ 2011 w 2072"/>
                <a:gd name="T33" fmla="*/ 949 h 969"/>
                <a:gd name="T34" fmla="*/ 1982 w 2072"/>
                <a:gd name="T35" fmla="*/ 967 h 969"/>
                <a:gd name="T36" fmla="*/ 67 w 2072"/>
                <a:gd name="T37" fmla="*/ 969 h 969"/>
                <a:gd name="T38" fmla="*/ 29 w 2072"/>
                <a:gd name="T39" fmla="*/ 957 h 969"/>
                <a:gd name="T40" fmla="*/ 5 w 2072"/>
                <a:gd name="T41" fmla="*/ 925 h 969"/>
                <a:gd name="T42" fmla="*/ 0 w 2072"/>
                <a:gd name="T43" fmla="*/ 859 h 969"/>
                <a:gd name="T44" fmla="*/ 50 w 2072"/>
                <a:gd name="T45" fmla="*/ 852 h 969"/>
                <a:gd name="T46" fmla="*/ 93 w 2072"/>
                <a:gd name="T47" fmla="*/ 875 h 969"/>
                <a:gd name="T48" fmla="*/ 150 w 2072"/>
                <a:gd name="T49" fmla="*/ 888 h 969"/>
                <a:gd name="T50" fmla="*/ 215 w 2072"/>
                <a:gd name="T51" fmla="*/ 888 h 969"/>
                <a:gd name="T52" fmla="*/ 283 w 2072"/>
                <a:gd name="T53" fmla="*/ 869 h 969"/>
                <a:gd name="T54" fmla="*/ 761 w 2072"/>
                <a:gd name="T55" fmla="*/ 577 h 969"/>
                <a:gd name="T56" fmla="*/ 818 w 2072"/>
                <a:gd name="T57" fmla="*/ 528 h 969"/>
                <a:gd name="T58" fmla="*/ 859 w 2072"/>
                <a:gd name="T59" fmla="*/ 468 h 969"/>
                <a:gd name="T60" fmla="*/ 879 w 2072"/>
                <a:gd name="T61" fmla="*/ 399 h 969"/>
                <a:gd name="T62" fmla="*/ 881 w 2072"/>
                <a:gd name="T63" fmla="*/ 328 h 969"/>
                <a:gd name="T64" fmla="*/ 862 w 2072"/>
                <a:gd name="T65" fmla="*/ 258 h 969"/>
                <a:gd name="T66" fmla="*/ 821 w 2072"/>
                <a:gd name="T67" fmla="*/ 192 h 969"/>
                <a:gd name="T68" fmla="*/ 766 w 2072"/>
                <a:gd name="T69" fmla="*/ 144 h 969"/>
                <a:gd name="T70" fmla="*/ 701 w 2072"/>
                <a:gd name="T71" fmla="*/ 114 h 969"/>
                <a:gd name="T72" fmla="*/ 630 w 2072"/>
                <a:gd name="T73" fmla="*/ 102 h 969"/>
                <a:gd name="T74" fmla="*/ 559 w 2072"/>
                <a:gd name="T75" fmla="*/ 111 h 969"/>
                <a:gd name="T76" fmla="*/ 491 w 2072"/>
                <a:gd name="T77" fmla="*/ 141 h 969"/>
                <a:gd name="T78" fmla="*/ 69 w 2072"/>
                <a:gd name="T79" fmla="*/ 340 h 969"/>
                <a:gd name="T80" fmla="*/ 109 w 2072"/>
                <a:gd name="T81" fmla="*/ 237 h 969"/>
                <a:gd name="T82" fmla="*/ 151 w 2072"/>
                <a:gd name="T83" fmla="*/ 154 h 969"/>
                <a:gd name="T84" fmla="*/ 192 w 2072"/>
                <a:gd name="T85" fmla="*/ 91 h 969"/>
                <a:gd name="T86" fmla="*/ 228 w 2072"/>
                <a:gd name="T87" fmla="*/ 45 h 969"/>
                <a:gd name="T88" fmla="*/ 255 w 2072"/>
                <a:gd name="T89" fmla="*/ 16 h 969"/>
                <a:gd name="T90" fmla="*/ 271 w 2072"/>
                <a:gd name="T91" fmla="*/ 2 h 969"/>
                <a:gd name="T92" fmla="*/ 329 w 2072"/>
                <a:gd name="T9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072" h="969">
                  <a:moveTo>
                    <a:pt x="329" y="0"/>
                  </a:moveTo>
                  <a:lnTo>
                    <a:pt x="392" y="1"/>
                  </a:lnTo>
                  <a:lnTo>
                    <a:pt x="459" y="6"/>
                  </a:lnTo>
                  <a:lnTo>
                    <a:pt x="533" y="12"/>
                  </a:lnTo>
                  <a:lnTo>
                    <a:pt x="609" y="20"/>
                  </a:lnTo>
                  <a:lnTo>
                    <a:pt x="690" y="30"/>
                  </a:lnTo>
                  <a:lnTo>
                    <a:pt x="774" y="43"/>
                  </a:lnTo>
                  <a:lnTo>
                    <a:pt x="862" y="56"/>
                  </a:lnTo>
                  <a:lnTo>
                    <a:pt x="952" y="72"/>
                  </a:lnTo>
                  <a:lnTo>
                    <a:pt x="1043" y="89"/>
                  </a:lnTo>
                  <a:lnTo>
                    <a:pt x="1135" y="107"/>
                  </a:lnTo>
                  <a:lnTo>
                    <a:pt x="1228" y="126"/>
                  </a:lnTo>
                  <a:lnTo>
                    <a:pt x="1322" y="147"/>
                  </a:lnTo>
                  <a:lnTo>
                    <a:pt x="1415" y="169"/>
                  </a:lnTo>
                  <a:lnTo>
                    <a:pt x="1507" y="192"/>
                  </a:lnTo>
                  <a:lnTo>
                    <a:pt x="1598" y="216"/>
                  </a:lnTo>
                  <a:lnTo>
                    <a:pt x="1687" y="242"/>
                  </a:lnTo>
                  <a:lnTo>
                    <a:pt x="1739" y="259"/>
                  </a:lnTo>
                  <a:lnTo>
                    <a:pt x="1787" y="280"/>
                  </a:lnTo>
                  <a:lnTo>
                    <a:pt x="1833" y="306"/>
                  </a:lnTo>
                  <a:lnTo>
                    <a:pt x="1877" y="334"/>
                  </a:lnTo>
                  <a:lnTo>
                    <a:pt x="1916" y="367"/>
                  </a:lnTo>
                  <a:lnTo>
                    <a:pt x="1952" y="403"/>
                  </a:lnTo>
                  <a:lnTo>
                    <a:pt x="1984" y="441"/>
                  </a:lnTo>
                  <a:lnTo>
                    <a:pt x="2011" y="482"/>
                  </a:lnTo>
                  <a:lnTo>
                    <a:pt x="2034" y="526"/>
                  </a:lnTo>
                  <a:lnTo>
                    <a:pt x="2051" y="573"/>
                  </a:lnTo>
                  <a:lnTo>
                    <a:pt x="2064" y="622"/>
                  </a:lnTo>
                  <a:lnTo>
                    <a:pt x="2070" y="672"/>
                  </a:lnTo>
                  <a:lnTo>
                    <a:pt x="2072" y="724"/>
                  </a:lnTo>
                  <a:lnTo>
                    <a:pt x="2066" y="777"/>
                  </a:lnTo>
                  <a:lnTo>
                    <a:pt x="2028" y="920"/>
                  </a:lnTo>
                  <a:lnTo>
                    <a:pt x="2021" y="935"/>
                  </a:lnTo>
                  <a:lnTo>
                    <a:pt x="2011" y="949"/>
                  </a:lnTo>
                  <a:lnTo>
                    <a:pt x="1997" y="960"/>
                  </a:lnTo>
                  <a:lnTo>
                    <a:pt x="1982" y="967"/>
                  </a:lnTo>
                  <a:lnTo>
                    <a:pt x="1965" y="969"/>
                  </a:lnTo>
                  <a:lnTo>
                    <a:pt x="67" y="969"/>
                  </a:lnTo>
                  <a:lnTo>
                    <a:pt x="47" y="966"/>
                  </a:lnTo>
                  <a:lnTo>
                    <a:pt x="29" y="957"/>
                  </a:lnTo>
                  <a:lnTo>
                    <a:pt x="15" y="943"/>
                  </a:lnTo>
                  <a:lnTo>
                    <a:pt x="5" y="925"/>
                  </a:lnTo>
                  <a:lnTo>
                    <a:pt x="2" y="905"/>
                  </a:lnTo>
                  <a:lnTo>
                    <a:pt x="0" y="859"/>
                  </a:lnTo>
                  <a:lnTo>
                    <a:pt x="0" y="813"/>
                  </a:lnTo>
                  <a:lnTo>
                    <a:pt x="50" y="852"/>
                  </a:lnTo>
                  <a:lnTo>
                    <a:pt x="69" y="865"/>
                  </a:lnTo>
                  <a:lnTo>
                    <a:pt x="93" y="875"/>
                  </a:lnTo>
                  <a:lnTo>
                    <a:pt x="120" y="884"/>
                  </a:lnTo>
                  <a:lnTo>
                    <a:pt x="150" y="888"/>
                  </a:lnTo>
                  <a:lnTo>
                    <a:pt x="182" y="891"/>
                  </a:lnTo>
                  <a:lnTo>
                    <a:pt x="215" y="888"/>
                  </a:lnTo>
                  <a:lnTo>
                    <a:pt x="249" y="882"/>
                  </a:lnTo>
                  <a:lnTo>
                    <a:pt x="283" y="869"/>
                  </a:lnTo>
                  <a:lnTo>
                    <a:pt x="317" y="852"/>
                  </a:lnTo>
                  <a:lnTo>
                    <a:pt x="761" y="577"/>
                  </a:lnTo>
                  <a:lnTo>
                    <a:pt x="792" y="554"/>
                  </a:lnTo>
                  <a:lnTo>
                    <a:pt x="818" y="528"/>
                  </a:lnTo>
                  <a:lnTo>
                    <a:pt x="841" y="499"/>
                  </a:lnTo>
                  <a:lnTo>
                    <a:pt x="859" y="468"/>
                  </a:lnTo>
                  <a:lnTo>
                    <a:pt x="871" y="434"/>
                  </a:lnTo>
                  <a:lnTo>
                    <a:pt x="879" y="399"/>
                  </a:lnTo>
                  <a:lnTo>
                    <a:pt x="882" y="364"/>
                  </a:lnTo>
                  <a:lnTo>
                    <a:pt x="881" y="328"/>
                  </a:lnTo>
                  <a:lnTo>
                    <a:pt x="874" y="292"/>
                  </a:lnTo>
                  <a:lnTo>
                    <a:pt x="862" y="258"/>
                  </a:lnTo>
                  <a:lnTo>
                    <a:pt x="844" y="224"/>
                  </a:lnTo>
                  <a:lnTo>
                    <a:pt x="821" y="192"/>
                  </a:lnTo>
                  <a:lnTo>
                    <a:pt x="796" y="166"/>
                  </a:lnTo>
                  <a:lnTo>
                    <a:pt x="766" y="144"/>
                  </a:lnTo>
                  <a:lnTo>
                    <a:pt x="735" y="126"/>
                  </a:lnTo>
                  <a:lnTo>
                    <a:pt x="701" y="114"/>
                  </a:lnTo>
                  <a:lnTo>
                    <a:pt x="666" y="106"/>
                  </a:lnTo>
                  <a:lnTo>
                    <a:pt x="630" y="102"/>
                  </a:lnTo>
                  <a:lnTo>
                    <a:pt x="594" y="105"/>
                  </a:lnTo>
                  <a:lnTo>
                    <a:pt x="559" y="111"/>
                  </a:lnTo>
                  <a:lnTo>
                    <a:pt x="525" y="124"/>
                  </a:lnTo>
                  <a:lnTo>
                    <a:pt x="491" y="141"/>
                  </a:lnTo>
                  <a:lnTo>
                    <a:pt x="147" y="354"/>
                  </a:lnTo>
                  <a:lnTo>
                    <a:pt x="69" y="340"/>
                  </a:lnTo>
                  <a:lnTo>
                    <a:pt x="88" y="286"/>
                  </a:lnTo>
                  <a:lnTo>
                    <a:pt x="109" y="237"/>
                  </a:lnTo>
                  <a:lnTo>
                    <a:pt x="130" y="193"/>
                  </a:lnTo>
                  <a:lnTo>
                    <a:pt x="151" y="154"/>
                  </a:lnTo>
                  <a:lnTo>
                    <a:pt x="172" y="120"/>
                  </a:lnTo>
                  <a:lnTo>
                    <a:pt x="192" y="91"/>
                  </a:lnTo>
                  <a:lnTo>
                    <a:pt x="211" y="65"/>
                  </a:lnTo>
                  <a:lnTo>
                    <a:pt x="228" y="45"/>
                  </a:lnTo>
                  <a:lnTo>
                    <a:pt x="242" y="28"/>
                  </a:lnTo>
                  <a:lnTo>
                    <a:pt x="255" y="16"/>
                  </a:lnTo>
                  <a:lnTo>
                    <a:pt x="265" y="7"/>
                  </a:lnTo>
                  <a:lnTo>
                    <a:pt x="271" y="2"/>
                  </a:lnTo>
                  <a:lnTo>
                    <a:pt x="273" y="0"/>
                  </a:lnTo>
                  <a:lnTo>
                    <a:pt x="32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8"/>
            <p:cNvSpPr>
              <a:spLocks/>
            </p:cNvSpPr>
            <p:nvPr/>
          </p:nvSpPr>
          <p:spPr bwMode="auto">
            <a:xfrm>
              <a:off x="6720" y="1599"/>
              <a:ext cx="529" cy="299"/>
            </a:xfrm>
            <a:custGeom>
              <a:avLst/>
              <a:gdLst>
                <a:gd name="T0" fmla="*/ 123 w 3706"/>
                <a:gd name="T1" fmla="*/ 11 h 2091"/>
                <a:gd name="T2" fmla="*/ 160 w 3706"/>
                <a:gd name="T3" fmla="*/ 59 h 2091"/>
                <a:gd name="T4" fmla="*/ 1006 w 3706"/>
                <a:gd name="T5" fmla="*/ 877 h 2091"/>
                <a:gd name="T6" fmla="*/ 922 w 3706"/>
                <a:gd name="T7" fmla="*/ 835 h 2091"/>
                <a:gd name="T8" fmla="*/ 871 w 3706"/>
                <a:gd name="T9" fmla="*/ 757 h 2091"/>
                <a:gd name="T10" fmla="*/ 867 w 3706"/>
                <a:gd name="T11" fmla="*/ 368 h 2091"/>
                <a:gd name="T12" fmla="*/ 879 w 3706"/>
                <a:gd name="T13" fmla="*/ 305 h 2091"/>
                <a:gd name="T14" fmla="*/ 934 w 3706"/>
                <a:gd name="T15" fmla="*/ 230 h 2091"/>
                <a:gd name="T16" fmla="*/ 1020 w 3706"/>
                <a:gd name="T17" fmla="*/ 191 h 2091"/>
                <a:gd name="T18" fmla="*/ 1490 w 3706"/>
                <a:gd name="T19" fmla="*/ 256 h 2091"/>
                <a:gd name="T20" fmla="*/ 1415 w 3706"/>
                <a:gd name="T21" fmla="*/ 441 h 2091"/>
                <a:gd name="T22" fmla="*/ 2065 w 3706"/>
                <a:gd name="T23" fmla="*/ 377 h 2091"/>
                <a:gd name="T24" fmla="*/ 2139 w 3706"/>
                <a:gd name="T25" fmla="*/ 358 h 2091"/>
                <a:gd name="T26" fmla="*/ 2209 w 3706"/>
                <a:gd name="T27" fmla="*/ 382 h 2091"/>
                <a:gd name="T28" fmla="*/ 2259 w 3706"/>
                <a:gd name="T29" fmla="*/ 450 h 2091"/>
                <a:gd name="T30" fmla="*/ 2256 w 3706"/>
                <a:gd name="T31" fmla="*/ 537 h 2091"/>
                <a:gd name="T32" fmla="*/ 2204 w 3706"/>
                <a:gd name="T33" fmla="*/ 600 h 2091"/>
                <a:gd name="T34" fmla="*/ 1711 w 3706"/>
                <a:gd name="T35" fmla="*/ 893 h 2091"/>
                <a:gd name="T36" fmla="*/ 1636 w 3706"/>
                <a:gd name="T37" fmla="*/ 883 h 2091"/>
                <a:gd name="T38" fmla="*/ 1347 w 3706"/>
                <a:gd name="T39" fmla="*/ 871 h 2091"/>
                <a:gd name="T40" fmla="*/ 1347 w 3706"/>
                <a:gd name="T41" fmla="*/ 1042 h 2091"/>
                <a:gd name="T42" fmla="*/ 1375 w 3706"/>
                <a:gd name="T43" fmla="*/ 1143 h 2091"/>
                <a:gd name="T44" fmla="*/ 1442 w 3706"/>
                <a:gd name="T45" fmla="*/ 1220 h 2091"/>
                <a:gd name="T46" fmla="*/ 1539 w 3706"/>
                <a:gd name="T47" fmla="*/ 1258 h 2091"/>
                <a:gd name="T48" fmla="*/ 3439 w 3706"/>
                <a:gd name="T49" fmla="*/ 1672 h 2091"/>
                <a:gd name="T50" fmla="*/ 3531 w 3706"/>
                <a:gd name="T51" fmla="*/ 1668 h 2091"/>
                <a:gd name="T52" fmla="*/ 3630 w 3706"/>
                <a:gd name="T53" fmla="*/ 1715 h 2091"/>
                <a:gd name="T54" fmla="*/ 3692 w 3706"/>
                <a:gd name="T55" fmla="*/ 1804 h 2091"/>
                <a:gd name="T56" fmla="*/ 3702 w 3706"/>
                <a:gd name="T57" fmla="*/ 1917 h 2091"/>
                <a:gd name="T58" fmla="*/ 3655 w 3706"/>
                <a:gd name="T59" fmla="*/ 2016 h 2091"/>
                <a:gd name="T60" fmla="*/ 3567 w 3706"/>
                <a:gd name="T61" fmla="*/ 2077 h 2091"/>
                <a:gd name="T62" fmla="*/ 3457 w 3706"/>
                <a:gd name="T63" fmla="*/ 2088 h 2091"/>
                <a:gd name="T64" fmla="*/ 3364 w 3706"/>
                <a:gd name="T65" fmla="*/ 2047 h 2091"/>
                <a:gd name="T66" fmla="*/ 3301 w 3706"/>
                <a:gd name="T67" fmla="*/ 1971 h 2091"/>
                <a:gd name="T68" fmla="*/ 3277 w 3706"/>
                <a:gd name="T69" fmla="*/ 1869 h 2091"/>
                <a:gd name="T70" fmla="*/ 162 w 3706"/>
                <a:gd name="T71" fmla="*/ 1672 h 2091"/>
                <a:gd name="T72" fmla="*/ 252 w 3706"/>
                <a:gd name="T73" fmla="*/ 1668 h 2091"/>
                <a:gd name="T74" fmla="*/ 351 w 3706"/>
                <a:gd name="T75" fmla="*/ 1715 h 2091"/>
                <a:gd name="T76" fmla="*/ 414 w 3706"/>
                <a:gd name="T77" fmla="*/ 1804 h 2091"/>
                <a:gd name="T78" fmla="*/ 424 w 3706"/>
                <a:gd name="T79" fmla="*/ 1917 h 2091"/>
                <a:gd name="T80" fmla="*/ 377 w 3706"/>
                <a:gd name="T81" fmla="*/ 2016 h 2091"/>
                <a:gd name="T82" fmla="*/ 288 w 3706"/>
                <a:gd name="T83" fmla="*/ 2077 h 2091"/>
                <a:gd name="T84" fmla="*/ 175 w 3706"/>
                <a:gd name="T85" fmla="*/ 2088 h 2091"/>
                <a:gd name="T86" fmla="*/ 78 w 3706"/>
                <a:gd name="T87" fmla="*/ 2041 h 2091"/>
                <a:gd name="T88" fmla="*/ 15 w 3706"/>
                <a:gd name="T89" fmla="*/ 1954 h 2091"/>
                <a:gd name="T90" fmla="*/ 1 w 3706"/>
                <a:gd name="T91" fmla="*/ 1880 h 2091"/>
                <a:gd name="T92" fmla="*/ 0 w 3706"/>
                <a:gd name="T93" fmla="*/ 1878 h 2091"/>
                <a:gd name="T94" fmla="*/ 0 w 3706"/>
                <a:gd name="T95" fmla="*/ 1873 h 2091"/>
                <a:gd name="T96" fmla="*/ 0 w 3706"/>
                <a:gd name="T97" fmla="*/ 1856 h 2091"/>
                <a:gd name="T98" fmla="*/ 0 w 3706"/>
                <a:gd name="T99" fmla="*/ 1821 h 2091"/>
                <a:gd name="T100" fmla="*/ 0 w 3706"/>
                <a:gd name="T101" fmla="*/ 1761 h 2091"/>
                <a:gd name="T102" fmla="*/ 0 w 3706"/>
                <a:gd name="T103" fmla="*/ 1670 h 2091"/>
                <a:gd name="T104" fmla="*/ 0 w 3706"/>
                <a:gd name="T105" fmla="*/ 1541 h 2091"/>
                <a:gd name="T106" fmla="*/ 0 w 3706"/>
                <a:gd name="T107" fmla="*/ 1366 h 2091"/>
                <a:gd name="T108" fmla="*/ 0 w 3706"/>
                <a:gd name="T109" fmla="*/ 1140 h 2091"/>
                <a:gd name="T110" fmla="*/ 0 w 3706"/>
                <a:gd name="T111" fmla="*/ 854 h 2091"/>
                <a:gd name="T112" fmla="*/ 0 w 3706"/>
                <a:gd name="T113" fmla="*/ 504 h 2091"/>
                <a:gd name="T114" fmla="*/ 0 w 3706"/>
                <a:gd name="T115" fmla="*/ 82 h 2091"/>
                <a:gd name="T116" fmla="*/ 24 w 3706"/>
                <a:gd name="T117" fmla="*/ 24 h 2091"/>
                <a:gd name="T118" fmla="*/ 81 w 3706"/>
                <a:gd name="T119" fmla="*/ 0 h 20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3706" h="2091">
                  <a:moveTo>
                    <a:pt x="81" y="0"/>
                  </a:moveTo>
                  <a:lnTo>
                    <a:pt x="102" y="3"/>
                  </a:lnTo>
                  <a:lnTo>
                    <a:pt x="123" y="11"/>
                  </a:lnTo>
                  <a:lnTo>
                    <a:pt x="138" y="24"/>
                  </a:lnTo>
                  <a:lnTo>
                    <a:pt x="152" y="40"/>
                  </a:lnTo>
                  <a:lnTo>
                    <a:pt x="160" y="59"/>
                  </a:lnTo>
                  <a:lnTo>
                    <a:pt x="162" y="82"/>
                  </a:lnTo>
                  <a:lnTo>
                    <a:pt x="162" y="877"/>
                  </a:lnTo>
                  <a:lnTo>
                    <a:pt x="1006" y="877"/>
                  </a:lnTo>
                  <a:lnTo>
                    <a:pt x="976" y="868"/>
                  </a:lnTo>
                  <a:lnTo>
                    <a:pt x="947" y="853"/>
                  </a:lnTo>
                  <a:lnTo>
                    <a:pt x="922" y="835"/>
                  </a:lnTo>
                  <a:lnTo>
                    <a:pt x="901" y="811"/>
                  </a:lnTo>
                  <a:lnTo>
                    <a:pt x="884" y="786"/>
                  </a:lnTo>
                  <a:lnTo>
                    <a:pt x="871" y="757"/>
                  </a:lnTo>
                  <a:lnTo>
                    <a:pt x="863" y="727"/>
                  </a:lnTo>
                  <a:lnTo>
                    <a:pt x="861" y="694"/>
                  </a:lnTo>
                  <a:lnTo>
                    <a:pt x="867" y="368"/>
                  </a:lnTo>
                  <a:lnTo>
                    <a:pt x="867" y="368"/>
                  </a:lnTo>
                  <a:lnTo>
                    <a:pt x="870" y="336"/>
                  </a:lnTo>
                  <a:lnTo>
                    <a:pt x="879" y="305"/>
                  </a:lnTo>
                  <a:lnTo>
                    <a:pt x="894" y="277"/>
                  </a:lnTo>
                  <a:lnTo>
                    <a:pt x="912" y="251"/>
                  </a:lnTo>
                  <a:lnTo>
                    <a:pt x="934" y="230"/>
                  </a:lnTo>
                  <a:lnTo>
                    <a:pt x="960" y="212"/>
                  </a:lnTo>
                  <a:lnTo>
                    <a:pt x="988" y="199"/>
                  </a:lnTo>
                  <a:lnTo>
                    <a:pt x="1020" y="191"/>
                  </a:lnTo>
                  <a:lnTo>
                    <a:pt x="1053" y="189"/>
                  </a:lnTo>
                  <a:lnTo>
                    <a:pt x="1522" y="196"/>
                  </a:lnTo>
                  <a:lnTo>
                    <a:pt x="1490" y="256"/>
                  </a:lnTo>
                  <a:lnTo>
                    <a:pt x="1462" y="317"/>
                  </a:lnTo>
                  <a:lnTo>
                    <a:pt x="1437" y="379"/>
                  </a:lnTo>
                  <a:lnTo>
                    <a:pt x="1415" y="441"/>
                  </a:lnTo>
                  <a:lnTo>
                    <a:pt x="1229" y="409"/>
                  </a:lnTo>
                  <a:lnTo>
                    <a:pt x="1681" y="616"/>
                  </a:lnTo>
                  <a:lnTo>
                    <a:pt x="2065" y="377"/>
                  </a:lnTo>
                  <a:lnTo>
                    <a:pt x="2089" y="366"/>
                  </a:lnTo>
                  <a:lnTo>
                    <a:pt x="2114" y="359"/>
                  </a:lnTo>
                  <a:lnTo>
                    <a:pt x="2139" y="358"/>
                  </a:lnTo>
                  <a:lnTo>
                    <a:pt x="2164" y="362"/>
                  </a:lnTo>
                  <a:lnTo>
                    <a:pt x="2188" y="370"/>
                  </a:lnTo>
                  <a:lnTo>
                    <a:pt x="2209" y="382"/>
                  </a:lnTo>
                  <a:lnTo>
                    <a:pt x="2229" y="399"/>
                  </a:lnTo>
                  <a:lnTo>
                    <a:pt x="2245" y="420"/>
                  </a:lnTo>
                  <a:lnTo>
                    <a:pt x="2259" y="450"/>
                  </a:lnTo>
                  <a:lnTo>
                    <a:pt x="2264" y="481"/>
                  </a:lnTo>
                  <a:lnTo>
                    <a:pt x="2263" y="509"/>
                  </a:lnTo>
                  <a:lnTo>
                    <a:pt x="2256" y="537"/>
                  </a:lnTo>
                  <a:lnTo>
                    <a:pt x="2243" y="562"/>
                  </a:lnTo>
                  <a:lnTo>
                    <a:pt x="2225" y="583"/>
                  </a:lnTo>
                  <a:lnTo>
                    <a:pt x="2204" y="600"/>
                  </a:lnTo>
                  <a:lnTo>
                    <a:pt x="1758" y="875"/>
                  </a:lnTo>
                  <a:lnTo>
                    <a:pt x="1736" y="887"/>
                  </a:lnTo>
                  <a:lnTo>
                    <a:pt x="1711" y="893"/>
                  </a:lnTo>
                  <a:lnTo>
                    <a:pt x="1685" y="895"/>
                  </a:lnTo>
                  <a:lnTo>
                    <a:pt x="1659" y="891"/>
                  </a:lnTo>
                  <a:lnTo>
                    <a:pt x="1636" y="883"/>
                  </a:lnTo>
                  <a:lnTo>
                    <a:pt x="1135" y="654"/>
                  </a:lnTo>
                  <a:lnTo>
                    <a:pt x="1349" y="819"/>
                  </a:lnTo>
                  <a:lnTo>
                    <a:pt x="1347" y="871"/>
                  </a:lnTo>
                  <a:lnTo>
                    <a:pt x="1346" y="926"/>
                  </a:lnTo>
                  <a:lnTo>
                    <a:pt x="1346" y="983"/>
                  </a:lnTo>
                  <a:lnTo>
                    <a:pt x="1347" y="1042"/>
                  </a:lnTo>
                  <a:lnTo>
                    <a:pt x="1351" y="1078"/>
                  </a:lnTo>
                  <a:lnTo>
                    <a:pt x="1361" y="1112"/>
                  </a:lnTo>
                  <a:lnTo>
                    <a:pt x="1375" y="1143"/>
                  </a:lnTo>
                  <a:lnTo>
                    <a:pt x="1394" y="1171"/>
                  </a:lnTo>
                  <a:lnTo>
                    <a:pt x="1417" y="1197"/>
                  </a:lnTo>
                  <a:lnTo>
                    <a:pt x="1442" y="1220"/>
                  </a:lnTo>
                  <a:lnTo>
                    <a:pt x="1472" y="1236"/>
                  </a:lnTo>
                  <a:lnTo>
                    <a:pt x="1504" y="1250"/>
                  </a:lnTo>
                  <a:lnTo>
                    <a:pt x="1539" y="1258"/>
                  </a:lnTo>
                  <a:lnTo>
                    <a:pt x="1575" y="1261"/>
                  </a:lnTo>
                  <a:lnTo>
                    <a:pt x="3439" y="1261"/>
                  </a:lnTo>
                  <a:lnTo>
                    <a:pt x="3439" y="1672"/>
                  </a:lnTo>
                  <a:lnTo>
                    <a:pt x="3465" y="1667"/>
                  </a:lnTo>
                  <a:lnTo>
                    <a:pt x="3493" y="1665"/>
                  </a:lnTo>
                  <a:lnTo>
                    <a:pt x="3531" y="1668"/>
                  </a:lnTo>
                  <a:lnTo>
                    <a:pt x="3567" y="1678"/>
                  </a:lnTo>
                  <a:lnTo>
                    <a:pt x="3600" y="1694"/>
                  </a:lnTo>
                  <a:lnTo>
                    <a:pt x="3630" y="1715"/>
                  </a:lnTo>
                  <a:lnTo>
                    <a:pt x="3655" y="1741"/>
                  </a:lnTo>
                  <a:lnTo>
                    <a:pt x="3676" y="1770"/>
                  </a:lnTo>
                  <a:lnTo>
                    <a:pt x="3692" y="1804"/>
                  </a:lnTo>
                  <a:lnTo>
                    <a:pt x="3702" y="1840"/>
                  </a:lnTo>
                  <a:lnTo>
                    <a:pt x="3706" y="1878"/>
                  </a:lnTo>
                  <a:lnTo>
                    <a:pt x="3702" y="1917"/>
                  </a:lnTo>
                  <a:lnTo>
                    <a:pt x="3692" y="1953"/>
                  </a:lnTo>
                  <a:lnTo>
                    <a:pt x="3676" y="1985"/>
                  </a:lnTo>
                  <a:lnTo>
                    <a:pt x="3655" y="2016"/>
                  </a:lnTo>
                  <a:lnTo>
                    <a:pt x="3630" y="2041"/>
                  </a:lnTo>
                  <a:lnTo>
                    <a:pt x="3600" y="2062"/>
                  </a:lnTo>
                  <a:lnTo>
                    <a:pt x="3567" y="2077"/>
                  </a:lnTo>
                  <a:lnTo>
                    <a:pt x="3531" y="2088"/>
                  </a:lnTo>
                  <a:lnTo>
                    <a:pt x="3493" y="2091"/>
                  </a:lnTo>
                  <a:lnTo>
                    <a:pt x="3457" y="2088"/>
                  </a:lnTo>
                  <a:lnTo>
                    <a:pt x="3423" y="2080"/>
                  </a:lnTo>
                  <a:lnTo>
                    <a:pt x="3392" y="2066"/>
                  </a:lnTo>
                  <a:lnTo>
                    <a:pt x="3364" y="2047"/>
                  </a:lnTo>
                  <a:lnTo>
                    <a:pt x="3339" y="2025"/>
                  </a:lnTo>
                  <a:lnTo>
                    <a:pt x="3318" y="1999"/>
                  </a:lnTo>
                  <a:lnTo>
                    <a:pt x="3301" y="1971"/>
                  </a:lnTo>
                  <a:lnTo>
                    <a:pt x="3287" y="1939"/>
                  </a:lnTo>
                  <a:lnTo>
                    <a:pt x="3279" y="1905"/>
                  </a:lnTo>
                  <a:lnTo>
                    <a:pt x="3277" y="1869"/>
                  </a:lnTo>
                  <a:lnTo>
                    <a:pt x="3277" y="1429"/>
                  </a:lnTo>
                  <a:lnTo>
                    <a:pt x="162" y="1429"/>
                  </a:lnTo>
                  <a:lnTo>
                    <a:pt x="162" y="1672"/>
                  </a:lnTo>
                  <a:lnTo>
                    <a:pt x="188" y="1667"/>
                  </a:lnTo>
                  <a:lnTo>
                    <a:pt x="214" y="1665"/>
                  </a:lnTo>
                  <a:lnTo>
                    <a:pt x="252" y="1668"/>
                  </a:lnTo>
                  <a:lnTo>
                    <a:pt x="288" y="1678"/>
                  </a:lnTo>
                  <a:lnTo>
                    <a:pt x="322" y="1694"/>
                  </a:lnTo>
                  <a:lnTo>
                    <a:pt x="351" y="1715"/>
                  </a:lnTo>
                  <a:lnTo>
                    <a:pt x="377" y="1741"/>
                  </a:lnTo>
                  <a:lnTo>
                    <a:pt x="398" y="1770"/>
                  </a:lnTo>
                  <a:lnTo>
                    <a:pt x="414" y="1804"/>
                  </a:lnTo>
                  <a:lnTo>
                    <a:pt x="424" y="1840"/>
                  </a:lnTo>
                  <a:lnTo>
                    <a:pt x="427" y="1878"/>
                  </a:lnTo>
                  <a:lnTo>
                    <a:pt x="424" y="1917"/>
                  </a:lnTo>
                  <a:lnTo>
                    <a:pt x="414" y="1953"/>
                  </a:lnTo>
                  <a:lnTo>
                    <a:pt x="398" y="1985"/>
                  </a:lnTo>
                  <a:lnTo>
                    <a:pt x="377" y="2016"/>
                  </a:lnTo>
                  <a:lnTo>
                    <a:pt x="351" y="2041"/>
                  </a:lnTo>
                  <a:lnTo>
                    <a:pt x="322" y="2062"/>
                  </a:lnTo>
                  <a:lnTo>
                    <a:pt x="288" y="2077"/>
                  </a:lnTo>
                  <a:lnTo>
                    <a:pt x="252" y="2088"/>
                  </a:lnTo>
                  <a:lnTo>
                    <a:pt x="214" y="2091"/>
                  </a:lnTo>
                  <a:lnTo>
                    <a:pt x="175" y="2088"/>
                  </a:lnTo>
                  <a:lnTo>
                    <a:pt x="139" y="2077"/>
                  </a:lnTo>
                  <a:lnTo>
                    <a:pt x="107" y="2062"/>
                  </a:lnTo>
                  <a:lnTo>
                    <a:pt x="78" y="2041"/>
                  </a:lnTo>
                  <a:lnTo>
                    <a:pt x="52" y="2016"/>
                  </a:lnTo>
                  <a:lnTo>
                    <a:pt x="30" y="1986"/>
                  </a:lnTo>
                  <a:lnTo>
                    <a:pt x="15" y="1954"/>
                  </a:lnTo>
                  <a:lnTo>
                    <a:pt x="4" y="1918"/>
                  </a:lnTo>
                  <a:lnTo>
                    <a:pt x="1" y="1880"/>
                  </a:lnTo>
                  <a:lnTo>
                    <a:pt x="1" y="1880"/>
                  </a:lnTo>
                  <a:lnTo>
                    <a:pt x="0" y="1880"/>
                  </a:lnTo>
                  <a:lnTo>
                    <a:pt x="0" y="1878"/>
                  </a:lnTo>
                  <a:lnTo>
                    <a:pt x="0" y="1878"/>
                  </a:lnTo>
                  <a:lnTo>
                    <a:pt x="0" y="1877"/>
                  </a:lnTo>
                  <a:lnTo>
                    <a:pt x="0" y="1876"/>
                  </a:lnTo>
                  <a:lnTo>
                    <a:pt x="0" y="1873"/>
                  </a:lnTo>
                  <a:lnTo>
                    <a:pt x="0" y="1869"/>
                  </a:lnTo>
                  <a:lnTo>
                    <a:pt x="0" y="1864"/>
                  </a:lnTo>
                  <a:lnTo>
                    <a:pt x="0" y="1856"/>
                  </a:lnTo>
                  <a:lnTo>
                    <a:pt x="0" y="1847"/>
                  </a:lnTo>
                  <a:lnTo>
                    <a:pt x="0" y="1836"/>
                  </a:lnTo>
                  <a:lnTo>
                    <a:pt x="0" y="1821"/>
                  </a:lnTo>
                  <a:lnTo>
                    <a:pt x="0" y="1804"/>
                  </a:lnTo>
                  <a:lnTo>
                    <a:pt x="0" y="1785"/>
                  </a:lnTo>
                  <a:lnTo>
                    <a:pt x="0" y="1761"/>
                  </a:lnTo>
                  <a:lnTo>
                    <a:pt x="0" y="1736"/>
                  </a:lnTo>
                  <a:lnTo>
                    <a:pt x="0" y="1705"/>
                  </a:lnTo>
                  <a:lnTo>
                    <a:pt x="0" y="1670"/>
                  </a:lnTo>
                  <a:lnTo>
                    <a:pt x="0" y="1632"/>
                  </a:lnTo>
                  <a:lnTo>
                    <a:pt x="0" y="1588"/>
                  </a:lnTo>
                  <a:lnTo>
                    <a:pt x="0" y="1541"/>
                  </a:lnTo>
                  <a:lnTo>
                    <a:pt x="0" y="1488"/>
                  </a:lnTo>
                  <a:lnTo>
                    <a:pt x="0" y="1430"/>
                  </a:lnTo>
                  <a:lnTo>
                    <a:pt x="0" y="1366"/>
                  </a:lnTo>
                  <a:lnTo>
                    <a:pt x="0" y="1297"/>
                  </a:lnTo>
                  <a:lnTo>
                    <a:pt x="0" y="1222"/>
                  </a:lnTo>
                  <a:lnTo>
                    <a:pt x="0" y="1140"/>
                  </a:lnTo>
                  <a:lnTo>
                    <a:pt x="0" y="1052"/>
                  </a:lnTo>
                  <a:lnTo>
                    <a:pt x="0" y="956"/>
                  </a:lnTo>
                  <a:lnTo>
                    <a:pt x="0" y="854"/>
                  </a:lnTo>
                  <a:lnTo>
                    <a:pt x="0" y="745"/>
                  </a:lnTo>
                  <a:lnTo>
                    <a:pt x="0" y="628"/>
                  </a:lnTo>
                  <a:lnTo>
                    <a:pt x="0" y="504"/>
                  </a:lnTo>
                  <a:lnTo>
                    <a:pt x="0" y="372"/>
                  </a:lnTo>
                  <a:lnTo>
                    <a:pt x="0" y="230"/>
                  </a:lnTo>
                  <a:lnTo>
                    <a:pt x="0" y="82"/>
                  </a:lnTo>
                  <a:lnTo>
                    <a:pt x="3" y="59"/>
                  </a:lnTo>
                  <a:lnTo>
                    <a:pt x="11" y="40"/>
                  </a:lnTo>
                  <a:lnTo>
                    <a:pt x="24" y="24"/>
                  </a:lnTo>
                  <a:lnTo>
                    <a:pt x="40" y="11"/>
                  </a:lnTo>
                  <a:lnTo>
                    <a:pt x="60" y="3"/>
                  </a:lnTo>
                  <a:lnTo>
                    <a:pt x="8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1" name="Group 11"/>
          <p:cNvGrpSpPr>
            <a:grpSpLocks noChangeAspect="1"/>
          </p:cNvGrpSpPr>
          <p:nvPr/>
        </p:nvGrpSpPr>
        <p:grpSpPr bwMode="auto">
          <a:xfrm>
            <a:off x="10863346" y="5468615"/>
            <a:ext cx="523709" cy="523709"/>
            <a:chOff x="6511" y="3239"/>
            <a:chExt cx="483" cy="483"/>
          </a:xfrm>
          <a:solidFill>
            <a:srgbClr val="26867C"/>
          </a:solidFill>
        </p:grpSpPr>
        <p:sp>
          <p:nvSpPr>
            <p:cNvPr id="64" name="Freeform 13"/>
            <p:cNvSpPr>
              <a:spLocks/>
            </p:cNvSpPr>
            <p:nvPr/>
          </p:nvSpPr>
          <p:spPr bwMode="auto">
            <a:xfrm>
              <a:off x="6511" y="3620"/>
              <a:ext cx="314" cy="102"/>
            </a:xfrm>
            <a:custGeom>
              <a:avLst/>
              <a:gdLst>
                <a:gd name="T0" fmla="*/ 255 w 2200"/>
                <a:gd name="T1" fmla="*/ 0 h 717"/>
                <a:gd name="T2" fmla="*/ 1946 w 2200"/>
                <a:gd name="T3" fmla="*/ 0 h 717"/>
                <a:gd name="T4" fmla="*/ 1984 w 2200"/>
                <a:gd name="T5" fmla="*/ 3 h 717"/>
                <a:gd name="T6" fmla="*/ 2019 w 2200"/>
                <a:gd name="T7" fmla="*/ 12 h 717"/>
                <a:gd name="T8" fmla="*/ 2053 w 2200"/>
                <a:gd name="T9" fmla="*/ 24 h 717"/>
                <a:gd name="T10" fmla="*/ 2084 w 2200"/>
                <a:gd name="T11" fmla="*/ 41 h 717"/>
                <a:gd name="T12" fmla="*/ 2113 w 2200"/>
                <a:gd name="T13" fmla="*/ 63 h 717"/>
                <a:gd name="T14" fmla="*/ 2138 w 2200"/>
                <a:gd name="T15" fmla="*/ 88 h 717"/>
                <a:gd name="T16" fmla="*/ 2159 w 2200"/>
                <a:gd name="T17" fmla="*/ 116 h 717"/>
                <a:gd name="T18" fmla="*/ 2177 w 2200"/>
                <a:gd name="T19" fmla="*/ 147 h 717"/>
                <a:gd name="T20" fmla="*/ 2189 w 2200"/>
                <a:gd name="T21" fmla="*/ 181 h 717"/>
                <a:gd name="T22" fmla="*/ 2197 w 2200"/>
                <a:gd name="T23" fmla="*/ 217 h 717"/>
                <a:gd name="T24" fmla="*/ 2200 w 2200"/>
                <a:gd name="T25" fmla="*/ 255 h 717"/>
                <a:gd name="T26" fmla="*/ 2200 w 2200"/>
                <a:gd name="T27" fmla="*/ 717 h 717"/>
                <a:gd name="T28" fmla="*/ 0 w 2200"/>
                <a:gd name="T29" fmla="*/ 717 h 717"/>
                <a:gd name="T30" fmla="*/ 0 w 2200"/>
                <a:gd name="T31" fmla="*/ 255 h 717"/>
                <a:gd name="T32" fmla="*/ 3 w 2200"/>
                <a:gd name="T33" fmla="*/ 217 h 717"/>
                <a:gd name="T34" fmla="*/ 10 w 2200"/>
                <a:gd name="T35" fmla="*/ 181 h 717"/>
                <a:gd name="T36" fmla="*/ 24 w 2200"/>
                <a:gd name="T37" fmla="*/ 147 h 717"/>
                <a:gd name="T38" fmla="*/ 41 w 2200"/>
                <a:gd name="T39" fmla="*/ 116 h 717"/>
                <a:gd name="T40" fmla="*/ 63 w 2200"/>
                <a:gd name="T41" fmla="*/ 88 h 717"/>
                <a:gd name="T42" fmla="*/ 87 w 2200"/>
                <a:gd name="T43" fmla="*/ 63 h 717"/>
                <a:gd name="T44" fmla="*/ 116 w 2200"/>
                <a:gd name="T45" fmla="*/ 41 h 717"/>
                <a:gd name="T46" fmla="*/ 147 w 2200"/>
                <a:gd name="T47" fmla="*/ 24 h 717"/>
                <a:gd name="T48" fmla="*/ 181 w 2200"/>
                <a:gd name="T49" fmla="*/ 12 h 717"/>
                <a:gd name="T50" fmla="*/ 217 w 2200"/>
                <a:gd name="T51" fmla="*/ 3 h 717"/>
                <a:gd name="T52" fmla="*/ 255 w 2200"/>
                <a:gd name="T53" fmla="*/ 0 h 7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200" h="717">
                  <a:moveTo>
                    <a:pt x="255" y="0"/>
                  </a:moveTo>
                  <a:lnTo>
                    <a:pt x="1946" y="0"/>
                  </a:lnTo>
                  <a:lnTo>
                    <a:pt x="1984" y="3"/>
                  </a:lnTo>
                  <a:lnTo>
                    <a:pt x="2019" y="12"/>
                  </a:lnTo>
                  <a:lnTo>
                    <a:pt x="2053" y="24"/>
                  </a:lnTo>
                  <a:lnTo>
                    <a:pt x="2084" y="41"/>
                  </a:lnTo>
                  <a:lnTo>
                    <a:pt x="2113" y="63"/>
                  </a:lnTo>
                  <a:lnTo>
                    <a:pt x="2138" y="88"/>
                  </a:lnTo>
                  <a:lnTo>
                    <a:pt x="2159" y="116"/>
                  </a:lnTo>
                  <a:lnTo>
                    <a:pt x="2177" y="147"/>
                  </a:lnTo>
                  <a:lnTo>
                    <a:pt x="2189" y="181"/>
                  </a:lnTo>
                  <a:lnTo>
                    <a:pt x="2197" y="217"/>
                  </a:lnTo>
                  <a:lnTo>
                    <a:pt x="2200" y="255"/>
                  </a:lnTo>
                  <a:lnTo>
                    <a:pt x="2200" y="717"/>
                  </a:lnTo>
                  <a:lnTo>
                    <a:pt x="0" y="717"/>
                  </a:lnTo>
                  <a:lnTo>
                    <a:pt x="0" y="255"/>
                  </a:lnTo>
                  <a:lnTo>
                    <a:pt x="3" y="217"/>
                  </a:lnTo>
                  <a:lnTo>
                    <a:pt x="10" y="181"/>
                  </a:lnTo>
                  <a:lnTo>
                    <a:pt x="24" y="147"/>
                  </a:lnTo>
                  <a:lnTo>
                    <a:pt x="41" y="116"/>
                  </a:lnTo>
                  <a:lnTo>
                    <a:pt x="63" y="88"/>
                  </a:lnTo>
                  <a:lnTo>
                    <a:pt x="87" y="63"/>
                  </a:lnTo>
                  <a:lnTo>
                    <a:pt x="116" y="41"/>
                  </a:lnTo>
                  <a:lnTo>
                    <a:pt x="147" y="24"/>
                  </a:lnTo>
                  <a:lnTo>
                    <a:pt x="181" y="12"/>
                  </a:lnTo>
                  <a:lnTo>
                    <a:pt x="217" y="3"/>
                  </a:lnTo>
                  <a:lnTo>
                    <a:pt x="25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14"/>
            <p:cNvSpPr>
              <a:spLocks/>
            </p:cNvSpPr>
            <p:nvPr/>
          </p:nvSpPr>
          <p:spPr bwMode="auto">
            <a:xfrm>
              <a:off x="6570" y="3239"/>
              <a:ext cx="424" cy="424"/>
            </a:xfrm>
            <a:custGeom>
              <a:avLst/>
              <a:gdLst>
                <a:gd name="T0" fmla="*/ 1118 w 2969"/>
                <a:gd name="T1" fmla="*/ 0 h 2968"/>
                <a:gd name="T2" fmla="*/ 1165 w 2969"/>
                <a:gd name="T3" fmla="*/ 8 h 2968"/>
                <a:gd name="T4" fmla="*/ 1206 w 2969"/>
                <a:gd name="T5" fmla="*/ 36 h 2968"/>
                <a:gd name="T6" fmla="*/ 1865 w 2969"/>
                <a:gd name="T7" fmla="*/ 699 h 2968"/>
                <a:gd name="T8" fmla="*/ 1884 w 2969"/>
                <a:gd name="T9" fmla="*/ 743 h 2968"/>
                <a:gd name="T10" fmla="*/ 1884 w 2969"/>
                <a:gd name="T11" fmla="*/ 792 h 2968"/>
                <a:gd name="T12" fmla="*/ 1865 w 2969"/>
                <a:gd name="T13" fmla="*/ 837 h 2968"/>
                <a:gd name="T14" fmla="*/ 1831 w 2969"/>
                <a:gd name="T15" fmla="*/ 872 h 2968"/>
                <a:gd name="T16" fmla="*/ 1788 w 2969"/>
                <a:gd name="T17" fmla="*/ 890 h 2968"/>
                <a:gd name="T18" fmla="*/ 1742 w 2969"/>
                <a:gd name="T19" fmla="*/ 891 h 2968"/>
                <a:gd name="T20" fmla="*/ 1698 w 2969"/>
                <a:gd name="T21" fmla="*/ 876 h 2968"/>
                <a:gd name="T22" fmla="*/ 1380 w 2969"/>
                <a:gd name="T23" fmla="*/ 1159 h 2968"/>
                <a:gd name="T24" fmla="*/ 2942 w 2969"/>
                <a:gd name="T25" fmla="*/ 2725 h 2968"/>
                <a:gd name="T26" fmla="*/ 2965 w 2969"/>
                <a:gd name="T27" fmla="*/ 2774 h 2968"/>
                <a:gd name="T28" fmla="*/ 2969 w 2969"/>
                <a:gd name="T29" fmla="*/ 2827 h 2968"/>
                <a:gd name="T30" fmla="*/ 2956 w 2969"/>
                <a:gd name="T31" fmla="*/ 2878 h 2968"/>
                <a:gd name="T32" fmla="*/ 2924 w 2969"/>
                <a:gd name="T33" fmla="*/ 2923 h 2968"/>
                <a:gd name="T34" fmla="*/ 2879 w 2969"/>
                <a:gd name="T35" fmla="*/ 2955 h 2968"/>
                <a:gd name="T36" fmla="*/ 2827 w 2969"/>
                <a:gd name="T37" fmla="*/ 2968 h 2968"/>
                <a:gd name="T38" fmla="*/ 2775 w 2969"/>
                <a:gd name="T39" fmla="*/ 2964 h 2968"/>
                <a:gd name="T40" fmla="*/ 2726 w 2969"/>
                <a:gd name="T41" fmla="*/ 2942 h 2968"/>
                <a:gd name="T42" fmla="*/ 1160 w 2969"/>
                <a:gd name="T43" fmla="*/ 1380 h 2968"/>
                <a:gd name="T44" fmla="*/ 856 w 2969"/>
                <a:gd name="T45" fmla="*/ 1673 h 2968"/>
                <a:gd name="T46" fmla="*/ 884 w 2969"/>
                <a:gd name="T47" fmla="*/ 1714 h 2968"/>
                <a:gd name="T48" fmla="*/ 893 w 2969"/>
                <a:gd name="T49" fmla="*/ 1761 h 2968"/>
                <a:gd name="T50" fmla="*/ 884 w 2969"/>
                <a:gd name="T51" fmla="*/ 1808 h 2968"/>
                <a:gd name="T52" fmla="*/ 856 w 2969"/>
                <a:gd name="T53" fmla="*/ 1849 h 2968"/>
                <a:gd name="T54" fmla="*/ 815 w 2969"/>
                <a:gd name="T55" fmla="*/ 1877 h 2968"/>
                <a:gd name="T56" fmla="*/ 768 w 2969"/>
                <a:gd name="T57" fmla="*/ 1886 h 2968"/>
                <a:gd name="T58" fmla="*/ 720 w 2969"/>
                <a:gd name="T59" fmla="*/ 1877 h 2968"/>
                <a:gd name="T60" fmla="*/ 679 w 2969"/>
                <a:gd name="T61" fmla="*/ 1849 h 2968"/>
                <a:gd name="T62" fmla="*/ 20 w 2969"/>
                <a:gd name="T63" fmla="*/ 1187 h 2968"/>
                <a:gd name="T64" fmla="*/ 2 w 2969"/>
                <a:gd name="T65" fmla="*/ 1142 h 2968"/>
                <a:gd name="T66" fmla="*/ 2 w 2969"/>
                <a:gd name="T67" fmla="*/ 1095 h 2968"/>
                <a:gd name="T68" fmla="*/ 20 w 2969"/>
                <a:gd name="T69" fmla="*/ 1049 h 2968"/>
                <a:gd name="T70" fmla="*/ 56 w 2969"/>
                <a:gd name="T71" fmla="*/ 1013 h 2968"/>
                <a:gd name="T72" fmla="*/ 101 w 2969"/>
                <a:gd name="T73" fmla="*/ 995 h 2968"/>
                <a:gd name="T74" fmla="*/ 149 w 2969"/>
                <a:gd name="T75" fmla="*/ 995 h 2968"/>
                <a:gd name="T76" fmla="*/ 194 w 2969"/>
                <a:gd name="T77" fmla="*/ 1013 h 2968"/>
                <a:gd name="T78" fmla="*/ 208 w 2969"/>
                <a:gd name="T79" fmla="*/ 1024 h 2968"/>
                <a:gd name="T80" fmla="*/ 1030 w 2969"/>
                <a:gd name="T81" fmla="*/ 213 h 2968"/>
                <a:gd name="T82" fmla="*/ 1002 w 2969"/>
                <a:gd name="T83" fmla="*/ 172 h 2968"/>
                <a:gd name="T84" fmla="*/ 993 w 2969"/>
                <a:gd name="T85" fmla="*/ 124 h 2968"/>
                <a:gd name="T86" fmla="*/ 1002 w 2969"/>
                <a:gd name="T87" fmla="*/ 78 h 2968"/>
                <a:gd name="T88" fmla="*/ 1030 w 2969"/>
                <a:gd name="T89" fmla="*/ 36 h 2968"/>
                <a:gd name="T90" fmla="*/ 1072 w 2969"/>
                <a:gd name="T91" fmla="*/ 8 h 2968"/>
                <a:gd name="T92" fmla="*/ 1118 w 2969"/>
                <a:gd name="T93" fmla="*/ 0 h 2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969" h="2968">
                  <a:moveTo>
                    <a:pt x="1118" y="0"/>
                  </a:moveTo>
                  <a:lnTo>
                    <a:pt x="1118" y="0"/>
                  </a:lnTo>
                  <a:lnTo>
                    <a:pt x="1142" y="2"/>
                  </a:lnTo>
                  <a:lnTo>
                    <a:pt x="1165" y="8"/>
                  </a:lnTo>
                  <a:lnTo>
                    <a:pt x="1187" y="21"/>
                  </a:lnTo>
                  <a:lnTo>
                    <a:pt x="1206" y="36"/>
                  </a:lnTo>
                  <a:lnTo>
                    <a:pt x="1850" y="679"/>
                  </a:lnTo>
                  <a:lnTo>
                    <a:pt x="1865" y="699"/>
                  </a:lnTo>
                  <a:lnTo>
                    <a:pt x="1877" y="721"/>
                  </a:lnTo>
                  <a:lnTo>
                    <a:pt x="1884" y="743"/>
                  </a:lnTo>
                  <a:lnTo>
                    <a:pt x="1886" y="768"/>
                  </a:lnTo>
                  <a:lnTo>
                    <a:pt x="1884" y="792"/>
                  </a:lnTo>
                  <a:lnTo>
                    <a:pt x="1877" y="814"/>
                  </a:lnTo>
                  <a:lnTo>
                    <a:pt x="1865" y="837"/>
                  </a:lnTo>
                  <a:lnTo>
                    <a:pt x="1850" y="856"/>
                  </a:lnTo>
                  <a:lnTo>
                    <a:pt x="1831" y="872"/>
                  </a:lnTo>
                  <a:lnTo>
                    <a:pt x="1810" y="883"/>
                  </a:lnTo>
                  <a:lnTo>
                    <a:pt x="1788" y="890"/>
                  </a:lnTo>
                  <a:lnTo>
                    <a:pt x="1765" y="892"/>
                  </a:lnTo>
                  <a:lnTo>
                    <a:pt x="1742" y="891"/>
                  </a:lnTo>
                  <a:lnTo>
                    <a:pt x="1719" y="885"/>
                  </a:lnTo>
                  <a:lnTo>
                    <a:pt x="1698" y="876"/>
                  </a:lnTo>
                  <a:lnTo>
                    <a:pt x="1678" y="861"/>
                  </a:lnTo>
                  <a:lnTo>
                    <a:pt x="1380" y="1159"/>
                  </a:lnTo>
                  <a:lnTo>
                    <a:pt x="2924" y="2703"/>
                  </a:lnTo>
                  <a:lnTo>
                    <a:pt x="2942" y="2725"/>
                  </a:lnTo>
                  <a:lnTo>
                    <a:pt x="2956" y="2748"/>
                  </a:lnTo>
                  <a:lnTo>
                    <a:pt x="2965" y="2774"/>
                  </a:lnTo>
                  <a:lnTo>
                    <a:pt x="2969" y="2800"/>
                  </a:lnTo>
                  <a:lnTo>
                    <a:pt x="2969" y="2827"/>
                  </a:lnTo>
                  <a:lnTo>
                    <a:pt x="2965" y="2853"/>
                  </a:lnTo>
                  <a:lnTo>
                    <a:pt x="2956" y="2878"/>
                  </a:lnTo>
                  <a:lnTo>
                    <a:pt x="2942" y="2901"/>
                  </a:lnTo>
                  <a:lnTo>
                    <a:pt x="2924" y="2923"/>
                  </a:lnTo>
                  <a:lnTo>
                    <a:pt x="2902" y="2942"/>
                  </a:lnTo>
                  <a:lnTo>
                    <a:pt x="2879" y="2955"/>
                  </a:lnTo>
                  <a:lnTo>
                    <a:pt x="2854" y="2964"/>
                  </a:lnTo>
                  <a:lnTo>
                    <a:pt x="2827" y="2968"/>
                  </a:lnTo>
                  <a:lnTo>
                    <a:pt x="2801" y="2968"/>
                  </a:lnTo>
                  <a:lnTo>
                    <a:pt x="2775" y="2964"/>
                  </a:lnTo>
                  <a:lnTo>
                    <a:pt x="2749" y="2955"/>
                  </a:lnTo>
                  <a:lnTo>
                    <a:pt x="2726" y="2942"/>
                  </a:lnTo>
                  <a:lnTo>
                    <a:pt x="2704" y="2923"/>
                  </a:lnTo>
                  <a:lnTo>
                    <a:pt x="1160" y="1380"/>
                  </a:lnTo>
                  <a:lnTo>
                    <a:pt x="862" y="1678"/>
                  </a:lnTo>
                  <a:lnTo>
                    <a:pt x="856" y="1673"/>
                  </a:lnTo>
                  <a:lnTo>
                    <a:pt x="872" y="1692"/>
                  </a:lnTo>
                  <a:lnTo>
                    <a:pt x="884" y="1714"/>
                  </a:lnTo>
                  <a:lnTo>
                    <a:pt x="891" y="1737"/>
                  </a:lnTo>
                  <a:lnTo>
                    <a:pt x="893" y="1761"/>
                  </a:lnTo>
                  <a:lnTo>
                    <a:pt x="891" y="1784"/>
                  </a:lnTo>
                  <a:lnTo>
                    <a:pt x="884" y="1808"/>
                  </a:lnTo>
                  <a:lnTo>
                    <a:pt x="872" y="1830"/>
                  </a:lnTo>
                  <a:lnTo>
                    <a:pt x="856" y="1849"/>
                  </a:lnTo>
                  <a:lnTo>
                    <a:pt x="837" y="1866"/>
                  </a:lnTo>
                  <a:lnTo>
                    <a:pt x="815" y="1877"/>
                  </a:lnTo>
                  <a:lnTo>
                    <a:pt x="792" y="1884"/>
                  </a:lnTo>
                  <a:lnTo>
                    <a:pt x="768" y="1886"/>
                  </a:lnTo>
                  <a:lnTo>
                    <a:pt x="744" y="1884"/>
                  </a:lnTo>
                  <a:lnTo>
                    <a:pt x="720" y="1877"/>
                  </a:lnTo>
                  <a:lnTo>
                    <a:pt x="699" y="1866"/>
                  </a:lnTo>
                  <a:lnTo>
                    <a:pt x="679" y="1849"/>
                  </a:lnTo>
                  <a:lnTo>
                    <a:pt x="37" y="1206"/>
                  </a:lnTo>
                  <a:lnTo>
                    <a:pt x="20" y="1187"/>
                  </a:lnTo>
                  <a:lnTo>
                    <a:pt x="9" y="1165"/>
                  </a:lnTo>
                  <a:lnTo>
                    <a:pt x="2" y="1142"/>
                  </a:lnTo>
                  <a:lnTo>
                    <a:pt x="0" y="1118"/>
                  </a:lnTo>
                  <a:lnTo>
                    <a:pt x="2" y="1095"/>
                  </a:lnTo>
                  <a:lnTo>
                    <a:pt x="9" y="1071"/>
                  </a:lnTo>
                  <a:lnTo>
                    <a:pt x="20" y="1049"/>
                  </a:lnTo>
                  <a:lnTo>
                    <a:pt x="37" y="1030"/>
                  </a:lnTo>
                  <a:lnTo>
                    <a:pt x="56" y="1013"/>
                  </a:lnTo>
                  <a:lnTo>
                    <a:pt x="78" y="1002"/>
                  </a:lnTo>
                  <a:lnTo>
                    <a:pt x="101" y="995"/>
                  </a:lnTo>
                  <a:lnTo>
                    <a:pt x="125" y="993"/>
                  </a:lnTo>
                  <a:lnTo>
                    <a:pt x="149" y="995"/>
                  </a:lnTo>
                  <a:lnTo>
                    <a:pt x="172" y="1002"/>
                  </a:lnTo>
                  <a:lnTo>
                    <a:pt x="194" y="1013"/>
                  </a:lnTo>
                  <a:lnTo>
                    <a:pt x="213" y="1030"/>
                  </a:lnTo>
                  <a:lnTo>
                    <a:pt x="208" y="1024"/>
                  </a:lnTo>
                  <a:lnTo>
                    <a:pt x="1024" y="207"/>
                  </a:lnTo>
                  <a:lnTo>
                    <a:pt x="1030" y="213"/>
                  </a:lnTo>
                  <a:lnTo>
                    <a:pt x="1014" y="193"/>
                  </a:lnTo>
                  <a:lnTo>
                    <a:pt x="1002" y="172"/>
                  </a:lnTo>
                  <a:lnTo>
                    <a:pt x="996" y="149"/>
                  </a:lnTo>
                  <a:lnTo>
                    <a:pt x="993" y="124"/>
                  </a:lnTo>
                  <a:lnTo>
                    <a:pt x="996" y="101"/>
                  </a:lnTo>
                  <a:lnTo>
                    <a:pt x="1002" y="78"/>
                  </a:lnTo>
                  <a:lnTo>
                    <a:pt x="1014" y="56"/>
                  </a:lnTo>
                  <a:lnTo>
                    <a:pt x="1030" y="36"/>
                  </a:lnTo>
                  <a:lnTo>
                    <a:pt x="1049" y="21"/>
                  </a:lnTo>
                  <a:lnTo>
                    <a:pt x="1072" y="8"/>
                  </a:lnTo>
                  <a:lnTo>
                    <a:pt x="1094" y="2"/>
                  </a:lnTo>
                  <a:lnTo>
                    <a:pt x="11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1434041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S OF PRENUTIAL AGREE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6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1478280" y="1447800"/>
            <a:ext cx="1010412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rtlCol="0" anchor="ctr"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ecuring a fulfilling long term relationship</a:t>
            </a:r>
          </a:p>
        </p:txBody>
      </p:sp>
      <p:sp>
        <p:nvSpPr>
          <p:cNvPr id="6" name="Rectangle 5"/>
          <p:cNvSpPr/>
          <p:nvPr/>
        </p:nvSpPr>
        <p:spPr>
          <a:xfrm>
            <a:off x="1478280" y="2408035"/>
            <a:ext cx="1010412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ecuring the couple’s needs for beneficial planning.</a:t>
            </a:r>
          </a:p>
        </p:txBody>
      </p:sp>
      <p:sp>
        <p:nvSpPr>
          <p:cNvPr id="7" name="Rectangle 6"/>
          <p:cNvSpPr/>
          <p:nvPr/>
        </p:nvSpPr>
        <p:spPr>
          <a:xfrm>
            <a:off x="1478280" y="3368269"/>
            <a:ext cx="1010412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reates trust and confidence</a:t>
            </a:r>
          </a:p>
        </p:txBody>
      </p:sp>
      <p:sp>
        <p:nvSpPr>
          <p:cNvPr id="8" name="Rectangle 7"/>
          <p:cNvSpPr/>
          <p:nvPr/>
        </p:nvSpPr>
        <p:spPr>
          <a:xfrm>
            <a:off x="1478280" y="4328504"/>
            <a:ext cx="1010412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Keeps the family business in the “bloodline”.</a:t>
            </a:r>
          </a:p>
        </p:txBody>
      </p:sp>
      <p:sp>
        <p:nvSpPr>
          <p:cNvPr id="9" name="Rectangle 8"/>
          <p:cNvSpPr/>
          <p:nvPr/>
        </p:nvSpPr>
        <p:spPr>
          <a:xfrm>
            <a:off x="1478280" y="5288739"/>
            <a:ext cx="1010412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tects assets from claims of creditors of the other spouse.</a:t>
            </a:r>
          </a:p>
        </p:txBody>
      </p:sp>
      <p:sp>
        <p:nvSpPr>
          <p:cNvPr id="10" name="Pentagon 9"/>
          <p:cNvSpPr/>
          <p:nvPr/>
        </p:nvSpPr>
        <p:spPr>
          <a:xfrm>
            <a:off x="609600" y="1447800"/>
            <a:ext cx="1005840" cy="883920"/>
          </a:xfrm>
          <a:prstGeom prst="homePlate">
            <a:avLst>
              <a:gd name="adj" fmla="val 13793"/>
            </a:avLst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entagon 10"/>
          <p:cNvSpPr/>
          <p:nvPr/>
        </p:nvSpPr>
        <p:spPr>
          <a:xfrm>
            <a:off x="609600" y="2408035"/>
            <a:ext cx="1005840" cy="883920"/>
          </a:xfrm>
          <a:prstGeom prst="homePlate">
            <a:avLst>
              <a:gd name="adj" fmla="val 13793"/>
            </a:avLst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entagon 11"/>
          <p:cNvSpPr/>
          <p:nvPr/>
        </p:nvSpPr>
        <p:spPr>
          <a:xfrm>
            <a:off x="609600" y="3368270"/>
            <a:ext cx="1005840" cy="883920"/>
          </a:xfrm>
          <a:prstGeom prst="homePlate">
            <a:avLst>
              <a:gd name="adj" fmla="val 13793"/>
            </a:avLst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entagon 12"/>
          <p:cNvSpPr/>
          <p:nvPr/>
        </p:nvSpPr>
        <p:spPr>
          <a:xfrm>
            <a:off x="609600" y="4328505"/>
            <a:ext cx="1005840" cy="883920"/>
          </a:xfrm>
          <a:prstGeom prst="homePlate">
            <a:avLst>
              <a:gd name="adj" fmla="val 13793"/>
            </a:avLst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entagon 13"/>
          <p:cNvSpPr/>
          <p:nvPr/>
        </p:nvSpPr>
        <p:spPr>
          <a:xfrm>
            <a:off x="609600" y="5288739"/>
            <a:ext cx="1005840" cy="883920"/>
          </a:xfrm>
          <a:prstGeom prst="homePlate">
            <a:avLst>
              <a:gd name="adj" fmla="val 13793"/>
            </a:avLst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11518993" y="1447800"/>
            <a:ext cx="63407" cy="883920"/>
          </a:xfrm>
          <a:prstGeom prst="rect">
            <a:avLst/>
          </a:prstGeom>
          <a:solidFill>
            <a:srgbClr val="268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1518993" y="2407920"/>
            <a:ext cx="63407" cy="883920"/>
          </a:xfrm>
          <a:prstGeom prst="rect">
            <a:avLst/>
          </a:prstGeom>
          <a:solidFill>
            <a:srgbClr val="268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11518993" y="3368040"/>
            <a:ext cx="63407" cy="883920"/>
          </a:xfrm>
          <a:prstGeom prst="rect">
            <a:avLst/>
          </a:prstGeom>
          <a:solidFill>
            <a:srgbClr val="268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11518993" y="4328160"/>
            <a:ext cx="63407" cy="883920"/>
          </a:xfrm>
          <a:prstGeom prst="rect">
            <a:avLst/>
          </a:prstGeom>
          <a:solidFill>
            <a:srgbClr val="268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11518993" y="5288280"/>
            <a:ext cx="63407" cy="883920"/>
          </a:xfrm>
          <a:prstGeom prst="rect">
            <a:avLst/>
          </a:prstGeom>
          <a:solidFill>
            <a:srgbClr val="268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Chevron 19"/>
          <p:cNvSpPr/>
          <p:nvPr/>
        </p:nvSpPr>
        <p:spPr>
          <a:xfrm>
            <a:off x="1415039" y="1447800"/>
            <a:ext cx="200401" cy="883461"/>
          </a:xfrm>
          <a:prstGeom prst="chevron">
            <a:avLst>
              <a:gd name="adj" fmla="val 60288"/>
            </a:avLst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Chevron 20"/>
          <p:cNvSpPr/>
          <p:nvPr/>
        </p:nvSpPr>
        <p:spPr>
          <a:xfrm>
            <a:off x="1415039" y="2408150"/>
            <a:ext cx="200401" cy="883461"/>
          </a:xfrm>
          <a:prstGeom prst="chevron">
            <a:avLst>
              <a:gd name="adj" fmla="val 60288"/>
            </a:avLst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Chevron 21"/>
          <p:cNvSpPr/>
          <p:nvPr/>
        </p:nvSpPr>
        <p:spPr>
          <a:xfrm>
            <a:off x="1415039" y="3368500"/>
            <a:ext cx="200401" cy="883461"/>
          </a:xfrm>
          <a:prstGeom prst="chevron">
            <a:avLst>
              <a:gd name="adj" fmla="val 60288"/>
            </a:avLst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Chevron 22"/>
          <p:cNvSpPr/>
          <p:nvPr/>
        </p:nvSpPr>
        <p:spPr>
          <a:xfrm>
            <a:off x="1415039" y="4328850"/>
            <a:ext cx="200401" cy="883461"/>
          </a:xfrm>
          <a:prstGeom prst="chevron">
            <a:avLst>
              <a:gd name="adj" fmla="val 60288"/>
            </a:avLst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4" name="Chevron 23"/>
          <p:cNvSpPr/>
          <p:nvPr/>
        </p:nvSpPr>
        <p:spPr>
          <a:xfrm>
            <a:off x="1415039" y="5289198"/>
            <a:ext cx="200401" cy="883461"/>
          </a:xfrm>
          <a:prstGeom prst="chevron">
            <a:avLst>
              <a:gd name="adj" fmla="val 60288"/>
            </a:avLst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842161" y="2579487"/>
            <a:ext cx="426701" cy="541016"/>
            <a:chOff x="4144754" y="4230048"/>
            <a:chExt cx="873396" cy="1107388"/>
          </a:xfrm>
          <a:solidFill>
            <a:schemeClr val="bg1"/>
          </a:solidFill>
        </p:grpSpPr>
        <p:grpSp>
          <p:nvGrpSpPr>
            <p:cNvPr id="27" name="Group 26"/>
            <p:cNvGrpSpPr/>
            <p:nvPr/>
          </p:nvGrpSpPr>
          <p:grpSpPr>
            <a:xfrm>
              <a:off x="4144754" y="4230048"/>
              <a:ext cx="682248" cy="1107388"/>
              <a:chOff x="2112134" y="12479"/>
              <a:chExt cx="4134119" cy="6710293"/>
            </a:xfrm>
            <a:grpFill/>
          </p:grpSpPr>
          <p:sp>
            <p:nvSpPr>
              <p:cNvPr id="35" name="Freeform 34"/>
              <p:cNvSpPr/>
              <p:nvPr/>
            </p:nvSpPr>
            <p:spPr>
              <a:xfrm>
                <a:off x="2112134" y="592428"/>
                <a:ext cx="4134119" cy="6130344"/>
              </a:xfrm>
              <a:custGeom>
                <a:avLst/>
                <a:gdLst>
                  <a:gd name="connsiteX0" fmla="*/ 399245 w 4134119"/>
                  <a:gd name="connsiteY0" fmla="*/ 1146220 h 6130344"/>
                  <a:gd name="connsiteX1" fmla="*/ 399245 w 4134119"/>
                  <a:gd name="connsiteY1" fmla="*/ 5550795 h 6130344"/>
                  <a:gd name="connsiteX2" fmla="*/ 3734873 w 4134119"/>
                  <a:gd name="connsiteY2" fmla="*/ 5550795 h 6130344"/>
                  <a:gd name="connsiteX3" fmla="*/ 3734873 w 4134119"/>
                  <a:gd name="connsiteY3" fmla="*/ 1146220 h 6130344"/>
                  <a:gd name="connsiteX4" fmla="*/ 398446 w 4134119"/>
                  <a:gd name="connsiteY4" fmla="*/ 0 h 6130344"/>
                  <a:gd name="connsiteX5" fmla="*/ 862886 w 4134119"/>
                  <a:gd name="connsiteY5" fmla="*/ 0 h 6130344"/>
                  <a:gd name="connsiteX6" fmla="*/ 862886 w 4134119"/>
                  <a:gd name="connsiteY6" fmla="*/ 257429 h 6130344"/>
                  <a:gd name="connsiteX7" fmla="*/ 1197885 w 4134119"/>
                  <a:gd name="connsiteY7" fmla="*/ 592428 h 6130344"/>
                  <a:gd name="connsiteX8" fmla="*/ 2923357 w 4134119"/>
                  <a:gd name="connsiteY8" fmla="*/ 592428 h 6130344"/>
                  <a:gd name="connsiteX9" fmla="*/ 3258356 w 4134119"/>
                  <a:gd name="connsiteY9" fmla="*/ 257429 h 6130344"/>
                  <a:gd name="connsiteX10" fmla="*/ 3258356 w 4134119"/>
                  <a:gd name="connsiteY10" fmla="*/ 0 h 6130344"/>
                  <a:gd name="connsiteX11" fmla="*/ 3735673 w 4134119"/>
                  <a:gd name="connsiteY11" fmla="*/ 0 h 6130344"/>
                  <a:gd name="connsiteX12" fmla="*/ 4134119 w 4134119"/>
                  <a:gd name="connsiteY12" fmla="*/ 398446 h 6130344"/>
                  <a:gd name="connsiteX13" fmla="*/ 4134119 w 4134119"/>
                  <a:gd name="connsiteY13" fmla="*/ 5731898 h 6130344"/>
                  <a:gd name="connsiteX14" fmla="*/ 3735673 w 4134119"/>
                  <a:gd name="connsiteY14" fmla="*/ 6130344 h 6130344"/>
                  <a:gd name="connsiteX15" fmla="*/ 398446 w 4134119"/>
                  <a:gd name="connsiteY15" fmla="*/ 6130344 h 6130344"/>
                  <a:gd name="connsiteX16" fmla="*/ 0 w 4134119"/>
                  <a:gd name="connsiteY16" fmla="*/ 5731898 h 6130344"/>
                  <a:gd name="connsiteX17" fmla="*/ 0 w 4134119"/>
                  <a:gd name="connsiteY17" fmla="*/ 398446 h 6130344"/>
                  <a:gd name="connsiteX18" fmla="*/ 398446 w 4134119"/>
                  <a:gd name="connsiteY18" fmla="*/ 0 h 6130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4134119" h="6130344">
                    <a:moveTo>
                      <a:pt x="399245" y="1146220"/>
                    </a:moveTo>
                    <a:lnTo>
                      <a:pt x="399245" y="5550795"/>
                    </a:lnTo>
                    <a:lnTo>
                      <a:pt x="3734873" y="5550795"/>
                    </a:lnTo>
                    <a:lnTo>
                      <a:pt x="3734873" y="1146220"/>
                    </a:lnTo>
                    <a:close/>
                    <a:moveTo>
                      <a:pt x="398446" y="0"/>
                    </a:moveTo>
                    <a:lnTo>
                      <a:pt x="862886" y="0"/>
                    </a:lnTo>
                    <a:lnTo>
                      <a:pt x="862886" y="257429"/>
                    </a:lnTo>
                    <a:cubicBezTo>
                      <a:pt x="862886" y="442444"/>
                      <a:pt x="1012870" y="592428"/>
                      <a:pt x="1197885" y="592428"/>
                    </a:cubicBezTo>
                    <a:lnTo>
                      <a:pt x="2923357" y="592428"/>
                    </a:lnTo>
                    <a:cubicBezTo>
                      <a:pt x="3108372" y="592428"/>
                      <a:pt x="3258356" y="442444"/>
                      <a:pt x="3258356" y="257429"/>
                    </a:cubicBezTo>
                    <a:lnTo>
                      <a:pt x="3258356" y="0"/>
                    </a:lnTo>
                    <a:lnTo>
                      <a:pt x="3735673" y="0"/>
                    </a:lnTo>
                    <a:cubicBezTo>
                      <a:pt x="3955729" y="0"/>
                      <a:pt x="4134119" y="178390"/>
                      <a:pt x="4134119" y="398446"/>
                    </a:cubicBezTo>
                    <a:lnTo>
                      <a:pt x="4134119" y="5731898"/>
                    </a:lnTo>
                    <a:cubicBezTo>
                      <a:pt x="4134119" y="5951954"/>
                      <a:pt x="3955729" y="6130344"/>
                      <a:pt x="3735673" y="6130344"/>
                    </a:cubicBezTo>
                    <a:lnTo>
                      <a:pt x="398446" y="6130344"/>
                    </a:lnTo>
                    <a:cubicBezTo>
                      <a:pt x="178390" y="6130344"/>
                      <a:pt x="0" y="5951954"/>
                      <a:pt x="0" y="5731898"/>
                    </a:cubicBezTo>
                    <a:lnTo>
                      <a:pt x="0" y="398446"/>
                    </a:lnTo>
                    <a:cubicBezTo>
                      <a:pt x="0" y="178390"/>
                      <a:pt x="178390" y="0"/>
                      <a:pt x="398446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sp>
            <p:nvSpPr>
              <p:cNvPr id="36" name="Freeform 35"/>
              <p:cNvSpPr/>
              <p:nvPr/>
            </p:nvSpPr>
            <p:spPr>
              <a:xfrm>
                <a:off x="3181082" y="12479"/>
                <a:ext cx="1996225" cy="1007769"/>
              </a:xfrm>
              <a:custGeom>
                <a:avLst/>
                <a:gdLst>
                  <a:gd name="connsiteX0" fmla="*/ 998111 w 1996225"/>
                  <a:gd name="connsiteY0" fmla="*/ 180304 h 1007769"/>
                  <a:gd name="connsiteX1" fmla="*/ 759853 w 1996225"/>
                  <a:gd name="connsiteY1" fmla="*/ 418562 h 1007769"/>
                  <a:gd name="connsiteX2" fmla="*/ 998111 w 1996225"/>
                  <a:gd name="connsiteY2" fmla="*/ 656820 h 1007769"/>
                  <a:gd name="connsiteX3" fmla="*/ 1236369 w 1996225"/>
                  <a:gd name="connsiteY3" fmla="*/ 418562 h 1007769"/>
                  <a:gd name="connsiteX4" fmla="*/ 998111 w 1996225"/>
                  <a:gd name="connsiteY4" fmla="*/ 180304 h 1007769"/>
                  <a:gd name="connsiteX5" fmla="*/ 998111 w 1996225"/>
                  <a:gd name="connsiteY5" fmla="*/ 0 h 1007769"/>
                  <a:gd name="connsiteX6" fmla="*/ 1408170 w 1996225"/>
                  <a:gd name="connsiteY6" fmla="*/ 334207 h 1007769"/>
                  <a:gd name="connsiteX7" fmla="*/ 1408559 w 1996225"/>
                  <a:gd name="connsiteY7" fmla="*/ 338068 h 1007769"/>
                  <a:gd name="connsiteX8" fmla="*/ 1897484 w 1996225"/>
                  <a:gd name="connsiteY8" fmla="*/ 338068 h 1007769"/>
                  <a:gd name="connsiteX9" fmla="*/ 1996225 w 1996225"/>
                  <a:gd name="connsiteY9" fmla="*/ 436809 h 1007769"/>
                  <a:gd name="connsiteX10" fmla="*/ 1996225 w 1996225"/>
                  <a:gd name="connsiteY10" fmla="*/ 909028 h 1007769"/>
                  <a:gd name="connsiteX11" fmla="*/ 1897484 w 1996225"/>
                  <a:gd name="connsiteY11" fmla="*/ 1007769 h 1007769"/>
                  <a:gd name="connsiteX12" fmla="*/ 98741 w 1996225"/>
                  <a:gd name="connsiteY12" fmla="*/ 1007769 h 1007769"/>
                  <a:gd name="connsiteX13" fmla="*/ 0 w 1996225"/>
                  <a:gd name="connsiteY13" fmla="*/ 909028 h 1007769"/>
                  <a:gd name="connsiteX14" fmla="*/ 0 w 1996225"/>
                  <a:gd name="connsiteY14" fmla="*/ 436809 h 1007769"/>
                  <a:gd name="connsiteX15" fmla="*/ 98741 w 1996225"/>
                  <a:gd name="connsiteY15" fmla="*/ 338068 h 1007769"/>
                  <a:gd name="connsiteX16" fmla="*/ 587664 w 1996225"/>
                  <a:gd name="connsiteY16" fmla="*/ 338068 h 1007769"/>
                  <a:gd name="connsiteX17" fmla="*/ 588053 w 1996225"/>
                  <a:gd name="connsiteY17" fmla="*/ 334207 h 1007769"/>
                  <a:gd name="connsiteX18" fmla="*/ 998111 w 1996225"/>
                  <a:gd name="connsiteY18" fmla="*/ 0 h 10077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996225" h="1007769">
                    <a:moveTo>
                      <a:pt x="998111" y="180304"/>
                    </a:moveTo>
                    <a:cubicBezTo>
                      <a:pt x="866525" y="180304"/>
                      <a:pt x="759853" y="286976"/>
                      <a:pt x="759853" y="418562"/>
                    </a:cubicBezTo>
                    <a:cubicBezTo>
                      <a:pt x="759853" y="550148"/>
                      <a:pt x="866525" y="656820"/>
                      <a:pt x="998111" y="656820"/>
                    </a:cubicBezTo>
                    <a:cubicBezTo>
                      <a:pt x="1129697" y="656820"/>
                      <a:pt x="1236369" y="550148"/>
                      <a:pt x="1236369" y="418562"/>
                    </a:cubicBezTo>
                    <a:cubicBezTo>
                      <a:pt x="1236369" y="286976"/>
                      <a:pt x="1129697" y="180304"/>
                      <a:pt x="998111" y="180304"/>
                    </a:cubicBezTo>
                    <a:close/>
                    <a:moveTo>
                      <a:pt x="998111" y="0"/>
                    </a:moveTo>
                    <a:cubicBezTo>
                      <a:pt x="1200381" y="0"/>
                      <a:pt x="1369140" y="143476"/>
                      <a:pt x="1408170" y="334207"/>
                    </a:cubicBezTo>
                    <a:lnTo>
                      <a:pt x="1408559" y="338068"/>
                    </a:lnTo>
                    <a:lnTo>
                      <a:pt x="1897484" y="338068"/>
                    </a:lnTo>
                    <a:cubicBezTo>
                      <a:pt x="1952017" y="338068"/>
                      <a:pt x="1996225" y="382276"/>
                      <a:pt x="1996225" y="436809"/>
                    </a:cubicBezTo>
                    <a:lnTo>
                      <a:pt x="1996225" y="909028"/>
                    </a:lnTo>
                    <a:cubicBezTo>
                      <a:pt x="1996225" y="963561"/>
                      <a:pt x="1952017" y="1007769"/>
                      <a:pt x="1897484" y="1007769"/>
                    </a:cubicBezTo>
                    <a:lnTo>
                      <a:pt x="98741" y="1007769"/>
                    </a:lnTo>
                    <a:cubicBezTo>
                      <a:pt x="44208" y="1007769"/>
                      <a:pt x="0" y="963561"/>
                      <a:pt x="0" y="909028"/>
                    </a:cubicBezTo>
                    <a:lnTo>
                      <a:pt x="0" y="436809"/>
                    </a:lnTo>
                    <a:cubicBezTo>
                      <a:pt x="0" y="382276"/>
                      <a:pt x="44208" y="338068"/>
                      <a:pt x="98741" y="338068"/>
                    </a:cubicBezTo>
                    <a:lnTo>
                      <a:pt x="587664" y="338068"/>
                    </a:lnTo>
                    <a:lnTo>
                      <a:pt x="588053" y="334207"/>
                    </a:lnTo>
                    <a:cubicBezTo>
                      <a:pt x="627082" y="143476"/>
                      <a:pt x="795842" y="0"/>
                      <a:pt x="998111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>
                  <a:solidFill>
                    <a:prstClr val="white"/>
                  </a:solidFill>
                </a:endParaRPr>
              </a:p>
            </p:txBody>
          </p:sp>
          <p:grpSp>
            <p:nvGrpSpPr>
              <p:cNvPr id="37" name="Group 36"/>
              <p:cNvGrpSpPr/>
              <p:nvPr/>
            </p:nvGrpSpPr>
            <p:grpSpPr>
              <a:xfrm>
                <a:off x="2979287" y="1957742"/>
                <a:ext cx="1174521" cy="1120738"/>
                <a:chOff x="2971799" y="1957742"/>
                <a:chExt cx="1174521" cy="1120738"/>
              </a:xfrm>
              <a:grpFill/>
            </p:grpSpPr>
            <p:sp>
              <p:nvSpPr>
                <p:cNvPr id="53" name="Freeform 52"/>
                <p:cNvSpPr/>
                <p:nvPr/>
              </p:nvSpPr>
              <p:spPr>
                <a:xfrm>
                  <a:off x="2971799" y="2354580"/>
                  <a:ext cx="543605" cy="723900"/>
                </a:xfrm>
                <a:custGeom>
                  <a:avLst/>
                  <a:gdLst>
                    <a:gd name="connsiteX0" fmla="*/ 432877 w 546522"/>
                    <a:gd name="connsiteY0" fmla="*/ 0 h 723900"/>
                    <a:gd name="connsiteX1" fmla="*/ 457198 w 546522"/>
                    <a:gd name="connsiteY1" fmla="*/ 0 h 723900"/>
                    <a:gd name="connsiteX2" fmla="*/ 541454 w 546522"/>
                    <a:gd name="connsiteY2" fmla="*/ 55849 h 723900"/>
                    <a:gd name="connsiteX3" fmla="*/ 546522 w 546522"/>
                    <a:gd name="connsiteY3" fmla="*/ 80948 h 723900"/>
                    <a:gd name="connsiteX4" fmla="*/ 91442 w 546522"/>
                    <a:gd name="connsiteY4" fmla="*/ 0 h 723900"/>
                    <a:gd name="connsiteX5" fmla="*/ 294237 w 546522"/>
                    <a:gd name="connsiteY5" fmla="*/ 0 h 723900"/>
                    <a:gd name="connsiteX6" fmla="*/ 259248 w 546522"/>
                    <a:gd name="connsiteY6" fmla="*/ 99060 h 723900"/>
                    <a:gd name="connsiteX7" fmla="*/ 147939 w 546522"/>
                    <a:gd name="connsiteY7" fmla="*/ 99060 h 723900"/>
                    <a:gd name="connsiteX8" fmla="*/ 84747 w 546522"/>
                    <a:gd name="connsiteY8" fmla="*/ 162252 h 723900"/>
                    <a:gd name="connsiteX9" fmla="*/ 84747 w 546522"/>
                    <a:gd name="connsiteY9" fmla="*/ 561648 h 723900"/>
                    <a:gd name="connsiteX10" fmla="*/ 147939 w 546522"/>
                    <a:gd name="connsiteY10" fmla="*/ 624840 h 723900"/>
                    <a:gd name="connsiteX11" fmla="*/ 400702 w 546522"/>
                    <a:gd name="connsiteY11" fmla="*/ 624840 h 723900"/>
                    <a:gd name="connsiteX12" fmla="*/ 458928 w 546522"/>
                    <a:gd name="connsiteY12" fmla="*/ 586245 h 723900"/>
                    <a:gd name="connsiteX13" fmla="*/ 460480 w 546522"/>
                    <a:gd name="connsiteY13" fmla="*/ 578560 h 723900"/>
                    <a:gd name="connsiteX14" fmla="*/ 543605 w 546522"/>
                    <a:gd name="connsiteY14" fmla="*/ 657400 h 723900"/>
                    <a:gd name="connsiteX15" fmla="*/ 541454 w 546522"/>
                    <a:gd name="connsiteY15" fmla="*/ 668051 h 723900"/>
                    <a:gd name="connsiteX16" fmla="*/ 457198 w 546522"/>
                    <a:gd name="connsiteY16" fmla="*/ 723900 h 723900"/>
                    <a:gd name="connsiteX17" fmla="*/ 91442 w 546522"/>
                    <a:gd name="connsiteY17" fmla="*/ 723900 h 723900"/>
                    <a:gd name="connsiteX18" fmla="*/ 0 w 546522"/>
                    <a:gd name="connsiteY18" fmla="*/ 632458 h 723900"/>
                    <a:gd name="connsiteX19" fmla="*/ 0 w 546522"/>
                    <a:gd name="connsiteY19" fmla="*/ 91442 h 723900"/>
                    <a:gd name="connsiteX20" fmla="*/ 91442 w 546522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541454 w 543605"/>
                    <a:gd name="connsiteY2" fmla="*/ 55849 h 723900"/>
                    <a:gd name="connsiteX3" fmla="*/ 432877 w 543605"/>
                    <a:gd name="connsiteY3" fmla="*/ 0 h 723900"/>
                    <a:gd name="connsiteX4" fmla="*/ 91442 w 543605"/>
                    <a:gd name="connsiteY4" fmla="*/ 0 h 723900"/>
                    <a:gd name="connsiteX5" fmla="*/ 294237 w 543605"/>
                    <a:gd name="connsiteY5" fmla="*/ 0 h 723900"/>
                    <a:gd name="connsiteX6" fmla="*/ 259248 w 543605"/>
                    <a:gd name="connsiteY6" fmla="*/ 99060 h 723900"/>
                    <a:gd name="connsiteX7" fmla="*/ 147939 w 543605"/>
                    <a:gd name="connsiteY7" fmla="*/ 99060 h 723900"/>
                    <a:gd name="connsiteX8" fmla="*/ 84747 w 543605"/>
                    <a:gd name="connsiteY8" fmla="*/ 162252 h 723900"/>
                    <a:gd name="connsiteX9" fmla="*/ 84747 w 543605"/>
                    <a:gd name="connsiteY9" fmla="*/ 561648 h 723900"/>
                    <a:gd name="connsiteX10" fmla="*/ 147939 w 543605"/>
                    <a:gd name="connsiteY10" fmla="*/ 624840 h 723900"/>
                    <a:gd name="connsiteX11" fmla="*/ 400702 w 543605"/>
                    <a:gd name="connsiteY11" fmla="*/ 624840 h 723900"/>
                    <a:gd name="connsiteX12" fmla="*/ 458928 w 543605"/>
                    <a:gd name="connsiteY12" fmla="*/ 586245 h 723900"/>
                    <a:gd name="connsiteX13" fmla="*/ 460480 w 543605"/>
                    <a:gd name="connsiteY13" fmla="*/ 578560 h 723900"/>
                    <a:gd name="connsiteX14" fmla="*/ 543605 w 543605"/>
                    <a:gd name="connsiteY14" fmla="*/ 657400 h 723900"/>
                    <a:gd name="connsiteX15" fmla="*/ 541454 w 543605"/>
                    <a:gd name="connsiteY15" fmla="*/ 668051 h 723900"/>
                    <a:gd name="connsiteX16" fmla="*/ 457198 w 543605"/>
                    <a:gd name="connsiteY16" fmla="*/ 723900 h 723900"/>
                    <a:gd name="connsiteX17" fmla="*/ 91442 w 543605"/>
                    <a:gd name="connsiteY17" fmla="*/ 723900 h 723900"/>
                    <a:gd name="connsiteX18" fmla="*/ 0 w 543605"/>
                    <a:gd name="connsiteY18" fmla="*/ 632458 h 723900"/>
                    <a:gd name="connsiteX19" fmla="*/ 0 w 543605"/>
                    <a:gd name="connsiteY19" fmla="*/ 91442 h 723900"/>
                    <a:gd name="connsiteX20" fmla="*/ 91442 w 543605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432877 w 543605"/>
                    <a:gd name="connsiteY2" fmla="*/ 0 h 723900"/>
                    <a:gd name="connsiteX3" fmla="*/ 91442 w 543605"/>
                    <a:gd name="connsiteY3" fmla="*/ 0 h 723900"/>
                    <a:gd name="connsiteX4" fmla="*/ 294237 w 543605"/>
                    <a:gd name="connsiteY4" fmla="*/ 0 h 723900"/>
                    <a:gd name="connsiteX5" fmla="*/ 259248 w 543605"/>
                    <a:gd name="connsiteY5" fmla="*/ 99060 h 723900"/>
                    <a:gd name="connsiteX6" fmla="*/ 147939 w 543605"/>
                    <a:gd name="connsiteY6" fmla="*/ 99060 h 723900"/>
                    <a:gd name="connsiteX7" fmla="*/ 84747 w 543605"/>
                    <a:gd name="connsiteY7" fmla="*/ 162252 h 723900"/>
                    <a:gd name="connsiteX8" fmla="*/ 84747 w 543605"/>
                    <a:gd name="connsiteY8" fmla="*/ 561648 h 723900"/>
                    <a:gd name="connsiteX9" fmla="*/ 147939 w 543605"/>
                    <a:gd name="connsiteY9" fmla="*/ 624840 h 723900"/>
                    <a:gd name="connsiteX10" fmla="*/ 400702 w 543605"/>
                    <a:gd name="connsiteY10" fmla="*/ 624840 h 723900"/>
                    <a:gd name="connsiteX11" fmla="*/ 458928 w 543605"/>
                    <a:gd name="connsiteY11" fmla="*/ 586245 h 723900"/>
                    <a:gd name="connsiteX12" fmla="*/ 460480 w 543605"/>
                    <a:gd name="connsiteY12" fmla="*/ 578560 h 723900"/>
                    <a:gd name="connsiteX13" fmla="*/ 543605 w 543605"/>
                    <a:gd name="connsiteY13" fmla="*/ 657400 h 723900"/>
                    <a:gd name="connsiteX14" fmla="*/ 541454 w 543605"/>
                    <a:gd name="connsiteY14" fmla="*/ 668051 h 723900"/>
                    <a:gd name="connsiteX15" fmla="*/ 457198 w 543605"/>
                    <a:gd name="connsiteY15" fmla="*/ 723900 h 723900"/>
                    <a:gd name="connsiteX16" fmla="*/ 91442 w 543605"/>
                    <a:gd name="connsiteY16" fmla="*/ 723900 h 723900"/>
                    <a:gd name="connsiteX17" fmla="*/ 0 w 543605"/>
                    <a:gd name="connsiteY17" fmla="*/ 632458 h 723900"/>
                    <a:gd name="connsiteX18" fmla="*/ 0 w 543605"/>
                    <a:gd name="connsiteY18" fmla="*/ 91442 h 723900"/>
                    <a:gd name="connsiteX19" fmla="*/ 91442 w 543605"/>
                    <a:gd name="connsiteY19" fmla="*/ 0 h 723900"/>
                    <a:gd name="connsiteX0" fmla="*/ 91442 w 543605"/>
                    <a:gd name="connsiteY0" fmla="*/ 0 h 723900"/>
                    <a:gd name="connsiteX1" fmla="*/ 294237 w 543605"/>
                    <a:gd name="connsiteY1" fmla="*/ 0 h 723900"/>
                    <a:gd name="connsiteX2" fmla="*/ 259248 w 543605"/>
                    <a:gd name="connsiteY2" fmla="*/ 99060 h 723900"/>
                    <a:gd name="connsiteX3" fmla="*/ 147939 w 543605"/>
                    <a:gd name="connsiteY3" fmla="*/ 99060 h 723900"/>
                    <a:gd name="connsiteX4" fmla="*/ 84747 w 543605"/>
                    <a:gd name="connsiteY4" fmla="*/ 162252 h 723900"/>
                    <a:gd name="connsiteX5" fmla="*/ 84747 w 543605"/>
                    <a:gd name="connsiteY5" fmla="*/ 561648 h 723900"/>
                    <a:gd name="connsiteX6" fmla="*/ 147939 w 543605"/>
                    <a:gd name="connsiteY6" fmla="*/ 624840 h 723900"/>
                    <a:gd name="connsiteX7" fmla="*/ 400702 w 543605"/>
                    <a:gd name="connsiteY7" fmla="*/ 624840 h 723900"/>
                    <a:gd name="connsiteX8" fmla="*/ 458928 w 543605"/>
                    <a:gd name="connsiteY8" fmla="*/ 586245 h 723900"/>
                    <a:gd name="connsiteX9" fmla="*/ 460480 w 543605"/>
                    <a:gd name="connsiteY9" fmla="*/ 578560 h 723900"/>
                    <a:gd name="connsiteX10" fmla="*/ 543605 w 543605"/>
                    <a:gd name="connsiteY10" fmla="*/ 657400 h 723900"/>
                    <a:gd name="connsiteX11" fmla="*/ 541454 w 543605"/>
                    <a:gd name="connsiteY11" fmla="*/ 668051 h 723900"/>
                    <a:gd name="connsiteX12" fmla="*/ 457198 w 543605"/>
                    <a:gd name="connsiteY12" fmla="*/ 723900 h 723900"/>
                    <a:gd name="connsiteX13" fmla="*/ 91442 w 543605"/>
                    <a:gd name="connsiteY13" fmla="*/ 723900 h 723900"/>
                    <a:gd name="connsiteX14" fmla="*/ 0 w 543605"/>
                    <a:gd name="connsiteY14" fmla="*/ 632458 h 723900"/>
                    <a:gd name="connsiteX15" fmla="*/ 0 w 543605"/>
                    <a:gd name="connsiteY15" fmla="*/ 91442 h 723900"/>
                    <a:gd name="connsiteX16" fmla="*/ 91442 w 543605"/>
                    <a:gd name="connsiteY1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43605" h="723900">
                      <a:moveTo>
                        <a:pt x="91442" y="0"/>
                      </a:moveTo>
                      <a:lnTo>
                        <a:pt x="294237" y="0"/>
                      </a:lnTo>
                      <a:lnTo>
                        <a:pt x="259248" y="99060"/>
                      </a:lnTo>
                      <a:lnTo>
                        <a:pt x="147939" y="99060"/>
                      </a:lnTo>
                      <a:cubicBezTo>
                        <a:pt x="113039" y="99060"/>
                        <a:pt x="84747" y="127352"/>
                        <a:pt x="84747" y="162252"/>
                      </a:cubicBezTo>
                      <a:lnTo>
                        <a:pt x="84747" y="561648"/>
                      </a:lnTo>
                      <a:cubicBezTo>
                        <a:pt x="84747" y="596548"/>
                        <a:pt x="113039" y="624840"/>
                        <a:pt x="147939" y="624840"/>
                      </a:cubicBezTo>
                      <a:lnTo>
                        <a:pt x="400702" y="624840"/>
                      </a:lnTo>
                      <a:cubicBezTo>
                        <a:pt x="426877" y="624840"/>
                        <a:pt x="449335" y="608926"/>
                        <a:pt x="458928" y="586245"/>
                      </a:cubicBezTo>
                      <a:lnTo>
                        <a:pt x="460480" y="578560"/>
                      </a:lnTo>
                      <a:lnTo>
                        <a:pt x="543605" y="657400"/>
                      </a:lnTo>
                      <a:lnTo>
                        <a:pt x="541454" y="668051"/>
                      </a:lnTo>
                      <a:cubicBezTo>
                        <a:pt x="527573" y="700871"/>
                        <a:pt x="495075" y="723900"/>
                        <a:pt x="457198" y="723900"/>
                      </a:cubicBezTo>
                      <a:lnTo>
                        <a:pt x="91442" y="723900"/>
                      </a:lnTo>
                      <a:cubicBezTo>
                        <a:pt x="40940" y="723900"/>
                        <a:pt x="0" y="682960"/>
                        <a:pt x="0" y="632458"/>
                      </a:cubicBezTo>
                      <a:lnTo>
                        <a:pt x="0" y="91442"/>
                      </a:lnTo>
                      <a:cubicBezTo>
                        <a:pt x="0" y="40940"/>
                        <a:pt x="40940" y="0"/>
                        <a:pt x="9144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4" name="Rectangle 20"/>
                <p:cNvSpPr/>
                <p:nvPr/>
              </p:nvSpPr>
              <p:spPr>
                <a:xfrm>
                  <a:off x="3267940" y="1957742"/>
                  <a:ext cx="878380" cy="946077"/>
                </a:xfrm>
                <a:custGeom>
                  <a:avLst/>
                  <a:gdLst>
                    <a:gd name="connsiteX0" fmla="*/ 0 w 910858"/>
                    <a:gd name="connsiteY0" fmla="*/ 0 h 1112520"/>
                    <a:gd name="connsiteX1" fmla="*/ 9108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10858"/>
                    <a:gd name="connsiteY0" fmla="*/ 0 h 1112520"/>
                    <a:gd name="connsiteX1" fmla="*/ 8727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94678"/>
                    <a:gd name="connsiteY0" fmla="*/ 0 h 1112520"/>
                    <a:gd name="connsiteX1" fmla="*/ 872758 w 994678"/>
                    <a:gd name="connsiteY1" fmla="*/ 0 h 1112520"/>
                    <a:gd name="connsiteX2" fmla="*/ 994678 w 994678"/>
                    <a:gd name="connsiteY2" fmla="*/ 68580 h 1112520"/>
                    <a:gd name="connsiteX3" fmla="*/ 0 w 994678"/>
                    <a:gd name="connsiteY3" fmla="*/ 1112520 h 1112520"/>
                    <a:gd name="connsiteX4" fmla="*/ 0 w 994678"/>
                    <a:gd name="connsiteY4" fmla="*/ 0 h 1112520"/>
                    <a:gd name="connsiteX0" fmla="*/ 0 w 994678"/>
                    <a:gd name="connsiteY0" fmla="*/ 0 h 883920"/>
                    <a:gd name="connsiteX1" fmla="*/ 872758 w 994678"/>
                    <a:gd name="connsiteY1" fmla="*/ 0 h 883920"/>
                    <a:gd name="connsiteX2" fmla="*/ 994678 w 994678"/>
                    <a:gd name="connsiteY2" fmla="*/ 68580 h 883920"/>
                    <a:gd name="connsiteX3" fmla="*/ 434340 w 994678"/>
                    <a:gd name="connsiteY3" fmla="*/ 883920 h 883920"/>
                    <a:gd name="connsiteX4" fmla="*/ 0 w 994678"/>
                    <a:gd name="connsiteY4" fmla="*/ 0 h 883920"/>
                    <a:gd name="connsiteX0" fmla="*/ 7620 w 560338"/>
                    <a:gd name="connsiteY0" fmla="*/ 548640 h 883920"/>
                    <a:gd name="connsiteX1" fmla="*/ 438418 w 560338"/>
                    <a:gd name="connsiteY1" fmla="*/ 0 h 883920"/>
                    <a:gd name="connsiteX2" fmla="*/ 560338 w 560338"/>
                    <a:gd name="connsiteY2" fmla="*/ 68580 h 883920"/>
                    <a:gd name="connsiteX3" fmla="*/ 0 w 560338"/>
                    <a:gd name="connsiteY3" fmla="*/ 883920 h 883920"/>
                    <a:gd name="connsiteX4" fmla="*/ 7620 w 560338"/>
                    <a:gd name="connsiteY4" fmla="*/ 548640 h 883920"/>
                    <a:gd name="connsiteX0" fmla="*/ 18782 w 571500"/>
                    <a:gd name="connsiteY0" fmla="*/ 548640 h 883920"/>
                    <a:gd name="connsiteX1" fmla="*/ 449580 w 571500"/>
                    <a:gd name="connsiteY1" fmla="*/ 0 h 883920"/>
                    <a:gd name="connsiteX2" fmla="*/ 571500 w 571500"/>
                    <a:gd name="connsiteY2" fmla="*/ 68580 h 883920"/>
                    <a:gd name="connsiteX3" fmla="*/ 11162 w 571500"/>
                    <a:gd name="connsiteY3" fmla="*/ 883920 h 883920"/>
                    <a:gd name="connsiteX4" fmla="*/ 0 w 571500"/>
                    <a:gd name="connsiteY4" fmla="*/ 739140 h 883920"/>
                    <a:gd name="connsiteX5" fmla="*/ 18782 w 5715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0 w 800100"/>
                    <a:gd name="connsiteY4" fmla="*/ 472440 h 883920"/>
                    <a:gd name="connsiteX5" fmla="*/ 247382 w 8001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129540 w 800100"/>
                    <a:gd name="connsiteY4" fmla="*/ 678180 h 883920"/>
                    <a:gd name="connsiteX5" fmla="*/ 0 w 800100"/>
                    <a:gd name="connsiteY5" fmla="*/ 472440 h 883920"/>
                    <a:gd name="connsiteX6" fmla="*/ 247382 w 8001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31596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27024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23582 w 876300"/>
                    <a:gd name="connsiteY6" fmla="*/ 548640 h 914400"/>
                    <a:gd name="connsiteX0" fmla="*/ 308342 w 876300"/>
                    <a:gd name="connsiteY0" fmla="*/ 60198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08342 w 876300"/>
                    <a:gd name="connsiteY6" fmla="*/ 601980 h 914400"/>
                    <a:gd name="connsiteX0" fmla="*/ 308342 w 876300"/>
                    <a:gd name="connsiteY0" fmla="*/ 601980 h 876300"/>
                    <a:gd name="connsiteX1" fmla="*/ 754380 w 876300"/>
                    <a:gd name="connsiteY1" fmla="*/ 0 h 876300"/>
                    <a:gd name="connsiteX2" fmla="*/ 876300 w 876300"/>
                    <a:gd name="connsiteY2" fmla="*/ 68580 h 876300"/>
                    <a:gd name="connsiteX3" fmla="*/ 285482 w 876300"/>
                    <a:gd name="connsiteY3" fmla="*/ 876300 h 876300"/>
                    <a:gd name="connsiteX4" fmla="*/ 0 w 876300"/>
                    <a:gd name="connsiteY4" fmla="*/ 609600 h 876300"/>
                    <a:gd name="connsiteX5" fmla="*/ 76200 w 876300"/>
                    <a:gd name="connsiteY5" fmla="*/ 472440 h 876300"/>
                    <a:gd name="connsiteX6" fmla="*/ 308342 w 876300"/>
                    <a:gd name="connsiteY6" fmla="*/ 601980 h 876300"/>
                    <a:gd name="connsiteX0" fmla="*/ 331202 w 899160"/>
                    <a:gd name="connsiteY0" fmla="*/ 60198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31202 w 899160"/>
                    <a:gd name="connsiteY6" fmla="*/ 601980 h 876300"/>
                    <a:gd name="connsiteX0" fmla="*/ 323582 w 899160"/>
                    <a:gd name="connsiteY0" fmla="*/ 65532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23582 w 899160"/>
                    <a:gd name="connsiteY6" fmla="*/ 655320 h 876300"/>
                    <a:gd name="connsiteX0" fmla="*/ 323582 w 899160"/>
                    <a:gd name="connsiteY0" fmla="*/ 67056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70560 h 891540"/>
                    <a:gd name="connsiteX0" fmla="*/ 323582 w 899160"/>
                    <a:gd name="connsiteY0" fmla="*/ 64008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40080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283538 w 899160"/>
                    <a:gd name="connsiteY6" fmla="*/ 700339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67025 w 899160"/>
                    <a:gd name="connsiteY5" fmla="*/ 514462 h 891540"/>
                    <a:gd name="connsiteX6" fmla="*/ 283538 w 899160"/>
                    <a:gd name="connsiteY6" fmla="*/ 700339 h 891540"/>
                    <a:gd name="connsiteX0" fmla="*/ 283538 w 891151"/>
                    <a:gd name="connsiteY0" fmla="*/ 700339 h 891540"/>
                    <a:gd name="connsiteX1" fmla="*/ 746760 w 891151"/>
                    <a:gd name="connsiteY1" fmla="*/ 0 h 891540"/>
                    <a:gd name="connsiteX2" fmla="*/ 891151 w 891151"/>
                    <a:gd name="connsiteY2" fmla="*/ 150774 h 891540"/>
                    <a:gd name="connsiteX3" fmla="*/ 308342 w 891151"/>
                    <a:gd name="connsiteY3" fmla="*/ 891540 h 891540"/>
                    <a:gd name="connsiteX4" fmla="*/ 0 w 891151"/>
                    <a:gd name="connsiteY4" fmla="*/ 647700 h 891540"/>
                    <a:gd name="connsiteX5" fmla="*/ 67025 w 891151"/>
                    <a:gd name="connsiteY5" fmla="*/ 514462 h 891540"/>
                    <a:gd name="connsiteX6" fmla="*/ 283538 w 891151"/>
                    <a:gd name="connsiteY6" fmla="*/ 700339 h 891540"/>
                    <a:gd name="connsiteX0" fmla="*/ 283538 w 891151"/>
                    <a:gd name="connsiteY0" fmla="*/ 640080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83538 w 891151"/>
                    <a:gd name="connsiteY6" fmla="*/ 640080 h 831281"/>
                    <a:gd name="connsiteX0" fmla="*/ 275530 w 891151"/>
                    <a:gd name="connsiteY0" fmla="*/ 599908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75530 w 891151"/>
                    <a:gd name="connsiteY6" fmla="*/ 599908 h 831281"/>
                    <a:gd name="connsiteX0" fmla="*/ 307565 w 923186"/>
                    <a:gd name="connsiteY0" fmla="*/ 599908 h 831281"/>
                    <a:gd name="connsiteX1" fmla="*/ 762778 w 923186"/>
                    <a:gd name="connsiteY1" fmla="*/ 0 h 831281"/>
                    <a:gd name="connsiteX2" fmla="*/ 923186 w 923186"/>
                    <a:gd name="connsiteY2" fmla="*/ 90515 h 831281"/>
                    <a:gd name="connsiteX3" fmla="*/ 340377 w 923186"/>
                    <a:gd name="connsiteY3" fmla="*/ 831281 h 831281"/>
                    <a:gd name="connsiteX4" fmla="*/ 0 w 923186"/>
                    <a:gd name="connsiteY4" fmla="*/ 620918 h 831281"/>
                    <a:gd name="connsiteX5" fmla="*/ 99060 w 923186"/>
                    <a:gd name="connsiteY5" fmla="*/ 454203 h 831281"/>
                    <a:gd name="connsiteX6" fmla="*/ 307565 w 923186"/>
                    <a:gd name="connsiteY6" fmla="*/ 599908 h 831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3186" h="831281">
                      <a:moveTo>
                        <a:pt x="307565" y="599908"/>
                      </a:moveTo>
                      <a:lnTo>
                        <a:pt x="762778" y="0"/>
                      </a:lnTo>
                      <a:lnTo>
                        <a:pt x="923186" y="90515"/>
                      </a:lnTo>
                      <a:lnTo>
                        <a:pt x="340377" y="831281"/>
                      </a:lnTo>
                      <a:lnTo>
                        <a:pt x="0" y="620918"/>
                      </a:lnTo>
                      <a:lnTo>
                        <a:pt x="99060" y="454203"/>
                      </a:lnTo>
                      <a:lnTo>
                        <a:pt x="307565" y="5999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38" name="Group 37"/>
              <p:cNvGrpSpPr/>
              <p:nvPr/>
            </p:nvGrpSpPr>
            <p:grpSpPr>
              <a:xfrm>
                <a:off x="2979287" y="3257864"/>
                <a:ext cx="1174521" cy="1120738"/>
                <a:chOff x="2971799" y="1957742"/>
                <a:chExt cx="1174521" cy="1120738"/>
              </a:xfrm>
              <a:grpFill/>
            </p:grpSpPr>
            <p:sp>
              <p:nvSpPr>
                <p:cNvPr id="51" name="Freeform 50"/>
                <p:cNvSpPr/>
                <p:nvPr/>
              </p:nvSpPr>
              <p:spPr>
                <a:xfrm>
                  <a:off x="2971799" y="2354580"/>
                  <a:ext cx="543605" cy="723900"/>
                </a:xfrm>
                <a:custGeom>
                  <a:avLst/>
                  <a:gdLst>
                    <a:gd name="connsiteX0" fmla="*/ 432877 w 546522"/>
                    <a:gd name="connsiteY0" fmla="*/ 0 h 723900"/>
                    <a:gd name="connsiteX1" fmla="*/ 457198 w 546522"/>
                    <a:gd name="connsiteY1" fmla="*/ 0 h 723900"/>
                    <a:gd name="connsiteX2" fmla="*/ 541454 w 546522"/>
                    <a:gd name="connsiteY2" fmla="*/ 55849 h 723900"/>
                    <a:gd name="connsiteX3" fmla="*/ 546522 w 546522"/>
                    <a:gd name="connsiteY3" fmla="*/ 80948 h 723900"/>
                    <a:gd name="connsiteX4" fmla="*/ 91442 w 546522"/>
                    <a:gd name="connsiteY4" fmla="*/ 0 h 723900"/>
                    <a:gd name="connsiteX5" fmla="*/ 294237 w 546522"/>
                    <a:gd name="connsiteY5" fmla="*/ 0 h 723900"/>
                    <a:gd name="connsiteX6" fmla="*/ 259248 w 546522"/>
                    <a:gd name="connsiteY6" fmla="*/ 99060 h 723900"/>
                    <a:gd name="connsiteX7" fmla="*/ 147939 w 546522"/>
                    <a:gd name="connsiteY7" fmla="*/ 99060 h 723900"/>
                    <a:gd name="connsiteX8" fmla="*/ 84747 w 546522"/>
                    <a:gd name="connsiteY8" fmla="*/ 162252 h 723900"/>
                    <a:gd name="connsiteX9" fmla="*/ 84747 w 546522"/>
                    <a:gd name="connsiteY9" fmla="*/ 561648 h 723900"/>
                    <a:gd name="connsiteX10" fmla="*/ 147939 w 546522"/>
                    <a:gd name="connsiteY10" fmla="*/ 624840 h 723900"/>
                    <a:gd name="connsiteX11" fmla="*/ 400702 w 546522"/>
                    <a:gd name="connsiteY11" fmla="*/ 624840 h 723900"/>
                    <a:gd name="connsiteX12" fmla="*/ 458928 w 546522"/>
                    <a:gd name="connsiteY12" fmla="*/ 586245 h 723900"/>
                    <a:gd name="connsiteX13" fmla="*/ 460480 w 546522"/>
                    <a:gd name="connsiteY13" fmla="*/ 578560 h 723900"/>
                    <a:gd name="connsiteX14" fmla="*/ 543605 w 546522"/>
                    <a:gd name="connsiteY14" fmla="*/ 657400 h 723900"/>
                    <a:gd name="connsiteX15" fmla="*/ 541454 w 546522"/>
                    <a:gd name="connsiteY15" fmla="*/ 668051 h 723900"/>
                    <a:gd name="connsiteX16" fmla="*/ 457198 w 546522"/>
                    <a:gd name="connsiteY16" fmla="*/ 723900 h 723900"/>
                    <a:gd name="connsiteX17" fmla="*/ 91442 w 546522"/>
                    <a:gd name="connsiteY17" fmla="*/ 723900 h 723900"/>
                    <a:gd name="connsiteX18" fmla="*/ 0 w 546522"/>
                    <a:gd name="connsiteY18" fmla="*/ 632458 h 723900"/>
                    <a:gd name="connsiteX19" fmla="*/ 0 w 546522"/>
                    <a:gd name="connsiteY19" fmla="*/ 91442 h 723900"/>
                    <a:gd name="connsiteX20" fmla="*/ 91442 w 546522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541454 w 543605"/>
                    <a:gd name="connsiteY2" fmla="*/ 55849 h 723900"/>
                    <a:gd name="connsiteX3" fmla="*/ 432877 w 543605"/>
                    <a:gd name="connsiteY3" fmla="*/ 0 h 723900"/>
                    <a:gd name="connsiteX4" fmla="*/ 91442 w 543605"/>
                    <a:gd name="connsiteY4" fmla="*/ 0 h 723900"/>
                    <a:gd name="connsiteX5" fmla="*/ 294237 w 543605"/>
                    <a:gd name="connsiteY5" fmla="*/ 0 h 723900"/>
                    <a:gd name="connsiteX6" fmla="*/ 259248 w 543605"/>
                    <a:gd name="connsiteY6" fmla="*/ 99060 h 723900"/>
                    <a:gd name="connsiteX7" fmla="*/ 147939 w 543605"/>
                    <a:gd name="connsiteY7" fmla="*/ 99060 h 723900"/>
                    <a:gd name="connsiteX8" fmla="*/ 84747 w 543605"/>
                    <a:gd name="connsiteY8" fmla="*/ 162252 h 723900"/>
                    <a:gd name="connsiteX9" fmla="*/ 84747 w 543605"/>
                    <a:gd name="connsiteY9" fmla="*/ 561648 h 723900"/>
                    <a:gd name="connsiteX10" fmla="*/ 147939 w 543605"/>
                    <a:gd name="connsiteY10" fmla="*/ 624840 h 723900"/>
                    <a:gd name="connsiteX11" fmla="*/ 400702 w 543605"/>
                    <a:gd name="connsiteY11" fmla="*/ 624840 h 723900"/>
                    <a:gd name="connsiteX12" fmla="*/ 458928 w 543605"/>
                    <a:gd name="connsiteY12" fmla="*/ 586245 h 723900"/>
                    <a:gd name="connsiteX13" fmla="*/ 460480 w 543605"/>
                    <a:gd name="connsiteY13" fmla="*/ 578560 h 723900"/>
                    <a:gd name="connsiteX14" fmla="*/ 543605 w 543605"/>
                    <a:gd name="connsiteY14" fmla="*/ 657400 h 723900"/>
                    <a:gd name="connsiteX15" fmla="*/ 541454 w 543605"/>
                    <a:gd name="connsiteY15" fmla="*/ 668051 h 723900"/>
                    <a:gd name="connsiteX16" fmla="*/ 457198 w 543605"/>
                    <a:gd name="connsiteY16" fmla="*/ 723900 h 723900"/>
                    <a:gd name="connsiteX17" fmla="*/ 91442 w 543605"/>
                    <a:gd name="connsiteY17" fmla="*/ 723900 h 723900"/>
                    <a:gd name="connsiteX18" fmla="*/ 0 w 543605"/>
                    <a:gd name="connsiteY18" fmla="*/ 632458 h 723900"/>
                    <a:gd name="connsiteX19" fmla="*/ 0 w 543605"/>
                    <a:gd name="connsiteY19" fmla="*/ 91442 h 723900"/>
                    <a:gd name="connsiteX20" fmla="*/ 91442 w 543605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432877 w 543605"/>
                    <a:gd name="connsiteY2" fmla="*/ 0 h 723900"/>
                    <a:gd name="connsiteX3" fmla="*/ 91442 w 543605"/>
                    <a:gd name="connsiteY3" fmla="*/ 0 h 723900"/>
                    <a:gd name="connsiteX4" fmla="*/ 294237 w 543605"/>
                    <a:gd name="connsiteY4" fmla="*/ 0 h 723900"/>
                    <a:gd name="connsiteX5" fmla="*/ 259248 w 543605"/>
                    <a:gd name="connsiteY5" fmla="*/ 99060 h 723900"/>
                    <a:gd name="connsiteX6" fmla="*/ 147939 w 543605"/>
                    <a:gd name="connsiteY6" fmla="*/ 99060 h 723900"/>
                    <a:gd name="connsiteX7" fmla="*/ 84747 w 543605"/>
                    <a:gd name="connsiteY7" fmla="*/ 162252 h 723900"/>
                    <a:gd name="connsiteX8" fmla="*/ 84747 w 543605"/>
                    <a:gd name="connsiteY8" fmla="*/ 561648 h 723900"/>
                    <a:gd name="connsiteX9" fmla="*/ 147939 w 543605"/>
                    <a:gd name="connsiteY9" fmla="*/ 624840 h 723900"/>
                    <a:gd name="connsiteX10" fmla="*/ 400702 w 543605"/>
                    <a:gd name="connsiteY10" fmla="*/ 624840 h 723900"/>
                    <a:gd name="connsiteX11" fmla="*/ 458928 w 543605"/>
                    <a:gd name="connsiteY11" fmla="*/ 586245 h 723900"/>
                    <a:gd name="connsiteX12" fmla="*/ 460480 w 543605"/>
                    <a:gd name="connsiteY12" fmla="*/ 578560 h 723900"/>
                    <a:gd name="connsiteX13" fmla="*/ 543605 w 543605"/>
                    <a:gd name="connsiteY13" fmla="*/ 657400 h 723900"/>
                    <a:gd name="connsiteX14" fmla="*/ 541454 w 543605"/>
                    <a:gd name="connsiteY14" fmla="*/ 668051 h 723900"/>
                    <a:gd name="connsiteX15" fmla="*/ 457198 w 543605"/>
                    <a:gd name="connsiteY15" fmla="*/ 723900 h 723900"/>
                    <a:gd name="connsiteX16" fmla="*/ 91442 w 543605"/>
                    <a:gd name="connsiteY16" fmla="*/ 723900 h 723900"/>
                    <a:gd name="connsiteX17" fmla="*/ 0 w 543605"/>
                    <a:gd name="connsiteY17" fmla="*/ 632458 h 723900"/>
                    <a:gd name="connsiteX18" fmla="*/ 0 w 543605"/>
                    <a:gd name="connsiteY18" fmla="*/ 91442 h 723900"/>
                    <a:gd name="connsiteX19" fmla="*/ 91442 w 543605"/>
                    <a:gd name="connsiteY19" fmla="*/ 0 h 723900"/>
                    <a:gd name="connsiteX0" fmla="*/ 91442 w 543605"/>
                    <a:gd name="connsiteY0" fmla="*/ 0 h 723900"/>
                    <a:gd name="connsiteX1" fmla="*/ 294237 w 543605"/>
                    <a:gd name="connsiteY1" fmla="*/ 0 h 723900"/>
                    <a:gd name="connsiteX2" fmla="*/ 259248 w 543605"/>
                    <a:gd name="connsiteY2" fmla="*/ 99060 h 723900"/>
                    <a:gd name="connsiteX3" fmla="*/ 147939 w 543605"/>
                    <a:gd name="connsiteY3" fmla="*/ 99060 h 723900"/>
                    <a:gd name="connsiteX4" fmla="*/ 84747 w 543605"/>
                    <a:gd name="connsiteY4" fmla="*/ 162252 h 723900"/>
                    <a:gd name="connsiteX5" fmla="*/ 84747 w 543605"/>
                    <a:gd name="connsiteY5" fmla="*/ 561648 h 723900"/>
                    <a:gd name="connsiteX6" fmla="*/ 147939 w 543605"/>
                    <a:gd name="connsiteY6" fmla="*/ 624840 h 723900"/>
                    <a:gd name="connsiteX7" fmla="*/ 400702 w 543605"/>
                    <a:gd name="connsiteY7" fmla="*/ 624840 h 723900"/>
                    <a:gd name="connsiteX8" fmla="*/ 458928 w 543605"/>
                    <a:gd name="connsiteY8" fmla="*/ 586245 h 723900"/>
                    <a:gd name="connsiteX9" fmla="*/ 460480 w 543605"/>
                    <a:gd name="connsiteY9" fmla="*/ 578560 h 723900"/>
                    <a:gd name="connsiteX10" fmla="*/ 543605 w 543605"/>
                    <a:gd name="connsiteY10" fmla="*/ 657400 h 723900"/>
                    <a:gd name="connsiteX11" fmla="*/ 541454 w 543605"/>
                    <a:gd name="connsiteY11" fmla="*/ 668051 h 723900"/>
                    <a:gd name="connsiteX12" fmla="*/ 457198 w 543605"/>
                    <a:gd name="connsiteY12" fmla="*/ 723900 h 723900"/>
                    <a:gd name="connsiteX13" fmla="*/ 91442 w 543605"/>
                    <a:gd name="connsiteY13" fmla="*/ 723900 h 723900"/>
                    <a:gd name="connsiteX14" fmla="*/ 0 w 543605"/>
                    <a:gd name="connsiteY14" fmla="*/ 632458 h 723900"/>
                    <a:gd name="connsiteX15" fmla="*/ 0 w 543605"/>
                    <a:gd name="connsiteY15" fmla="*/ 91442 h 723900"/>
                    <a:gd name="connsiteX16" fmla="*/ 91442 w 543605"/>
                    <a:gd name="connsiteY1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43605" h="723900">
                      <a:moveTo>
                        <a:pt x="91442" y="0"/>
                      </a:moveTo>
                      <a:lnTo>
                        <a:pt x="294237" y="0"/>
                      </a:lnTo>
                      <a:lnTo>
                        <a:pt x="259248" y="99060"/>
                      </a:lnTo>
                      <a:lnTo>
                        <a:pt x="147939" y="99060"/>
                      </a:lnTo>
                      <a:cubicBezTo>
                        <a:pt x="113039" y="99060"/>
                        <a:pt x="84747" y="127352"/>
                        <a:pt x="84747" y="162252"/>
                      </a:cubicBezTo>
                      <a:lnTo>
                        <a:pt x="84747" y="561648"/>
                      </a:lnTo>
                      <a:cubicBezTo>
                        <a:pt x="84747" y="596548"/>
                        <a:pt x="113039" y="624840"/>
                        <a:pt x="147939" y="624840"/>
                      </a:cubicBezTo>
                      <a:lnTo>
                        <a:pt x="400702" y="624840"/>
                      </a:lnTo>
                      <a:cubicBezTo>
                        <a:pt x="426877" y="624840"/>
                        <a:pt x="449335" y="608926"/>
                        <a:pt x="458928" y="586245"/>
                      </a:cubicBezTo>
                      <a:lnTo>
                        <a:pt x="460480" y="578560"/>
                      </a:lnTo>
                      <a:lnTo>
                        <a:pt x="543605" y="657400"/>
                      </a:lnTo>
                      <a:lnTo>
                        <a:pt x="541454" y="668051"/>
                      </a:lnTo>
                      <a:cubicBezTo>
                        <a:pt x="527573" y="700871"/>
                        <a:pt x="495075" y="723900"/>
                        <a:pt x="457198" y="723900"/>
                      </a:cubicBezTo>
                      <a:lnTo>
                        <a:pt x="91442" y="723900"/>
                      </a:lnTo>
                      <a:cubicBezTo>
                        <a:pt x="40940" y="723900"/>
                        <a:pt x="0" y="682960"/>
                        <a:pt x="0" y="632458"/>
                      </a:cubicBezTo>
                      <a:lnTo>
                        <a:pt x="0" y="91442"/>
                      </a:lnTo>
                      <a:cubicBezTo>
                        <a:pt x="0" y="40940"/>
                        <a:pt x="40940" y="0"/>
                        <a:pt x="9144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2" name="Rectangle 20"/>
                <p:cNvSpPr/>
                <p:nvPr/>
              </p:nvSpPr>
              <p:spPr>
                <a:xfrm>
                  <a:off x="3267940" y="1957742"/>
                  <a:ext cx="878380" cy="946077"/>
                </a:xfrm>
                <a:custGeom>
                  <a:avLst/>
                  <a:gdLst>
                    <a:gd name="connsiteX0" fmla="*/ 0 w 910858"/>
                    <a:gd name="connsiteY0" fmla="*/ 0 h 1112520"/>
                    <a:gd name="connsiteX1" fmla="*/ 9108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10858"/>
                    <a:gd name="connsiteY0" fmla="*/ 0 h 1112520"/>
                    <a:gd name="connsiteX1" fmla="*/ 8727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94678"/>
                    <a:gd name="connsiteY0" fmla="*/ 0 h 1112520"/>
                    <a:gd name="connsiteX1" fmla="*/ 872758 w 994678"/>
                    <a:gd name="connsiteY1" fmla="*/ 0 h 1112520"/>
                    <a:gd name="connsiteX2" fmla="*/ 994678 w 994678"/>
                    <a:gd name="connsiteY2" fmla="*/ 68580 h 1112520"/>
                    <a:gd name="connsiteX3" fmla="*/ 0 w 994678"/>
                    <a:gd name="connsiteY3" fmla="*/ 1112520 h 1112520"/>
                    <a:gd name="connsiteX4" fmla="*/ 0 w 994678"/>
                    <a:gd name="connsiteY4" fmla="*/ 0 h 1112520"/>
                    <a:gd name="connsiteX0" fmla="*/ 0 w 994678"/>
                    <a:gd name="connsiteY0" fmla="*/ 0 h 883920"/>
                    <a:gd name="connsiteX1" fmla="*/ 872758 w 994678"/>
                    <a:gd name="connsiteY1" fmla="*/ 0 h 883920"/>
                    <a:gd name="connsiteX2" fmla="*/ 994678 w 994678"/>
                    <a:gd name="connsiteY2" fmla="*/ 68580 h 883920"/>
                    <a:gd name="connsiteX3" fmla="*/ 434340 w 994678"/>
                    <a:gd name="connsiteY3" fmla="*/ 883920 h 883920"/>
                    <a:gd name="connsiteX4" fmla="*/ 0 w 994678"/>
                    <a:gd name="connsiteY4" fmla="*/ 0 h 883920"/>
                    <a:gd name="connsiteX0" fmla="*/ 7620 w 560338"/>
                    <a:gd name="connsiteY0" fmla="*/ 548640 h 883920"/>
                    <a:gd name="connsiteX1" fmla="*/ 438418 w 560338"/>
                    <a:gd name="connsiteY1" fmla="*/ 0 h 883920"/>
                    <a:gd name="connsiteX2" fmla="*/ 560338 w 560338"/>
                    <a:gd name="connsiteY2" fmla="*/ 68580 h 883920"/>
                    <a:gd name="connsiteX3" fmla="*/ 0 w 560338"/>
                    <a:gd name="connsiteY3" fmla="*/ 883920 h 883920"/>
                    <a:gd name="connsiteX4" fmla="*/ 7620 w 560338"/>
                    <a:gd name="connsiteY4" fmla="*/ 548640 h 883920"/>
                    <a:gd name="connsiteX0" fmla="*/ 18782 w 571500"/>
                    <a:gd name="connsiteY0" fmla="*/ 548640 h 883920"/>
                    <a:gd name="connsiteX1" fmla="*/ 449580 w 571500"/>
                    <a:gd name="connsiteY1" fmla="*/ 0 h 883920"/>
                    <a:gd name="connsiteX2" fmla="*/ 571500 w 571500"/>
                    <a:gd name="connsiteY2" fmla="*/ 68580 h 883920"/>
                    <a:gd name="connsiteX3" fmla="*/ 11162 w 571500"/>
                    <a:gd name="connsiteY3" fmla="*/ 883920 h 883920"/>
                    <a:gd name="connsiteX4" fmla="*/ 0 w 571500"/>
                    <a:gd name="connsiteY4" fmla="*/ 739140 h 883920"/>
                    <a:gd name="connsiteX5" fmla="*/ 18782 w 5715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0 w 800100"/>
                    <a:gd name="connsiteY4" fmla="*/ 472440 h 883920"/>
                    <a:gd name="connsiteX5" fmla="*/ 247382 w 8001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129540 w 800100"/>
                    <a:gd name="connsiteY4" fmla="*/ 678180 h 883920"/>
                    <a:gd name="connsiteX5" fmla="*/ 0 w 800100"/>
                    <a:gd name="connsiteY5" fmla="*/ 472440 h 883920"/>
                    <a:gd name="connsiteX6" fmla="*/ 247382 w 8001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31596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27024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23582 w 876300"/>
                    <a:gd name="connsiteY6" fmla="*/ 548640 h 914400"/>
                    <a:gd name="connsiteX0" fmla="*/ 308342 w 876300"/>
                    <a:gd name="connsiteY0" fmla="*/ 60198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08342 w 876300"/>
                    <a:gd name="connsiteY6" fmla="*/ 601980 h 914400"/>
                    <a:gd name="connsiteX0" fmla="*/ 308342 w 876300"/>
                    <a:gd name="connsiteY0" fmla="*/ 601980 h 876300"/>
                    <a:gd name="connsiteX1" fmla="*/ 754380 w 876300"/>
                    <a:gd name="connsiteY1" fmla="*/ 0 h 876300"/>
                    <a:gd name="connsiteX2" fmla="*/ 876300 w 876300"/>
                    <a:gd name="connsiteY2" fmla="*/ 68580 h 876300"/>
                    <a:gd name="connsiteX3" fmla="*/ 285482 w 876300"/>
                    <a:gd name="connsiteY3" fmla="*/ 876300 h 876300"/>
                    <a:gd name="connsiteX4" fmla="*/ 0 w 876300"/>
                    <a:gd name="connsiteY4" fmla="*/ 609600 h 876300"/>
                    <a:gd name="connsiteX5" fmla="*/ 76200 w 876300"/>
                    <a:gd name="connsiteY5" fmla="*/ 472440 h 876300"/>
                    <a:gd name="connsiteX6" fmla="*/ 308342 w 876300"/>
                    <a:gd name="connsiteY6" fmla="*/ 601980 h 876300"/>
                    <a:gd name="connsiteX0" fmla="*/ 331202 w 899160"/>
                    <a:gd name="connsiteY0" fmla="*/ 60198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31202 w 899160"/>
                    <a:gd name="connsiteY6" fmla="*/ 601980 h 876300"/>
                    <a:gd name="connsiteX0" fmla="*/ 323582 w 899160"/>
                    <a:gd name="connsiteY0" fmla="*/ 65532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23582 w 899160"/>
                    <a:gd name="connsiteY6" fmla="*/ 655320 h 876300"/>
                    <a:gd name="connsiteX0" fmla="*/ 323582 w 899160"/>
                    <a:gd name="connsiteY0" fmla="*/ 67056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70560 h 891540"/>
                    <a:gd name="connsiteX0" fmla="*/ 323582 w 899160"/>
                    <a:gd name="connsiteY0" fmla="*/ 64008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40080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283538 w 899160"/>
                    <a:gd name="connsiteY6" fmla="*/ 700339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67025 w 899160"/>
                    <a:gd name="connsiteY5" fmla="*/ 514462 h 891540"/>
                    <a:gd name="connsiteX6" fmla="*/ 283538 w 899160"/>
                    <a:gd name="connsiteY6" fmla="*/ 700339 h 891540"/>
                    <a:gd name="connsiteX0" fmla="*/ 283538 w 891151"/>
                    <a:gd name="connsiteY0" fmla="*/ 700339 h 891540"/>
                    <a:gd name="connsiteX1" fmla="*/ 746760 w 891151"/>
                    <a:gd name="connsiteY1" fmla="*/ 0 h 891540"/>
                    <a:gd name="connsiteX2" fmla="*/ 891151 w 891151"/>
                    <a:gd name="connsiteY2" fmla="*/ 150774 h 891540"/>
                    <a:gd name="connsiteX3" fmla="*/ 308342 w 891151"/>
                    <a:gd name="connsiteY3" fmla="*/ 891540 h 891540"/>
                    <a:gd name="connsiteX4" fmla="*/ 0 w 891151"/>
                    <a:gd name="connsiteY4" fmla="*/ 647700 h 891540"/>
                    <a:gd name="connsiteX5" fmla="*/ 67025 w 891151"/>
                    <a:gd name="connsiteY5" fmla="*/ 514462 h 891540"/>
                    <a:gd name="connsiteX6" fmla="*/ 283538 w 891151"/>
                    <a:gd name="connsiteY6" fmla="*/ 700339 h 891540"/>
                    <a:gd name="connsiteX0" fmla="*/ 283538 w 891151"/>
                    <a:gd name="connsiteY0" fmla="*/ 640080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83538 w 891151"/>
                    <a:gd name="connsiteY6" fmla="*/ 640080 h 831281"/>
                    <a:gd name="connsiteX0" fmla="*/ 275530 w 891151"/>
                    <a:gd name="connsiteY0" fmla="*/ 599908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75530 w 891151"/>
                    <a:gd name="connsiteY6" fmla="*/ 599908 h 831281"/>
                    <a:gd name="connsiteX0" fmla="*/ 307565 w 923186"/>
                    <a:gd name="connsiteY0" fmla="*/ 599908 h 831281"/>
                    <a:gd name="connsiteX1" fmla="*/ 762778 w 923186"/>
                    <a:gd name="connsiteY1" fmla="*/ 0 h 831281"/>
                    <a:gd name="connsiteX2" fmla="*/ 923186 w 923186"/>
                    <a:gd name="connsiteY2" fmla="*/ 90515 h 831281"/>
                    <a:gd name="connsiteX3" fmla="*/ 340377 w 923186"/>
                    <a:gd name="connsiteY3" fmla="*/ 831281 h 831281"/>
                    <a:gd name="connsiteX4" fmla="*/ 0 w 923186"/>
                    <a:gd name="connsiteY4" fmla="*/ 620918 h 831281"/>
                    <a:gd name="connsiteX5" fmla="*/ 99060 w 923186"/>
                    <a:gd name="connsiteY5" fmla="*/ 454203 h 831281"/>
                    <a:gd name="connsiteX6" fmla="*/ 307565 w 923186"/>
                    <a:gd name="connsiteY6" fmla="*/ 599908 h 831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3186" h="831281">
                      <a:moveTo>
                        <a:pt x="307565" y="599908"/>
                      </a:moveTo>
                      <a:lnTo>
                        <a:pt x="762778" y="0"/>
                      </a:lnTo>
                      <a:lnTo>
                        <a:pt x="923186" y="90515"/>
                      </a:lnTo>
                      <a:lnTo>
                        <a:pt x="340377" y="831281"/>
                      </a:lnTo>
                      <a:lnTo>
                        <a:pt x="0" y="620918"/>
                      </a:lnTo>
                      <a:lnTo>
                        <a:pt x="99060" y="454203"/>
                      </a:lnTo>
                      <a:lnTo>
                        <a:pt x="307565" y="5999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39" name="Group 38"/>
              <p:cNvGrpSpPr/>
              <p:nvPr/>
            </p:nvGrpSpPr>
            <p:grpSpPr>
              <a:xfrm>
                <a:off x="2979287" y="4557986"/>
                <a:ext cx="1174521" cy="1120738"/>
                <a:chOff x="2971799" y="1957742"/>
                <a:chExt cx="1174521" cy="1120738"/>
              </a:xfrm>
              <a:grpFill/>
            </p:grpSpPr>
            <p:sp>
              <p:nvSpPr>
                <p:cNvPr id="49" name="Freeform 48"/>
                <p:cNvSpPr/>
                <p:nvPr/>
              </p:nvSpPr>
              <p:spPr>
                <a:xfrm>
                  <a:off x="2971799" y="2354580"/>
                  <a:ext cx="543605" cy="723900"/>
                </a:xfrm>
                <a:custGeom>
                  <a:avLst/>
                  <a:gdLst>
                    <a:gd name="connsiteX0" fmla="*/ 432877 w 546522"/>
                    <a:gd name="connsiteY0" fmla="*/ 0 h 723900"/>
                    <a:gd name="connsiteX1" fmla="*/ 457198 w 546522"/>
                    <a:gd name="connsiteY1" fmla="*/ 0 h 723900"/>
                    <a:gd name="connsiteX2" fmla="*/ 541454 w 546522"/>
                    <a:gd name="connsiteY2" fmla="*/ 55849 h 723900"/>
                    <a:gd name="connsiteX3" fmla="*/ 546522 w 546522"/>
                    <a:gd name="connsiteY3" fmla="*/ 80948 h 723900"/>
                    <a:gd name="connsiteX4" fmla="*/ 91442 w 546522"/>
                    <a:gd name="connsiteY4" fmla="*/ 0 h 723900"/>
                    <a:gd name="connsiteX5" fmla="*/ 294237 w 546522"/>
                    <a:gd name="connsiteY5" fmla="*/ 0 h 723900"/>
                    <a:gd name="connsiteX6" fmla="*/ 259248 w 546522"/>
                    <a:gd name="connsiteY6" fmla="*/ 99060 h 723900"/>
                    <a:gd name="connsiteX7" fmla="*/ 147939 w 546522"/>
                    <a:gd name="connsiteY7" fmla="*/ 99060 h 723900"/>
                    <a:gd name="connsiteX8" fmla="*/ 84747 w 546522"/>
                    <a:gd name="connsiteY8" fmla="*/ 162252 h 723900"/>
                    <a:gd name="connsiteX9" fmla="*/ 84747 w 546522"/>
                    <a:gd name="connsiteY9" fmla="*/ 561648 h 723900"/>
                    <a:gd name="connsiteX10" fmla="*/ 147939 w 546522"/>
                    <a:gd name="connsiteY10" fmla="*/ 624840 h 723900"/>
                    <a:gd name="connsiteX11" fmla="*/ 400702 w 546522"/>
                    <a:gd name="connsiteY11" fmla="*/ 624840 h 723900"/>
                    <a:gd name="connsiteX12" fmla="*/ 458928 w 546522"/>
                    <a:gd name="connsiteY12" fmla="*/ 586245 h 723900"/>
                    <a:gd name="connsiteX13" fmla="*/ 460480 w 546522"/>
                    <a:gd name="connsiteY13" fmla="*/ 578560 h 723900"/>
                    <a:gd name="connsiteX14" fmla="*/ 543605 w 546522"/>
                    <a:gd name="connsiteY14" fmla="*/ 657400 h 723900"/>
                    <a:gd name="connsiteX15" fmla="*/ 541454 w 546522"/>
                    <a:gd name="connsiteY15" fmla="*/ 668051 h 723900"/>
                    <a:gd name="connsiteX16" fmla="*/ 457198 w 546522"/>
                    <a:gd name="connsiteY16" fmla="*/ 723900 h 723900"/>
                    <a:gd name="connsiteX17" fmla="*/ 91442 w 546522"/>
                    <a:gd name="connsiteY17" fmla="*/ 723900 h 723900"/>
                    <a:gd name="connsiteX18" fmla="*/ 0 w 546522"/>
                    <a:gd name="connsiteY18" fmla="*/ 632458 h 723900"/>
                    <a:gd name="connsiteX19" fmla="*/ 0 w 546522"/>
                    <a:gd name="connsiteY19" fmla="*/ 91442 h 723900"/>
                    <a:gd name="connsiteX20" fmla="*/ 91442 w 546522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541454 w 543605"/>
                    <a:gd name="connsiteY2" fmla="*/ 55849 h 723900"/>
                    <a:gd name="connsiteX3" fmla="*/ 432877 w 543605"/>
                    <a:gd name="connsiteY3" fmla="*/ 0 h 723900"/>
                    <a:gd name="connsiteX4" fmla="*/ 91442 w 543605"/>
                    <a:gd name="connsiteY4" fmla="*/ 0 h 723900"/>
                    <a:gd name="connsiteX5" fmla="*/ 294237 w 543605"/>
                    <a:gd name="connsiteY5" fmla="*/ 0 h 723900"/>
                    <a:gd name="connsiteX6" fmla="*/ 259248 w 543605"/>
                    <a:gd name="connsiteY6" fmla="*/ 99060 h 723900"/>
                    <a:gd name="connsiteX7" fmla="*/ 147939 w 543605"/>
                    <a:gd name="connsiteY7" fmla="*/ 99060 h 723900"/>
                    <a:gd name="connsiteX8" fmla="*/ 84747 w 543605"/>
                    <a:gd name="connsiteY8" fmla="*/ 162252 h 723900"/>
                    <a:gd name="connsiteX9" fmla="*/ 84747 w 543605"/>
                    <a:gd name="connsiteY9" fmla="*/ 561648 h 723900"/>
                    <a:gd name="connsiteX10" fmla="*/ 147939 w 543605"/>
                    <a:gd name="connsiteY10" fmla="*/ 624840 h 723900"/>
                    <a:gd name="connsiteX11" fmla="*/ 400702 w 543605"/>
                    <a:gd name="connsiteY11" fmla="*/ 624840 h 723900"/>
                    <a:gd name="connsiteX12" fmla="*/ 458928 w 543605"/>
                    <a:gd name="connsiteY12" fmla="*/ 586245 h 723900"/>
                    <a:gd name="connsiteX13" fmla="*/ 460480 w 543605"/>
                    <a:gd name="connsiteY13" fmla="*/ 578560 h 723900"/>
                    <a:gd name="connsiteX14" fmla="*/ 543605 w 543605"/>
                    <a:gd name="connsiteY14" fmla="*/ 657400 h 723900"/>
                    <a:gd name="connsiteX15" fmla="*/ 541454 w 543605"/>
                    <a:gd name="connsiteY15" fmla="*/ 668051 h 723900"/>
                    <a:gd name="connsiteX16" fmla="*/ 457198 w 543605"/>
                    <a:gd name="connsiteY16" fmla="*/ 723900 h 723900"/>
                    <a:gd name="connsiteX17" fmla="*/ 91442 w 543605"/>
                    <a:gd name="connsiteY17" fmla="*/ 723900 h 723900"/>
                    <a:gd name="connsiteX18" fmla="*/ 0 w 543605"/>
                    <a:gd name="connsiteY18" fmla="*/ 632458 h 723900"/>
                    <a:gd name="connsiteX19" fmla="*/ 0 w 543605"/>
                    <a:gd name="connsiteY19" fmla="*/ 91442 h 723900"/>
                    <a:gd name="connsiteX20" fmla="*/ 91442 w 543605"/>
                    <a:gd name="connsiteY20" fmla="*/ 0 h 723900"/>
                    <a:gd name="connsiteX0" fmla="*/ 432877 w 543605"/>
                    <a:gd name="connsiteY0" fmla="*/ 0 h 723900"/>
                    <a:gd name="connsiteX1" fmla="*/ 457198 w 543605"/>
                    <a:gd name="connsiteY1" fmla="*/ 0 h 723900"/>
                    <a:gd name="connsiteX2" fmla="*/ 432877 w 543605"/>
                    <a:gd name="connsiteY2" fmla="*/ 0 h 723900"/>
                    <a:gd name="connsiteX3" fmla="*/ 91442 w 543605"/>
                    <a:gd name="connsiteY3" fmla="*/ 0 h 723900"/>
                    <a:gd name="connsiteX4" fmla="*/ 294237 w 543605"/>
                    <a:gd name="connsiteY4" fmla="*/ 0 h 723900"/>
                    <a:gd name="connsiteX5" fmla="*/ 259248 w 543605"/>
                    <a:gd name="connsiteY5" fmla="*/ 99060 h 723900"/>
                    <a:gd name="connsiteX6" fmla="*/ 147939 w 543605"/>
                    <a:gd name="connsiteY6" fmla="*/ 99060 h 723900"/>
                    <a:gd name="connsiteX7" fmla="*/ 84747 w 543605"/>
                    <a:gd name="connsiteY7" fmla="*/ 162252 h 723900"/>
                    <a:gd name="connsiteX8" fmla="*/ 84747 w 543605"/>
                    <a:gd name="connsiteY8" fmla="*/ 561648 h 723900"/>
                    <a:gd name="connsiteX9" fmla="*/ 147939 w 543605"/>
                    <a:gd name="connsiteY9" fmla="*/ 624840 h 723900"/>
                    <a:gd name="connsiteX10" fmla="*/ 400702 w 543605"/>
                    <a:gd name="connsiteY10" fmla="*/ 624840 h 723900"/>
                    <a:gd name="connsiteX11" fmla="*/ 458928 w 543605"/>
                    <a:gd name="connsiteY11" fmla="*/ 586245 h 723900"/>
                    <a:gd name="connsiteX12" fmla="*/ 460480 w 543605"/>
                    <a:gd name="connsiteY12" fmla="*/ 578560 h 723900"/>
                    <a:gd name="connsiteX13" fmla="*/ 543605 w 543605"/>
                    <a:gd name="connsiteY13" fmla="*/ 657400 h 723900"/>
                    <a:gd name="connsiteX14" fmla="*/ 541454 w 543605"/>
                    <a:gd name="connsiteY14" fmla="*/ 668051 h 723900"/>
                    <a:gd name="connsiteX15" fmla="*/ 457198 w 543605"/>
                    <a:gd name="connsiteY15" fmla="*/ 723900 h 723900"/>
                    <a:gd name="connsiteX16" fmla="*/ 91442 w 543605"/>
                    <a:gd name="connsiteY16" fmla="*/ 723900 h 723900"/>
                    <a:gd name="connsiteX17" fmla="*/ 0 w 543605"/>
                    <a:gd name="connsiteY17" fmla="*/ 632458 h 723900"/>
                    <a:gd name="connsiteX18" fmla="*/ 0 w 543605"/>
                    <a:gd name="connsiteY18" fmla="*/ 91442 h 723900"/>
                    <a:gd name="connsiteX19" fmla="*/ 91442 w 543605"/>
                    <a:gd name="connsiteY19" fmla="*/ 0 h 723900"/>
                    <a:gd name="connsiteX0" fmla="*/ 91442 w 543605"/>
                    <a:gd name="connsiteY0" fmla="*/ 0 h 723900"/>
                    <a:gd name="connsiteX1" fmla="*/ 294237 w 543605"/>
                    <a:gd name="connsiteY1" fmla="*/ 0 h 723900"/>
                    <a:gd name="connsiteX2" fmla="*/ 259248 w 543605"/>
                    <a:gd name="connsiteY2" fmla="*/ 99060 h 723900"/>
                    <a:gd name="connsiteX3" fmla="*/ 147939 w 543605"/>
                    <a:gd name="connsiteY3" fmla="*/ 99060 h 723900"/>
                    <a:gd name="connsiteX4" fmla="*/ 84747 w 543605"/>
                    <a:gd name="connsiteY4" fmla="*/ 162252 h 723900"/>
                    <a:gd name="connsiteX5" fmla="*/ 84747 w 543605"/>
                    <a:gd name="connsiteY5" fmla="*/ 561648 h 723900"/>
                    <a:gd name="connsiteX6" fmla="*/ 147939 w 543605"/>
                    <a:gd name="connsiteY6" fmla="*/ 624840 h 723900"/>
                    <a:gd name="connsiteX7" fmla="*/ 400702 w 543605"/>
                    <a:gd name="connsiteY7" fmla="*/ 624840 h 723900"/>
                    <a:gd name="connsiteX8" fmla="*/ 458928 w 543605"/>
                    <a:gd name="connsiteY8" fmla="*/ 586245 h 723900"/>
                    <a:gd name="connsiteX9" fmla="*/ 460480 w 543605"/>
                    <a:gd name="connsiteY9" fmla="*/ 578560 h 723900"/>
                    <a:gd name="connsiteX10" fmla="*/ 543605 w 543605"/>
                    <a:gd name="connsiteY10" fmla="*/ 657400 h 723900"/>
                    <a:gd name="connsiteX11" fmla="*/ 541454 w 543605"/>
                    <a:gd name="connsiteY11" fmla="*/ 668051 h 723900"/>
                    <a:gd name="connsiteX12" fmla="*/ 457198 w 543605"/>
                    <a:gd name="connsiteY12" fmla="*/ 723900 h 723900"/>
                    <a:gd name="connsiteX13" fmla="*/ 91442 w 543605"/>
                    <a:gd name="connsiteY13" fmla="*/ 723900 h 723900"/>
                    <a:gd name="connsiteX14" fmla="*/ 0 w 543605"/>
                    <a:gd name="connsiteY14" fmla="*/ 632458 h 723900"/>
                    <a:gd name="connsiteX15" fmla="*/ 0 w 543605"/>
                    <a:gd name="connsiteY15" fmla="*/ 91442 h 723900"/>
                    <a:gd name="connsiteX16" fmla="*/ 91442 w 543605"/>
                    <a:gd name="connsiteY16" fmla="*/ 0 h 723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543605" h="723900">
                      <a:moveTo>
                        <a:pt x="91442" y="0"/>
                      </a:moveTo>
                      <a:lnTo>
                        <a:pt x="294237" y="0"/>
                      </a:lnTo>
                      <a:lnTo>
                        <a:pt x="259248" y="99060"/>
                      </a:lnTo>
                      <a:lnTo>
                        <a:pt x="147939" y="99060"/>
                      </a:lnTo>
                      <a:cubicBezTo>
                        <a:pt x="113039" y="99060"/>
                        <a:pt x="84747" y="127352"/>
                        <a:pt x="84747" y="162252"/>
                      </a:cubicBezTo>
                      <a:lnTo>
                        <a:pt x="84747" y="561648"/>
                      </a:lnTo>
                      <a:cubicBezTo>
                        <a:pt x="84747" y="596548"/>
                        <a:pt x="113039" y="624840"/>
                        <a:pt x="147939" y="624840"/>
                      </a:cubicBezTo>
                      <a:lnTo>
                        <a:pt x="400702" y="624840"/>
                      </a:lnTo>
                      <a:cubicBezTo>
                        <a:pt x="426877" y="624840"/>
                        <a:pt x="449335" y="608926"/>
                        <a:pt x="458928" y="586245"/>
                      </a:cubicBezTo>
                      <a:lnTo>
                        <a:pt x="460480" y="578560"/>
                      </a:lnTo>
                      <a:lnTo>
                        <a:pt x="543605" y="657400"/>
                      </a:lnTo>
                      <a:lnTo>
                        <a:pt x="541454" y="668051"/>
                      </a:lnTo>
                      <a:cubicBezTo>
                        <a:pt x="527573" y="700871"/>
                        <a:pt x="495075" y="723900"/>
                        <a:pt x="457198" y="723900"/>
                      </a:cubicBezTo>
                      <a:lnTo>
                        <a:pt x="91442" y="723900"/>
                      </a:lnTo>
                      <a:cubicBezTo>
                        <a:pt x="40940" y="723900"/>
                        <a:pt x="0" y="682960"/>
                        <a:pt x="0" y="632458"/>
                      </a:cubicBezTo>
                      <a:lnTo>
                        <a:pt x="0" y="91442"/>
                      </a:lnTo>
                      <a:cubicBezTo>
                        <a:pt x="0" y="40940"/>
                        <a:pt x="40940" y="0"/>
                        <a:pt x="91442" y="0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50" name="Rectangle 20"/>
                <p:cNvSpPr/>
                <p:nvPr/>
              </p:nvSpPr>
              <p:spPr>
                <a:xfrm>
                  <a:off x="3267940" y="1957742"/>
                  <a:ext cx="878380" cy="946077"/>
                </a:xfrm>
                <a:custGeom>
                  <a:avLst/>
                  <a:gdLst>
                    <a:gd name="connsiteX0" fmla="*/ 0 w 910858"/>
                    <a:gd name="connsiteY0" fmla="*/ 0 h 1112520"/>
                    <a:gd name="connsiteX1" fmla="*/ 9108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10858"/>
                    <a:gd name="connsiteY0" fmla="*/ 0 h 1112520"/>
                    <a:gd name="connsiteX1" fmla="*/ 872758 w 910858"/>
                    <a:gd name="connsiteY1" fmla="*/ 0 h 1112520"/>
                    <a:gd name="connsiteX2" fmla="*/ 910858 w 910858"/>
                    <a:gd name="connsiteY2" fmla="*/ 1112520 h 1112520"/>
                    <a:gd name="connsiteX3" fmla="*/ 0 w 910858"/>
                    <a:gd name="connsiteY3" fmla="*/ 1112520 h 1112520"/>
                    <a:gd name="connsiteX4" fmla="*/ 0 w 910858"/>
                    <a:gd name="connsiteY4" fmla="*/ 0 h 1112520"/>
                    <a:gd name="connsiteX0" fmla="*/ 0 w 994678"/>
                    <a:gd name="connsiteY0" fmla="*/ 0 h 1112520"/>
                    <a:gd name="connsiteX1" fmla="*/ 872758 w 994678"/>
                    <a:gd name="connsiteY1" fmla="*/ 0 h 1112520"/>
                    <a:gd name="connsiteX2" fmla="*/ 994678 w 994678"/>
                    <a:gd name="connsiteY2" fmla="*/ 68580 h 1112520"/>
                    <a:gd name="connsiteX3" fmla="*/ 0 w 994678"/>
                    <a:gd name="connsiteY3" fmla="*/ 1112520 h 1112520"/>
                    <a:gd name="connsiteX4" fmla="*/ 0 w 994678"/>
                    <a:gd name="connsiteY4" fmla="*/ 0 h 1112520"/>
                    <a:gd name="connsiteX0" fmla="*/ 0 w 994678"/>
                    <a:gd name="connsiteY0" fmla="*/ 0 h 883920"/>
                    <a:gd name="connsiteX1" fmla="*/ 872758 w 994678"/>
                    <a:gd name="connsiteY1" fmla="*/ 0 h 883920"/>
                    <a:gd name="connsiteX2" fmla="*/ 994678 w 994678"/>
                    <a:gd name="connsiteY2" fmla="*/ 68580 h 883920"/>
                    <a:gd name="connsiteX3" fmla="*/ 434340 w 994678"/>
                    <a:gd name="connsiteY3" fmla="*/ 883920 h 883920"/>
                    <a:gd name="connsiteX4" fmla="*/ 0 w 994678"/>
                    <a:gd name="connsiteY4" fmla="*/ 0 h 883920"/>
                    <a:gd name="connsiteX0" fmla="*/ 7620 w 560338"/>
                    <a:gd name="connsiteY0" fmla="*/ 548640 h 883920"/>
                    <a:gd name="connsiteX1" fmla="*/ 438418 w 560338"/>
                    <a:gd name="connsiteY1" fmla="*/ 0 h 883920"/>
                    <a:gd name="connsiteX2" fmla="*/ 560338 w 560338"/>
                    <a:gd name="connsiteY2" fmla="*/ 68580 h 883920"/>
                    <a:gd name="connsiteX3" fmla="*/ 0 w 560338"/>
                    <a:gd name="connsiteY3" fmla="*/ 883920 h 883920"/>
                    <a:gd name="connsiteX4" fmla="*/ 7620 w 560338"/>
                    <a:gd name="connsiteY4" fmla="*/ 548640 h 883920"/>
                    <a:gd name="connsiteX0" fmla="*/ 18782 w 571500"/>
                    <a:gd name="connsiteY0" fmla="*/ 548640 h 883920"/>
                    <a:gd name="connsiteX1" fmla="*/ 449580 w 571500"/>
                    <a:gd name="connsiteY1" fmla="*/ 0 h 883920"/>
                    <a:gd name="connsiteX2" fmla="*/ 571500 w 571500"/>
                    <a:gd name="connsiteY2" fmla="*/ 68580 h 883920"/>
                    <a:gd name="connsiteX3" fmla="*/ 11162 w 571500"/>
                    <a:gd name="connsiteY3" fmla="*/ 883920 h 883920"/>
                    <a:gd name="connsiteX4" fmla="*/ 0 w 571500"/>
                    <a:gd name="connsiteY4" fmla="*/ 739140 h 883920"/>
                    <a:gd name="connsiteX5" fmla="*/ 18782 w 5715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0 w 800100"/>
                    <a:gd name="connsiteY4" fmla="*/ 472440 h 883920"/>
                    <a:gd name="connsiteX5" fmla="*/ 247382 w 800100"/>
                    <a:gd name="connsiteY5" fmla="*/ 548640 h 883920"/>
                    <a:gd name="connsiteX0" fmla="*/ 247382 w 800100"/>
                    <a:gd name="connsiteY0" fmla="*/ 548640 h 883920"/>
                    <a:gd name="connsiteX1" fmla="*/ 678180 w 800100"/>
                    <a:gd name="connsiteY1" fmla="*/ 0 h 883920"/>
                    <a:gd name="connsiteX2" fmla="*/ 800100 w 800100"/>
                    <a:gd name="connsiteY2" fmla="*/ 68580 h 883920"/>
                    <a:gd name="connsiteX3" fmla="*/ 239762 w 800100"/>
                    <a:gd name="connsiteY3" fmla="*/ 883920 h 883920"/>
                    <a:gd name="connsiteX4" fmla="*/ 129540 w 800100"/>
                    <a:gd name="connsiteY4" fmla="*/ 678180 h 883920"/>
                    <a:gd name="connsiteX5" fmla="*/ 0 w 800100"/>
                    <a:gd name="connsiteY5" fmla="*/ 472440 h 883920"/>
                    <a:gd name="connsiteX6" fmla="*/ 247382 w 8001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31596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883920"/>
                    <a:gd name="connsiteX1" fmla="*/ 754380 w 876300"/>
                    <a:gd name="connsiteY1" fmla="*/ 0 h 883920"/>
                    <a:gd name="connsiteX2" fmla="*/ 876300 w 876300"/>
                    <a:gd name="connsiteY2" fmla="*/ 68580 h 883920"/>
                    <a:gd name="connsiteX3" fmla="*/ 270242 w 876300"/>
                    <a:gd name="connsiteY3" fmla="*/ 883920 h 883920"/>
                    <a:gd name="connsiteX4" fmla="*/ 0 w 876300"/>
                    <a:gd name="connsiteY4" fmla="*/ 609600 h 883920"/>
                    <a:gd name="connsiteX5" fmla="*/ 76200 w 876300"/>
                    <a:gd name="connsiteY5" fmla="*/ 472440 h 883920"/>
                    <a:gd name="connsiteX6" fmla="*/ 323582 w 876300"/>
                    <a:gd name="connsiteY6" fmla="*/ 548640 h 883920"/>
                    <a:gd name="connsiteX0" fmla="*/ 323582 w 876300"/>
                    <a:gd name="connsiteY0" fmla="*/ 54864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23582 w 876300"/>
                    <a:gd name="connsiteY6" fmla="*/ 548640 h 914400"/>
                    <a:gd name="connsiteX0" fmla="*/ 308342 w 876300"/>
                    <a:gd name="connsiteY0" fmla="*/ 601980 h 914400"/>
                    <a:gd name="connsiteX1" fmla="*/ 754380 w 876300"/>
                    <a:gd name="connsiteY1" fmla="*/ 0 h 914400"/>
                    <a:gd name="connsiteX2" fmla="*/ 876300 w 876300"/>
                    <a:gd name="connsiteY2" fmla="*/ 68580 h 914400"/>
                    <a:gd name="connsiteX3" fmla="*/ 270242 w 876300"/>
                    <a:gd name="connsiteY3" fmla="*/ 914400 h 914400"/>
                    <a:gd name="connsiteX4" fmla="*/ 0 w 876300"/>
                    <a:gd name="connsiteY4" fmla="*/ 609600 h 914400"/>
                    <a:gd name="connsiteX5" fmla="*/ 76200 w 876300"/>
                    <a:gd name="connsiteY5" fmla="*/ 472440 h 914400"/>
                    <a:gd name="connsiteX6" fmla="*/ 308342 w 876300"/>
                    <a:gd name="connsiteY6" fmla="*/ 601980 h 914400"/>
                    <a:gd name="connsiteX0" fmla="*/ 308342 w 876300"/>
                    <a:gd name="connsiteY0" fmla="*/ 601980 h 876300"/>
                    <a:gd name="connsiteX1" fmla="*/ 754380 w 876300"/>
                    <a:gd name="connsiteY1" fmla="*/ 0 h 876300"/>
                    <a:gd name="connsiteX2" fmla="*/ 876300 w 876300"/>
                    <a:gd name="connsiteY2" fmla="*/ 68580 h 876300"/>
                    <a:gd name="connsiteX3" fmla="*/ 285482 w 876300"/>
                    <a:gd name="connsiteY3" fmla="*/ 876300 h 876300"/>
                    <a:gd name="connsiteX4" fmla="*/ 0 w 876300"/>
                    <a:gd name="connsiteY4" fmla="*/ 609600 h 876300"/>
                    <a:gd name="connsiteX5" fmla="*/ 76200 w 876300"/>
                    <a:gd name="connsiteY5" fmla="*/ 472440 h 876300"/>
                    <a:gd name="connsiteX6" fmla="*/ 308342 w 876300"/>
                    <a:gd name="connsiteY6" fmla="*/ 601980 h 876300"/>
                    <a:gd name="connsiteX0" fmla="*/ 331202 w 899160"/>
                    <a:gd name="connsiteY0" fmla="*/ 60198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31202 w 899160"/>
                    <a:gd name="connsiteY6" fmla="*/ 601980 h 876300"/>
                    <a:gd name="connsiteX0" fmla="*/ 323582 w 899160"/>
                    <a:gd name="connsiteY0" fmla="*/ 655320 h 876300"/>
                    <a:gd name="connsiteX1" fmla="*/ 777240 w 899160"/>
                    <a:gd name="connsiteY1" fmla="*/ 0 h 876300"/>
                    <a:gd name="connsiteX2" fmla="*/ 899160 w 899160"/>
                    <a:gd name="connsiteY2" fmla="*/ 68580 h 876300"/>
                    <a:gd name="connsiteX3" fmla="*/ 308342 w 899160"/>
                    <a:gd name="connsiteY3" fmla="*/ 876300 h 876300"/>
                    <a:gd name="connsiteX4" fmla="*/ 0 w 899160"/>
                    <a:gd name="connsiteY4" fmla="*/ 632460 h 876300"/>
                    <a:gd name="connsiteX5" fmla="*/ 99060 w 899160"/>
                    <a:gd name="connsiteY5" fmla="*/ 472440 h 876300"/>
                    <a:gd name="connsiteX6" fmla="*/ 323582 w 899160"/>
                    <a:gd name="connsiteY6" fmla="*/ 655320 h 876300"/>
                    <a:gd name="connsiteX0" fmla="*/ 323582 w 899160"/>
                    <a:gd name="connsiteY0" fmla="*/ 67056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70560 h 891540"/>
                    <a:gd name="connsiteX0" fmla="*/ 323582 w 899160"/>
                    <a:gd name="connsiteY0" fmla="*/ 640080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323582 w 899160"/>
                    <a:gd name="connsiteY6" fmla="*/ 640080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99060 w 899160"/>
                    <a:gd name="connsiteY5" fmla="*/ 487680 h 891540"/>
                    <a:gd name="connsiteX6" fmla="*/ 283538 w 899160"/>
                    <a:gd name="connsiteY6" fmla="*/ 700339 h 891540"/>
                    <a:gd name="connsiteX0" fmla="*/ 283538 w 899160"/>
                    <a:gd name="connsiteY0" fmla="*/ 700339 h 891540"/>
                    <a:gd name="connsiteX1" fmla="*/ 746760 w 899160"/>
                    <a:gd name="connsiteY1" fmla="*/ 0 h 891540"/>
                    <a:gd name="connsiteX2" fmla="*/ 899160 w 899160"/>
                    <a:gd name="connsiteY2" fmla="*/ 83820 h 891540"/>
                    <a:gd name="connsiteX3" fmla="*/ 308342 w 899160"/>
                    <a:gd name="connsiteY3" fmla="*/ 891540 h 891540"/>
                    <a:gd name="connsiteX4" fmla="*/ 0 w 899160"/>
                    <a:gd name="connsiteY4" fmla="*/ 647700 h 891540"/>
                    <a:gd name="connsiteX5" fmla="*/ 67025 w 899160"/>
                    <a:gd name="connsiteY5" fmla="*/ 514462 h 891540"/>
                    <a:gd name="connsiteX6" fmla="*/ 283538 w 899160"/>
                    <a:gd name="connsiteY6" fmla="*/ 700339 h 891540"/>
                    <a:gd name="connsiteX0" fmla="*/ 283538 w 891151"/>
                    <a:gd name="connsiteY0" fmla="*/ 700339 h 891540"/>
                    <a:gd name="connsiteX1" fmla="*/ 746760 w 891151"/>
                    <a:gd name="connsiteY1" fmla="*/ 0 h 891540"/>
                    <a:gd name="connsiteX2" fmla="*/ 891151 w 891151"/>
                    <a:gd name="connsiteY2" fmla="*/ 150774 h 891540"/>
                    <a:gd name="connsiteX3" fmla="*/ 308342 w 891151"/>
                    <a:gd name="connsiteY3" fmla="*/ 891540 h 891540"/>
                    <a:gd name="connsiteX4" fmla="*/ 0 w 891151"/>
                    <a:gd name="connsiteY4" fmla="*/ 647700 h 891540"/>
                    <a:gd name="connsiteX5" fmla="*/ 67025 w 891151"/>
                    <a:gd name="connsiteY5" fmla="*/ 514462 h 891540"/>
                    <a:gd name="connsiteX6" fmla="*/ 283538 w 891151"/>
                    <a:gd name="connsiteY6" fmla="*/ 700339 h 891540"/>
                    <a:gd name="connsiteX0" fmla="*/ 283538 w 891151"/>
                    <a:gd name="connsiteY0" fmla="*/ 640080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83538 w 891151"/>
                    <a:gd name="connsiteY6" fmla="*/ 640080 h 831281"/>
                    <a:gd name="connsiteX0" fmla="*/ 275530 w 891151"/>
                    <a:gd name="connsiteY0" fmla="*/ 599908 h 831281"/>
                    <a:gd name="connsiteX1" fmla="*/ 730743 w 891151"/>
                    <a:gd name="connsiteY1" fmla="*/ 0 h 831281"/>
                    <a:gd name="connsiteX2" fmla="*/ 891151 w 891151"/>
                    <a:gd name="connsiteY2" fmla="*/ 90515 h 831281"/>
                    <a:gd name="connsiteX3" fmla="*/ 308342 w 891151"/>
                    <a:gd name="connsiteY3" fmla="*/ 831281 h 831281"/>
                    <a:gd name="connsiteX4" fmla="*/ 0 w 891151"/>
                    <a:gd name="connsiteY4" fmla="*/ 587441 h 831281"/>
                    <a:gd name="connsiteX5" fmla="*/ 67025 w 891151"/>
                    <a:gd name="connsiteY5" fmla="*/ 454203 h 831281"/>
                    <a:gd name="connsiteX6" fmla="*/ 275530 w 891151"/>
                    <a:gd name="connsiteY6" fmla="*/ 599908 h 831281"/>
                    <a:gd name="connsiteX0" fmla="*/ 307565 w 923186"/>
                    <a:gd name="connsiteY0" fmla="*/ 599908 h 831281"/>
                    <a:gd name="connsiteX1" fmla="*/ 762778 w 923186"/>
                    <a:gd name="connsiteY1" fmla="*/ 0 h 831281"/>
                    <a:gd name="connsiteX2" fmla="*/ 923186 w 923186"/>
                    <a:gd name="connsiteY2" fmla="*/ 90515 h 831281"/>
                    <a:gd name="connsiteX3" fmla="*/ 340377 w 923186"/>
                    <a:gd name="connsiteY3" fmla="*/ 831281 h 831281"/>
                    <a:gd name="connsiteX4" fmla="*/ 0 w 923186"/>
                    <a:gd name="connsiteY4" fmla="*/ 620918 h 831281"/>
                    <a:gd name="connsiteX5" fmla="*/ 99060 w 923186"/>
                    <a:gd name="connsiteY5" fmla="*/ 454203 h 831281"/>
                    <a:gd name="connsiteX6" fmla="*/ 307565 w 923186"/>
                    <a:gd name="connsiteY6" fmla="*/ 599908 h 8312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923186" h="831281">
                      <a:moveTo>
                        <a:pt x="307565" y="599908"/>
                      </a:moveTo>
                      <a:lnTo>
                        <a:pt x="762778" y="0"/>
                      </a:lnTo>
                      <a:lnTo>
                        <a:pt x="923186" y="90515"/>
                      </a:lnTo>
                      <a:lnTo>
                        <a:pt x="340377" y="831281"/>
                      </a:lnTo>
                      <a:lnTo>
                        <a:pt x="0" y="620918"/>
                      </a:lnTo>
                      <a:lnTo>
                        <a:pt x="99060" y="454203"/>
                      </a:lnTo>
                      <a:lnTo>
                        <a:pt x="307565" y="599908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40" name="Group 39"/>
              <p:cNvGrpSpPr/>
              <p:nvPr/>
            </p:nvGrpSpPr>
            <p:grpSpPr>
              <a:xfrm>
                <a:off x="4060893" y="2430780"/>
                <a:ext cx="1403798" cy="430745"/>
                <a:chOff x="4043965" y="2430780"/>
                <a:chExt cx="1403798" cy="430745"/>
              </a:xfrm>
              <a:grpFill/>
            </p:grpSpPr>
            <p:sp>
              <p:nvSpPr>
                <p:cNvPr id="47" name="Rectangle 46"/>
                <p:cNvSpPr/>
                <p:nvPr/>
              </p:nvSpPr>
              <p:spPr>
                <a:xfrm>
                  <a:off x="4043966" y="243078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8" name="Rectangle 47"/>
                <p:cNvSpPr/>
                <p:nvPr/>
              </p:nvSpPr>
              <p:spPr>
                <a:xfrm>
                  <a:off x="4043965" y="271653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41" name="Group 40"/>
              <p:cNvGrpSpPr/>
              <p:nvPr/>
            </p:nvGrpSpPr>
            <p:grpSpPr>
              <a:xfrm>
                <a:off x="4060893" y="3771968"/>
                <a:ext cx="1403798" cy="430745"/>
                <a:chOff x="4043965" y="2430780"/>
                <a:chExt cx="1403798" cy="430745"/>
              </a:xfrm>
              <a:grpFill/>
            </p:grpSpPr>
            <p:sp>
              <p:nvSpPr>
                <p:cNvPr id="45" name="Rectangle 44"/>
                <p:cNvSpPr/>
                <p:nvPr/>
              </p:nvSpPr>
              <p:spPr>
                <a:xfrm>
                  <a:off x="4043966" y="243078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6" name="Rectangle 45"/>
                <p:cNvSpPr/>
                <p:nvPr/>
              </p:nvSpPr>
              <p:spPr>
                <a:xfrm>
                  <a:off x="4043965" y="271653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  <p:grpSp>
            <p:nvGrpSpPr>
              <p:cNvPr id="42" name="Group 41"/>
              <p:cNvGrpSpPr/>
              <p:nvPr/>
            </p:nvGrpSpPr>
            <p:grpSpPr>
              <a:xfrm>
                <a:off x="4060893" y="5113157"/>
                <a:ext cx="1403798" cy="430745"/>
                <a:chOff x="4043965" y="2430780"/>
                <a:chExt cx="1403798" cy="430745"/>
              </a:xfrm>
              <a:grpFill/>
            </p:grpSpPr>
            <p:sp>
              <p:nvSpPr>
                <p:cNvPr id="43" name="Rectangle 42"/>
                <p:cNvSpPr/>
                <p:nvPr/>
              </p:nvSpPr>
              <p:spPr>
                <a:xfrm>
                  <a:off x="4043966" y="243078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  <p:sp>
              <p:nvSpPr>
                <p:cNvPr id="44" name="Rectangle 43"/>
                <p:cNvSpPr/>
                <p:nvPr/>
              </p:nvSpPr>
              <p:spPr>
                <a:xfrm>
                  <a:off x="4043965" y="2716530"/>
                  <a:ext cx="1403797" cy="144995"/>
                </a:xfrm>
                <a:prstGeom prst="rect">
                  <a:avLst/>
                </a:prstGeom>
                <a:grpFill/>
                <a:ln>
                  <a:noFill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>
                    <a:solidFill>
                      <a:prstClr val="white"/>
                    </a:solidFill>
                  </a:endParaRPr>
                </a:p>
              </p:txBody>
            </p:sp>
          </p:grpSp>
        </p:grpSp>
        <p:grpSp>
          <p:nvGrpSpPr>
            <p:cNvPr id="28" name="Group 27"/>
            <p:cNvGrpSpPr/>
            <p:nvPr/>
          </p:nvGrpSpPr>
          <p:grpSpPr>
            <a:xfrm rot="21219949">
              <a:off x="4596429" y="4634545"/>
              <a:ext cx="421721" cy="387807"/>
              <a:chOff x="7862023" y="5744193"/>
              <a:chExt cx="561310" cy="516172"/>
            </a:xfrm>
            <a:grpFill/>
          </p:grpSpPr>
          <p:sp>
            <p:nvSpPr>
              <p:cNvPr id="29" name="Round Same Side Corner Rectangle 28"/>
              <p:cNvSpPr/>
              <p:nvPr/>
            </p:nvSpPr>
            <p:spPr>
              <a:xfrm rot="2819098">
                <a:off x="8360133" y="5766821"/>
                <a:ext cx="85827" cy="40572"/>
              </a:xfrm>
              <a:prstGeom prst="round2SameRect">
                <a:avLst>
                  <a:gd name="adj1" fmla="val 50000"/>
                  <a:gd name="adj2" fmla="val 0"/>
                </a:avLst>
              </a:pr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0" name="Rectangle 87"/>
              <p:cNvSpPr/>
              <p:nvPr/>
            </p:nvSpPr>
            <p:spPr>
              <a:xfrm rot="18993470">
                <a:off x="8258931" y="5801083"/>
                <a:ext cx="138649" cy="102307"/>
              </a:xfrm>
              <a:custGeom>
                <a:avLst/>
                <a:gdLst>
                  <a:gd name="connsiteX0" fmla="*/ 0 w 1067195"/>
                  <a:gd name="connsiteY0" fmla="*/ 0 h 767452"/>
                  <a:gd name="connsiteX1" fmla="*/ 1067195 w 1067195"/>
                  <a:gd name="connsiteY1" fmla="*/ 0 h 767452"/>
                  <a:gd name="connsiteX2" fmla="*/ 1067195 w 1067195"/>
                  <a:gd name="connsiteY2" fmla="*/ 767452 h 767452"/>
                  <a:gd name="connsiteX3" fmla="*/ 0 w 1067195"/>
                  <a:gd name="connsiteY3" fmla="*/ 767452 h 767452"/>
                  <a:gd name="connsiteX4" fmla="*/ 0 w 1067195"/>
                  <a:gd name="connsiteY4" fmla="*/ 0 h 767452"/>
                  <a:gd name="connsiteX0" fmla="*/ 0 w 1077007"/>
                  <a:gd name="connsiteY0" fmla="*/ 0 h 767452"/>
                  <a:gd name="connsiteX1" fmla="*/ 1077007 w 1077007"/>
                  <a:gd name="connsiteY1" fmla="*/ 4141 h 767452"/>
                  <a:gd name="connsiteX2" fmla="*/ 1067195 w 1077007"/>
                  <a:gd name="connsiteY2" fmla="*/ 767452 h 767452"/>
                  <a:gd name="connsiteX3" fmla="*/ 0 w 1077007"/>
                  <a:gd name="connsiteY3" fmla="*/ 767452 h 767452"/>
                  <a:gd name="connsiteX4" fmla="*/ 0 w 1077007"/>
                  <a:gd name="connsiteY4" fmla="*/ 0 h 7674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77007" h="767452">
                    <a:moveTo>
                      <a:pt x="0" y="0"/>
                    </a:moveTo>
                    <a:lnTo>
                      <a:pt x="1077007" y="4141"/>
                    </a:lnTo>
                    <a:lnTo>
                      <a:pt x="1067195" y="767452"/>
                    </a:lnTo>
                    <a:lnTo>
                      <a:pt x="0" y="767452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1" name="Rectangle 88"/>
              <p:cNvSpPr/>
              <p:nvPr/>
            </p:nvSpPr>
            <p:spPr>
              <a:xfrm rot="18964861">
                <a:off x="8385144" y="5858800"/>
                <a:ext cx="34828" cy="40222"/>
              </a:xfrm>
              <a:custGeom>
                <a:avLst/>
                <a:gdLst>
                  <a:gd name="connsiteX0" fmla="*/ 0 w 270532"/>
                  <a:gd name="connsiteY0" fmla="*/ 0 h 333375"/>
                  <a:gd name="connsiteX1" fmla="*/ 270532 w 270532"/>
                  <a:gd name="connsiteY1" fmla="*/ 0 h 333375"/>
                  <a:gd name="connsiteX2" fmla="*/ 270532 w 270532"/>
                  <a:gd name="connsiteY2" fmla="*/ 333375 h 333375"/>
                  <a:gd name="connsiteX3" fmla="*/ 0 w 270532"/>
                  <a:gd name="connsiteY3" fmla="*/ 333375 h 333375"/>
                  <a:gd name="connsiteX4" fmla="*/ 0 w 270532"/>
                  <a:gd name="connsiteY4" fmla="*/ 0 h 333375"/>
                  <a:gd name="connsiteX0" fmla="*/ 0 w 270532"/>
                  <a:gd name="connsiteY0" fmla="*/ 0 h 333375"/>
                  <a:gd name="connsiteX1" fmla="*/ 270532 w 270532"/>
                  <a:gd name="connsiteY1" fmla="*/ 0 h 333375"/>
                  <a:gd name="connsiteX2" fmla="*/ 256354 w 270532"/>
                  <a:gd name="connsiteY2" fmla="*/ 301734 h 333375"/>
                  <a:gd name="connsiteX3" fmla="*/ 0 w 270532"/>
                  <a:gd name="connsiteY3" fmla="*/ 333375 h 333375"/>
                  <a:gd name="connsiteX4" fmla="*/ 0 w 270532"/>
                  <a:gd name="connsiteY4" fmla="*/ 0 h 333375"/>
                  <a:gd name="connsiteX0" fmla="*/ 0 w 270532"/>
                  <a:gd name="connsiteY0" fmla="*/ 0 h 301734"/>
                  <a:gd name="connsiteX1" fmla="*/ 270532 w 270532"/>
                  <a:gd name="connsiteY1" fmla="*/ 0 h 301734"/>
                  <a:gd name="connsiteX2" fmla="*/ 256354 w 270532"/>
                  <a:gd name="connsiteY2" fmla="*/ 301734 h 301734"/>
                  <a:gd name="connsiteX3" fmla="*/ 21107 w 270532"/>
                  <a:gd name="connsiteY3" fmla="*/ 284491 h 301734"/>
                  <a:gd name="connsiteX4" fmla="*/ 0 w 270532"/>
                  <a:gd name="connsiteY4" fmla="*/ 0 h 301734"/>
                  <a:gd name="connsiteX0" fmla="*/ 0 w 270532"/>
                  <a:gd name="connsiteY0" fmla="*/ 0 h 301734"/>
                  <a:gd name="connsiteX1" fmla="*/ 270532 w 270532"/>
                  <a:gd name="connsiteY1" fmla="*/ 0 h 301734"/>
                  <a:gd name="connsiteX2" fmla="*/ 256354 w 270532"/>
                  <a:gd name="connsiteY2" fmla="*/ 301734 h 301734"/>
                  <a:gd name="connsiteX3" fmla="*/ 18040 w 270532"/>
                  <a:gd name="connsiteY3" fmla="*/ 280847 h 301734"/>
                  <a:gd name="connsiteX4" fmla="*/ 0 w 270532"/>
                  <a:gd name="connsiteY4" fmla="*/ 0 h 3017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270532" h="301734">
                    <a:moveTo>
                      <a:pt x="0" y="0"/>
                    </a:moveTo>
                    <a:lnTo>
                      <a:pt x="270532" y="0"/>
                    </a:lnTo>
                    <a:lnTo>
                      <a:pt x="256354" y="301734"/>
                    </a:lnTo>
                    <a:lnTo>
                      <a:pt x="18040" y="280847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2" name="Rectangle 89"/>
              <p:cNvSpPr/>
              <p:nvPr/>
            </p:nvSpPr>
            <p:spPr>
              <a:xfrm rot="3060000">
                <a:off x="8298191" y="5848534"/>
                <a:ext cx="23943" cy="220137"/>
              </a:xfrm>
              <a:custGeom>
                <a:avLst/>
                <a:gdLst>
                  <a:gd name="connsiteX0" fmla="*/ 0 w 111898"/>
                  <a:gd name="connsiteY0" fmla="*/ 0 h 1644627"/>
                  <a:gd name="connsiteX1" fmla="*/ 111898 w 111898"/>
                  <a:gd name="connsiteY1" fmla="*/ 0 h 1644627"/>
                  <a:gd name="connsiteX2" fmla="*/ 111898 w 111898"/>
                  <a:gd name="connsiteY2" fmla="*/ 1644627 h 1644627"/>
                  <a:gd name="connsiteX3" fmla="*/ 0 w 111898"/>
                  <a:gd name="connsiteY3" fmla="*/ 1644627 h 1644627"/>
                  <a:gd name="connsiteX4" fmla="*/ 0 w 111898"/>
                  <a:gd name="connsiteY4" fmla="*/ 0 h 1644627"/>
                  <a:gd name="connsiteX0" fmla="*/ 0 w 148942"/>
                  <a:gd name="connsiteY0" fmla="*/ 23574 h 1668201"/>
                  <a:gd name="connsiteX1" fmla="*/ 148942 w 148942"/>
                  <a:gd name="connsiteY1" fmla="*/ 0 h 1668201"/>
                  <a:gd name="connsiteX2" fmla="*/ 111898 w 148942"/>
                  <a:gd name="connsiteY2" fmla="*/ 1668201 h 1668201"/>
                  <a:gd name="connsiteX3" fmla="*/ 0 w 148942"/>
                  <a:gd name="connsiteY3" fmla="*/ 1668201 h 1668201"/>
                  <a:gd name="connsiteX4" fmla="*/ 0 w 148942"/>
                  <a:gd name="connsiteY4" fmla="*/ 23574 h 1668201"/>
                  <a:gd name="connsiteX0" fmla="*/ 0 w 185985"/>
                  <a:gd name="connsiteY0" fmla="*/ 26941 h 1668201"/>
                  <a:gd name="connsiteX1" fmla="*/ 185985 w 185985"/>
                  <a:gd name="connsiteY1" fmla="*/ 0 h 1668201"/>
                  <a:gd name="connsiteX2" fmla="*/ 148941 w 185985"/>
                  <a:gd name="connsiteY2" fmla="*/ 1668201 h 1668201"/>
                  <a:gd name="connsiteX3" fmla="*/ 37043 w 185985"/>
                  <a:gd name="connsiteY3" fmla="*/ 1668201 h 1668201"/>
                  <a:gd name="connsiteX4" fmla="*/ 0 w 185985"/>
                  <a:gd name="connsiteY4" fmla="*/ 26941 h 1668201"/>
                  <a:gd name="connsiteX0" fmla="*/ 0 w 185985"/>
                  <a:gd name="connsiteY0" fmla="*/ 26941 h 1668201"/>
                  <a:gd name="connsiteX1" fmla="*/ 185985 w 185985"/>
                  <a:gd name="connsiteY1" fmla="*/ 0 h 1668201"/>
                  <a:gd name="connsiteX2" fmla="*/ 145574 w 185985"/>
                  <a:gd name="connsiteY2" fmla="*/ 1631158 h 1668201"/>
                  <a:gd name="connsiteX3" fmla="*/ 37043 w 185985"/>
                  <a:gd name="connsiteY3" fmla="*/ 1668201 h 1668201"/>
                  <a:gd name="connsiteX4" fmla="*/ 0 w 185985"/>
                  <a:gd name="connsiteY4" fmla="*/ 26941 h 1668201"/>
                  <a:gd name="connsiteX0" fmla="*/ 0 w 185985"/>
                  <a:gd name="connsiteY0" fmla="*/ 26941 h 1651362"/>
                  <a:gd name="connsiteX1" fmla="*/ 185985 w 185985"/>
                  <a:gd name="connsiteY1" fmla="*/ 0 h 1651362"/>
                  <a:gd name="connsiteX2" fmla="*/ 145574 w 185985"/>
                  <a:gd name="connsiteY2" fmla="*/ 1631158 h 1651362"/>
                  <a:gd name="connsiteX3" fmla="*/ 67352 w 185985"/>
                  <a:gd name="connsiteY3" fmla="*/ 1651362 h 1651362"/>
                  <a:gd name="connsiteX4" fmla="*/ 0 w 185985"/>
                  <a:gd name="connsiteY4" fmla="*/ 26941 h 1651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85985" h="1651362">
                    <a:moveTo>
                      <a:pt x="0" y="26941"/>
                    </a:moveTo>
                    <a:lnTo>
                      <a:pt x="185985" y="0"/>
                    </a:lnTo>
                    <a:lnTo>
                      <a:pt x="145574" y="1631158"/>
                    </a:lnTo>
                    <a:lnTo>
                      <a:pt x="67352" y="1651362"/>
                    </a:lnTo>
                    <a:lnTo>
                      <a:pt x="0" y="26941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3" name="Rectangle 109"/>
              <p:cNvSpPr/>
              <p:nvPr/>
            </p:nvSpPr>
            <p:spPr>
              <a:xfrm rot="19015320">
                <a:off x="7883921" y="6003368"/>
                <a:ext cx="441960" cy="100976"/>
              </a:xfrm>
              <a:custGeom>
                <a:avLst/>
                <a:gdLst>
                  <a:gd name="connsiteX0" fmla="*/ 0 w 3429000"/>
                  <a:gd name="connsiteY0" fmla="*/ 0 h 772673"/>
                  <a:gd name="connsiteX1" fmla="*/ 3429000 w 3429000"/>
                  <a:gd name="connsiteY1" fmla="*/ 0 h 772673"/>
                  <a:gd name="connsiteX2" fmla="*/ 3429000 w 3429000"/>
                  <a:gd name="connsiteY2" fmla="*/ 772673 h 772673"/>
                  <a:gd name="connsiteX3" fmla="*/ 0 w 3429000"/>
                  <a:gd name="connsiteY3" fmla="*/ 772673 h 772673"/>
                  <a:gd name="connsiteX4" fmla="*/ 0 w 3429000"/>
                  <a:gd name="connsiteY4" fmla="*/ 0 h 772673"/>
                  <a:gd name="connsiteX0" fmla="*/ 18453 w 3447453"/>
                  <a:gd name="connsiteY0" fmla="*/ 0 h 772673"/>
                  <a:gd name="connsiteX1" fmla="*/ 3447453 w 3447453"/>
                  <a:gd name="connsiteY1" fmla="*/ 0 h 772673"/>
                  <a:gd name="connsiteX2" fmla="*/ 3447453 w 3447453"/>
                  <a:gd name="connsiteY2" fmla="*/ 772673 h 772673"/>
                  <a:gd name="connsiteX3" fmla="*/ 0 w 3447453"/>
                  <a:gd name="connsiteY3" fmla="*/ 576890 h 772673"/>
                  <a:gd name="connsiteX4" fmla="*/ 18453 w 3447453"/>
                  <a:gd name="connsiteY4" fmla="*/ 0 h 772673"/>
                  <a:gd name="connsiteX0" fmla="*/ 28456 w 3447453"/>
                  <a:gd name="connsiteY0" fmla="*/ 162768 h 772673"/>
                  <a:gd name="connsiteX1" fmla="*/ 3447453 w 3447453"/>
                  <a:gd name="connsiteY1" fmla="*/ 0 h 772673"/>
                  <a:gd name="connsiteX2" fmla="*/ 3447453 w 3447453"/>
                  <a:gd name="connsiteY2" fmla="*/ 772673 h 772673"/>
                  <a:gd name="connsiteX3" fmla="*/ 0 w 3447453"/>
                  <a:gd name="connsiteY3" fmla="*/ 576890 h 772673"/>
                  <a:gd name="connsiteX4" fmla="*/ 28456 w 3447453"/>
                  <a:gd name="connsiteY4" fmla="*/ 162768 h 772673"/>
                  <a:gd name="connsiteX0" fmla="*/ 28456 w 3447453"/>
                  <a:gd name="connsiteY0" fmla="*/ 161327 h 771232"/>
                  <a:gd name="connsiteX1" fmla="*/ 3436096 w 3447453"/>
                  <a:gd name="connsiteY1" fmla="*/ 0 h 771232"/>
                  <a:gd name="connsiteX2" fmla="*/ 3447453 w 3447453"/>
                  <a:gd name="connsiteY2" fmla="*/ 771232 h 771232"/>
                  <a:gd name="connsiteX3" fmla="*/ 0 w 3447453"/>
                  <a:gd name="connsiteY3" fmla="*/ 575449 h 771232"/>
                  <a:gd name="connsiteX4" fmla="*/ 28456 w 3447453"/>
                  <a:gd name="connsiteY4" fmla="*/ 161327 h 771232"/>
                  <a:gd name="connsiteX0" fmla="*/ 28456 w 3443932"/>
                  <a:gd name="connsiteY0" fmla="*/ 161327 h 757477"/>
                  <a:gd name="connsiteX1" fmla="*/ 3436096 w 3443932"/>
                  <a:gd name="connsiteY1" fmla="*/ 0 h 757477"/>
                  <a:gd name="connsiteX2" fmla="*/ 3443932 w 3443932"/>
                  <a:gd name="connsiteY2" fmla="*/ 757477 h 757477"/>
                  <a:gd name="connsiteX3" fmla="*/ 0 w 3443932"/>
                  <a:gd name="connsiteY3" fmla="*/ 575449 h 757477"/>
                  <a:gd name="connsiteX4" fmla="*/ 28456 w 3443932"/>
                  <a:gd name="connsiteY4" fmla="*/ 161327 h 757477"/>
                  <a:gd name="connsiteX0" fmla="*/ 22217 w 3443932"/>
                  <a:gd name="connsiteY0" fmla="*/ 154130 h 757477"/>
                  <a:gd name="connsiteX1" fmla="*/ 3436096 w 3443932"/>
                  <a:gd name="connsiteY1" fmla="*/ 0 h 757477"/>
                  <a:gd name="connsiteX2" fmla="*/ 3443932 w 3443932"/>
                  <a:gd name="connsiteY2" fmla="*/ 757477 h 757477"/>
                  <a:gd name="connsiteX3" fmla="*/ 0 w 3443932"/>
                  <a:gd name="connsiteY3" fmla="*/ 575449 h 757477"/>
                  <a:gd name="connsiteX4" fmla="*/ 22217 w 3443932"/>
                  <a:gd name="connsiteY4" fmla="*/ 154130 h 757477"/>
                  <a:gd name="connsiteX0" fmla="*/ 10222 w 3431937"/>
                  <a:gd name="connsiteY0" fmla="*/ 154130 h 757477"/>
                  <a:gd name="connsiteX1" fmla="*/ 3424101 w 3431937"/>
                  <a:gd name="connsiteY1" fmla="*/ 0 h 757477"/>
                  <a:gd name="connsiteX2" fmla="*/ 3431937 w 3431937"/>
                  <a:gd name="connsiteY2" fmla="*/ 757477 h 757477"/>
                  <a:gd name="connsiteX3" fmla="*/ 0 w 3431937"/>
                  <a:gd name="connsiteY3" fmla="*/ 565050 h 757477"/>
                  <a:gd name="connsiteX4" fmla="*/ 10222 w 3431937"/>
                  <a:gd name="connsiteY4" fmla="*/ 154130 h 757477"/>
                  <a:gd name="connsiteX0" fmla="*/ 0 w 3433071"/>
                  <a:gd name="connsiteY0" fmla="*/ 155571 h 757477"/>
                  <a:gd name="connsiteX1" fmla="*/ 3425235 w 3433071"/>
                  <a:gd name="connsiteY1" fmla="*/ 0 h 757477"/>
                  <a:gd name="connsiteX2" fmla="*/ 3433071 w 3433071"/>
                  <a:gd name="connsiteY2" fmla="*/ 757477 h 757477"/>
                  <a:gd name="connsiteX3" fmla="*/ 1134 w 3433071"/>
                  <a:gd name="connsiteY3" fmla="*/ 565050 h 757477"/>
                  <a:gd name="connsiteX4" fmla="*/ 0 w 3433071"/>
                  <a:gd name="connsiteY4" fmla="*/ 155571 h 75747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433071" h="757477">
                    <a:moveTo>
                      <a:pt x="0" y="155571"/>
                    </a:moveTo>
                    <a:lnTo>
                      <a:pt x="3425235" y="0"/>
                    </a:lnTo>
                    <a:lnTo>
                      <a:pt x="3433071" y="757477"/>
                    </a:lnTo>
                    <a:lnTo>
                      <a:pt x="1134" y="565050"/>
                    </a:lnTo>
                    <a:lnTo>
                      <a:pt x="0" y="155571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34" name="Isosceles Triangle 110"/>
              <p:cNvSpPr/>
              <p:nvPr/>
            </p:nvSpPr>
            <p:spPr>
              <a:xfrm rot="13692272">
                <a:off x="7875737" y="6192469"/>
                <a:ext cx="54182" cy="81609"/>
              </a:xfrm>
              <a:custGeom>
                <a:avLst/>
                <a:gdLst>
                  <a:gd name="connsiteX0" fmla="*/ 0 w 405957"/>
                  <a:gd name="connsiteY0" fmla="*/ 609600 h 609600"/>
                  <a:gd name="connsiteX1" fmla="*/ 202979 w 405957"/>
                  <a:gd name="connsiteY1" fmla="*/ 0 h 609600"/>
                  <a:gd name="connsiteX2" fmla="*/ 405957 w 405957"/>
                  <a:gd name="connsiteY2" fmla="*/ 609600 h 609600"/>
                  <a:gd name="connsiteX3" fmla="*/ 0 w 405957"/>
                  <a:gd name="connsiteY3" fmla="*/ 609600 h 609600"/>
                  <a:gd name="connsiteX0" fmla="*/ 0 w 389754"/>
                  <a:gd name="connsiteY0" fmla="*/ 609600 h 630725"/>
                  <a:gd name="connsiteX1" fmla="*/ 202979 w 389754"/>
                  <a:gd name="connsiteY1" fmla="*/ 0 h 630725"/>
                  <a:gd name="connsiteX2" fmla="*/ 389754 w 389754"/>
                  <a:gd name="connsiteY2" fmla="*/ 630725 h 630725"/>
                  <a:gd name="connsiteX3" fmla="*/ 0 w 389754"/>
                  <a:gd name="connsiteY3" fmla="*/ 609600 h 630725"/>
                  <a:gd name="connsiteX0" fmla="*/ 0 w 406450"/>
                  <a:gd name="connsiteY0" fmla="*/ 640815 h 640815"/>
                  <a:gd name="connsiteX1" fmla="*/ 219675 w 406450"/>
                  <a:gd name="connsiteY1" fmla="*/ 0 h 640815"/>
                  <a:gd name="connsiteX2" fmla="*/ 406450 w 406450"/>
                  <a:gd name="connsiteY2" fmla="*/ 630725 h 640815"/>
                  <a:gd name="connsiteX3" fmla="*/ 0 w 406450"/>
                  <a:gd name="connsiteY3" fmla="*/ 640815 h 640815"/>
                  <a:gd name="connsiteX0" fmla="*/ 0 w 406450"/>
                  <a:gd name="connsiteY0" fmla="*/ 633759 h 633759"/>
                  <a:gd name="connsiteX1" fmla="*/ 226073 w 406450"/>
                  <a:gd name="connsiteY1" fmla="*/ 0 h 633759"/>
                  <a:gd name="connsiteX2" fmla="*/ 406450 w 406450"/>
                  <a:gd name="connsiteY2" fmla="*/ 623669 h 633759"/>
                  <a:gd name="connsiteX3" fmla="*/ 0 w 406450"/>
                  <a:gd name="connsiteY3" fmla="*/ 633759 h 633759"/>
                  <a:gd name="connsiteX0" fmla="*/ 0 w 406450"/>
                  <a:gd name="connsiteY0" fmla="*/ 633923 h 633923"/>
                  <a:gd name="connsiteX1" fmla="*/ 222709 w 406450"/>
                  <a:gd name="connsiteY1" fmla="*/ 0 h 633923"/>
                  <a:gd name="connsiteX2" fmla="*/ 406450 w 406450"/>
                  <a:gd name="connsiteY2" fmla="*/ 623833 h 633923"/>
                  <a:gd name="connsiteX3" fmla="*/ 0 w 406450"/>
                  <a:gd name="connsiteY3" fmla="*/ 633923 h 6339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06450" h="633923">
                    <a:moveTo>
                      <a:pt x="0" y="633923"/>
                    </a:moveTo>
                    <a:lnTo>
                      <a:pt x="222709" y="0"/>
                    </a:lnTo>
                    <a:lnTo>
                      <a:pt x="406450" y="623833"/>
                    </a:lnTo>
                    <a:lnTo>
                      <a:pt x="0" y="633923"/>
                    </a:lnTo>
                    <a:close/>
                  </a:path>
                </a:pathLst>
              </a:custGeom>
              <a:grp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>
                  <a:defRPr/>
                </a:pPr>
                <a:endParaRPr lang="en-US" kern="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55" name="Group 54"/>
          <p:cNvGrpSpPr/>
          <p:nvPr/>
        </p:nvGrpSpPr>
        <p:grpSpPr>
          <a:xfrm>
            <a:off x="773802" y="3621080"/>
            <a:ext cx="563418" cy="378300"/>
            <a:chOff x="1721801" y="2853410"/>
            <a:chExt cx="2101707" cy="1411170"/>
          </a:xfrm>
          <a:solidFill>
            <a:schemeClr val="bg1"/>
          </a:solidFill>
        </p:grpSpPr>
        <p:sp>
          <p:nvSpPr>
            <p:cNvPr id="56" name="Freeform 55"/>
            <p:cNvSpPr/>
            <p:nvPr/>
          </p:nvSpPr>
          <p:spPr>
            <a:xfrm rot="18045015">
              <a:off x="2182878" y="3021177"/>
              <a:ext cx="911102" cy="1297454"/>
            </a:xfrm>
            <a:custGeom>
              <a:avLst/>
              <a:gdLst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745536 w 911102"/>
                <a:gd name="connsiteY3" fmla="*/ 8370 h 1297454"/>
                <a:gd name="connsiteX4" fmla="*/ 824005 w 911102"/>
                <a:gd name="connsiteY4" fmla="*/ 195660 h 1297454"/>
                <a:gd name="connsiteX5" fmla="*/ 911102 w 911102"/>
                <a:gd name="connsiteY5" fmla="*/ 379668 h 1297454"/>
                <a:gd name="connsiteX6" fmla="*/ 907221 w 911102"/>
                <a:gd name="connsiteY6" fmla="*/ 382118 h 1297454"/>
                <a:gd name="connsiteX7" fmla="*/ 876660 w 911102"/>
                <a:gd name="connsiteY7" fmla="*/ 399710 h 1297454"/>
                <a:gd name="connsiteX8" fmla="*/ 490066 w 911102"/>
                <a:gd name="connsiteY8" fmla="*/ 297988 h 1297454"/>
                <a:gd name="connsiteX9" fmla="*/ 716083 w 911102"/>
                <a:gd name="connsiteY9" fmla="*/ 598865 h 1297454"/>
                <a:gd name="connsiteX10" fmla="*/ 777233 w 911102"/>
                <a:gd name="connsiteY10" fmla="*/ 615788 h 1297454"/>
                <a:gd name="connsiteX11" fmla="*/ 770153 w 911102"/>
                <a:gd name="connsiteY11" fmla="*/ 639019 h 1297454"/>
                <a:gd name="connsiteX12" fmla="*/ 753784 w 911102"/>
                <a:gd name="connsiteY12" fmla="*/ 665322 h 1297454"/>
                <a:gd name="connsiteX13" fmla="*/ 710088 w 911102"/>
                <a:gd name="connsiteY13" fmla="*/ 1078153 h 1297454"/>
                <a:gd name="connsiteX14" fmla="*/ 710501 w 911102"/>
                <a:gd name="connsiteY14" fmla="*/ 1086412 h 1297454"/>
                <a:gd name="connsiteX15" fmla="*/ 710454 w 911102"/>
                <a:gd name="connsiteY15" fmla="*/ 1087719 h 1297454"/>
                <a:gd name="connsiteX16" fmla="*/ 714164 w 911102"/>
                <a:gd name="connsiteY16" fmla="*/ 1201144 h 1297454"/>
                <a:gd name="connsiteX17" fmla="*/ 723293 w 911102"/>
                <a:gd name="connsiteY17" fmla="*/ 1277540 h 1297454"/>
                <a:gd name="connsiteX18" fmla="*/ 723407 w 911102"/>
                <a:gd name="connsiteY18" fmla="*/ 1278872 h 1297454"/>
                <a:gd name="connsiteX19" fmla="*/ 724025 w 911102"/>
                <a:gd name="connsiteY19" fmla="*/ 1283671 h 1297454"/>
                <a:gd name="connsiteX20" fmla="*/ 724876 w 911102"/>
                <a:gd name="connsiteY20" fmla="*/ 1290789 h 1297454"/>
                <a:gd name="connsiteX21" fmla="*/ 568039 w 911102"/>
                <a:gd name="connsiteY21" fmla="*/ 1230080 h 1297454"/>
                <a:gd name="connsiteX22" fmla="*/ 364868 w 911102"/>
                <a:gd name="connsiteY22" fmla="*/ 1184795 h 1297454"/>
                <a:gd name="connsiteX23" fmla="*/ 178811 w 911102"/>
                <a:gd name="connsiteY23" fmla="*/ 1123147 h 1297454"/>
                <a:gd name="connsiteX24" fmla="*/ 28040 w 911102"/>
                <a:gd name="connsiteY24" fmla="*/ 1036282 h 1297454"/>
                <a:gd name="connsiteX25" fmla="*/ 26077 w 911102"/>
                <a:gd name="connsiteY25" fmla="*/ 1027345 h 1297454"/>
                <a:gd name="connsiteX26" fmla="*/ 152633 w 911102"/>
                <a:gd name="connsiteY26" fmla="*/ 1035076 h 1297454"/>
                <a:gd name="connsiteX27" fmla="*/ 255738 w 911102"/>
                <a:gd name="connsiteY27" fmla="*/ 943843 h 1297454"/>
                <a:gd name="connsiteX28" fmla="*/ 231475 w 911102"/>
                <a:gd name="connsiteY28" fmla="*/ 873395 h 1297454"/>
                <a:gd name="connsiteX29" fmla="*/ 213502 w 911102"/>
                <a:gd name="connsiteY29" fmla="*/ 859613 h 1297454"/>
                <a:gd name="connsiteX30" fmla="*/ 216878 w 911102"/>
                <a:gd name="connsiteY30" fmla="*/ 859143 h 1297454"/>
                <a:gd name="connsiteX31" fmla="*/ 281693 w 911102"/>
                <a:gd name="connsiteY31" fmla="*/ 773235 h 1297454"/>
                <a:gd name="connsiteX32" fmla="*/ 227816 w 911102"/>
                <a:gd name="connsiteY32" fmla="*/ 680077 h 1297454"/>
                <a:gd name="connsiteX33" fmla="*/ 217008 w 911102"/>
                <a:gd name="connsiteY33" fmla="*/ 677199 h 1297454"/>
                <a:gd name="connsiteX34" fmla="*/ 226953 w 911102"/>
                <a:gd name="connsiteY34" fmla="*/ 675817 h 1297454"/>
                <a:gd name="connsiteX35" fmla="*/ 291768 w 911102"/>
                <a:gd name="connsiteY35" fmla="*/ 589909 h 1297454"/>
                <a:gd name="connsiteX36" fmla="*/ 237891 w 911102"/>
                <a:gd name="connsiteY36" fmla="*/ 496751 h 1297454"/>
                <a:gd name="connsiteX37" fmla="*/ 221568 w 911102"/>
                <a:gd name="connsiteY37" fmla="*/ 492404 h 1297454"/>
                <a:gd name="connsiteX38" fmla="*/ 249567 w 911102"/>
                <a:gd name="connsiteY38" fmla="*/ 475916 h 1297454"/>
                <a:gd name="connsiteX39" fmla="*/ 281129 w 911102"/>
                <a:gd name="connsiteY39" fmla="*/ 411193 h 1297454"/>
                <a:gd name="connsiteX40" fmla="*/ 281130 w 911102"/>
                <a:gd name="connsiteY40" fmla="*/ 411193 h 1297454"/>
                <a:gd name="connsiteX41" fmla="*/ 257681 w 911102"/>
                <a:gd name="connsiteY41" fmla="*/ 343108 h 1297454"/>
                <a:gd name="connsiteX42" fmla="*/ 192957 w 911102"/>
                <a:gd name="connsiteY42" fmla="*/ 311547 h 1297454"/>
                <a:gd name="connsiteX43" fmla="*/ 65424 w 911102"/>
                <a:gd name="connsiteY43" fmla="*/ 303757 h 1297454"/>
                <a:gd name="connsiteX44" fmla="*/ 41901 w 911102"/>
                <a:gd name="connsiteY44" fmla="*/ 309400 h 1297454"/>
                <a:gd name="connsiteX45" fmla="*/ 56412 w 911102"/>
                <a:gd name="connsiteY45" fmla="*/ 232310 h 1297454"/>
                <a:gd name="connsiteX46" fmla="*/ 127609 w 911102"/>
                <a:gd name="connsiteY46" fmla="*/ 8370 h 1297454"/>
                <a:gd name="connsiteX47" fmla="*/ 135979 w 911102"/>
                <a:gd name="connsiteY47" fmla="*/ 0 h 1297454"/>
                <a:gd name="connsiteX48" fmla="*/ 737166 w 911102"/>
                <a:gd name="connsiteY48" fmla="*/ 0 h 1297454"/>
                <a:gd name="connsiteX49" fmla="*/ 745536 w 911102"/>
                <a:gd name="connsiteY4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824005 w 911102"/>
                <a:gd name="connsiteY5" fmla="*/ 195660 h 1297454"/>
                <a:gd name="connsiteX6" fmla="*/ 911102 w 911102"/>
                <a:gd name="connsiteY6" fmla="*/ 379668 h 1297454"/>
                <a:gd name="connsiteX7" fmla="*/ 876660 w 911102"/>
                <a:gd name="connsiteY7" fmla="*/ 399710 h 1297454"/>
                <a:gd name="connsiteX8" fmla="*/ 490066 w 911102"/>
                <a:gd name="connsiteY8" fmla="*/ 297988 h 1297454"/>
                <a:gd name="connsiteX9" fmla="*/ 716083 w 911102"/>
                <a:gd name="connsiteY9" fmla="*/ 598865 h 1297454"/>
                <a:gd name="connsiteX10" fmla="*/ 777233 w 911102"/>
                <a:gd name="connsiteY10" fmla="*/ 615788 h 1297454"/>
                <a:gd name="connsiteX11" fmla="*/ 770153 w 911102"/>
                <a:gd name="connsiteY11" fmla="*/ 639019 h 1297454"/>
                <a:gd name="connsiteX12" fmla="*/ 753784 w 911102"/>
                <a:gd name="connsiteY12" fmla="*/ 665322 h 1297454"/>
                <a:gd name="connsiteX13" fmla="*/ 710088 w 911102"/>
                <a:gd name="connsiteY13" fmla="*/ 1078153 h 1297454"/>
                <a:gd name="connsiteX14" fmla="*/ 710501 w 911102"/>
                <a:gd name="connsiteY14" fmla="*/ 1086412 h 1297454"/>
                <a:gd name="connsiteX15" fmla="*/ 710454 w 911102"/>
                <a:gd name="connsiteY15" fmla="*/ 1087719 h 1297454"/>
                <a:gd name="connsiteX16" fmla="*/ 714164 w 911102"/>
                <a:gd name="connsiteY16" fmla="*/ 1201144 h 1297454"/>
                <a:gd name="connsiteX17" fmla="*/ 723293 w 911102"/>
                <a:gd name="connsiteY17" fmla="*/ 1277540 h 1297454"/>
                <a:gd name="connsiteX18" fmla="*/ 723407 w 911102"/>
                <a:gd name="connsiteY18" fmla="*/ 1278872 h 1297454"/>
                <a:gd name="connsiteX19" fmla="*/ 724025 w 911102"/>
                <a:gd name="connsiteY19" fmla="*/ 1283671 h 1297454"/>
                <a:gd name="connsiteX20" fmla="*/ 724876 w 911102"/>
                <a:gd name="connsiteY20" fmla="*/ 1290789 h 1297454"/>
                <a:gd name="connsiteX21" fmla="*/ 568039 w 911102"/>
                <a:gd name="connsiteY21" fmla="*/ 1230080 h 1297454"/>
                <a:gd name="connsiteX22" fmla="*/ 364868 w 911102"/>
                <a:gd name="connsiteY22" fmla="*/ 1184795 h 1297454"/>
                <a:gd name="connsiteX23" fmla="*/ 178811 w 911102"/>
                <a:gd name="connsiteY23" fmla="*/ 1123147 h 1297454"/>
                <a:gd name="connsiteX24" fmla="*/ 28040 w 911102"/>
                <a:gd name="connsiteY24" fmla="*/ 1036282 h 1297454"/>
                <a:gd name="connsiteX25" fmla="*/ 26077 w 911102"/>
                <a:gd name="connsiteY25" fmla="*/ 1027345 h 1297454"/>
                <a:gd name="connsiteX26" fmla="*/ 152633 w 911102"/>
                <a:gd name="connsiteY26" fmla="*/ 1035076 h 1297454"/>
                <a:gd name="connsiteX27" fmla="*/ 255738 w 911102"/>
                <a:gd name="connsiteY27" fmla="*/ 943843 h 1297454"/>
                <a:gd name="connsiteX28" fmla="*/ 231475 w 911102"/>
                <a:gd name="connsiteY28" fmla="*/ 873395 h 1297454"/>
                <a:gd name="connsiteX29" fmla="*/ 213502 w 911102"/>
                <a:gd name="connsiteY29" fmla="*/ 859613 h 1297454"/>
                <a:gd name="connsiteX30" fmla="*/ 216878 w 911102"/>
                <a:gd name="connsiteY30" fmla="*/ 859143 h 1297454"/>
                <a:gd name="connsiteX31" fmla="*/ 281693 w 911102"/>
                <a:gd name="connsiteY31" fmla="*/ 773235 h 1297454"/>
                <a:gd name="connsiteX32" fmla="*/ 227816 w 911102"/>
                <a:gd name="connsiteY32" fmla="*/ 680077 h 1297454"/>
                <a:gd name="connsiteX33" fmla="*/ 217008 w 911102"/>
                <a:gd name="connsiteY33" fmla="*/ 677199 h 1297454"/>
                <a:gd name="connsiteX34" fmla="*/ 226953 w 911102"/>
                <a:gd name="connsiteY34" fmla="*/ 675817 h 1297454"/>
                <a:gd name="connsiteX35" fmla="*/ 291768 w 911102"/>
                <a:gd name="connsiteY35" fmla="*/ 589909 h 1297454"/>
                <a:gd name="connsiteX36" fmla="*/ 237891 w 911102"/>
                <a:gd name="connsiteY36" fmla="*/ 496751 h 1297454"/>
                <a:gd name="connsiteX37" fmla="*/ 221568 w 911102"/>
                <a:gd name="connsiteY37" fmla="*/ 492404 h 1297454"/>
                <a:gd name="connsiteX38" fmla="*/ 249567 w 911102"/>
                <a:gd name="connsiteY38" fmla="*/ 475916 h 1297454"/>
                <a:gd name="connsiteX39" fmla="*/ 281129 w 911102"/>
                <a:gd name="connsiteY39" fmla="*/ 411193 h 1297454"/>
                <a:gd name="connsiteX40" fmla="*/ 281130 w 911102"/>
                <a:gd name="connsiteY40" fmla="*/ 411193 h 1297454"/>
                <a:gd name="connsiteX41" fmla="*/ 257681 w 911102"/>
                <a:gd name="connsiteY41" fmla="*/ 343108 h 1297454"/>
                <a:gd name="connsiteX42" fmla="*/ 192957 w 911102"/>
                <a:gd name="connsiteY42" fmla="*/ 311547 h 1297454"/>
                <a:gd name="connsiteX43" fmla="*/ 65424 w 911102"/>
                <a:gd name="connsiteY43" fmla="*/ 303757 h 1297454"/>
                <a:gd name="connsiteX44" fmla="*/ 41901 w 911102"/>
                <a:gd name="connsiteY44" fmla="*/ 309400 h 1297454"/>
                <a:gd name="connsiteX45" fmla="*/ 56412 w 911102"/>
                <a:gd name="connsiteY45" fmla="*/ 232310 h 1297454"/>
                <a:gd name="connsiteX46" fmla="*/ 127609 w 911102"/>
                <a:gd name="connsiteY46" fmla="*/ 8370 h 1297454"/>
                <a:gd name="connsiteX47" fmla="*/ 135979 w 911102"/>
                <a:gd name="connsiteY47" fmla="*/ 0 h 1297454"/>
                <a:gd name="connsiteX48" fmla="*/ 737166 w 911102"/>
                <a:gd name="connsiteY48" fmla="*/ 0 h 1297454"/>
                <a:gd name="connsiteX49" fmla="*/ 745536 w 911102"/>
                <a:gd name="connsiteY4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660 w 911102"/>
                <a:gd name="connsiteY6" fmla="*/ 399710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0066 w 911102"/>
                <a:gd name="connsiteY7" fmla="*/ 297988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5765 w 911102"/>
                <a:gd name="connsiteY7" fmla="*/ 302911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7099 w 911102"/>
                <a:gd name="connsiteY6" fmla="*/ 39113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70153 w 911102"/>
                <a:gd name="connsiteY10" fmla="*/ 639019 h 1297454"/>
                <a:gd name="connsiteX11" fmla="*/ 753784 w 911102"/>
                <a:gd name="connsiteY11" fmla="*/ 665322 h 1297454"/>
                <a:gd name="connsiteX12" fmla="*/ 710088 w 911102"/>
                <a:gd name="connsiteY12" fmla="*/ 1078153 h 1297454"/>
                <a:gd name="connsiteX13" fmla="*/ 710501 w 911102"/>
                <a:gd name="connsiteY13" fmla="*/ 1086412 h 1297454"/>
                <a:gd name="connsiteX14" fmla="*/ 710454 w 911102"/>
                <a:gd name="connsiteY14" fmla="*/ 1087719 h 1297454"/>
                <a:gd name="connsiteX15" fmla="*/ 714164 w 911102"/>
                <a:gd name="connsiteY15" fmla="*/ 1201144 h 1297454"/>
                <a:gd name="connsiteX16" fmla="*/ 723293 w 911102"/>
                <a:gd name="connsiteY16" fmla="*/ 1277540 h 1297454"/>
                <a:gd name="connsiteX17" fmla="*/ 723407 w 911102"/>
                <a:gd name="connsiteY17" fmla="*/ 1278872 h 1297454"/>
                <a:gd name="connsiteX18" fmla="*/ 724025 w 911102"/>
                <a:gd name="connsiteY18" fmla="*/ 1283671 h 1297454"/>
                <a:gd name="connsiteX19" fmla="*/ 724876 w 911102"/>
                <a:gd name="connsiteY19" fmla="*/ 1290789 h 1297454"/>
                <a:gd name="connsiteX20" fmla="*/ 568039 w 911102"/>
                <a:gd name="connsiteY20" fmla="*/ 1230080 h 1297454"/>
                <a:gd name="connsiteX21" fmla="*/ 364868 w 911102"/>
                <a:gd name="connsiteY21" fmla="*/ 1184795 h 1297454"/>
                <a:gd name="connsiteX22" fmla="*/ 178811 w 911102"/>
                <a:gd name="connsiteY22" fmla="*/ 1123147 h 1297454"/>
                <a:gd name="connsiteX23" fmla="*/ 28040 w 911102"/>
                <a:gd name="connsiteY23" fmla="*/ 1036282 h 1297454"/>
                <a:gd name="connsiteX24" fmla="*/ 26077 w 911102"/>
                <a:gd name="connsiteY24" fmla="*/ 1027345 h 1297454"/>
                <a:gd name="connsiteX25" fmla="*/ 152633 w 911102"/>
                <a:gd name="connsiteY25" fmla="*/ 1035076 h 1297454"/>
                <a:gd name="connsiteX26" fmla="*/ 255738 w 911102"/>
                <a:gd name="connsiteY26" fmla="*/ 943843 h 1297454"/>
                <a:gd name="connsiteX27" fmla="*/ 231475 w 911102"/>
                <a:gd name="connsiteY27" fmla="*/ 873395 h 1297454"/>
                <a:gd name="connsiteX28" fmla="*/ 213502 w 911102"/>
                <a:gd name="connsiteY28" fmla="*/ 859613 h 1297454"/>
                <a:gd name="connsiteX29" fmla="*/ 216878 w 911102"/>
                <a:gd name="connsiteY29" fmla="*/ 859143 h 1297454"/>
                <a:gd name="connsiteX30" fmla="*/ 281693 w 911102"/>
                <a:gd name="connsiteY30" fmla="*/ 773235 h 1297454"/>
                <a:gd name="connsiteX31" fmla="*/ 227816 w 911102"/>
                <a:gd name="connsiteY31" fmla="*/ 680077 h 1297454"/>
                <a:gd name="connsiteX32" fmla="*/ 217008 w 911102"/>
                <a:gd name="connsiteY32" fmla="*/ 677199 h 1297454"/>
                <a:gd name="connsiteX33" fmla="*/ 226953 w 911102"/>
                <a:gd name="connsiteY33" fmla="*/ 675817 h 1297454"/>
                <a:gd name="connsiteX34" fmla="*/ 291768 w 911102"/>
                <a:gd name="connsiteY34" fmla="*/ 589909 h 1297454"/>
                <a:gd name="connsiteX35" fmla="*/ 237891 w 911102"/>
                <a:gd name="connsiteY35" fmla="*/ 496751 h 1297454"/>
                <a:gd name="connsiteX36" fmla="*/ 221568 w 911102"/>
                <a:gd name="connsiteY36" fmla="*/ 492404 h 1297454"/>
                <a:gd name="connsiteX37" fmla="*/ 249567 w 911102"/>
                <a:gd name="connsiteY37" fmla="*/ 475916 h 1297454"/>
                <a:gd name="connsiteX38" fmla="*/ 281129 w 911102"/>
                <a:gd name="connsiteY38" fmla="*/ 411193 h 1297454"/>
                <a:gd name="connsiteX39" fmla="*/ 281130 w 911102"/>
                <a:gd name="connsiteY39" fmla="*/ 411193 h 1297454"/>
                <a:gd name="connsiteX40" fmla="*/ 257681 w 911102"/>
                <a:gd name="connsiteY40" fmla="*/ 343108 h 1297454"/>
                <a:gd name="connsiteX41" fmla="*/ 192957 w 911102"/>
                <a:gd name="connsiteY41" fmla="*/ 311547 h 1297454"/>
                <a:gd name="connsiteX42" fmla="*/ 65424 w 911102"/>
                <a:gd name="connsiteY42" fmla="*/ 303757 h 1297454"/>
                <a:gd name="connsiteX43" fmla="*/ 41901 w 911102"/>
                <a:gd name="connsiteY43" fmla="*/ 309400 h 1297454"/>
                <a:gd name="connsiteX44" fmla="*/ 56412 w 911102"/>
                <a:gd name="connsiteY44" fmla="*/ 232310 h 1297454"/>
                <a:gd name="connsiteX45" fmla="*/ 127609 w 911102"/>
                <a:gd name="connsiteY45" fmla="*/ 8370 h 1297454"/>
                <a:gd name="connsiteX46" fmla="*/ 135979 w 911102"/>
                <a:gd name="connsiteY46" fmla="*/ 0 h 1297454"/>
                <a:gd name="connsiteX47" fmla="*/ 737166 w 911102"/>
                <a:gd name="connsiteY47" fmla="*/ 0 h 1297454"/>
                <a:gd name="connsiteX48" fmla="*/ 745536 w 911102"/>
                <a:gd name="connsiteY4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53784 w 911102"/>
                <a:gd name="connsiteY10" fmla="*/ 665322 h 1297454"/>
                <a:gd name="connsiteX11" fmla="*/ 710088 w 911102"/>
                <a:gd name="connsiteY11" fmla="*/ 1078153 h 1297454"/>
                <a:gd name="connsiteX12" fmla="*/ 710501 w 911102"/>
                <a:gd name="connsiteY12" fmla="*/ 1086412 h 1297454"/>
                <a:gd name="connsiteX13" fmla="*/ 710454 w 911102"/>
                <a:gd name="connsiteY13" fmla="*/ 1087719 h 1297454"/>
                <a:gd name="connsiteX14" fmla="*/ 714164 w 911102"/>
                <a:gd name="connsiteY14" fmla="*/ 1201144 h 1297454"/>
                <a:gd name="connsiteX15" fmla="*/ 723293 w 911102"/>
                <a:gd name="connsiteY15" fmla="*/ 1277540 h 1297454"/>
                <a:gd name="connsiteX16" fmla="*/ 723407 w 911102"/>
                <a:gd name="connsiteY16" fmla="*/ 1278872 h 1297454"/>
                <a:gd name="connsiteX17" fmla="*/ 724025 w 911102"/>
                <a:gd name="connsiteY17" fmla="*/ 1283671 h 1297454"/>
                <a:gd name="connsiteX18" fmla="*/ 724876 w 911102"/>
                <a:gd name="connsiteY18" fmla="*/ 1290789 h 1297454"/>
                <a:gd name="connsiteX19" fmla="*/ 568039 w 911102"/>
                <a:gd name="connsiteY19" fmla="*/ 1230080 h 1297454"/>
                <a:gd name="connsiteX20" fmla="*/ 364868 w 911102"/>
                <a:gd name="connsiteY20" fmla="*/ 1184795 h 1297454"/>
                <a:gd name="connsiteX21" fmla="*/ 178811 w 911102"/>
                <a:gd name="connsiteY21" fmla="*/ 1123147 h 1297454"/>
                <a:gd name="connsiteX22" fmla="*/ 28040 w 911102"/>
                <a:gd name="connsiteY22" fmla="*/ 1036282 h 1297454"/>
                <a:gd name="connsiteX23" fmla="*/ 26077 w 911102"/>
                <a:gd name="connsiteY23" fmla="*/ 1027345 h 1297454"/>
                <a:gd name="connsiteX24" fmla="*/ 152633 w 911102"/>
                <a:gd name="connsiteY24" fmla="*/ 1035076 h 1297454"/>
                <a:gd name="connsiteX25" fmla="*/ 255738 w 911102"/>
                <a:gd name="connsiteY25" fmla="*/ 943843 h 1297454"/>
                <a:gd name="connsiteX26" fmla="*/ 231475 w 911102"/>
                <a:gd name="connsiteY26" fmla="*/ 873395 h 1297454"/>
                <a:gd name="connsiteX27" fmla="*/ 213502 w 911102"/>
                <a:gd name="connsiteY27" fmla="*/ 859613 h 1297454"/>
                <a:gd name="connsiteX28" fmla="*/ 216878 w 911102"/>
                <a:gd name="connsiteY28" fmla="*/ 859143 h 1297454"/>
                <a:gd name="connsiteX29" fmla="*/ 281693 w 911102"/>
                <a:gd name="connsiteY29" fmla="*/ 773235 h 1297454"/>
                <a:gd name="connsiteX30" fmla="*/ 227816 w 911102"/>
                <a:gd name="connsiteY30" fmla="*/ 680077 h 1297454"/>
                <a:gd name="connsiteX31" fmla="*/ 217008 w 911102"/>
                <a:gd name="connsiteY31" fmla="*/ 677199 h 1297454"/>
                <a:gd name="connsiteX32" fmla="*/ 226953 w 911102"/>
                <a:gd name="connsiteY32" fmla="*/ 675817 h 1297454"/>
                <a:gd name="connsiteX33" fmla="*/ 291768 w 911102"/>
                <a:gd name="connsiteY33" fmla="*/ 589909 h 1297454"/>
                <a:gd name="connsiteX34" fmla="*/ 237891 w 911102"/>
                <a:gd name="connsiteY34" fmla="*/ 496751 h 1297454"/>
                <a:gd name="connsiteX35" fmla="*/ 221568 w 911102"/>
                <a:gd name="connsiteY35" fmla="*/ 492404 h 1297454"/>
                <a:gd name="connsiteX36" fmla="*/ 249567 w 911102"/>
                <a:gd name="connsiteY36" fmla="*/ 475916 h 1297454"/>
                <a:gd name="connsiteX37" fmla="*/ 281129 w 911102"/>
                <a:gd name="connsiteY37" fmla="*/ 411193 h 1297454"/>
                <a:gd name="connsiteX38" fmla="*/ 281130 w 911102"/>
                <a:gd name="connsiteY38" fmla="*/ 411193 h 1297454"/>
                <a:gd name="connsiteX39" fmla="*/ 257681 w 911102"/>
                <a:gd name="connsiteY39" fmla="*/ 343108 h 1297454"/>
                <a:gd name="connsiteX40" fmla="*/ 192957 w 911102"/>
                <a:gd name="connsiteY40" fmla="*/ 311547 h 1297454"/>
                <a:gd name="connsiteX41" fmla="*/ 65424 w 911102"/>
                <a:gd name="connsiteY41" fmla="*/ 303757 h 1297454"/>
                <a:gd name="connsiteX42" fmla="*/ 41901 w 911102"/>
                <a:gd name="connsiteY42" fmla="*/ 309400 h 1297454"/>
                <a:gd name="connsiteX43" fmla="*/ 56412 w 911102"/>
                <a:gd name="connsiteY43" fmla="*/ 232310 h 1297454"/>
                <a:gd name="connsiteX44" fmla="*/ 127609 w 911102"/>
                <a:gd name="connsiteY44" fmla="*/ 8370 h 1297454"/>
                <a:gd name="connsiteX45" fmla="*/ 135979 w 911102"/>
                <a:gd name="connsiteY45" fmla="*/ 0 h 1297454"/>
                <a:gd name="connsiteX46" fmla="*/ 737166 w 911102"/>
                <a:gd name="connsiteY46" fmla="*/ 0 h 1297454"/>
                <a:gd name="connsiteX47" fmla="*/ 745536 w 911102"/>
                <a:gd name="connsiteY47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7233 w 911102"/>
                <a:gd name="connsiteY9" fmla="*/ 615788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0454 w 911102"/>
                <a:gd name="connsiteY12" fmla="*/ 1087719 h 1297454"/>
                <a:gd name="connsiteX13" fmla="*/ 714164 w 911102"/>
                <a:gd name="connsiteY13" fmla="*/ 1201144 h 1297454"/>
                <a:gd name="connsiteX14" fmla="*/ 723293 w 911102"/>
                <a:gd name="connsiteY14" fmla="*/ 1277540 h 1297454"/>
                <a:gd name="connsiteX15" fmla="*/ 723407 w 911102"/>
                <a:gd name="connsiteY15" fmla="*/ 1278872 h 1297454"/>
                <a:gd name="connsiteX16" fmla="*/ 724025 w 911102"/>
                <a:gd name="connsiteY16" fmla="*/ 1283671 h 1297454"/>
                <a:gd name="connsiteX17" fmla="*/ 724876 w 911102"/>
                <a:gd name="connsiteY17" fmla="*/ 1290789 h 1297454"/>
                <a:gd name="connsiteX18" fmla="*/ 568039 w 911102"/>
                <a:gd name="connsiteY18" fmla="*/ 1230080 h 1297454"/>
                <a:gd name="connsiteX19" fmla="*/ 364868 w 911102"/>
                <a:gd name="connsiteY19" fmla="*/ 1184795 h 1297454"/>
                <a:gd name="connsiteX20" fmla="*/ 178811 w 911102"/>
                <a:gd name="connsiteY20" fmla="*/ 1123147 h 1297454"/>
                <a:gd name="connsiteX21" fmla="*/ 28040 w 911102"/>
                <a:gd name="connsiteY21" fmla="*/ 1036282 h 1297454"/>
                <a:gd name="connsiteX22" fmla="*/ 26077 w 911102"/>
                <a:gd name="connsiteY22" fmla="*/ 1027345 h 1297454"/>
                <a:gd name="connsiteX23" fmla="*/ 152633 w 911102"/>
                <a:gd name="connsiteY23" fmla="*/ 1035076 h 1297454"/>
                <a:gd name="connsiteX24" fmla="*/ 255738 w 911102"/>
                <a:gd name="connsiteY24" fmla="*/ 943843 h 1297454"/>
                <a:gd name="connsiteX25" fmla="*/ 231475 w 911102"/>
                <a:gd name="connsiteY25" fmla="*/ 873395 h 1297454"/>
                <a:gd name="connsiteX26" fmla="*/ 213502 w 911102"/>
                <a:gd name="connsiteY26" fmla="*/ 859613 h 1297454"/>
                <a:gd name="connsiteX27" fmla="*/ 216878 w 911102"/>
                <a:gd name="connsiteY27" fmla="*/ 859143 h 1297454"/>
                <a:gd name="connsiteX28" fmla="*/ 281693 w 911102"/>
                <a:gd name="connsiteY28" fmla="*/ 773235 h 1297454"/>
                <a:gd name="connsiteX29" fmla="*/ 227816 w 911102"/>
                <a:gd name="connsiteY29" fmla="*/ 680077 h 1297454"/>
                <a:gd name="connsiteX30" fmla="*/ 217008 w 911102"/>
                <a:gd name="connsiteY30" fmla="*/ 677199 h 1297454"/>
                <a:gd name="connsiteX31" fmla="*/ 226953 w 911102"/>
                <a:gd name="connsiteY31" fmla="*/ 675817 h 1297454"/>
                <a:gd name="connsiteX32" fmla="*/ 291768 w 911102"/>
                <a:gd name="connsiteY32" fmla="*/ 589909 h 1297454"/>
                <a:gd name="connsiteX33" fmla="*/ 237891 w 911102"/>
                <a:gd name="connsiteY33" fmla="*/ 496751 h 1297454"/>
                <a:gd name="connsiteX34" fmla="*/ 221568 w 911102"/>
                <a:gd name="connsiteY34" fmla="*/ 492404 h 1297454"/>
                <a:gd name="connsiteX35" fmla="*/ 249567 w 911102"/>
                <a:gd name="connsiteY35" fmla="*/ 475916 h 1297454"/>
                <a:gd name="connsiteX36" fmla="*/ 281129 w 911102"/>
                <a:gd name="connsiteY36" fmla="*/ 411193 h 1297454"/>
                <a:gd name="connsiteX37" fmla="*/ 281130 w 911102"/>
                <a:gd name="connsiteY37" fmla="*/ 411193 h 1297454"/>
                <a:gd name="connsiteX38" fmla="*/ 257681 w 911102"/>
                <a:gd name="connsiteY38" fmla="*/ 343108 h 1297454"/>
                <a:gd name="connsiteX39" fmla="*/ 192957 w 911102"/>
                <a:gd name="connsiteY39" fmla="*/ 311547 h 1297454"/>
                <a:gd name="connsiteX40" fmla="*/ 65424 w 911102"/>
                <a:gd name="connsiteY40" fmla="*/ 303757 h 1297454"/>
                <a:gd name="connsiteX41" fmla="*/ 41901 w 911102"/>
                <a:gd name="connsiteY41" fmla="*/ 309400 h 1297454"/>
                <a:gd name="connsiteX42" fmla="*/ 56412 w 911102"/>
                <a:gd name="connsiteY42" fmla="*/ 232310 h 1297454"/>
                <a:gd name="connsiteX43" fmla="*/ 127609 w 911102"/>
                <a:gd name="connsiteY43" fmla="*/ 8370 h 1297454"/>
                <a:gd name="connsiteX44" fmla="*/ 135979 w 911102"/>
                <a:gd name="connsiteY44" fmla="*/ 0 h 1297454"/>
                <a:gd name="connsiteX45" fmla="*/ 737166 w 911102"/>
                <a:gd name="connsiteY45" fmla="*/ 0 h 1297454"/>
                <a:gd name="connsiteX46" fmla="*/ 745536 w 911102"/>
                <a:gd name="connsiteY46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0501 w 911102"/>
                <a:gd name="connsiteY11" fmla="*/ 1086412 h 1297454"/>
                <a:gd name="connsiteX12" fmla="*/ 714164 w 911102"/>
                <a:gd name="connsiteY12" fmla="*/ 1201144 h 1297454"/>
                <a:gd name="connsiteX13" fmla="*/ 723293 w 911102"/>
                <a:gd name="connsiteY13" fmla="*/ 1277540 h 1297454"/>
                <a:gd name="connsiteX14" fmla="*/ 723407 w 911102"/>
                <a:gd name="connsiteY14" fmla="*/ 1278872 h 1297454"/>
                <a:gd name="connsiteX15" fmla="*/ 724025 w 911102"/>
                <a:gd name="connsiteY15" fmla="*/ 1283671 h 1297454"/>
                <a:gd name="connsiteX16" fmla="*/ 724876 w 911102"/>
                <a:gd name="connsiteY16" fmla="*/ 1290789 h 1297454"/>
                <a:gd name="connsiteX17" fmla="*/ 568039 w 911102"/>
                <a:gd name="connsiteY17" fmla="*/ 1230080 h 1297454"/>
                <a:gd name="connsiteX18" fmla="*/ 364868 w 911102"/>
                <a:gd name="connsiteY18" fmla="*/ 1184795 h 1297454"/>
                <a:gd name="connsiteX19" fmla="*/ 178811 w 911102"/>
                <a:gd name="connsiteY19" fmla="*/ 1123147 h 1297454"/>
                <a:gd name="connsiteX20" fmla="*/ 28040 w 911102"/>
                <a:gd name="connsiteY20" fmla="*/ 1036282 h 1297454"/>
                <a:gd name="connsiteX21" fmla="*/ 26077 w 911102"/>
                <a:gd name="connsiteY21" fmla="*/ 1027345 h 1297454"/>
                <a:gd name="connsiteX22" fmla="*/ 152633 w 911102"/>
                <a:gd name="connsiteY22" fmla="*/ 1035076 h 1297454"/>
                <a:gd name="connsiteX23" fmla="*/ 255738 w 911102"/>
                <a:gd name="connsiteY23" fmla="*/ 943843 h 1297454"/>
                <a:gd name="connsiteX24" fmla="*/ 231475 w 911102"/>
                <a:gd name="connsiteY24" fmla="*/ 873395 h 1297454"/>
                <a:gd name="connsiteX25" fmla="*/ 213502 w 911102"/>
                <a:gd name="connsiteY25" fmla="*/ 859613 h 1297454"/>
                <a:gd name="connsiteX26" fmla="*/ 216878 w 911102"/>
                <a:gd name="connsiteY26" fmla="*/ 859143 h 1297454"/>
                <a:gd name="connsiteX27" fmla="*/ 281693 w 911102"/>
                <a:gd name="connsiteY27" fmla="*/ 773235 h 1297454"/>
                <a:gd name="connsiteX28" fmla="*/ 227816 w 911102"/>
                <a:gd name="connsiteY28" fmla="*/ 680077 h 1297454"/>
                <a:gd name="connsiteX29" fmla="*/ 217008 w 911102"/>
                <a:gd name="connsiteY29" fmla="*/ 677199 h 1297454"/>
                <a:gd name="connsiteX30" fmla="*/ 226953 w 911102"/>
                <a:gd name="connsiteY30" fmla="*/ 675817 h 1297454"/>
                <a:gd name="connsiteX31" fmla="*/ 291768 w 911102"/>
                <a:gd name="connsiteY31" fmla="*/ 589909 h 1297454"/>
                <a:gd name="connsiteX32" fmla="*/ 237891 w 911102"/>
                <a:gd name="connsiteY32" fmla="*/ 496751 h 1297454"/>
                <a:gd name="connsiteX33" fmla="*/ 221568 w 911102"/>
                <a:gd name="connsiteY33" fmla="*/ 492404 h 1297454"/>
                <a:gd name="connsiteX34" fmla="*/ 249567 w 911102"/>
                <a:gd name="connsiteY34" fmla="*/ 475916 h 1297454"/>
                <a:gd name="connsiteX35" fmla="*/ 281129 w 911102"/>
                <a:gd name="connsiteY35" fmla="*/ 411193 h 1297454"/>
                <a:gd name="connsiteX36" fmla="*/ 281130 w 911102"/>
                <a:gd name="connsiteY36" fmla="*/ 411193 h 1297454"/>
                <a:gd name="connsiteX37" fmla="*/ 257681 w 911102"/>
                <a:gd name="connsiteY37" fmla="*/ 343108 h 1297454"/>
                <a:gd name="connsiteX38" fmla="*/ 192957 w 911102"/>
                <a:gd name="connsiteY38" fmla="*/ 311547 h 1297454"/>
                <a:gd name="connsiteX39" fmla="*/ 65424 w 911102"/>
                <a:gd name="connsiteY39" fmla="*/ 303757 h 1297454"/>
                <a:gd name="connsiteX40" fmla="*/ 41901 w 911102"/>
                <a:gd name="connsiteY40" fmla="*/ 309400 h 1297454"/>
                <a:gd name="connsiteX41" fmla="*/ 56412 w 911102"/>
                <a:gd name="connsiteY41" fmla="*/ 232310 h 1297454"/>
                <a:gd name="connsiteX42" fmla="*/ 127609 w 911102"/>
                <a:gd name="connsiteY42" fmla="*/ 8370 h 1297454"/>
                <a:gd name="connsiteX43" fmla="*/ 135979 w 911102"/>
                <a:gd name="connsiteY43" fmla="*/ 0 h 1297454"/>
                <a:gd name="connsiteX44" fmla="*/ 737166 w 911102"/>
                <a:gd name="connsiteY44" fmla="*/ 0 h 1297454"/>
                <a:gd name="connsiteX45" fmla="*/ 745536 w 911102"/>
                <a:gd name="connsiteY45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0088 w 911102"/>
                <a:gd name="connsiteY10" fmla="*/ 1078153 h 1297454"/>
                <a:gd name="connsiteX11" fmla="*/ 714164 w 911102"/>
                <a:gd name="connsiteY11" fmla="*/ 1201144 h 1297454"/>
                <a:gd name="connsiteX12" fmla="*/ 723293 w 911102"/>
                <a:gd name="connsiteY12" fmla="*/ 1277540 h 1297454"/>
                <a:gd name="connsiteX13" fmla="*/ 723407 w 911102"/>
                <a:gd name="connsiteY13" fmla="*/ 1278872 h 1297454"/>
                <a:gd name="connsiteX14" fmla="*/ 724025 w 911102"/>
                <a:gd name="connsiteY14" fmla="*/ 1283671 h 1297454"/>
                <a:gd name="connsiteX15" fmla="*/ 724876 w 911102"/>
                <a:gd name="connsiteY15" fmla="*/ 1290789 h 1297454"/>
                <a:gd name="connsiteX16" fmla="*/ 568039 w 911102"/>
                <a:gd name="connsiteY16" fmla="*/ 1230080 h 1297454"/>
                <a:gd name="connsiteX17" fmla="*/ 364868 w 911102"/>
                <a:gd name="connsiteY17" fmla="*/ 1184795 h 1297454"/>
                <a:gd name="connsiteX18" fmla="*/ 178811 w 911102"/>
                <a:gd name="connsiteY18" fmla="*/ 1123147 h 1297454"/>
                <a:gd name="connsiteX19" fmla="*/ 28040 w 911102"/>
                <a:gd name="connsiteY19" fmla="*/ 1036282 h 1297454"/>
                <a:gd name="connsiteX20" fmla="*/ 26077 w 911102"/>
                <a:gd name="connsiteY20" fmla="*/ 1027345 h 1297454"/>
                <a:gd name="connsiteX21" fmla="*/ 152633 w 911102"/>
                <a:gd name="connsiteY21" fmla="*/ 1035076 h 1297454"/>
                <a:gd name="connsiteX22" fmla="*/ 255738 w 911102"/>
                <a:gd name="connsiteY22" fmla="*/ 943843 h 1297454"/>
                <a:gd name="connsiteX23" fmla="*/ 231475 w 911102"/>
                <a:gd name="connsiteY23" fmla="*/ 873395 h 1297454"/>
                <a:gd name="connsiteX24" fmla="*/ 213502 w 911102"/>
                <a:gd name="connsiteY24" fmla="*/ 859613 h 1297454"/>
                <a:gd name="connsiteX25" fmla="*/ 216878 w 911102"/>
                <a:gd name="connsiteY25" fmla="*/ 859143 h 1297454"/>
                <a:gd name="connsiteX26" fmla="*/ 281693 w 911102"/>
                <a:gd name="connsiteY26" fmla="*/ 773235 h 1297454"/>
                <a:gd name="connsiteX27" fmla="*/ 227816 w 911102"/>
                <a:gd name="connsiteY27" fmla="*/ 680077 h 1297454"/>
                <a:gd name="connsiteX28" fmla="*/ 217008 w 911102"/>
                <a:gd name="connsiteY28" fmla="*/ 677199 h 1297454"/>
                <a:gd name="connsiteX29" fmla="*/ 226953 w 911102"/>
                <a:gd name="connsiteY29" fmla="*/ 675817 h 1297454"/>
                <a:gd name="connsiteX30" fmla="*/ 291768 w 911102"/>
                <a:gd name="connsiteY30" fmla="*/ 589909 h 1297454"/>
                <a:gd name="connsiteX31" fmla="*/ 237891 w 911102"/>
                <a:gd name="connsiteY31" fmla="*/ 496751 h 1297454"/>
                <a:gd name="connsiteX32" fmla="*/ 221568 w 911102"/>
                <a:gd name="connsiteY32" fmla="*/ 492404 h 1297454"/>
                <a:gd name="connsiteX33" fmla="*/ 249567 w 911102"/>
                <a:gd name="connsiteY33" fmla="*/ 475916 h 1297454"/>
                <a:gd name="connsiteX34" fmla="*/ 281129 w 911102"/>
                <a:gd name="connsiteY34" fmla="*/ 411193 h 1297454"/>
                <a:gd name="connsiteX35" fmla="*/ 281130 w 911102"/>
                <a:gd name="connsiteY35" fmla="*/ 411193 h 1297454"/>
                <a:gd name="connsiteX36" fmla="*/ 257681 w 911102"/>
                <a:gd name="connsiteY36" fmla="*/ 343108 h 1297454"/>
                <a:gd name="connsiteX37" fmla="*/ 192957 w 911102"/>
                <a:gd name="connsiteY37" fmla="*/ 311547 h 1297454"/>
                <a:gd name="connsiteX38" fmla="*/ 65424 w 911102"/>
                <a:gd name="connsiteY38" fmla="*/ 303757 h 1297454"/>
                <a:gd name="connsiteX39" fmla="*/ 41901 w 911102"/>
                <a:gd name="connsiteY39" fmla="*/ 309400 h 1297454"/>
                <a:gd name="connsiteX40" fmla="*/ 56412 w 911102"/>
                <a:gd name="connsiteY40" fmla="*/ 232310 h 1297454"/>
                <a:gd name="connsiteX41" fmla="*/ 127609 w 911102"/>
                <a:gd name="connsiteY41" fmla="*/ 8370 h 1297454"/>
                <a:gd name="connsiteX42" fmla="*/ 135979 w 911102"/>
                <a:gd name="connsiteY42" fmla="*/ 0 h 1297454"/>
                <a:gd name="connsiteX43" fmla="*/ 737166 w 911102"/>
                <a:gd name="connsiteY43" fmla="*/ 0 h 1297454"/>
                <a:gd name="connsiteX44" fmla="*/ 745536 w 911102"/>
                <a:gd name="connsiteY44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14164 w 911102"/>
                <a:gd name="connsiteY10" fmla="*/ 1201144 h 1297454"/>
                <a:gd name="connsiteX11" fmla="*/ 723293 w 911102"/>
                <a:gd name="connsiteY11" fmla="*/ 1277540 h 1297454"/>
                <a:gd name="connsiteX12" fmla="*/ 723407 w 911102"/>
                <a:gd name="connsiteY12" fmla="*/ 1278872 h 1297454"/>
                <a:gd name="connsiteX13" fmla="*/ 724025 w 911102"/>
                <a:gd name="connsiteY13" fmla="*/ 1283671 h 1297454"/>
                <a:gd name="connsiteX14" fmla="*/ 724876 w 911102"/>
                <a:gd name="connsiteY14" fmla="*/ 1290789 h 1297454"/>
                <a:gd name="connsiteX15" fmla="*/ 568039 w 911102"/>
                <a:gd name="connsiteY15" fmla="*/ 1230080 h 1297454"/>
                <a:gd name="connsiteX16" fmla="*/ 364868 w 911102"/>
                <a:gd name="connsiteY16" fmla="*/ 1184795 h 1297454"/>
                <a:gd name="connsiteX17" fmla="*/ 178811 w 911102"/>
                <a:gd name="connsiteY17" fmla="*/ 1123147 h 1297454"/>
                <a:gd name="connsiteX18" fmla="*/ 28040 w 911102"/>
                <a:gd name="connsiteY18" fmla="*/ 1036282 h 1297454"/>
                <a:gd name="connsiteX19" fmla="*/ 26077 w 911102"/>
                <a:gd name="connsiteY19" fmla="*/ 1027345 h 1297454"/>
                <a:gd name="connsiteX20" fmla="*/ 152633 w 911102"/>
                <a:gd name="connsiteY20" fmla="*/ 1035076 h 1297454"/>
                <a:gd name="connsiteX21" fmla="*/ 255738 w 911102"/>
                <a:gd name="connsiteY21" fmla="*/ 943843 h 1297454"/>
                <a:gd name="connsiteX22" fmla="*/ 231475 w 911102"/>
                <a:gd name="connsiteY22" fmla="*/ 873395 h 1297454"/>
                <a:gd name="connsiteX23" fmla="*/ 213502 w 911102"/>
                <a:gd name="connsiteY23" fmla="*/ 859613 h 1297454"/>
                <a:gd name="connsiteX24" fmla="*/ 216878 w 911102"/>
                <a:gd name="connsiteY24" fmla="*/ 859143 h 1297454"/>
                <a:gd name="connsiteX25" fmla="*/ 281693 w 911102"/>
                <a:gd name="connsiteY25" fmla="*/ 773235 h 1297454"/>
                <a:gd name="connsiteX26" fmla="*/ 227816 w 911102"/>
                <a:gd name="connsiteY26" fmla="*/ 680077 h 1297454"/>
                <a:gd name="connsiteX27" fmla="*/ 217008 w 911102"/>
                <a:gd name="connsiteY27" fmla="*/ 677199 h 1297454"/>
                <a:gd name="connsiteX28" fmla="*/ 226953 w 911102"/>
                <a:gd name="connsiteY28" fmla="*/ 675817 h 1297454"/>
                <a:gd name="connsiteX29" fmla="*/ 291768 w 911102"/>
                <a:gd name="connsiteY29" fmla="*/ 589909 h 1297454"/>
                <a:gd name="connsiteX30" fmla="*/ 237891 w 911102"/>
                <a:gd name="connsiteY30" fmla="*/ 496751 h 1297454"/>
                <a:gd name="connsiteX31" fmla="*/ 221568 w 911102"/>
                <a:gd name="connsiteY31" fmla="*/ 492404 h 1297454"/>
                <a:gd name="connsiteX32" fmla="*/ 249567 w 911102"/>
                <a:gd name="connsiteY32" fmla="*/ 475916 h 1297454"/>
                <a:gd name="connsiteX33" fmla="*/ 281129 w 911102"/>
                <a:gd name="connsiteY33" fmla="*/ 411193 h 1297454"/>
                <a:gd name="connsiteX34" fmla="*/ 281130 w 911102"/>
                <a:gd name="connsiteY34" fmla="*/ 411193 h 1297454"/>
                <a:gd name="connsiteX35" fmla="*/ 257681 w 911102"/>
                <a:gd name="connsiteY35" fmla="*/ 343108 h 1297454"/>
                <a:gd name="connsiteX36" fmla="*/ 192957 w 911102"/>
                <a:gd name="connsiteY36" fmla="*/ 311547 h 1297454"/>
                <a:gd name="connsiteX37" fmla="*/ 65424 w 911102"/>
                <a:gd name="connsiteY37" fmla="*/ 303757 h 1297454"/>
                <a:gd name="connsiteX38" fmla="*/ 41901 w 911102"/>
                <a:gd name="connsiteY38" fmla="*/ 309400 h 1297454"/>
                <a:gd name="connsiteX39" fmla="*/ 56412 w 911102"/>
                <a:gd name="connsiteY39" fmla="*/ 232310 h 1297454"/>
                <a:gd name="connsiteX40" fmla="*/ 127609 w 911102"/>
                <a:gd name="connsiteY40" fmla="*/ 8370 h 1297454"/>
                <a:gd name="connsiteX41" fmla="*/ 135979 w 911102"/>
                <a:gd name="connsiteY41" fmla="*/ 0 h 1297454"/>
                <a:gd name="connsiteX42" fmla="*/ 737166 w 911102"/>
                <a:gd name="connsiteY42" fmla="*/ 0 h 1297454"/>
                <a:gd name="connsiteX43" fmla="*/ 745536 w 911102"/>
                <a:gd name="connsiteY43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3407 w 911102"/>
                <a:gd name="connsiteY11" fmla="*/ 1278872 h 1297454"/>
                <a:gd name="connsiteX12" fmla="*/ 724025 w 911102"/>
                <a:gd name="connsiteY12" fmla="*/ 1283671 h 1297454"/>
                <a:gd name="connsiteX13" fmla="*/ 724876 w 911102"/>
                <a:gd name="connsiteY13" fmla="*/ 1290789 h 1297454"/>
                <a:gd name="connsiteX14" fmla="*/ 568039 w 911102"/>
                <a:gd name="connsiteY14" fmla="*/ 1230080 h 1297454"/>
                <a:gd name="connsiteX15" fmla="*/ 364868 w 911102"/>
                <a:gd name="connsiteY15" fmla="*/ 1184795 h 1297454"/>
                <a:gd name="connsiteX16" fmla="*/ 178811 w 911102"/>
                <a:gd name="connsiteY16" fmla="*/ 1123147 h 1297454"/>
                <a:gd name="connsiteX17" fmla="*/ 28040 w 911102"/>
                <a:gd name="connsiteY17" fmla="*/ 1036282 h 1297454"/>
                <a:gd name="connsiteX18" fmla="*/ 26077 w 911102"/>
                <a:gd name="connsiteY18" fmla="*/ 1027345 h 1297454"/>
                <a:gd name="connsiteX19" fmla="*/ 152633 w 911102"/>
                <a:gd name="connsiteY19" fmla="*/ 1035076 h 1297454"/>
                <a:gd name="connsiteX20" fmla="*/ 255738 w 911102"/>
                <a:gd name="connsiteY20" fmla="*/ 943843 h 1297454"/>
                <a:gd name="connsiteX21" fmla="*/ 231475 w 911102"/>
                <a:gd name="connsiteY21" fmla="*/ 873395 h 1297454"/>
                <a:gd name="connsiteX22" fmla="*/ 213502 w 911102"/>
                <a:gd name="connsiteY22" fmla="*/ 859613 h 1297454"/>
                <a:gd name="connsiteX23" fmla="*/ 216878 w 911102"/>
                <a:gd name="connsiteY23" fmla="*/ 859143 h 1297454"/>
                <a:gd name="connsiteX24" fmla="*/ 281693 w 911102"/>
                <a:gd name="connsiteY24" fmla="*/ 773235 h 1297454"/>
                <a:gd name="connsiteX25" fmla="*/ 227816 w 911102"/>
                <a:gd name="connsiteY25" fmla="*/ 680077 h 1297454"/>
                <a:gd name="connsiteX26" fmla="*/ 217008 w 911102"/>
                <a:gd name="connsiteY26" fmla="*/ 677199 h 1297454"/>
                <a:gd name="connsiteX27" fmla="*/ 226953 w 911102"/>
                <a:gd name="connsiteY27" fmla="*/ 675817 h 1297454"/>
                <a:gd name="connsiteX28" fmla="*/ 291768 w 911102"/>
                <a:gd name="connsiteY28" fmla="*/ 589909 h 1297454"/>
                <a:gd name="connsiteX29" fmla="*/ 237891 w 911102"/>
                <a:gd name="connsiteY29" fmla="*/ 496751 h 1297454"/>
                <a:gd name="connsiteX30" fmla="*/ 221568 w 911102"/>
                <a:gd name="connsiteY30" fmla="*/ 492404 h 1297454"/>
                <a:gd name="connsiteX31" fmla="*/ 249567 w 911102"/>
                <a:gd name="connsiteY31" fmla="*/ 475916 h 1297454"/>
                <a:gd name="connsiteX32" fmla="*/ 281129 w 911102"/>
                <a:gd name="connsiteY32" fmla="*/ 411193 h 1297454"/>
                <a:gd name="connsiteX33" fmla="*/ 281130 w 911102"/>
                <a:gd name="connsiteY33" fmla="*/ 411193 h 1297454"/>
                <a:gd name="connsiteX34" fmla="*/ 257681 w 911102"/>
                <a:gd name="connsiteY34" fmla="*/ 343108 h 1297454"/>
                <a:gd name="connsiteX35" fmla="*/ 192957 w 911102"/>
                <a:gd name="connsiteY35" fmla="*/ 311547 h 1297454"/>
                <a:gd name="connsiteX36" fmla="*/ 65424 w 911102"/>
                <a:gd name="connsiteY36" fmla="*/ 303757 h 1297454"/>
                <a:gd name="connsiteX37" fmla="*/ 41901 w 911102"/>
                <a:gd name="connsiteY37" fmla="*/ 309400 h 1297454"/>
                <a:gd name="connsiteX38" fmla="*/ 56412 w 911102"/>
                <a:gd name="connsiteY38" fmla="*/ 232310 h 1297454"/>
                <a:gd name="connsiteX39" fmla="*/ 127609 w 911102"/>
                <a:gd name="connsiteY39" fmla="*/ 8370 h 1297454"/>
                <a:gd name="connsiteX40" fmla="*/ 135979 w 911102"/>
                <a:gd name="connsiteY40" fmla="*/ 0 h 1297454"/>
                <a:gd name="connsiteX41" fmla="*/ 737166 w 911102"/>
                <a:gd name="connsiteY41" fmla="*/ 0 h 1297454"/>
                <a:gd name="connsiteX42" fmla="*/ 745536 w 911102"/>
                <a:gd name="connsiteY42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3407 w 911102"/>
                <a:gd name="connsiteY11" fmla="*/ 1278872 h 1297454"/>
                <a:gd name="connsiteX12" fmla="*/ 724876 w 911102"/>
                <a:gd name="connsiteY12" fmla="*/ 1290789 h 1297454"/>
                <a:gd name="connsiteX13" fmla="*/ 568039 w 911102"/>
                <a:gd name="connsiteY13" fmla="*/ 1230080 h 1297454"/>
                <a:gd name="connsiteX14" fmla="*/ 364868 w 911102"/>
                <a:gd name="connsiteY14" fmla="*/ 1184795 h 1297454"/>
                <a:gd name="connsiteX15" fmla="*/ 178811 w 911102"/>
                <a:gd name="connsiteY15" fmla="*/ 1123147 h 1297454"/>
                <a:gd name="connsiteX16" fmla="*/ 28040 w 911102"/>
                <a:gd name="connsiteY16" fmla="*/ 1036282 h 1297454"/>
                <a:gd name="connsiteX17" fmla="*/ 26077 w 911102"/>
                <a:gd name="connsiteY17" fmla="*/ 1027345 h 1297454"/>
                <a:gd name="connsiteX18" fmla="*/ 152633 w 911102"/>
                <a:gd name="connsiteY18" fmla="*/ 1035076 h 1297454"/>
                <a:gd name="connsiteX19" fmla="*/ 255738 w 911102"/>
                <a:gd name="connsiteY19" fmla="*/ 943843 h 1297454"/>
                <a:gd name="connsiteX20" fmla="*/ 231475 w 911102"/>
                <a:gd name="connsiteY20" fmla="*/ 873395 h 1297454"/>
                <a:gd name="connsiteX21" fmla="*/ 213502 w 911102"/>
                <a:gd name="connsiteY21" fmla="*/ 859613 h 1297454"/>
                <a:gd name="connsiteX22" fmla="*/ 216878 w 911102"/>
                <a:gd name="connsiteY22" fmla="*/ 859143 h 1297454"/>
                <a:gd name="connsiteX23" fmla="*/ 281693 w 911102"/>
                <a:gd name="connsiteY23" fmla="*/ 773235 h 1297454"/>
                <a:gd name="connsiteX24" fmla="*/ 227816 w 911102"/>
                <a:gd name="connsiteY24" fmla="*/ 680077 h 1297454"/>
                <a:gd name="connsiteX25" fmla="*/ 217008 w 911102"/>
                <a:gd name="connsiteY25" fmla="*/ 677199 h 1297454"/>
                <a:gd name="connsiteX26" fmla="*/ 226953 w 911102"/>
                <a:gd name="connsiteY26" fmla="*/ 675817 h 1297454"/>
                <a:gd name="connsiteX27" fmla="*/ 291768 w 911102"/>
                <a:gd name="connsiteY27" fmla="*/ 589909 h 1297454"/>
                <a:gd name="connsiteX28" fmla="*/ 237891 w 911102"/>
                <a:gd name="connsiteY28" fmla="*/ 496751 h 1297454"/>
                <a:gd name="connsiteX29" fmla="*/ 221568 w 911102"/>
                <a:gd name="connsiteY29" fmla="*/ 492404 h 1297454"/>
                <a:gd name="connsiteX30" fmla="*/ 249567 w 911102"/>
                <a:gd name="connsiteY30" fmla="*/ 475916 h 1297454"/>
                <a:gd name="connsiteX31" fmla="*/ 281129 w 911102"/>
                <a:gd name="connsiteY31" fmla="*/ 411193 h 1297454"/>
                <a:gd name="connsiteX32" fmla="*/ 281130 w 911102"/>
                <a:gd name="connsiteY32" fmla="*/ 411193 h 1297454"/>
                <a:gd name="connsiteX33" fmla="*/ 257681 w 911102"/>
                <a:gd name="connsiteY33" fmla="*/ 343108 h 1297454"/>
                <a:gd name="connsiteX34" fmla="*/ 192957 w 911102"/>
                <a:gd name="connsiteY34" fmla="*/ 311547 h 1297454"/>
                <a:gd name="connsiteX35" fmla="*/ 65424 w 911102"/>
                <a:gd name="connsiteY35" fmla="*/ 303757 h 1297454"/>
                <a:gd name="connsiteX36" fmla="*/ 41901 w 911102"/>
                <a:gd name="connsiteY36" fmla="*/ 309400 h 1297454"/>
                <a:gd name="connsiteX37" fmla="*/ 56412 w 911102"/>
                <a:gd name="connsiteY37" fmla="*/ 232310 h 1297454"/>
                <a:gd name="connsiteX38" fmla="*/ 127609 w 911102"/>
                <a:gd name="connsiteY38" fmla="*/ 8370 h 1297454"/>
                <a:gd name="connsiteX39" fmla="*/ 135979 w 911102"/>
                <a:gd name="connsiteY39" fmla="*/ 0 h 1297454"/>
                <a:gd name="connsiteX40" fmla="*/ 737166 w 911102"/>
                <a:gd name="connsiteY40" fmla="*/ 0 h 1297454"/>
                <a:gd name="connsiteX41" fmla="*/ 745536 w 911102"/>
                <a:gd name="connsiteY41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3293 w 911102"/>
                <a:gd name="connsiteY10" fmla="*/ 1277540 h 1297454"/>
                <a:gd name="connsiteX11" fmla="*/ 724876 w 911102"/>
                <a:gd name="connsiteY11" fmla="*/ 1290789 h 1297454"/>
                <a:gd name="connsiteX12" fmla="*/ 568039 w 911102"/>
                <a:gd name="connsiteY12" fmla="*/ 1230080 h 1297454"/>
                <a:gd name="connsiteX13" fmla="*/ 364868 w 911102"/>
                <a:gd name="connsiteY13" fmla="*/ 1184795 h 1297454"/>
                <a:gd name="connsiteX14" fmla="*/ 178811 w 911102"/>
                <a:gd name="connsiteY14" fmla="*/ 1123147 h 1297454"/>
                <a:gd name="connsiteX15" fmla="*/ 28040 w 911102"/>
                <a:gd name="connsiteY15" fmla="*/ 1036282 h 1297454"/>
                <a:gd name="connsiteX16" fmla="*/ 26077 w 911102"/>
                <a:gd name="connsiteY16" fmla="*/ 1027345 h 1297454"/>
                <a:gd name="connsiteX17" fmla="*/ 152633 w 911102"/>
                <a:gd name="connsiteY17" fmla="*/ 1035076 h 1297454"/>
                <a:gd name="connsiteX18" fmla="*/ 255738 w 911102"/>
                <a:gd name="connsiteY18" fmla="*/ 943843 h 1297454"/>
                <a:gd name="connsiteX19" fmla="*/ 231475 w 911102"/>
                <a:gd name="connsiteY19" fmla="*/ 873395 h 1297454"/>
                <a:gd name="connsiteX20" fmla="*/ 213502 w 911102"/>
                <a:gd name="connsiteY20" fmla="*/ 859613 h 1297454"/>
                <a:gd name="connsiteX21" fmla="*/ 216878 w 911102"/>
                <a:gd name="connsiteY21" fmla="*/ 859143 h 1297454"/>
                <a:gd name="connsiteX22" fmla="*/ 281693 w 911102"/>
                <a:gd name="connsiteY22" fmla="*/ 773235 h 1297454"/>
                <a:gd name="connsiteX23" fmla="*/ 227816 w 911102"/>
                <a:gd name="connsiteY23" fmla="*/ 680077 h 1297454"/>
                <a:gd name="connsiteX24" fmla="*/ 217008 w 911102"/>
                <a:gd name="connsiteY24" fmla="*/ 677199 h 1297454"/>
                <a:gd name="connsiteX25" fmla="*/ 226953 w 911102"/>
                <a:gd name="connsiteY25" fmla="*/ 675817 h 1297454"/>
                <a:gd name="connsiteX26" fmla="*/ 291768 w 911102"/>
                <a:gd name="connsiteY26" fmla="*/ 589909 h 1297454"/>
                <a:gd name="connsiteX27" fmla="*/ 237891 w 911102"/>
                <a:gd name="connsiteY27" fmla="*/ 496751 h 1297454"/>
                <a:gd name="connsiteX28" fmla="*/ 221568 w 911102"/>
                <a:gd name="connsiteY28" fmla="*/ 492404 h 1297454"/>
                <a:gd name="connsiteX29" fmla="*/ 249567 w 911102"/>
                <a:gd name="connsiteY29" fmla="*/ 475916 h 1297454"/>
                <a:gd name="connsiteX30" fmla="*/ 281129 w 911102"/>
                <a:gd name="connsiteY30" fmla="*/ 411193 h 1297454"/>
                <a:gd name="connsiteX31" fmla="*/ 281130 w 911102"/>
                <a:gd name="connsiteY31" fmla="*/ 411193 h 1297454"/>
                <a:gd name="connsiteX32" fmla="*/ 257681 w 911102"/>
                <a:gd name="connsiteY32" fmla="*/ 343108 h 1297454"/>
                <a:gd name="connsiteX33" fmla="*/ 192957 w 911102"/>
                <a:gd name="connsiteY33" fmla="*/ 311547 h 1297454"/>
                <a:gd name="connsiteX34" fmla="*/ 65424 w 911102"/>
                <a:gd name="connsiteY34" fmla="*/ 303757 h 1297454"/>
                <a:gd name="connsiteX35" fmla="*/ 41901 w 911102"/>
                <a:gd name="connsiteY35" fmla="*/ 309400 h 1297454"/>
                <a:gd name="connsiteX36" fmla="*/ 56412 w 911102"/>
                <a:gd name="connsiteY36" fmla="*/ 232310 h 1297454"/>
                <a:gd name="connsiteX37" fmla="*/ 127609 w 911102"/>
                <a:gd name="connsiteY37" fmla="*/ 8370 h 1297454"/>
                <a:gd name="connsiteX38" fmla="*/ 135979 w 911102"/>
                <a:gd name="connsiteY38" fmla="*/ 0 h 1297454"/>
                <a:gd name="connsiteX39" fmla="*/ 737166 w 911102"/>
                <a:gd name="connsiteY39" fmla="*/ 0 h 1297454"/>
                <a:gd name="connsiteX40" fmla="*/ 745536 w 911102"/>
                <a:gd name="connsiteY40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16083 w 911102"/>
                <a:gd name="connsiteY8" fmla="*/ 598865 h 1297454"/>
                <a:gd name="connsiteX9" fmla="*/ 779668 w 911102"/>
                <a:gd name="connsiteY9" fmla="*/ 619882 h 1297454"/>
                <a:gd name="connsiteX10" fmla="*/ 724876 w 911102"/>
                <a:gd name="connsiteY10" fmla="*/ 1290789 h 1297454"/>
                <a:gd name="connsiteX11" fmla="*/ 568039 w 911102"/>
                <a:gd name="connsiteY11" fmla="*/ 1230080 h 1297454"/>
                <a:gd name="connsiteX12" fmla="*/ 364868 w 911102"/>
                <a:gd name="connsiteY12" fmla="*/ 1184795 h 1297454"/>
                <a:gd name="connsiteX13" fmla="*/ 178811 w 911102"/>
                <a:gd name="connsiteY13" fmla="*/ 1123147 h 1297454"/>
                <a:gd name="connsiteX14" fmla="*/ 28040 w 911102"/>
                <a:gd name="connsiteY14" fmla="*/ 1036282 h 1297454"/>
                <a:gd name="connsiteX15" fmla="*/ 26077 w 911102"/>
                <a:gd name="connsiteY15" fmla="*/ 1027345 h 1297454"/>
                <a:gd name="connsiteX16" fmla="*/ 152633 w 911102"/>
                <a:gd name="connsiteY16" fmla="*/ 1035076 h 1297454"/>
                <a:gd name="connsiteX17" fmla="*/ 255738 w 911102"/>
                <a:gd name="connsiteY17" fmla="*/ 943843 h 1297454"/>
                <a:gd name="connsiteX18" fmla="*/ 231475 w 911102"/>
                <a:gd name="connsiteY18" fmla="*/ 873395 h 1297454"/>
                <a:gd name="connsiteX19" fmla="*/ 213502 w 911102"/>
                <a:gd name="connsiteY19" fmla="*/ 859613 h 1297454"/>
                <a:gd name="connsiteX20" fmla="*/ 216878 w 911102"/>
                <a:gd name="connsiteY20" fmla="*/ 859143 h 1297454"/>
                <a:gd name="connsiteX21" fmla="*/ 281693 w 911102"/>
                <a:gd name="connsiteY21" fmla="*/ 773235 h 1297454"/>
                <a:gd name="connsiteX22" fmla="*/ 227816 w 911102"/>
                <a:gd name="connsiteY22" fmla="*/ 680077 h 1297454"/>
                <a:gd name="connsiteX23" fmla="*/ 217008 w 911102"/>
                <a:gd name="connsiteY23" fmla="*/ 677199 h 1297454"/>
                <a:gd name="connsiteX24" fmla="*/ 226953 w 911102"/>
                <a:gd name="connsiteY24" fmla="*/ 675817 h 1297454"/>
                <a:gd name="connsiteX25" fmla="*/ 291768 w 911102"/>
                <a:gd name="connsiteY25" fmla="*/ 589909 h 1297454"/>
                <a:gd name="connsiteX26" fmla="*/ 237891 w 911102"/>
                <a:gd name="connsiteY26" fmla="*/ 496751 h 1297454"/>
                <a:gd name="connsiteX27" fmla="*/ 221568 w 911102"/>
                <a:gd name="connsiteY27" fmla="*/ 492404 h 1297454"/>
                <a:gd name="connsiteX28" fmla="*/ 249567 w 911102"/>
                <a:gd name="connsiteY28" fmla="*/ 475916 h 1297454"/>
                <a:gd name="connsiteX29" fmla="*/ 281129 w 911102"/>
                <a:gd name="connsiteY29" fmla="*/ 411193 h 1297454"/>
                <a:gd name="connsiteX30" fmla="*/ 281130 w 911102"/>
                <a:gd name="connsiteY30" fmla="*/ 411193 h 1297454"/>
                <a:gd name="connsiteX31" fmla="*/ 257681 w 911102"/>
                <a:gd name="connsiteY31" fmla="*/ 343108 h 1297454"/>
                <a:gd name="connsiteX32" fmla="*/ 192957 w 911102"/>
                <a:gd name="connsiteY32" fmla="*/ 311547 h 1297454"/>
                <a:gd name="connsiteX33" fmla="*/ 65424 w 911102"/>
                <a:gd name="connsiteY33" fmla="*/ 303757 h 1297454"/>
                <a:gd name="connsiteX34" fmla="*/ 41901 w 911102"/>
                <a:gd name="connsiteY34" fmla="*/ 309400 h 1297454"/>
                <a:gd name="connsiteX35" fmla="*/ 56412 w 911102"/>
                <a:gd name="connsiteY35" fmla="*/ 232310 h 1297454"/>
                <a:gd name="connsiteX36" fmla="*/ 127609 w 911102"/>
                <a:gd name="connsiteY36" fmla="*/ 8370 h 1297454"/>
                <a:gd name="connsiteX37" fmla="*/ 135979 w 911102"/>
                <a:gd name="connsiteY37" fmla="*/ 0 h 1297454"/>
                <a:gd name="connsiteX38" fmla="*/ 737166 w 911102"/>
                <a:gd name="connsiteY38" fmla="*/ 0 h 1297454"/>
                <a:gd name="connsiteX39" fmla="*/ 745536 w 911102"/>
                <a:gd name="connsiteY39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79668 w 911102"/>
                <a:gd name="connsiteY8" fmla="*/ 619882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  <a:gd name="connsiteX0" fmla="*/ 554 w 911102"/>
                <a:gd name="connsiteY0" fmla="*/ 664205 h 1297454"/>
                <a:gd name="connsiteX1" fmla="*/ 0 w 911102"/>
                <a:gd name="connsiteY1" fmla="*/ 664282 h 1297454"/>
                <a:gd name="connsiteX2" fmla="*/ 16 w 911102"/>
                <a:gd name="connsiteY2" fmla="*/ 664061 h 1297454"/>
                <a:gd name="connsiteX3" fmla="*/ 554 w 911102"/>
                <a:gd name="connsiteY3" fmla="*/ 664205 h 1297454"/>
                <a:gd name="connsiteX4" fmla="*/ 745536 w 911102"/>
                <a:gd name="connsiteY4" fmla="*/ 8370 h 1297454"/>
                <a:gd name="connsiteX5" fmla="*/ 911102 w 911102"/>
                <a:gd name="connsiteY5" fmla="*/ 379668 h 1297454"/>
                <a:gd name="connsiteX6" fmla="*/ 876710 w 911102"/>
                <a:gd name="connsiteY6" fmla="*/ 385825 h 1297454"/>
                <a:gd name="connsiteX7" fmla="*/ 492061 w 911102"/>
                <a:gd name="connsiteY7" fmla="*/ 310657 h 1297454"/>
                <a:gd name="connsiteX8" fmla="*/ 783320 w 911102"/>
                <a:gd name="connsiteY8" fmla="*/ 626020 h 1297454"/>
                <a:gd name="connsiteX9" fmla="*/ 724876 w 911102"/>
                <a:gd name="connsiteY9" fmla="*/ 1290789 h 1297454"/>
                <a:gd name="connsiteX10" fmla="*/ 568039 w 911102"/>
                <a:gd name="connsiteY10" fmla="*/ 1230080 h 1297454"/>
                <a:gd name="connsiteX11" fmla="*/ 364868 w 911102"/>
                <a:gd name="connsiteY11" fmla="*/ 1184795 h 1297454"/>
                <a:gd name="connsiteX12" fmla="*/ 178811 w 911102"/>
                <a:gd name="connsiteY12" fmla="*/ 1123147 h 1297454"/>
                <a:gd name="connsiteX13" fmla="*/ 28040 w 911102"/>
                <a:gd name="connsiteY13" fmla="*/ 1036282 h 1297454"/>
                <a:gd name="connsiteX14" fmla="*/ 26077 w 911102"/>
                <a:gd name="connsiteY14" fmla="*/ 1027345 h 1297454"/>
                <a:gd name="connsiteX15" fmla="*/ 152633 w 911102"/>
                <a:gd name="connsiteY15" fmla="*/ 1035076 h 1297454"/>
                <a:gd name="connsiteX16" fmla="*/ 255738 w 911102"/>
                <a:gd name="connsiteY16" fmla="*/ 943843 h 1297454"/>
                <a:gd name="connsiteX17" fmla="*/ 231475 w 911102"/>
                <a:gd name="connsiteY17" fmla="*/ 873395 h 1297454"/>
                <a:gd name="connsiteX18" fmla="*/ 213502 w 911102"/>
                <a:gd name="connsiteY18" fmla="*/ 859613 h 1297454"/>
                <a:gd name="connsiteX19" fmla="*/ 216878 w 911102"/>
                <a:gd name="connsiteY19" fmla="*/ 859143 h 1297454"/>
                <a:gd name="connsiteX20" fmla="*/ 281693 w 911102"/>
                <a:gd name="connsiteY20" fmla="*/ 773235 h 1297454"/>
                <a:gd name="connsiteX21" fmla="*/ 227816 w 911102"/>
                <a:gd name="connsiteY21" fmla="*/ 680077 h 1297454"/>
                <a:gd name="connsiteX22" fmla="*/ 217008 w 911102"/>
                <a:gd name="connsiteY22" fmla="*/ 677199 h 1297454"/>
                <a:gd name="connsiteX23" fmla="*/ 226953 w 911102"/>
                <a:gd name="connsiteY23" fmla="*/ 675817 h 1297454"/>
                <a:gd name="connsiteX24" fmla="*/ 291768 w 911102"/>
                <a:gd name="connsiteY24" fmla="*/ 589909 h 1297454"/>
                <a:gd name="connsiteX25" fmla="*/ 237891 w 911102"/>
                <a:gd name="connsiteY25" fmla="*/ 496751 h 1297454"/>
                <a:gd name="connsiteX26" fmla="*/ 221568 w 911102"/>
                <a:gd name="connsiteY26" fmla="*/ 492404 h 1297454"/>
                <a:gd name="connsiteX27" fmla="*/ 249567 w 911102"/>
                <a:gd name="connsiteY27" fmla="*/ 475916 h 1297454"/>
                <a:gd name="connsiteX28" fmla="*/ 281129 w 911102"/>
                <a:gd name="connsiteY28" fmla="*/ 411193 h 1297454"/>
                <a:gd name="connsiteX29" fmla="*/ 281130 w 911102"/>
                <a:gd name="connsiteY29" fmla="*/ 411193 h 1297454"/>
                <a:gd name="connsiteX30" fmla="*/ 257681 w 911102"/>
                <a:gd name="connsiteY30" fmla="*/ 343108 h 1297454"/>
                <a:gd name="connsiteX31" fmla="*/ 192957 w 911102"/>
                <a:gd name="connsiteY31" fmla="*/ 311547 h 1297454"/>
                <a:gd name="connsiteX32" fmla="*/ 65424 w 911102"/>
                <a:gd name="connsiteY32" fmla="*/ 303757 h 1297454"/>
                <a:gd name="connsiteX33" fmla="*/ 41901 w 911102"/>
                <a:gd name="connsiteY33" fmla="*/ 309400 h 1297454"/>
                <a:gd name="connsiteX34" fmla="*/ 56412 w 911102"/>
                <a:gd name="connsiteY34" fmla="*/ 232310 h 1297454"/>
                <a:gd name="connsiteX35" fmla="*/ 127609 w 911102"/>
                <a:gd name="connsiteY35" fmla="*/ 8370 h 1297454"/>
                <a:gd name="connsiteX36" fmla="*/ 135979 w 911102"/>
                <a:gd name="connsiteY36" fmla="*/ 0 h 1297454"/>
                <a:gd name="connsiteX37" fmla="*/ 737166 w 911102"/>
                <a:gd name="connsiteY37" fmla="*/ 0 h 1297454"/>
                <a:gd name="connsiteX38" fmla="*/ 745536 w 911102"/>
                <a:gd name="connsiteY38" fmla="*/ 8370 h 12974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911102" h="1297454">
                  <a:moveTo>
                    <a:pt x="554" y="664205"/>
                  </a:moveTo>
                  <a:lnTo>
                    <a:pt x="0" y="664282"/>
                  </a:lnTo>
                  <a:cubicBezTo>
                    <a:pt x="5" y="664208"/>
                    <a:pt x="11" y="664135"/>
                    <a:pt x="16" y="664061"/>
                  </a:cubicBezTo>
                  <a:lnTo>
                    <a:pt x="554" y="664205"/>
                  </a:lnTo>
                  <a:close/>
                  <a:moveTo>
                    <a:pt x="745536" y="8370"/>
                  </a:moveTo>
                  <a:cubicBezTo>
                    <a:pt x="777296" y="94936"/>
                    <a:pt x="879455" y="311958"/>
                    <a:pt x="911102" y="379668"/>
                  </a:cubicBezTo>
                  <a:lnTo>
                    <a:pt x="876710" y="385825"/>
                  </a:lnTo>
                  <a:cubicBezTo>
                    <a:pt x="868621" y="377323"/>
                    <a:pt x="500563" y="302568"/>
                    <a:pt x="492061" y="310657"/>
                  </a:cubicBezTo>
                  <a:cubicBezTo>
                    <a:pt x="467650" y="368421"/>
                    <a:pt x="552876" y="601616"/>
                    <a:pt x="783320" y="626020"/>
                  </a:cubicBezTo>
                  <a:cubicBezTo>
                    <a:pt x="707017" y="751589"/>
                    <a:pt x="678492" y="1146233"/>
                    <a:pt x="724876" y="1290789"/>
                  </a:cubicBezTo>
                  <a:cubicBezTo>
                    <a:pt x="686289" y="1299923"/>
                    <a:pt x="599232" y="1312604"/>
                    <a:pt x="568039" y="1230080"/>
                  </a:cubicBezTo>
                  <a:cubicBezTo>
                    <a:pt x="505142" y="1271224"/>
                    <a:pt x="421109" y="1286153"/>
                    <a:pt x="364868" y="1184795"/>
                  </a:cubicBezTo>
                  <a:cubicBezTo>
                    <a:pt x="275380" y="1265558"/>
                    <a:pt x="187295" y="1190323"/>
                    <a:pt x="178811" y="1123147"/>
                  </a:cubicBezTo>
                  <a:cubicBezTo>
                    <a:pt x="136082" y="1156900"/>
                    <a:pt x="67183" y="1167242"/>
                    <a:pt x="28040" y="1036282"/>
                  </a:cubicBezTo>
                  <a:lnTo>
                    <a:pt x="26077" y="1027345"/>
                  </a:lnTo>
                  <a:lnTo>
                    <a:pt x="152633" y="1035076"/>
                  </a:lnTo>
                  <a:cubicBezTo>
                    <a:pt x="206298" y="1038354"/>
                    <a:pt x="252460" y="997507"/>
                    <a:pt x="255738" y="943843"/>
                  </a:cubicBezTo>
                  <a:cubicBezTo>
                    <a:pt x="257377" y="917011"/>
                    <a:pt x="247985" y="892054"/>
                    <a:pt x="231475" y="873395"/>
                  </a:cubicBezTo>
                  <a:lnTo>
                    <a:pt x="213502" y="859613"/>
                  </a:lnTo>
                  <a:lnTo>
                    <a:pt x="216878" y="859143"/>
                  </a:lnTo>
                  <a:cubicBezTo>
                    <a:pt x="252654" y="846522"/>
                    <a:pt x="279235" y="813484"/>
                    <a:pt x="281693" y="773235"/>
                  </a:cubicBezTo>
                  <a:cubicBezTo>
                    <a:pt x="284152" y="732987"/>
                    <a:pt x="261790" y="696958"/>
                    <a:pt x="227816" y="680077"/>
                  </a:cubicBezTo>
                  <a:lnTo>
                    <a:pt x="217008" y="677199"/>
                  </a:lnTo>
                  <a:lnTo>
                    <a:pt x="226953" y="675817"/>
                  </a:lnTo>
                  <a:cubicBezTo>
                    <a:pt x="262729" y="663196"/>
                    <a:pt x="289310" y="630158"/>
                    <a:pt x="291768" y="589909"/>
                  </a:cubicBezTo>
                  <a:cubicBezTo>
                    <a:pt x="294227" y="549660"/>
                    <a:pt x="271865" y="513632"/>
                    <a:pt x="237891" y="496751"/>
                  </a:cubicBezTo>
                  <a:lnTo>
                    <a:pt x="221568" y="492404"/>
                  </a:lnTo>
                  <a:lnTo>
                    <a:pt x="249567" y="475916"/>
                  </a:lnTo>
                  <a:cubicBezTo>
                    <a:pt x="267599" y="459959"/>
                    <a:pt x="279545" y="437125"/>
                    <a:pt x="281129" y="411193"/>
                  </a:cubicBezTo>
                  <a:lnTo>
                    <a:pt x="281130" y="411193"/>
                  </a:lnTo>
                  <a:cubicBezTo>
                    <a:pt x="282714" y="385260"/>
                    <a:pt x="273637" y="361142"/>
                    <a:pt x="257681" y="343108"/>
                  </a:cubicBezTo>
                  <a:cubicBezTo>
                    <a:pt x="241725" y="325077"/>
                    <a:pt x="218889" y="313132"/>
                    <a:pt x="192957" y="311547"/>
                  </a:cubicBezTo>
                  <a:lnTo>
                    <a:pt x="65424" y="303757"/>
                  </a:lnTo>
                  <a:lnTo>
                    <a:pt x="41901" y="309400"/>
                  </a:lnTo>
                  <a:lnTo>
                    <a:pt x="56412" y="232310"/>
                  </a:lnTo>
                  <a:cubicBezTo>
                    <a:pt x="76486" y="142148"/>
                    <a:pt x="100714" y="63554"/>
                    <a:pt x="127609" y="8370"/>
                  </a:cubicBezTo>
                  <a:cubicBezTo>
                    <a:pt x="127609" y="3747"/>
                    <a:pt x="131356" y="0"/>
                    <a:pt x="135979" y="0"/>
                  </a:cubicBezTo>
                  <a:lnTo>
                    <a:pt x="737166" y="0"/>
                  </a:lnTo>
                  <a:cubicBezTo>
                    <a:pt x="741789" y="0"/>
                    <a:pt x="745536" y="3747"/>
                    <a:pt x="745536" y="837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7" name="Rounded Rectangle 56"/>
            <p:cNvSpPr/>
            <p:nvPr/>
          </p:nvSpPr>
          <p:spPr>
            <a:xfrm rot="18254747">
              <a:off x="2121920" y="3773287"/>
              <a:ext cx="268275" cy="128977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8" name="Rounded Rectangle 57"/>
            <p:cNvSpPr/>
            <p:nvPr/>
          </p:nvSpPr>
          <p:spPr>
            <a:xfrm rot="18254747">
              <a:off x="2237781" y="3867949"/>
              <a:ext cx="311038" cy="143896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59" name="Rounded Rectangle 58"/>
            <p:cNvSpPr/>
            <p:nvPr/>
          </p:nvSpPr>
          <p:spPr>
            <a:xfrm rot="18254747">
              <a:off x="2396653" y="3967672"/>
              <a:ext cx="302453" cy="142014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0" name="Rounded Rectangle 59"/>
            <p:cNvSpPr/>
            <p:nvPr/>
          </p:nvSpPr>
          <p:spPr>
            <a:xfrm rot="18191826">
              <a:off x="2567056" y="4069412"/>
              <a:ext cx="257644" cy="132691"/>
            </a:xfrm>
            <a:prstGeom prst="roundRect">
              <a:avLst>
                <a:gd name="adj" fmla="val 44437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1" name="Rounded Rectangle 60"/>
            <p:cNvSpPr/>
            <p:nvPr/>
          </p:nvSpPr>
          <p:spPr>
            <a:xfrm rot="18170923">
              <a:off x="1446042" y="3129169"/>
              <a:ext cx="793564" cy="242045"/>
            </a:xfrm>
            <a:prstGeom prst="roundRect">
              <a:avLst>
                <a:gd name="adj" fmla="val 3458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2" name="Rounded Rectangle 61"/>
            <p:cNvSpPr/>
            <p:nvPr/>
          </p:nvSpPr>
          <p:spPr>
            <a:xfrm rot="18139869">
              <a:off x="1650404" y="3310198"/>
              <a:ext cx="701700" cy="59118"/>
            </a:xfrm>
            <a:prstGeom prst="roundRect">
              <a:avLst>
                <a:gd name="adj" fmla="val 5000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3" name="Rounded Rectangle 62"/>
            <p:cNvSpPr/>
            <p:nvPr/>
          </p:nvSpPr>
          <p:spPr>
            <a:xfrm rot="4209802">
              <a:off x="3305704" y="3176290"/>
              <a:ext cx="793564" cy="242045"/>
            </a:xfrm>
            <a:prstGeom prst="roundRect">
              <a:avLst>
                <a:gd name="adj" fmla="val 3458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4" name="Rounded Rectangle 63"/>
            <p:cNvSpPr/>
            <p:nvPr/>
          </p:nvSpPr>
          <p:spPr>
            <a:xfrm rot="4234155">
              <a:off x="3180849" y="3331995"/>
              <a:ext cx="701700" cy="59118"/>
            </a:xfrm>
            <a:prstGeom prst="roundRect">
              <a:avLst>
                <a:gd name="adj" fmla="val 50000"/>
              </a:avLst>
            </a:pr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  <p:sp>
          <p:nvSpPr>
            <p:cNvPr id="65" name="Freeform 64"/>
            <p:cNvSpPr/>
            <p:nvPr/>
          </p:nvSpPr>
          <p:spPr>
            <a:xfrm rot="20830502">
              <a:off x="2416807" y="3065880"/>
              <a:ext cx="1092446" cy="753122"/>
            </a:xfrm>
            <a:custGeom>
              <a:avLst/>
              <a:gdLst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3108 w 1092446"/>
                <a:gd name="connsiteY8" fmla="*/ 486300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25496 w 1092446"/>
                <a:gd name="connsiteY6" fmla="*/ 527629 h 741956"/>
                <a:gd name="connsiteX7" fmla="*/ 699633 w 1092446"/>
                <a:gd name="connsiteY7" fmla="*/ 522004 h 741956"/>
                <a:gd name="connsiteX8" fmla="*/ 691523 w 1092446"/>
                <a:gd name="connsiteY8" fmla="*/ 493267 h 741956"/>
                <a:gd name="connsiteX9" fmla="*/ 576784 w 1092446"/>
                <a:gd name="connsiteY9" fmla="*/ 489842 h 741956"/>
                <a:gd name="connsiteX10" fmla="*/ 571648 w 1092446"/>
                <a:gd name="connsiteY10" fmla="*/ 489724 h 741956"/>
                <a:gd name="connsiteX11" fmla="*/ 481793 w 1092446"/>
                <a:gd name="connsiteY11" fmla="*/ 377963 h 741956"/>
                <a:gd name="connsiteX12" fmla="*/ 408161 w 1092446"/>
                <a:gd name="connsiteY12" fmla="*/ 225516 h 741956"/>
                <a:gd name="connsiteX13" fmla="*/ 0 w 1092446"/>
                <a:gd name="connsiteY13" fmla="*/ 271157 h 741956"/>
                <a:gd name="connsiteX14" fmla="*/ 393182 w 1092446"/>
                <a:gd name="connsiteY14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02018 w 1092446"/>
                <a:gd name="connsiteY5" fmla="*/ 527498 h 741956"/>
                <a:gd name="connsiteX6" fmla="*/ 699633 w 1092446"/>
                <a:gd name="connsiteY6" fmla="*/ 522004 h 741956"/>
                <a:gd name="connsiteX7" fmla="*/ 691523 w 1092446"/>
                <a:gd name="connsiteY7" fmla="*/ 493267 h 741956"/>
                <a:gd name="connsiteX8" fmla="*/ 576784 w 1092446"/>
                <a:gd name="connsiteY8" fmla="*/ 489842 h 741956"/>
                <a:gd name="connsiteX9" fmla="*/ 571648 w 1092446"/>
                <a:gd name="connsiteY9" fmla="*/ 489724 h 741956"/>
                <a:gd name="connsiteX10" fmla="*/ 481793 w 1092446"/>
                <a:gd name="connsiteY10" fmla="*/ 377963 h 741956"/>
                <a:gd name="connsiteX11" fmla="*/ 408161 w 1092446"/>
                <a:gd name="connsiteY11" fmla="*/ 225516 h 741956"/>
                <a:gd name="connsiteX12" fmla="*/ 0 w 1092446"/>
                <a:gd name="connsiteY12" fmla="*/ 271157 h 741956"/>
                <a:gd name="connsiteX13" fmla="*/ 393182 w 1092446"/>
                <a:gd name="connsiteY13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7101 w 1092446"/>
                <a:gd name="connsiteY4" fmla="*/ 533819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91523 w 1092446"/>
                <a:gd name="connsiteY6" fmla="*/ 493267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571648 w 1092446"/>
                <a:gd name="connsiteY8" fmla="*/ 489724 h 741956"/>
                <a:gd name="connsiteX9" fmla="*/ 481793 w 1092446"/>
                <a:gd name="connsiteY9" fmla="*/ 377963 h 741956"/>
                <a:gd name="connsiteX10" fmla="*/ 408161 w 1092446"/>
                <a:gd name="connsiteY10" fmla="*/ 225516 h 741956"/>
                <a:gd name="connsiteX11" fmla="*/ 0 w 1092446"/>
                <a:gd name="connsiteY11" fmla="*/ 271157 h 741956"/>
                <a:gd name="connsiteX12" fmla="*/ 393182 w 1092446"/>
                <a:gd name="connsiteY12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81793 w 1092446"/>
                <a:gd name="connsiteY8" fmla="*/ 377963 h 741956"/>
                <a:gd name="connsiteX9" fmla="*/ 408161 w 1092446"/>
                <a:gd name="connsiteY9" fmla="*/ 225516 h 741956"/>
                <a:gd name="connsiteX10" fmla="*/ 0 w 1092446"/>
                <a:gd name="connsiteY10" fmla="*/ 271157 h 741956"/>
                <a:gd name="connsiteX11" fmla="*/ 393182 w 1092446"/>
                <a:gd name="connsiteY11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41956"/>
                <a:gd name="connsiteX1" fmla="*/ 1030378 w 1092446"/>
                <a:gd name="connsiteY1" fmla="*/ 159143 h 741956"/>
                <a:gd name="connsiteX2" fmla="*/ 1092446 w 1092446"/>
                <a:gd name="connsiteY2" fmla="*/ 711193 h 741956"/>
                <a:gd name="connsiteX3" fmla="*/ 847093 w 1092446"/>
                <a:gd name="connsiteY3" fmla="*/ 739925 h 741956"/>
                <a:gd name="connsiteX4" fmla="*/ 600457 w 1092446"/>
                <a:gd name="connsiteY4" fmla="*/ 520096 h 741956"/>
                <a:gd name="connsiteX5" fmla="*/ 699633 w 1092446"/>
                <a:gd name="connsiteY5" fmla="*/ 522004 h 741956"/>
                <a:gd name="connsiteX6" fmla="*/ 689937 w 1092446"/>
                <a:gd name="connsiteY6" fmla="*/ 500232 h 741956"/>
                <a:gd name="connsiteX7" fmla="*/ 576784 w 1092446"/>
                <a:gd name="connsiteY7" fmla="*/ 489842 h 741956"/>
                <a:gd name="connsiteX8" fmla="*/ 408161 w 1092446"/>
                <a:gd name="connsiteY8" fmla="*/ 225516 h 741956"/>
                <a:gd name="connsiteX9" fmla="*/ 0 w 1092446"/>
                <a:gd name="connsiteY9" fmla="*/ 271157 h 741956"/>
                <a:gd name="connsiteX10" fmla="*/ 393182 w 1092446"/>
                <a:gd name="connsiteY10" fmla="*/ 0 h 741956"/>
                <a:gd name="connsiteX0" fmla="*/ 393182 w 1092446"/>
                <a:gd name="connsiteY0" fmla="*/ 0 h 753122"/>
                <a:gd name="connsiteX1" fmla="*/ 1030378 w 1092446"/>
                <a:gd name="connsiteY1" fmla="*/ 159143 h 753122"/>
                <a:gd name="connsiteX2" fmla="*/ 1092446 w 1092446"/>
                <a:gd name="connsiteY2" fmla="*/ 711193 h 753122"/>
                <a:gd name="connsiteX3" fmla="*/ 848296 w 1092446"/>
                <a:gd name="connsiteY3" fmla="*/ 752170 h 753122"/>
                <a:gd name="connsiteX4" fmla="*/ 600457 w 1092446"/>
                <a:gd name="connsiteY4" fmla="*/ 520096 h 753122"/>
                <a:gd name="connsiteX5" fmla="*/ 699633 w 1092446"/>
                <a:gd name="connsiteY5" fmla="*/ 522004 h 753122"/>
                <a:gd name="connsiteX6" fmla="*/ 689937 w 1092446"/>
                <a:gd name="connsiteY6" fmla="*/ 500232 h 753122"/>
                <a:gd name="connsiteX7" fmla="*/ 576784 w 1092446"/>
                <a:gd name="connsiteY7" fmla="*/ 489842 h 753122"/>
                <a:gd name="connsiteX8" fmla="*/ 408161 w 1092446"/>
                <a:gd name="connsiteY8" fmla="*/ 225516 h 753122"/>
                <a:gd name="connsiteX9" fmla="*/ 0 w 1092446"/>
                <a:gd name="connsiteY9" fmla="*/ 271157 h 753122"/>
                <a:gd name="connsiteX10" fmla="*/ 393182 w 1092446"/>
                <a:gd name="connsiteY10" fmla="*/ 0 h 7531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092446" h="753122">
                  <a:moveTo>
                    <a:pt x="393182" y="0"/>
                  </a:moveTo>
                  <a:cubicBezTo>
                    <a:pt x="603014" y="50021"/>
                    <a:pt x="721952" y="145288"/>
                    <a:pt x="1030378" y="159143"/>
                  </a:cubicBezTo>
                  <a:cubicBezTo>
                    <a:pt x="1030378" y="348219"/>
                    <a:pt x="1061205" y="519889"/>
                    <a:pt x="1092446" y="711193"/>
                  </a:cubicBezTo>
                  <a:cubicBezTo>
                    <a:pt x="1032790" y="742751"/>
                    <a:pt x="923476" y="757108"/>
                    <a:pt x="848296" y="752170"/>
                  </a:cubicBezTo>
                  <a:cubicBezTo>
                    <a:pt x="798266" y="726242"/>
                    <a:pt x="684202" y="631576"/>
                    <a:pt x="600457" y="520096"/>
                  </a:cubicBezTo>
                  <a:cubicBezTo>
                    <a:pt x="633516" y="520732"/>
                    <a:pt x="684720" y="525315"/>
                    <a:pt x="699633" y="522004"/>
                  </a:cubicBezTo>
                  <a:cubicBezTo>
                    <a:pt x="714546" y="518693"/>
                    <a:pt x="725252" y="504787"/>
                    <a:pt x="689937" y="500232"/>
                  </a:cubicBezTo>
                  <a:cubicBezTo>
                    <a:pt x="654621" y="501428"/>
                    <a:pt x="614772" y="497298"/>
                    <a:pt x="576784" y="489842"/>
                  </a:cubicBezTo>
                  <a:cubicBezTo>
                    <a:pt x="507475" y="437824"/>
                    <a:pt x="432486" y="335672"/>
                    <a:pt x="408161" y="225516"/>
                  </a:cubicBezTo>
                  <a:cubicBezTo>
                    <a:pt x="253916" y="345672"/>
                    <a:pt x="75753" y="345602"/>
                    <a:pt x="0" y="271157"/>
                  </a:cubicBezTo>
                  <a:cubicBezTo>
                    <a:pt x="0" y="259422"/>
                    <a:pt x="381447" y="0"/>
                    <a:pt x="393182" y="0"/>
                  </a:cubicBezTo>
                  <a:close/>
                </a:path>
              </a:pathLst>
            </a:custGeom>
            <a:grp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endParaRPr>
            </a:p>
          </p:txBody>
        </p:sp>
      </p:grpSp>
      <p:grpSp>
        <p:nvGrpSpPr>
          <p:cNvPr id="66" name="Group 65"/>
          <p:cNvGrpSpPr/>
          <p:nvPr/>
        </p:nvGrpSpPr>
        <p:grpSpPr bwMode="auto">
          <a:xfrm>
            <a:off x="835266" y="4573032"/>
            <a:ext cx="440491" cy="444981"/>
            <a:chOff x="-369889" y="6397752"/>
            <a:chExt cx="1489326" cy="1654158"/>
          </a:xfrm>
          <a:solidFill>
            <a:schemeClr val="bg1"/>
          </a:solidFill>
          <a:effectLst/>
        </p:grpSpPr>
        <p:sp>
          <p:nvSpPr>
            <p:cNvPr id="67" name="Freeform 178"/>
            <p:cNvSpPr>
              <a:spLocks/>
            </p:cNvSpPr>
            <p:nvPr/>
          </p:nvSpPr>
          <p:spPr bwMode="auto">
            <a:xfrm>
              <a:off x="-250496" y="6397752"/>
              <a:ext cx="921752" cy="804878"/>
            </a:xfrm>
            <a:custGeom>
              <a:avLst/>
              <a:gdLst>
                <a:gd name="T0" fmla="*/ 359 w 359"/>
                <a:gd name="T1" fmla="*/ 0 h 310"/>
                <a:gd name="T2" fmla="*/ 359 w 359"/>
                <a:gd name="T3" fmla="*/ 4 h 310"/>
                <a:gd name="T4" fmla="*/ 359 w 359"/>
                <a:gd name="T5" fmla="*/ 30 h 310"/>
                <a:gd name="T6" fmla="*/ 358 w 359"/>
                <a:gd name="T7" fmla="*/ 68 h 310"/>
                <a:gd name="T8" fmla="*/ 358 w 359"/>
                <a:gd name="T9" fmla="*/ 108 h 310"/>
                <a:gd name="T10" fmla="*/ 358 w 359"/>
                <a:gd name="T11" fmla="*/ 125 h 310"/>
                <a:gd name="T12" fmla="*/ 358 w 359"/>
                <a:gd name="T13" fmla="*/ 132 h 310"/>
                <a:gd name="T14" fmla="*/ 356 w 359"/>
                <a:gd name="T15" fmla="*/ 133 h 310"/>
                <a:gd name="T16" fmla="*/ 354 w 359"/>
                <a:gd name="T17" fmla="*/ 133 h 310"/>
                <a:gd name="T18" fmla="*/ 352 w 359"/>
                <a:gd name="T19" fmla="*/ 133 h 310"/>
                <a:gd name="T20" fmla="*/ 341 w 359"/>
                <a:gd name="T21" fmla="*/ 123 h 310"/>
                <a:gd name="T22" fmla="*/ 324 w 359"/>
                <a:gd name="T23" fmla="*/ 110 h 310"/>
                <a:gd name="T24" fmla="*/ 316 w 359"/>
                <a:gd name="T25" fmla="*/ 103 h 310"/>
                <a:gd name="T26" fmla="*/ 263 w 359"/>
                <a:gd name="T27" fmla="*/ 174 h 310"/>
                <a:gd name="T28" fmla="*/ 201 w 359"/>
                <a:gd name="T29" fmla="*/ 226 h 310"/>
                <a:gd name="T30" fmla="*/ 136 w 359"/>
                <a:gd name="T31" fmla="*/ 264 h 310"/>
                <a:gd name="T32" fmla="*/ 78 w 359"/>
                <a:gd name="T33" fmla="*/ 289 h 310"/>
                <a:gd name="T34" fmla="*/ 30 w 359"/>
                <a:gd name="T35" fmla="*/ 303 h 310"/>
                <a:gd name="T36" fmla="*/ 4 w 359"/>
                <a:gd name="T37" fmla="*/ 310 h 310"/>
                <a:gd name="T38" fmla="*/ 49 w 359"/>
                <a:gd name="T39" fmla="*/ 290 h 310"/>
                <a:gd name="T40" fmla="*/ 127 w 359"/>
                <a:gd name="T41" fmla="*/ 243 h 310"/>
                <a:gd name="T42" fmla="*/ 185 w 359"/>
                <a:gd name="T43" fmla="*/ 192 h 310"/>
                <a:gd name="T44" fmla="*/ 225 w 359"/>
                <a:gd name="T45" fmla="*/ 144 h 310"/>
                <a:gd name="T46" fmla="*/ 250 w 359"/>
                <a:gd name="T47" fmla="*/ 103 h 310"/>
                <a:gd name="T48" fmla="*/ 263 w 359"/>
                <a:gd name="T49" fmla="*/ 74 h 310"/>
                <a:gd name="T50" fmla="*/ 266 w 359"/>
                <a:gd name="T51" fmla="*/ 64 h 310"/>
                <a:gd name="T52" fmla="*/ 266 w 359"/>
                <a:gd name="T53" fmla="*/ 64 h 310"/>
                <a:gd name="T54" fmla="*/ 229 w 359"/>
                <a:gd name="T55" fmla="*/ 34 h 310"/>
                <a:gd name="T56" fmla="*/ 228 w 359"/>
                <a:gd name="T57" fmla="*/ 31 h 310"/>
                <a:gd name="T58" fmla="*/ 231 w 359"/>
                <a:gd name="T59" fmla="*/ 30 h 310"/>
                <a:gd name="T60" fmla="*/ 233 w 359"/>
                <a:gd name="T61" fmla="*/ 28 h 310"/>
                <a:gd name="T62" fmla="*/ 240 w 359"/>
                <a:gd name="T63" fmla="*/ 27 h 310"/>
                <a:gd name="T64" fmla="*/ 258 w 359"/>
                <a:gd name="T65" fmla="*/ 23 h 310"/>
                <a:gd name="T66" fmla="*/ 295 w 359"/>
                <a:gd name="T67" fmla="*/ 14 h 310"/>
                <a:gd name="T68" fmla="*/ 331 w 359"/>
                <a:gd name="T69" fmla="*/ 6 h 310"/>
                <a:gd name="T70" fmla="*/ 355 w 359"/>
                <a:gd name="T71" fmla="*/ 0 h 310"/>
                <a:gd name="connsiteX0" fmla="*/ 9861 w 9889"/>
                <a:gd name="connsiteY0" fmla="*/ 0 h 10000"/>
                <a:gd name="connsiteX1" fmla="*/ 9889 w 9889"/>
                <a:gd name="connsiteY1" fmla="*/ 0 h 10000"/>
                <a:gd name="connsiteX2" fmla="*/ 9889 w 9889"/>
                <a:gd name="connsiteY2" fmla="*/ 32 h 10000"/>
                <a:gd name="connsiteX3" fmla="*/ 9889 w 9889"/>
                <a:gd name="connsiteY3" fmla="*/ 129 h 10000"/>
                <a:gd name="connsiteX4" fmla="*/ 9889 w 9889"/>
                <a:gd name="connsiteY4" fmla="*/ 452 h 10000"/>
                <a:gd name="connsiteX5" fmla="*/ 9889 w 9889"/>
                <a:gd name="connsiteY5" fmla="*/ 968 h 10000"/>
                <a:gd name="connsiteX6" fmla="*/ 9889 w 9889"/>
                <a:gd name="connsiteY6" fmla="*/ 1548 h 10000"/>
                <a:gd name="connsiteX7" fmla="*/ 9861 w 9889"/>
                <a:gd name="connsiteY7" fmla="*/ 2194 h 10000"/>
                <a:gd name="connsiteX8" fmla="*/ 9861 w 9889"/>
                <a:gd name="connsiteY8" fmla="*/ 2871 h 10000"/>
                <a:gd name="connsiteX9" fmla="*/ 9861 w 9889"/>
                <a:gd name="connsiteY9" fmla="*/ 3484 h 10000"/>
                <a:gd name="connsiteX10" fmla="*/ 9861 w 9889"/>
                <a:gd name="connsiteY10" fmla="*/ 4000 h 10000"/>
                <a:gd name="connsiteX11" fmla="*/ 9861 w 9889"/>
                <a:gd name="connsiteY11" fmla="*/ 4032 h 10000"/>
                <a:gd name="connsiteX12" fmla="*/ 9861 w 9889"/>
                <a:gd name="connsiteY12" fmla="*/ 4161 h 10000"/>
                <a:gd name="connsiteX13" fmla="*/ 9861 w 9889"/>
                <a:gd name="connsiteY13" fmla="*/ 4258 h 10000"/>
                <a:gd name="connsiteX14" fmla="*/ 9805 w 9889"/>
                <a:gd name="connsiteY14" fmla="*/ 4290 h 10000"/>
                <a:gd name="connsiteX15" fmla="*/ 9805 w 9889"/>
                <a:gd name="connsiteY15" fmla="*/ 4290 h 10000"/>
                <a:gd name="connsiteX16" fmla="*/ 9778 w 9889"/>
                <a:gd name="connsiteY16" fmla="*/ 4290 h 10000"/>
                <a:gd name="connsiteX17" fmla="*/ 9750 w 9889"/>
                <a:gd name="connsiteY17" fmla="*/ 4290 h 10000"/>
                <a:gd name="connsiteX18" fmla="*/ 9750 w 9889"/>
                <a:gd name="connsiteY18" fmla="*/ 4290 h 10000"/>
                <a:gd name="connsiteX19" fmla="*/ 9694 w 9889"/>
                <a:gd name="connsiteY19" fmla="*/ 4290 h 10000"/>
                <a:gd name="connsiteX20" fmla="*/ 9610 w 9889"/>
                <a:gd name="connsiteY20" fmla="*/ 4161 h 10000"/>
                <a:gd name="connsiteX21" fmla="*/ 9388 w 9889"/>
                <a:gd name="connsiteY21" fmla="*/ 3968 h 10000"/>
                <a:gd name="connsiteX22" fmla="*/ 9109 w 9889"/>
                <a:gd name="connsiteY22" fmla="*/ 3742 h 10000"/>
                <a:gd name="connsiteX23" fmla="*/ 8914 w 9889"/>
                <a:gd name="connsiteY23" fmla="*/ 3548 h 10000"/>
                <a:gd name="connsiteX24" fmla="*/ 8747 w 9889"/>
                <a:gd name="connsiteY24" fmla="*/ 3355 h 10000"/>
                <a:gd name="connsiteX25" fmla="*/ 8691 w 9889"/>
                <a:gd name="connsiteY25" fmla="*/ 3323 h 10000"/>
                <a:gd name="connsiteX26" fmla="*/ 7995 w 9889"/>
                <a:gd name="connsiteY26" fmla="*/ 4548 h 10000"/>
                <a:gd name="connsiteX27" fmla="*/ 7215 w 9889"/>
                <a:gd name="connsiteY27" fmla="*/ 5613 h 10000"/>
                <a:gd name="connsiteX28" fmla="*/ 6379 w 9889"/>
                <a:gd name="connsiteY28" fmla="*/ 6484 h 10000"/>
                <a:gd name="connsiteX29" fmla="*/ 5488 w 9889"/>
                <a:gd name="connsiteY29" fmla="*/ 7290 h 10000"/>
                <a:gd name="connsiteX30" fmla="*/ 4597 w 9889"/>
                <a:gd name="connsiteY30" fmla="*/ 7968 h 10000"/>
                <a:gd name="connsiteX31" fmla="*/ 3677 w 9889"/>
                <a:gd name="connsiteY31" fmla="*/ 8516 h 10000"/>
                <a:gd name="connsiteX32" fmla="*/ 2842 w 9889"/>
                <a:gd name="connsiteY32" fmla="*/ 8968 h 10000"/>
                <a:gd name="connsiteX33" fmla="*/ 2062 w 9889"/>
                <a:gd name="connsiteY33" fmla="*/ 9323 h 10000"/>
                <a:gd name="connsiteX34" fmla="*/ 1365 w 9889"/>
                <a:gd name="connsiteY34" fmla="*/ 9613 h 10000"/>
                <a:gd name="connsiteX35" fmla="*/ 725 w 9889"/>
                <a:gd name="connsiteY35" fmla="*/ 9774 h 10000"/>
                <a:gd name="connsiteX36" fmla="*/ 307 w 9889"/>
                <a:gd name="connsiteY36" fmla="*/ 9903 h 10000"/>
                <a:gd name="connsiteX37" fmla="*/ 0 w 9889"/>
                <a:gd name="connsiteY37" fmla="*/ 10000 h 10000"/>
                <a:gd name="connsiteX38" fmla="*/ 1254 w 9889"/>
                <a:gd name="connsiteY38" fmla="*/ 9355 h 10000"/>
                <a:gd name="connsiteX39" fmla="*/ 2424 w 9889"/>
                <a:gd name="connsiteY39" fmla="*/ 8613 h 10000"/>
                <a:gd name="connsiteX40" fmla="*/ 3427 w 9889"/>
                <a:gd name="connsiteY40" fmla="*/ 7839 h 10000"/>
                <a:gd name="connsiteX41" fmla="*/ 4318 w 9889"/>
                <a:gd name="connsiteY41" fmla="*/ 7000 h 10000"/>
                <a:gd name="connsiteX42" fmla="*/ 5042 w 9889"/>
                <a:gd name="connsiteY42" fmla="*/ 6194 h 10000"/>
                <a:gd name="connsiteX43" fmla="*/ 5655 w 9889"/>
                <a:gd name="connsiteY43" fmla="*/ 5387 h 10000"/>
                <a:gd name="connsiteX44" fmla="*/ 6156 w 9889"/>
                <a:gd name="connsiteY44" fmla="*/ 4645 h 10000"/>
                <a:gd name="connsiteX45" fmla="*/ 6574 w 9889"/>
                <a:gd name="connsiteY45" fmla="*/ 3968 h 10000"/>
                <a:gd name="connsiteX46" fmla="*/ 6853 w 9889"/>
                <a:gd name="connsiteY46" fmla="*/ 3323 h 10000"/>
                <a:gd name="connsiteX47" fmla="*/ 7076 w 9889"/>
                <a:gd name="connsiteY47" fmla="*/ 2806 h 10000"/>
                <a:gd name="connsiteX48" fmla="*/ 7215 w 9889"/>
                <a:gd name="connsiteY48" fmla="*/ 2387 h 10000"/>
                <a:gd name="connsiteX49" fmla="*/ 7298 w 9889"/>
                <a:gd name="connsiteY49" fmla="*/ 2129 h 10000"/>
                <a:gd name="connsiteX50" fmla="*/ 7298 w 9889"/>
                <a:gd name="connsiteY50" fmla="*/ 2065 h 10000"/>
                <a:gd name="connsiteX51" fmla="*/ 7298 w 9889"/>
                <a:gd name="connsiteY51" fmla="*/ 2065 h 10000"/>
                <a:gd name="connsiteX52" fmla="*/ 7298 w 9889"/>
                <a:gd name="connsiteY52" fmla="*/ 2065 h 10000"/>
                <a:gd name="connsiteX53" fmla="*/ 6351 w 9889"/>
                <a:gd name="connsiteY53" fmla="*/ 1161 h 10000"/>
                <a:gd name="connsiteX54" fmla="*/ 6268 w 9889"/>
                <a:gd name="connsiteY54" fmla="*/ 1097 h 10000"/>
                <a:gd name="connsiteX55" fmla="*/ 6240 w 9889"/>
                <a:gd name="connsiteY55" fmla="*/ 1032 h 10000"/>
                <a:gd name="connsiteX56" fmla="*/ 6240 w 9889"/>
                <a:gd name="connsiteY56" fmla="*/ 1000 h 10000"/>
                <a:gd name="connsiteX57" fmla="*/ 6268 w 9889"/>
                <a:gd name="connsiteY57" fmla="*/ 968 h 10000"/>
                <a:gd name="connsiteX58" fmla="*/ 6324 w 9889"/>
                <a:gd name="connsiteY58" fmla="*/ 968 h 10000"/>
                <a:gd name="connsiteX59" fmla="*/ 6351 w 9889"/>
                <a:gd name="connsiteY59" fmla="*/ 903 h 10000"/>
                <a:gd name="connsiteX60" fmla="*/ 6379 w 9889"/>
                <a:gd name="connsiteY60" fmla="*/ 903 h 10000"/>
                <a:gd name="connsiteX61" fmla="*/ 6463 w 9889"/>
                <a:gd name="connsiteY61" fmla="*/ 903 h 10000"/>
                <a:gd name="connsiteX62" fmla="*/ 6574 w 9889"/>
                <a:gd name="connsiteY62" fmla="*/ 871 h 10000"/>
                <a:gd name="connsiteX63" fmla="*/ 6630 w 9889"/>
                <a:gd name="connsiteY63" fmla="*/ 871 h 10000"/>
                <a:gd name="connsiteX64" fmla="*/ 7076 w 9889"/>
                <a:gd name="connsiteY64" fmla="*/ 742 h 10000"/>
                <a:gd name="connsiteX65" fmla="*/ 7549 w 9889"/>
                <a:gd name="connsiteY65" fmla="*/ 613 h 10000"/>
                <a:gd name="connsiteX66" fmla="*/ 8106 w 9889"/>
                <a:gd name="connsiteY66" fmla="*/ 452 h 10000"/>
                <a:gd name="connsiteX67" fmla="*/ 8636 w 9889"/>
                <a:gd name="connsiteY67" fmla="*/ 323 h 10000"/>
                <a:gd name="connsiteX68" fmla="*/ 9109 w 9889"/>
                <a:gd name="connsiteY68" fmla="*/ 194 h 10000"/>
                <a:gd name="connsiteX69" fmla="*/ 9499 w 9889"/>
                <a:gd name="connsiteY69" fmla="*/ 65 h 10000"/>
                <a:gd name="connsiteX70" fmla="*/ 9778 w 9889"/>
                <a:gd name="connsiteY70" fmla="*/ 0 h 10000"/>
                <a:gd name="connsiteX71" fmla="*/ 9861 w 9889"/>
                <a:gd name="connsiteY71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2874 w 10000"/>
                <a:gd name="connsiteY32" fmla="*/ 8968 h 10000"/>
                <a:gd name="connsiteX33" fmla="*/ 2085 w 10000"/>
                <a:gd name="connsiteY33" fmla="*/ 9323 h 10000"/>
                <a:gd name="connsiteX34" fmla="*/ 1380 w 10000"/>
                <a:gd name="connsiteY34" fmla="*/ 9613 h 10000"/>
                <a:gd name="connsiteX35" fmla="*/ 733 w 10000"/>
                <a:gd name="connsiteY35" fmla="*/ 9774 h 10000"/>
                <a:gd name="connsiteX36" fmla="*/ 310 w 10000"/>
                <a:gd name="connsiteY36" fmla="*/ 9903 h 10000"/>
                <a:gd name="connsiteX37" fmla="*/ 0 w 10000"/>
                <a:gd name="connsiteY37" fmla="*/ 10000 h 10000"/>
                <a:gd name="connsiteX38" fmla="*/ 2451 w 10000"/>
                <a:gd name="connsiteY38" fmla="*/ 8613 h 10000"/>
                <a:gd name="connsiteX39" fmla="*/ 3465 w 10000"/>
                <a:gd name="connsiteY39" fmla="*/ 7839 h 10000"/>
                <a:gd name="connsiteX40" fmla="*/ 4366 w 10000"/>
                <a:gd name="connsiteY40" fmla="*/ 7000 h 10000"/>
                <a:gd name="connsiteX41" fmla="*/ 5099 w 10000"/>
                <a:gd name="connsiteY41" fmla="*/ 6194 h 10000"/>
                <a:gd name="connsiteX42" fmla="*/ 5718 w 10000"/>
                <a:gd name="connsiteY42" fmla="*/ 5387 h 10000"/>
                <a:gd name="connsiteX43" fmla="*/ 6225 w 10000"/>
                <a:gd name="connsiteY43" fmla="*/ 4645 h 10000"/>
                <a:gd name="connsiteX44" fmla="*/ 6648 w 10000"/>
                <a:gd name="connsiteY44" fmla="*/ 3968 h 10000"/>
                <a:gd name="connsiteX45" fmla="*/ 6930 w 10000"/>
                <a:gd name="connsiteY45" fmla="*/ 3323 h 10000"/>
                <a:gd name="connsiteX46" fmla="*/ 7155 w 10000"/>
                <a:gd name="connsiteY46" fmla="*/ 2806 h 10000"/>
                <a:gd name="connsiteX47" fmla="*/ 7296 w 10000"/>
                <a:gd name="connsiteY47" fmla="*/ 2387 h 10000"/>
                <a:gd name="connsiteX48" fmla="*/ 7380 w 10000"/>
                <a:gd name="connsiteY48" fmla="*/ 2129 h 10000"/>
                <a:gd name="connsiteX49" fmla="*/ 7380 w 10000"/>
                <a:gd name="connsiteY49" fmla="*/ 2065 h 10000"/>
                <a:gd name="connsiteX50" fmla="*/ 7380 w 10000"/>
                <a:gd name="connsiteY50" fmla="*/ 2065 h 10000"/>
                <a:gd name="connsiteX51" fmla="*/ 7380 w 10000"/>
                <a:gd name="connsiteY51" fmla="*/ 2065 h 10000"/>
                <a:gd name="connsiteX52" fmla="*/ 6422 w 10000"/>
                <a:gd name="connsiteY52" fmla="*/ 1161 h 10000"/>
                <a:gd name="connsiteX53" fmla="*/ 6338 w 10000"/>
                <a:gd name="connsiteY53" fmla="*/ 1097 h 10000"/>
                <a:gd name="connsiteX54" fmla="*/ 6310 w 10000"/>
                <a:gd name="connsiteY54" fmla="*/ 1032 h 10000"/>
                <a:gd name="connsiteX55" fmla="*/ 6310 w 10000"/>
                <a:gd name="connsiteY55" fmla="*/ 1000 h 10000"/>
                <a:gd name="connsiteX56" fmla="*/ 6338 w 10000"/>
                <a:gd name="connsiteY56" fmla="*/ 968 h 10000"/>
                <a:gd name="connsiteX57" fmla="*/ 6395 w 10000"/>
                <a:gd name="connsiteY57" fmla="*/ 968 h 10000"/>
                <a:gd name="connsiteX58" fmla="*/ 6422 w 10000"/>
                <a:gd name="connsiteY58" fmla="*/ 903 h 10000"/>
                <a:gd name="connsiteX59" fmla="*/ 6451 w 10000"/>
                <a:gd name="connsiteY59" fmla="*/ 903 h 10000"/>
                <a:gd name="connsiteX60" fmla="*/ 6536 w 10000"/>
                <a:gd name="connsiteY60" fmla="*/ 903 h 10000"/>
                <a:gd name="connsiteX61" fmla="*/ 6648 w 10000"/>
                <a:gd name="connsiteY61" fmla="*/ 871 h 10000"/>
                <a:gd name="connsiteX62" fmla="*/ 6704 w 10000"/>
                <a:gd name="connsiteY62" fmla="*/ 871 h 10000"/>
                <a:gd name="connsiteX63" fmla="*/ 7155 w 10000"/>
                <a:gd name="connsiteY63" fmla="*/ 742 h 10000"/>
                <a:gd name="connsiteX64" fmla="*/ 7634 w 10000"/>
                <a:gd name="connsiteY64" fmla="*/ 613 h 10000"/>
                <a:gd name="connsiteX65" fmla="*/ 8197 w 10000"/>
                <a:gd name="connsiteY65" fmla="*/ 452 h 10000"/>
                <a:gd name="connsiteX66" fmla="*/ 8733 w 10000"/>
                <a:gd name="connsiteY66" fmla="*/ 323 h 10000"/>
                <a:gd name="connsiteX67" fmla="*/ 9211 w 10000"/>
                <a:gd name="connsiteY67" fmla="*/ 194 h 10000"/>
                <a:gd name="connsiteX68" fmla="*/ 9606 w 10000"/>
                <a:gd name="connsiteY68" fmla="*/ 65 h 10000"/>
                <a:gd name="connsiteX69" fmla="*/ 9888 w 10000"/>
                <a:gd name="connsiteY69" fmla="*/ 0 h 10000"/>
                <a:gd name="connsiteX70" fmla="*/ 9972 w 10000"/>
                <a:gd name="connsiteY70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2874 w 10000"/>
                <a:gd name="connsiteY32" fmla="*/ 8968 h 10000"/>
                <a:gd name="connsiteX33" fmla="*/ 2085 w 10000"/>
                <a:gd name="connsiteY33" fmla="*/ 9323 h 10000"/>
                <a:gd name="connsiteX34" fmla="*/ 1380 w 10000"/>
                <a:gd name="connsiteY34" fmla="*/ 9613 h 10000"/>
                <a:gd name="connsiteX35" fmla="*/ 733 w 10000"/>
                <a:gd name="connsiteY35" fmla="*/ 9774 h 10000"/>
                <a:gd name="connsiteX36" fmla="*/ 310 w 10000"/>
                <a:gd name="connsiteY36" fmla="*/ 9903 h 10000"/>
                <a:gd name="connsiteX37" fmla="*/ 0 w 10000"/>
                <a:gd name="connsiteY37" fmla="*/ 10000 h 10000"/>
                <a:gd name="connsiteX38" fmla="*/ 3465 w 10000"/>
                <a:gd name="connsiteY38" fmla="*/ 7839 h 10000"/>
                <a:gd name="connsiteX39" fmla="*/ 4366 w 10000"/>
                <a:gd name="connsiteY39" fmla="*/ 7000 h 10000"/>
                <a:gd name="connsiteX40" fmla="*/ 5099 w 10000"/>
                <a:gd name="connsiteY40" fmla="*/ 6194 h 10000"/>
                <a:gd name="connsiteX41" fmla="*/ 5718 w 10000"/>
                <a:gd name="connsiteY41" fmla="*/ 5387 h 10000"/>
                <a:gd name="connsiteX42" fmla="*/ 6225 w 10000"/>
                <a:gd name="connsiteY42" fmla="*/ 4645 h 10000"/>
                <a:gd name="connsiteX43" fmla="*/ 6648 w 10000"/>
                <a:gd name="connsiteY43" fmla="*/ 3968 h 10000"/>
                <a:gd name="connsiteX44" fmla="*/ 6930 w 10000"/>
                <a:gd name="connsiteY44" fmla="*/ 3323 h 10000"/>
                <a:gd name="connsiteX45" fmla="*/ 7155 w 10000"/>
                <a:gd name="connsiteY45" fmla="*/ 2806 h 10000"/>
                <a:gd name="connsiteX46" fmla="*/ 7296 w 10000"/>
                <a:gd name="connsiteY46" fmla="*/ 2387 h 10000"/>
                <a:gd name="connsiteX47" fmla="*/ 7380 w 10000"/>
                <a:gd name="connsiteY47" fmla="*/ 2129 h 10000"/>
                <a:gd name="connsiteX48" fmla="*/ 7380 w 10000"/>
                <a:gd name="connsiteY48" fmla="*/ 2065 h 10000"/>
                <a:gd name="connsiteX49" fmla="*/ 7380 w 10000"/>
                <a:gd name="connsiteY49" fmla="*/ 2065 h 10000"/>
                <a:gd name="connsiteX50" fmla="*/ 7380 w 10000"/>
                <a:gd name="connsiteY50" fmla="*/ 2065 h 10000"/>
                <a:gd name="connsiteX51" fmla="*/ 6422 w 10000"/>
                <a:gd name="connsiteY51" fmla="*/ 1161 h 10000"/>
                <a:gd name="connsiteX52" fmla="*/ 6338 w 10000"/>
                <a:gd name="connsiteY52" fmla="*/ 1097 h 10000"/>
                <a:gd name="connsiteX53" fmla="*/ 6310 w 10000"/>
                <a:gd name="connsiteY53" fmla="*/ 1032 h 10000"/>
                <a:gd name="connsiteX54" fmla="*/ 6310 w 10000"/>
                <a:gd name="connsiteY54" fmla="*/ 1000 h 10000"/>
                <a:gd name="connsiteX55" fmla="*/ 6338 w 10000"/>
                <a:gd name="connsiteY55" fmla="*/ 968 h 10000"/>
                <a:gd name="connsiteX56" fmla="*/ 6395 w 10000"/>
                <a:gd name="connsiteY56" fmla="*/ 968 h 10000"/>
                <a:gd name="connsiteX57" fmla="*/ 6422 w 10000"/>
                <a:gd name="connsiteY57" fmla="*/ 903 h 10000"/>
                <a:gd name="connsiteX58" fmla="*/ 6451 w 10000"/>
                <a:gd name="connsiteY58" fmla="*/ 903 h 10000"/>
                <a:gd name="connsiteX59" fmla="*/ 6536 w 10000"/>
                <a:gd name="connsiteY59" fmla="*/ 903 h 10000"/>
                <a:gd name="connsiteX60" fmla="*/ 6648 w 10000"/>
                <a:gd name="connsiteY60" fmla="*/ 871 h 10000"/>
                <a:gd name="connsiteX61" fmla="*/ 6704 w 10000"/>
                <a:gd name="connsiteY61" fmla="*/ 871 h 10000"/>
                <a:gd name="connsiteX62" fmla="*/ 7155 w 10000"/>
                <a:gd name="connsiteY62" fmla="*/ 742 h 10000"/>
                <a:gd name="connsiteX63" fmla="*/ 7634 w 10000"/>
                <a:gd name="connsiteY63" fmla="*/ 613 h 10000"/>
                <a:gd name="connsiteX64" fmla="*/ 8197 w 10000"/>
                <a:gd name="connsiteY64" fmla="*/ 452 h 10000"/>
                <a:gd name="connsiteX65" fmla="*/ 8733 w 10000"/>
                <a:gd name="connsiteY65" fmla="*/ 323 h 10000"/>
                <a:gd name="connsiteX66" fmla="*/ 9211 w 10000"/>
                <a:gd name="connsiteY66" fmla="*/ 194 h 10000"/>
                <a:gd name="connsiteX67" fmla="*/ 9606 w 10000"/>
                <a:gd name="connsiteY67" fmla="*/ 65 h 10000"/>
                <a:gd name="connsiteX68" fmla="*/ 9888 w 10000"/>
                <a:gd name="connsiteY68" fmla="*/ 0 h 10000"/>
                <a:gd name="connsiteX69" fmla="*/ 9972 w 10000"/>
                <a:gd name="connsiteY69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2874 w 10000"/>
                <a:gd name="connsiteY32" fmla="*/ 8968 h 10000"/>
                <a:gd name="connsiteX33" fmla="*/ 2085 w 10000"/>
                <a:gd name="connsiteY33" fmla="*/ 9323 h 10000"/>
                <a:gd name="connsiteX34" fmla="*/ 1380 w 10000"/>
                <a:gd name="connsiteY34" fmla="*/ 9613 h 10000"/>
                <a:gd name="connsiteX35" fmla="*/ 733 w 10000"/>
                <a:gd name="connsiteY35" fmla="*/ 9774 h 10000"/>
                <a:gd name="connsiteX36" fmla="*/ 310 w 10000"/>
                <a:gd name="connsiteY36" fmla="*/ 9903 h 10000"/>
                <a:gd name="connsiteX37" fmla="*/ 0 w 10000"/>
                <a:gd name="connsiteY37" fmla="*/ 10000 h 10000"/>
                <a:gd name="connsiteX38" fmla="*/ 4366 w 10000"/>
                <a:gd name="connsiteY38" fmla="*/ 7000 h 10000"/>
                <a:gd name="connsiteX39" fmla="*/ 5099 w 10000"/>
                <a:gd name="connsiteY39" fmla="*/ 6194 h 10000"/>
                <a:gd name="connsiteX40" fmla="*/ 5718 w 10000"/>
                <a:gd name="connsiteY40" fmla="*/ 5387 h 10000"/>
                <a:gd name="connsiteX41" fmla="*/ 6225 w 10000"/>
                <a:gd name="connsiteY41" fmla="*/ 4645 h 10000"/>
                <a:gd name="connsiteX42" fmla="*/ 6648 w 10000"/>
                <a:gd name="connsiteY42" fmla="*/ 3968 h 10000"/>
                <a:gd name="connsiteX43" fmla="*/ 6930 w 10000"/>
                <a:gd name="connsiteY43" fmla="*/ 3323 h 10000"/>
                <a:gd name="connsiteX44" fmla="*/ 7155 w 10000"/>
                <a:gd name="connsiteY44" fmla="*/ 2806 h 10000"/>
                <a:gd name="connsiteX45" fmla="*/ 7296 w 10000"/>
                <a:gd name="connsiteY45" fmla="*/ 2387 h 10000"/>
                <a:gd name="connsiteX46" fmla="*/ 7380 w 10000"/>
                <a:gd name="connsiteY46" fmla="*/ 2129 h 10000"/>
                <a:gd name="connsiteX47" fmla="*/ 7380 w 10000"/>
                <a:gd name="connsiteY47" fmla="*/ 2065 h 10000"/>
                <a:gd name="connsiteX48" fmla="*/ 7380 w 10000"/>
                <a:gd name="connsiteY48" fmla="*/ 2065 h 10000"/>
                <a:gd name="connsiteX49" fmla="*/ 7380 w 10000"/>
                <a:gd name="connsiteY49" fmla="*/ 2065 h 10000"/>
                <a:gd name="connsiteX50" fmla="*/ 6422 w 10000"/>
                <a:gd name="connsiteY50" fmla="*/ 1161 h 10000"/>
                <a:gd name="connsiteX51" fmla="*/ 6338 w 10000"/>
                <a:gd name="connsiteY51" fmla="*/ 1097 h 10000"/>
                <a:gd name="connsiteX52" fmla="*/ 6310 w 10000"/>
                <a:gd name="connsiteY52" fmla="*/ 1032 h 10000"/>
                <a:gd name="connsiteX53" fmla="*/ 6310 w 10000"/>
                <a:gd name="connsiteY53" fmla="*/ 1000 h 10000"/>
                <a:gd name="connsiteX54" fmla="*/ 6338 w 10000"/>
                <a:gd name="connsiteY54" fmla="*/ 968 h 10000"/>
                <a:gd name="connsiteX55" fmla="*/ 6395 w 10000"/>
                <a:gd name="connsiteY55" fmla="*/ 968 h 10000"/>
                <a:gd name="connsiteX56" fmla="*/ 6422 w 10000"/>
                <a:gd name="connsiteY56" fmla="*/ 903 h 10000"/>
                <a:gd name="connsiteX57" fmla="*/ 6451 w 10000"/>
                <a:gd name="connsiteY57" fmla="*/ 903 h 10000"/>
                <a:gd name="connsiteX58" fmla="*/ 6536 w 10000"/>
                <a:gd name="connsiteY58" fmla="*/ 903 h 10000"/>
                <a:gd name="connsiteX59" fmla="*/ 6648 w 10000"/>
                <a:gd name="connsiteY59" fmla="*/ 871 h 10000"/>
                <a:gd name="connsiteX60" fmla="*/ 6704 w 10000"/>
                <a:gd name="connsiteY60" fmla="*/ 871 h 10000"/>
                <a:gd name="connsiteX61" fmla="*/ 7155 w 10000"/>
                <a:gd name="connsiteY61" fmla="*/ 742 h 10000"/>
                <a:gd name="connsiteX62" fmla="*/ 7634 w 10000"/>
                <a:gd name="connsiteY62" fmla="*/ 613 h 10000"/>
                <a:gd name="connsiteX63" fmla="*/ 8197 w 10000"/>
                <a:gd name="connsiteY63" fmla="*/ 452 h 10000"/>
                <a:gd name="connsiteX64" fmla="*/ 8733 w 10000"/>
                <a:gd name="connsiteY64" fmla="*/ 323 h 10000"/>
                <a:gd name="connsiteX65" fmla="*/ 9211 w 10000"/>
                <a:gd name="connsiteY65" fmla="*/ 194 h 10000"/>
                <a:gd name="connsiteX66" fmla="*/ 9606 w 10000"/>
                <a:gd name="connsiteY66" fmla="*/ 65 h 10000"/>
                <a:gd name="connsiteX67" fmla="*/ 9888 w 10000"/>
                <a:gd name="connsiteY67" fmla="*/ 0 h 10000"/>
                <a:gd name="connsiteX68" fmla="*/ 9972 w 10000"/>
                <a:gd name="connsiteY68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2874 w 10000"/>
                <a:gd name="connsiteY32" fmla="*/ 8968 h 10000"/>
                <a:gd name="connsiteX33" fmla="*/ 2085 w 10000"/>
                <a:gd name="connsiteY33" fmla="*/ 9323 h 10000"/>
                <a:gd name="connsiteX34" fmla="*/ 1380 w 10000"/>
                <a:gd name="connsiteY34" fmla="*/ 9613 h 10000"/>
                <a:gd name="connsiteX35" fmla="*/ 733 w 10000"/>
                <a:gd name="connsiteY35" fmla="*/ 9774 h 10000"/>
                <a:gd name="connsiteX36" fmla="*/ 310 w 10000"/>
                <a:gd name="connsiteY36" fmla="*/ 9903 h 10000"/>
                <a:gd name="connsiteX37" fmla="*/ 0 w 10000"/>
                <a:gd name="connsiteY37" fmla="*/ 10000 h 10000"/>
                <a:gd name="connsiteX38" fmla="*/ 5099 w 10000"/>
                <a:gd name="connsiteY38" fmla="*/ 6194 h 10000"/>
                <a:gd name="connsiteX39" fmla="*/ 5718 w 10000"/>
                <a:gd name="connsiteY39" fmla="*/ 5387 h 10000"/>
                <a:gd name="connsiteX40" fmla="*/ 6225 w 10000"/>
                <a:gd name="connsiteY40" fmla="*/ 4645 h 10000"/>
                <a:gd name="connsiteX41" fmla="*/ 6648 w 10000"/>
                <a:gd name="connsiteY41" fmla="*/ 3968 h 10000"/>
                <a:gd name="connsiteX42" fmla="*/ 6930 w 10000"/>
                <a:gd name="connsiteY42" fmla="*/ 3323 h 10000"/>
                <a:gd name="connsiteX43" fmla="*/ 7155 w 10000"/>
                <a:gd name="connsiteY43" fmla="*/ 2806 h 10000"/>
                <a:gd name="connsiteX44" fmla="*/ 7296 w 10000"/>
                <a:gd name="connsiteY44" fmla="*/ 2387 h 10000"/>
                <a:gd name="connsiteX45" fmla="*/ 7380 w 10000"/>
                <a:gd name="connsiteY45" fmla="*/ 2129 h 10000"/>
                <a:gd name="connsiteX46" fmla="*/ 7380 w 10000"/>
                <a:gd name="connsiteY46" fmla="*/ 2065 h 10000"/>
                <a:gd name="connsiteX47" fmla="*/ 7380 w 10000"/>
                <a:gd name="connsiteY47" fmla="*/ 2065 h 10000"/>
                <a:gd name="connsiteX48" fmla="*/ 7380 w 10000"/>
                <a:gd name="connsiteY48" fmla="*/ 2065 h 10000"/>
                <a:gd name="connsiteX49" fmla="*/ 6422 w 10000"/>
                <a:gd name="connsiteY49" fmla="*/ 1161 h 10000"/>
                <a:gd name="connsiteX50" fmla="*/ 6338 w 10000"/>
                <a:gd name="connsiteY50" fmla="*/ 1097 h 10000"/>
                <a:gd name="connsiteX51" fmla="*/ 6310 w 10000"/>
                <a:gd name="connsiteY51" fmla="*/ 1032 h 10000"/>
                <a:gd name="connsiteX52" fmla="*/ 6310 w 10000"/>
                <a:gd name="connsiteY52" fmla="*/ 1000 h 10000"/>
                <a:gd name="connsiteX53" fmla="*/ 6338 w 10000"/>
                <a:gd name="connsiteY53" fmla="*/ 968 h 10000"/>
                <a:gd name="connsiteX54" fmla="*/ 6395 w 10000"/>
                <a:gd name="connsiteY54" fmla="*/ 968 h 10000"/>
                <a:gd name="connsiteX55" fmla="*/ 6422 w 10000"/>
                <a:gd name="connsiteY55" fmla="*/ 903 h 10000"/>
                <a:gd name="connsiteX56" fmla="*/ 6451 w 10000"/>
                <a:gd name="connsiteY56" fmla="*/ 903 h 10000"/>
                <a:gd name="connsiteX57" fmla="*/ 6536 w 10000"/>
                <a:gd name="connsiteY57" fmla="*/ 903 h 10000"/>
                <a:gd name="connsiteX58" fmla="*/ 6648 w 10000"/>
                <a:gd name="connsiteY58" fmla="*/ 871 h 10000"/>
                <a:gd name="connsiteX59" fmla="*/ 6704 w 10000"/>
                <a:gd name="connsiteY59" fmla="*/ 871 h 10000"/>
                <a:gd name="connsiteX60" fmla="*/ 7155 w 10000"/>
                <a:gd name="connsiteY60" fmla="*/ 742 h 10000"/>
                <a:gd name="connsiteX61" fmla="*/ 7634 w 10000"/>
                <a:gd name="connsiteY61" fmla="*/ 613 h 10000"/>
                <a:gd name="connsiteX62" fmla="*/ 8197 w 10000"/>
                <a:gd name="connsiteY62" fmla="*/ 452 h 10000"/>
                <a:gd name="connsiteX63" fmla="*/ 8733 w 10000"/>
                <a:gd name="connsiteY63" fmla="*/ 323 h 10000"/>
                <a:gd name="connsiteX64" fmla="*/ 9211 w 10000"/>
                <a:gd name="connsiteY64" fmla="*/ 194 h 10000"/>
                <a:gd name="connsiteX65" fmla="*/ 9606 w 10000"/>
                <a:gd name="connsiteY65" fmla="*/ 65 h 10000"/>
                <a:gd name="connsiteX66" fmla="*/ 9888 w 10000"/>
                <a:gd name="connsiteY66" fmla="*/ 0 h 10000"/>
                <a:gd name="connsiteX67" fmla="*/ 9972 w 10000"/>
                <a:gd name="connsiteY67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2874 w 10000"/>
                <a:gd name="connsiteY32" fmla="*/ 8968 h 10000"/>
                <a:gd name="connsiteX33" fmla="*/ 2085 w 10000"/>
                <a:gd name="connsiteY33" fmla="*/ 9323 h 10000"/>
                <a:gd name="connsiteX34" fmla="*/ 1380 w 10000"/>
                <a:gd name="connsiteY34" fmla="*/ 9613 h 10000"/>
                <a:gd name="connsiteX35" fmla="*/ 733 w 10000"/>
                <a:gd name="connsiteY35" fmla="*/ 9774 h 10000"/>
                <a:gd name="connsiteX36" fmla="*/ 310 w 10000"/>
                <a:gd name="connsiteY36" fmla="*/ 9903 h 10000"/>
                <a:gd name="connsiteX37" fmla="*/ 0 w 10000"/>
                <a:gd name="connsiteY37" fmla="*/ 10000 h 10000"/>
                <a:gd name="connsiteX38" fmla="*/ 5718 w 10000"/>
                <a:gd name="connsiteY38" fmla="*/ 5387 h 10000"/>
                <a:gd name="connsiteX39" fmla="*/ 6225 w 10000"/>
                <a:gd name="connsiteY39" fmla="*/ 4645 h 10000"/>
                <a:gd name="connsiteX40" fmla="*/ 6648 w 10000"/>
                <a:gd name="connsiteY40" fmla="*/ 3968 h 10000"/>
                <a:gd name="connsiteX41" fmla="*/ 6930 w 10000"/>
                <a:gd name="connsiteY41" fmla="*/ 3323 h 10000"/>
                <a:gd name="connsiteX42" fmla="*/ 7155 w 10000"/>
                <a:gd name="connsiteY42" fmla="*/ 2806 h 10000"/>
                <a:gd name="connsiteX43" fmla="*/ 7296 w 10000"/>
                <a:gd name="connsiteY43" fmla="*/ 2387 h 10000"/>
                <a:gd name="connsiteX44" fmla="*/ 7380 w 10000"/>
                <a:gd name="connsiteY44" fmla="*/ 2129 h 10000"/>
                <a:gd name="connsiteX45" fmla="*/ 7380 w 10000"/>
                <a:gd name="connsiteY45" fmla="*/ 2065 h 10000"/>
                <a:gd name="connsiteX46" fmla="*/ 7380 w 10000"/>
                <a:gd name="connsiteY46" fmla="*/ 2065 h 10000"/>
                <a:gd name="connsiteX47" fmla="*/ 7380 w 10000"/>
                <a:gd name="connsiteY47" fmla="*/ 2065 h 10000"/>
                <a:gd name="connsiteX48" fmla="*/ 6422 w 10000"/>
                <a:gd name="connsiteY48" fmla="*/ 1161 h 10000"/>
                <a:gd name="connsiteX49" fmla="*/ 6338 w 10000"/>
                <a:gd name="connsiteY49" fmla="*/ 1097 h 10000"/>
                <a:gd name="connsiteX50" fmla="*/ 6310 w 10000"/>
                <a:gd name="connsiteY50" fmla="*/ 1032 h 10000"/>
                <a:gd name="connsiteX51" fmla="*/ 6310 w 10000"/>
                <a:gd name="connsiteY51" fmla="*/ 1000 h 10000"/>
                <a:gd name="connsiteX52" fmla="*/ 6338 w 10000"/>
                <a:gd name="connsiteY52" fmla="*/ 968 h 10000"/>
                <a:gd name="connsiteX53" fmla="*/ 6395 w 10000"/>
                <a:gd name="connsiteY53" fmla="*/ 968 h 10000"/>
                <a:gd name="connsiteX54" fmla="*/ 6422 w 10000"/>
                <a:gd name="connsiteY54" fmla="*/ 903 h 10000"/>
                <a:gd name="connsiteX55" fmla="*/ 6451 w 10000"/>
                <a:gd name="connsiteY55" fmla="*/ 903 h 10000"/>
                <a:gd name="connsiteX56" fmla="*/ 6536 w 10000"/>
                <a:gd name="connsiteY56" fmla="*/ 903 h 10000"/>
                <a:gd name="connsiteX57" fmla="*/ 6648 w 10000"/>
                <a:gd name="connsiteY57" fmla="*/ 871 h 10000"/>
                <a:gd name="connsiteX58" fmla="*/ 6704 w 10000"/>
                <a:gd name="connsiteY58" fmla="*/ 871 h 10000"/>
                <a:gd name="connsiteX59" fmla="*/ 7155 w 10000"/>
                <a:gd name="connsiteY59" fmla="*/ 742 h 10000"/>
                <a:gd name="connsiteX60" fmla="*/ 7634 w 10000"/>
                <a:gd name="connsiteY60" fmla="*/ 613 h 10000"/>
                <a:gd name="connsiteX61" fmla="*/ 8197 w 10000"/>
                <a:gd name="connsiteY61" fmla="*/ 452 h 10000"/>
                <a:gd name="connsiteX62" fmla="*/ 8733 w 10000"/>
                <a:gd name="connsiteY62" fmla="*/ 323 h 10000"/>
                <a:gd name="connsiteX63" fmla="*/ 9211 w 10000"/>
                <a:gd name="connsiteY63" fmla="*/ 194 h 10000"/>
                <a:gd name="connsiteX64" fmla="*/ 9606 w 10000"/>
                <a:gd name="connsiteY64" fmla="*/ 65 h 10000"/>
                <a:gd name="connsiteX65" fmla="*/ 9888 w 10000"/>
                <a:gd name="connsiteY65" fmla="*/ 0 h 10000"/>
                <a:gd name="connsiteX66" fmla="*/ 9972 w 10000"/>
                <a:gd name="connsiteY66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2874 w 10000"/>
                <a:gd name="connsiteY32" fmla="*/ 8968 h 10000"/>
                <a:gd name="connsiteX33" fmla="*/ 2085 w 10000"/>
                <a:gd name="connsiteY33" fmla="*/ 9323 h 10000"/>
                <a:gd name="connsiteX34" fmla="*/ 1380 w 10000"/>
                <a:gd name="connsiteY34" fmla="*/ 9613 h 10000"/>
                <a:gd name="connsiteX35" fmla="*/ 733 w 10000"/>
                <a:gd name="connsiteY35" fmla="*/ 9774 h 10000"/>
                <a:gd name="connsiteX36" fmla="*/ 310 w 10000"/>
                <a:gd name="connsiteY36" fmla="*/ 9903 h 10000"/>
                <a:gd name="connsiteX37" fmla="*/ 0 w 10000"/>
                <a:gd name="connsiteY37" fmla="*/ 10000 h 10000"/>
                <a:gd name="connsiteX38" fmla="*/ 5718 w 10000"/>
                <a:gd name="connsiteY38" fmla="*/ 5387 h 10000"/>
                <a:gd name="connsiteX39" fmla="*/ 6225 w 10000"/>
                <a:gd name="connsiteY39" fmla="*/ 4645 h 10000"/>
                <a:gd name="connsiteX40" fmla="*/ 6648 w 10000"/>
                <a:gd name="connsiteY40" fmla="*/ 3968 h 10000"/>
                <a:gd name="connsiteX41" fmla="*/ 6930 w 10000"/>
                <a:gd name="connsiteY41" fmla="*/ 3323 h 10000"/>
                <a:gd name="connsiteX42" fmla="*/ 7155 w 10000"/>
                <a:gd name="connsiteY42" fmla="*/ 2806 h 10000"/>
                <a:gd name="connsiteX43" fmla="*/ 7296 w 10000"/>
                <a:gd name="connsiteY43" fmla="*/ 2387 h 10000"/>
                <a:gd name="connsiteX44" fmla="*/ 7380 w 10000"/>
                <a:gd name="connsiteY44" fmla="*/ 2129 h 10000"/>
                <a:gd name="connsiteX45" fmla="*/ 7380 w 10000"/>
                <a:gd name="connsiteY45" fmla="*/ 2065 h 10000"/>
                <a:gd name="connsiteX46" fmla="*/ 7380 w 10000"/>
                <a:gd name="connsiteY46" fmla="*/ 2065 h 10000"/>
                <a:gd name="connsiteX47" fmla="*/ 7380 w 10000"/>
                <a:gd name="connsiteY47" fmla="*/ 2065 h 10000"/>
                <a:gd name="connsiteX48" fmla="*/ 6422 w 10000"/>
                <a:gd name="connsiteY48" fmla="*/ 1161 h 10000"/>
                <a:gd name="connsiteX49" fmla="*/ 6338 w 10000"/>
                <a:gd name="connsiteY49" fmla="*/ 1097 h 10000"/>
                <a:gd name="connsiteX50" fmla="*/ 6310 w 10000"/>
                <a:gd name="connsiteY50" fmla="*/ 1032 h 10000"/>
                <a:gd name="connsiteX51" fmla="*/ 6310 w 10000"/>
                <a:gd name="connsiteY51" fmla="*/ 1000 h 10000"/>
                <a:gd name="connsiteX52" fmla="*/ 6338 w 10000"/>
                <a:gd name="connsiteY52" fmla="*/ 968 h 10000"/>
                <a:gd name="connsiteX53" fmla="*/ 6395 w 10000"/>
                <a:gd name="connsiteY53" fmla="*/ 968 h 10000"/>
                <a:gd name="connsiteX54" fmla="*/ 6422 w 10000"/>
                <a:gd name="connsiteY54" fmla="*/ 903 h 10000"/>
                <a:gd name="connsiteX55" fmla="*/ 6451 w 10000"/>
                <a:gd name="connsiteY55" fmla="*/ 903 h 10000"/>
                <a:gd name="connsiteX56" fmla="*/ 6536 w 10000"/>
                <a:gd name="connsiteY56" fmla="*/ 903 h 10000"/>
                <a:gd name="connsiteX57" fmla="*/ 6648 w 10000"/>
                <a:gd name="connsiteY57" fmla="*/ 871 h 10000"/>
                <a:gd name="connsiteX58" fmla="*/ 6704 w 10000"/>
                <a:gd name="connsiteY58" fmla="*/ 871 h 10000"/>
                <a:gd name="connsiteX59" fmla="*/ 7155 w 10000"/>
                <a:gd name="connsiteY59" fmla="*/ 742 h 10000"/>
                <a:gd name="connsiteX60" fmla="*/ 7634 w 10000"/>
                <a:gd name="connsiteY60" fmla="*/ 613 h 10000"/>
                <a:gd name="connsiteX61" fmla="*/ 8197 w 10000"/>
                <a:gd name="connsiteY61" fmla="*/ 452 h 10000"/>
                <a:gd name="connsiteX62" fmla="*/ 8733 w 10000"/>
                <a:gd name="connsiteY62" fmla="*/ 323 h 10000"/>
                <a:gd name="connsiteX63" fmla="*/ 9211 w 10000"/>
                <a:gd name="connsiteY63" fmla="*/ 194 h 10000"/>
                <a:gd name="connsiteX64" fmla="*/ 9606 w 10000"/>
                <a:gd name="connsiteY64" fmla="*/ 65 h 10000"/>
                <a:gd name="connsiteX65" fmla="*/ 9888 w 10000"/>
                <a:gd name="connsiteY65" fmla="*/ 0 h 10000"/>
                <a:gd name="connsiteX66" fmla="*/ 9972 w 10000"/>
                <a:gd name="connsiteY66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2874 w 10000"/>
                <a:gd name="connsiteY32" fmla="*/ 8968 h 10000"/>
                <a:gd name="connsiteX33" fmla="*/ 2085 w 10000"/>
                <a:gd name="connsiteY33" fmla="*/ 9323 h 10000"/>
                <a:gd name="connsiteX34" fmla="*/ 1380 w 10000"/>
                <a:gd name="connsiteY34" fmla="*/ 9613 h 10000"/>
                <a:gd name="connsiteX35" fmla="*/ 733 w 10000"/>
                <a:gd name="connsiteY35" fmla="*/ 9774 h 10000"/>
                <a:gd name="connsiteX36" fmla="*/ 310 w 10000"/>
                <a:gd name="connsiteY36" fmla="*/ 9903 h 10000"/>
                <a:gd name="connsiteX37" fmla="*/ 0 w 10000"/>
                <a:gd name="connsiteY37" fmla="*/ 10000 h 10000"/>
                <a:gd name="connsiteX38" fmla="*/ 5718 w 10000"/>
                <a:gd name="connsiteY38" fmla="*/ 5387 h 10000"/>
                <a:gd name="connsiteX39" fmla="*/ 6225 w 10000"/>
                <a:gd name="connsiteY39" fmla="*/ 4645 h 10000"/>
                <a:gd name="connsiteX40" fmla="*/ 6648 w 10000"/>
                <a:gd name="connsiteY40" fmla="*/ 3968 h 10000"/>
                <a:gd name="connsiteX41" fmla="*/ 6930 w 10000"/>
                <a:gd name="connsiteY41" fmla="*/ 3323 h 10000"/>
                <a:gd name="connsiteX42" fmla="*/ 7155 w 10000"/>
                <a:gd name="connsiteY42" fmla="*/ 2806 h 10000"/>
                <a:gd name="connsiteX43" fmla="*/ 7296 w 10000"/>
                <a:gd name="connsiteY43" fmla="*/ 2387 h 10000"/>
                <a:gd name="connsiteX44" fmla="*/ 7380 w 10000"/>
                <a:gd name="connsiteY44" fmla="*/ 2129 h 10000"/>
                <a:gd name="connsiteX45" fmla="*/ 7380 w 10000"/>
                <a:gd name="connsiteY45" fmla="*/ 2065 h 10000"/>
                <a:gd name="connsiteX46" fmla="*/ 7380 w 10000"/>
                <a:gd name="connsiteY46" fmla="*/ 2065 h 10000"/>
                <a:gd name="connsiteX47" fmla="*/ 7380 w 10000"/>
                <a:gd name="connsiteY47" fmla="*/ 2065 h 10000"/>
                <a:gd name="connsiteX48" fmla="*/ 6422 w 10000"/>
                <a:gd name="connsiteY48" fmla="*/ 1161 h 10000"/>
                <a:gd name="connsiteX49" fmla="*/ 6338 w 10000"/>
                <a:gd name="connsiteY49" fmla="*/ 1097 h 10000"/>
                <a:gd name="connsiteX50" fmla="*/ 6310 w 10000"/>
                <a:gd name="connsiteY50" fmla="*/ 1032 h 10000"/>
                <a:gd name="connsiteX51" fmla="*/ 6310 w 10000"/>
                <a:gd name="connsiteY51" fmla="*/ 1000 h 10000"/>
                <a:gd name="connsiteX52" fmla="*/ 6338 w 10000"/>
                <a:gd name="connsiteY52" fmla="*/ 968 h 10000"/>
                <a:gd name="connsiteX53" fmla="*/ 6395 w 10000"/>
                <a:gd name="connsiteY53" fmla="*/ 968 h 10000"/>
                <a:gd name="connsiteX54" fmla="*/ 6422 w 10000"/>
                <a:gd name="connsiteY54" fmla="*/ 903 h 10000"/>
                <a:gd name="connsiteX55" fmla="*/ 6451 w 10000"/>
                <a:gd name="connsiteY55" fmla="*/ 903 h 10000"/>
                <a:gd name="connsiteX56" fmla="*/ 6536 w 10000"/>
                <a:gd name="connsiteY56" fmla="*/ 903 h 10000"/>
                <a:gd name="connsiteX57" fmla="*/ 6648 w 10000"/>
                <a:gd name="connsiteY57" fmla="*/ 871 h 10000"/>
                <a:gd name="connsiteX58" fmla="*/ 6704 w 10000"/>
                <a:gd name="connsiteY58" fmla="*/ 871 h 10000"/>
                <a:gd name="connsiteX59" fmla="*/ 7155 w 10000"/>
                <a:gd name="connsiteY59" fmla="*/ 742 h 10000"/>
                <a:gd name="connsiteX60" fmla="*/ 7634 w 10000"/>
                <a:gd name="connsiteY60" fmla="*/ 613 h 10000"/>
                <a:gd name="connsiteX61" fmla="*/ 8197 w 10000"/>
                <a:gd name="connsiteY61" fmla="*/ 452 h 10000"/>
                <a:gd name="connsiteX62" fmla="*/ 8733 w 10000"/>
                <a:gd name="connsiteY62" fmla="*/ 323 h 10000"/>
                <a:gd name="connsiteX63" fmla="*/ 9211 w 10000"/>
                <a:gd name="connsiteY63" fmla="*/ 194 h 10000"/>
                <a:gd name="connsiteX64" fmla="*/ 9606 w 10000"/>
                <a:gd name="connsiteY64" fmla="*/ 65 h 10000"/>
                <a:gd name="connsiteX65" fmla="*/ 9888 w 10000"/>
                <a:gd name="connsiteY65" fmla="*/ 0 h 10000"/>
                <a:gd name="connsiteX66" fmla="*/ 9972 w 10000"/>
                <a:gd name="connsiteY66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2874 w 10000"/>
                <a:gd name="connsiteY32" fmla="*/ 8968 h 10000"/>
                <a:gd name="connsiteX33" fmla="*/ 2085 w 10000"/>
                <a:gd name="connsiteY33" fmla="*/ 9323 h 10000"/>
                <a:gd name="connsiteX34" fmla="*/ 1380 w 10000"/>
                <a:gd name="connsiteY34" fmla="*/ 9613 h 10000"/>
                <a:gd name="connsiteX35" fmla="*/ 733 w 10000"/>
                <a:gd name="connsiteY35" fmla="*/ 9774 h 10000"/>
                <a:gd name="connsiteX36" fmla="*/ 310 w 10000"/>
                <a:gd name="connsiteY36" fmla="*/ 9903 h 10000"/>
                <a:gd name="connsiteX37" fmla="*/ 0 w 10000"/>
                <a:gd name="connsiteY37" fmla="*/ 10000 h 10000"/>
                <a:gd name="connsiteX38" fmla="*/ 5718 w 10000"/>
                <a:gd name="connsiteY38" fmla="*/ 5387 h 10000"/>
                <a:gd name="connsiteX39" fmla="*/ 6648 w 10000"/>
                <a:gd name="connsiteY39" fmla="*/ 3968 h 10000"/>
                <a:gd name="connsiteX40" fmla="*/ 6930 w 10000"/>
                <a:gd name="connsiteY40" fmla="*/ 3323 h 10000"/>
                <a:gd name="connsiteX41" fmla="*/ 7155 w 10000"/>
                <a:gd name="connsiteY41" fmla="*/ 2806 h 10000"/>
                <a:gd name="connsiteX42" fmla="*/ 7296 w 10000"/>
                <a:gd name="connsiteY42" fmla="*/ 2387 h 10000"/>
                <a:gd name="connsiteX43" fmla="*/ 7380 w 10000"/>
                <a:gd name="connsiteY43" fmla="*/ 2129 h 10000"/>
                <a:gd name="connsiteX44" fmla="*/ 7380 w 10000"/>
                <a:gd name="connsiteY44" fmla="*/ 2065 h 10000"/>
                <a:gd name="connsiteX45" fmla="*/ 7380 w 10000"/>
                <a:gd name="connsiteY45" fmla="*/ 2065 h 10000"/>
                <a:gd name="connsiteX46" fmla="*/ 7380 w 10000"/>
                <a:gd name="connsiteY46" fmla="*/ 2065 h 10000"/>
                <a:gd name="connsiteX47" fmla="*/ 6422 w 10000"/>
                <a:gd name="connsiteY47" fmla="*/ 1161 h 10000"/>
                <a:gd name="connsiteX48" fmla="*/ 6338 w 10000"/>
                <a:gd name="connsiteY48" fmla="*/ 1097 h 10000"/>
                <a:gd name="connsiteX49" fmla="*/ 6310 w 10000"/>
                <a:gd name="connsiteY49" fmla="*/ 1032 h 10000"/>
                <a:gd name="connsiteX50" fmla="*/ 6310 w 10000"/>
                <a:gd name="connsiteY50" fmla="*/ 1000 h 10000"/>
                <a:gd name="connsiteX51" fmla="*/ 6338 w 10000"/>
                <a:gd name="connsiteY51" fmla="*/ 968 h 10000"/>
                <a:gd name="connsiteX52" fmla="*/ 6395 w 10000"/>
                <a:gd name="connsiteY52" fmla="*/ 968 h 10000"/>
                <a:gd name="connsiteX53" fmla="*/ 6422 w 10000"/>
                <a:gd name="connsiteY53" fmla="*/ 903 h 10000"/>
                <a:gd name="connsiteX54" fmla="*/ 6451 w 10000"/>
                <a:gd name="connsiteY54" fmla="*/ 903 h 10000"/>
                <a:gd name="connsiteX55" fmla="*/ 6536 w 10000"/>
                <a:gd name="connsiteY55" fmla="*/ 903 h 10000"/>
                <a:gd name="connsiteX56" fmla="*/ 6648 w 10000"/>
                <a:gd name="connsiteY56" fmla="*/ 871 h 10000"/>
                <a:gd name="connsiteX57" fmla="*/ 6704 w 10000"/>
                <a:gd name="connsiteY57" fmla="*/ 871 h 10000"/>
                <a:gd name="connsiteX58" fmla="*/ 7155 w 10000"/>
                <a:gd name="connsiteY58" fmla="*/ 742 h 10000"/>
                <a:gd name="connsiteX59" fmla="*/ 7634 w 10000"/>
                <a:gd name="connsiteY59" fmla="*/ 613 h 10000"/>
                <a:gd name="connsiteX60" fmla="*/ 8197 w 10000"/>
                <a:gd name="connsiteY60" fmla="*/ 452 h 10000"/>
                <a:gd name="connsiteX61" fmla="*/ 8733 w 10000"/>
                <a:gd name="connsiteY61" fmla="*/ 323 h 10000"/>
                <a:gd name="connsiteX62" fmla="*/ 9211 w 10000"/>
                <a:gd name="connsiteY62" fmla="*/ 194 h 10000"/>
                <a:gd name="connsiteX63" fmla="*/ 9606 w 10000"/>
                <a:gd name="connsiteY63" fmla="*/ 65 h 10000"/>
                <a:gd name="connsiteX64" fmla="*/ 9888 w 10000"/>
                <a:gd name="connsiteY64" fmla="*/ 0 h 10000"/>
                <a:gd name="connsiteX65" fmla="*/ 9972 w 10000"/>
                <a:gd name="connsiteY65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2874 w 10000"/>
                <a:gd name="connsiteY32" fmla="*/ 8968 h 10000"/>
                <a:gd name="connsiteX33" fmla="*/ 2085 w 10000"/>
                <a:gd name="connsiteY33" fmla="*/ 9323 h 10000"/>
                <a:gd name="connsiteX34" fmla="*/ 1380 w 10000"/>
                <a:gd name="connsiteY34" fmla="*/ 9613 h 10000"/>
                <a:gd name="connsiteX35" fmla="*/ 733 w 10000"/>
                <a:gd name="connsiteY35" fmla="*/ 9774 h 10000"/>
                <a:gd name="connsiteX36" fmla="*/ 310 w 10000"/>
                <a:gd name="connsiteY36" fmla="*/ 9903 h 10000"/>
                <a:gd name="connsiteX37" fmla="*/ 0 w 10000"/>
                <a:gd name="connsiteY37" fmla="*/ 10000 h 10000"/>
                <a:gd name="connsiteX38" fmla="*/ 5718 w 10000"/>
                <a:gd name="connsiteY38" fmla="*/ 5387 h 10000"/>
                <a:gd name="connsiteX39" fmla="*/ 6930 w 10000"/>
                <a:gd name="connsiteY39" fmla="*/ 3323 h 10000"/>
                <a:gd name="connsiteX40" fmla="*/ 7155 w 10000"/>
                <a:gd name="connsiteY40" fmla="*/ 2806 h 10000"/>
                <a:gd name="connsiteX41" fmla="*/ 7296 w 10000"/>
                <a:gd name="connsiteY41" fmla="*/ 2387 h 10000"/>
                <a:gd name="connsiteX42" fmla="*/ 7380 w 10000"/>
                <a:gd name="connsiteY42" fmla="*/ 2129 h 10000"/>
                <a:gd name="connsiteX43" fmla="*/ 7380 w 10000"/>
                <a:gd name="connsiteY43" fmla="*/ 2065 h 10000"/>
                <a:gd name="connsiteX44" fmla="*/ 7380 w 10000"/>
                <a:gd name="connsiteY44" fmla="*/ 2065 h 10000"/>
                <a:gd name="connsiteX45" fmla="*/ 7380 w 10000"/>
                <a:gd name="connsiteY45" fmla="*/ 2065 h 10000"/>
                <a:gd name="connsiteX46" fmla="*/ 6422 w 10000"/>
                <a:gd name="connsiteY46" fmla="*/ 1161 h 10000"/>
                <a:gd name="connsiteX47" fmla="*/ 6338 w 10000"/>
                <a:gd name="connsiteY47" fmla="*/ 1097 h 10000"/>
                <a:gd name="connsiteX48" fmla="*/ 6310 w 10000"/>
                <a:gd name="connsiteY48" fmla="*/ 1032 h 10000"/>
                <a:gd name="connsiteX49" fmla="*/ 6310 w 10000"/>
                <a:gd name="connsiteY49" fmla="*/ 1000 h 10000"/>
                <a:gd name="connsiteX50" fmla="*/ 6338 w 10000"/>
                <a:gd name="connsiteY50" fmla="*/ 968 h 10000"/>
                <a:gd name="connsiteX51" fmla="*/ 6395 w 10000"/>
                <a:gd name="connsiteY51" fmla="*/ 968 h 10000"/>
                <a:gd name="connsiteX52" fmla="*/ 6422 w 10000"/>
                <a:gd name="connsiteY52" fmla="*/ 903 h 10000"/>
                <a:gd name="connsiteX53" fmla="*/ 6451 w 10000"/>
                <a:gd name="connsiteY53" fmla="*/ 903 h 10000"/>
                <a:gd name="connsiteX54" fmla="*/ 6536 w 10000"/>
                <a:gd name="connsiteY54" fmla="*/ 903 h 10000"/>
                <a:gd name="connsiteX55" fmla="*/ 6648 w 10000"/>
                <a:gd name="connsiteY55" fmla="*/ 871 h 10000"/>
                <a:gd name="connsiteX56" fmla="*/ 6704 w 10000"/>
                <a:gd name="connsiteY56" fmla="*/ 871 h 10000"/>
                <a:gd name="connsiteX57" fmla="*/ 7155 w 10000"/>
                <a:gd name="connsiteY57" fmla="*/ 742 h 10000"/>
                <a:gd name="connsiteX58" fmla="*/ 7634 w 10000"/>
                <a:gd name="connsiteY58" fmla="*/ 613 h 10000"/>
                <a:gd name="connsiteX59" fmla="*/ 8197 w 10000"/>
                <a:gd name="connsiteY59" fmla="*/ 452 h 10000"/>
                <a:gd name="connsiteX60" fmla="*/ 8733 w 10000"/>
                <a:gd name="connsiteY60" fmla="*/ 323 h 10000"/>
                <a:gd name="connsiteX61" fmla="*/ 9211 w 10000"/>
                <a:gd name="connsiteY61" fmla="*/ 194 h 10000"/>
                <a:gd name="connsiteX62" fmla="*/ 9606 w 10000"/>
                <a:gd name="connsiteY62" fmla="*/ 65 h 10000"/>
                <a:gd name="connsiteX63" fmla="*/ 9888 w 10000"/>
                <a:gd name="connsiteY63" fmla="*/ 0 h 10000"/>
                <a:gd name="connsiteX64" fmla="*/ 9972 w 10000"/>
                <a:gd name="connsiteY64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2874 w 10000"/>
                <a:gd name="connsiteY32" fmla="*/ 8968 h 10000"/>
                <a:gd name="connsiteX33" fmla="*/ 2085 w 10000"/>
                <a:gd name="connsiteY33" fmla="*/ 9323 h 10000"/>
                <a:gd name="connsiteX34" fmla="*/ 1380 w 10000"/>
                <a:gd name="connsiteY34" fmla="*/ 9613 h 10000"/>
                <a:gd name="connsiteX35" fmla="*/ 733 w 10000"/>
                <a:gd name="connsiteY35" fmla="*/ 9774 h 10000"/>
                <a:gd name="connsiteX36" fmla="*/ 310 w 10000"/>
                <a:gd name="connsiteY36" fmla="*/ 9903 h 10000"/>
                <a:gd name="connsiteX37" fmla="*/ 0 w 10000"/>
                <a:gd name="connsiteY37" fmla="*/ 10000 h 10000"/>
                <a:gd name="connsiteX38" fmla="*/ 5718 w 10000"/>
                <a:gd name="connsiteY38" fmla="*/ 5387 h 10000"/>
                <a:gd name="connsiteX39" fmla="*/ 7155 w 10000"/>
                <a:gd name="connsiteY39" fmla="*/ 2806 h 10000"/>
                <a:gd name="connsiteX40" fmla="*/ 7296 w 10000"/>
                <a:gd name="connsiteY40" fmla="*/ 2387 h 10000"/>
                <a:gd name="connsiteX41" fmla="*/ 7380 w 10000"/>
                <a:gd name="connsiteY41" fmla="*/ 2129 h 10000"/>
                <a:gd name="connsiteX42" fmla="*/ 7380 w 10000"/>
                <a:gd name="connsiteY42" fmla="*/ 2065 h 10000"/>
                <a:gd name="connsiteX43" fmla="*/ 7380 w 10000"/>
                <a:gd name="connsiteY43" fmla="*/ 2065 h 10000"/>
                <a:gd name="connsiteX44" fmla="*/ 7380 w 10000"/>
                <a:gd name="connsiteY44" fmla="*/ 2065 h 10000"/>
                <a:gd name="connsiteX45" fmla="*/ 6422 w 10000"/>
                <a:gd name="connsiteY45" fmla="*/ 1161 h 10000"/>
                <a:gd name="connsiteX46" fmla="*/ 6338 w 10000"/>
                <a:gd name="connsiteY46" fmla="*/ 1097 h 10000"/>
                <a:gd name="connsiteX47" fmla="*/ 6310 w 10000"/>
                <a:gd name="connsiteY47" fmla="*/ 1032 h 10000"/>
                <a:gd name="connsiteX48" fmla="*/ 6310 w 10000"/>
                <a:gd name="connsiteY48" fmla="*/ 1000 h 10000"/>
                <a:gd name="connsiteX49" fmla="*/ 6338 w 10000"/>
                <a:gd name="connsiteY49" fmla="*/ 968 h 10000"/>
                <a:gd name="connsiteX50" fmla="*/ 6395 w 10000"/>
                <a:gd name="connsiteY50" fmla="*/ 968 h 10000"/>
                <a:gd name="connsiteX51" fmla="*/ 6422 w 10000"/>
                <a:gd name="connsiteY51" fmla="*/ 903 h 10000"/>
                <a:gd name="connsiteX52" fmla="*/ 6451 w 10000"/>
                <a:gd name="connsiteY52" fmla="*/ 903 h 10000"/>
                <a:gd name="connsiteX53" fmla="*/ 6536 w 10000"/>
                <a:gd name="connsiteY53" fmla="*/ 903 h 10000"/>
                <a:gd name="connsiteX54" fmla="*/ 6648 w 10000"/>
                <a:gd name="connsiteY54" fmla="*/ 871 h 10000"/>
                <a:gd name="connsiteX55" fmla="*/ 6704 w 10000"/>
                <a:gd name="connsiteY55" fmla="*/ 871 h 10000"/>
                <a:gd name="connsiteX56" fmla="*/ 7155 w 10000"/>
                <a:gd name="connsiteY56" fmla="*/ 742 h 10000"/>
                <a:gd name="connsiteX57" fmla="*/ 7634 w 10000"/>
                <a:gd name="connsiteY57" fmla="*/ 613 h 10000"/>
                <a:gd name="connsiteX58" fmla="*/ 8197 w 10000"/>
                <a:gd name="connsiteY58" fmla="*/ 452 h 10000"/>
                <a:gd name="connsiteX59" fmla="*/ 8733 w 10000"/>
                <a:gd name="connsiteY59" fmla="*/ 323 h 10000"/>
                <a:gd name="connsiteX60" fmla="*/ 9211 w 10000"/>
                <a:gd name="connsiteY60" fmla="*/ 194 h 10000"/>
                <a:gd name="connsiteX61" fmla="*/ 9606 w 10000"/>
                <a:gd name="connsiteY61" fmla="*/ 65 h 10000"/>
                <a:gd name="connsiteX62" fmla="*/ 9888 w 10000"/>
                <a:gd name="connsiteY62" fmla="*/ 0 h 10000"/>
                <a:gd name="connsiteX63" fmla="*/ 9972 w 10000"/>
                <a:gd name="connsiteY63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2874 w 10000"/>
                <a:gd name="connsiteY32" fmla="*/ 8968 h 10000"/>
                <a:gd name="connsiteX33" fmla="*/ 2085 w 10000"/>
                <a:gd name="connsiteY33" fmla="*/ 9323 h 10000"/>
                <a:gd name="connsiteX34" fmla="*/ 1380 w 10000"/>
                <a:gd name="connsiteY34" fmla="*/ 9613 h 10000"/>
                <a:gd name="connsiteX35" fmla="*/ 733 w 10000"/>
                <a:gd name="connsiteY35" fmla="*/ 9774 h 10000"/>
                <a:gd name="connsiteX36" fmla="*/ 310 w 10000"/>
                <a:gd name="connsiteY36" fmla="*/ 9903 h 10000"/>
                <a:gd name="connsiteX37" fmla="*/ 0 w 10000"/>
                <a:gd name="connsiteY37" fmla="*/ 10000 h 10000"/>
                <a:gd name="connsiteX38" fmla="*/ 5718 w 10000"/>
                <a:gd name="connsiteY38" fmla="*/ 5387 h 10000"/>
                <a:gd name="connsiteX39" fmla="*/ 7296 w 10000"/>
                <a:gd name="connsiteY39" fmla="*/ 2387 h 10000"/>
                <a:gd name="connsiteX40" fmla="*/ 7380 w 10000"/>
                <a:gd name="connsiteY40" fmla="*/ 2129 h 10000"/>
                <a:gd name="connsiteX41" fmla="*/ 7380 w 10000"/>
                <a:gd name="connsiteY41" fmla="*/ 2065 h 10000"/>
                <a:gd name="connsiteX42" fmla="*/ 7380 w 10000"/>
                <a:gd name="connsiteY42" fmla="*/ 2065 h 10000"/>
                <a:gd name="connsiteX43" fmla="*/ 7380 w 10000"/>
                <a:gd name="connsiteY43" fmla="*/ 2065 h 10000"/>
                <a:gd name="connsiteX44" fmla="*/ 6422 w 10000"/>
                <a:gd name="connsiteY44" fmla="*/ 1161 h 10000"/>
                <a:gd name="connsiteX45" fmla="*/ 6338 w 10000"/>
                <a:gd name="connsiteY45" fmla="*/ 1097 h 10000"/>
                <a:gd name="connsiteX46" fmla="*/ 6310 w 10000"/>
                <a:gd name="connsiteY46" fmla="*/ 1032 h 10000"/>
                <a:gd name="connsiteX47" fmla="*/ 6310 w 10000"/>
                <a:gd name="connsiteY47" fmla="*/ 1000 h 10000"/>
                <a:gd name="connsiteX48" fmla="*/ 6338 w 10000"/>
                <a:gd name="connsiteY48" fmla="*/ 968 h 10000"/>
                <a:gd name="connsiteX49" fmla="*/ 6395 w 10000"/>
                <a:gd name="connsiteY49" fmla="*/ 968 h 10000"/>
                <a:gd name="connsiteX50" fmla="*/ 6422 w 10000"/>
                <a:gd name="connsiteY50" fmla="*/ 903 h 10000"/>
                <a:gd name="connsiteX51" fmla="*/ 6451 w 10000"/>
                <a:gd name="connsiteY51" fmla="*/ 903 h 10000"/>
                <a:gd name="connsiteX52" fmla="*/ 6536 w 10000"/>
                <a:gd name="connsiteY52" fmla="*/ 903 h 10000"/>
                <a:gd name="connsiteX53" fmla="*/ 6648 w 10000"/>
                <a:gd name="connsiteY53" fmla="*/ 871 h 10000"/>
                <a:gd name="connsiteX54" fmla="*/ 6704 w 10000"/>
                <a:gd name="connsiteY54" fmla="*/ 871 h 10000"/>
                <a:gd name="connsiteX55" fmla="*/ 7155 w 10000"/>
                <a:gd name="connsiteY55" fmla="*/ 742 h 10000"/>
                <a:gd name="connsiteX56" fmla="*/ 7634 w 10000"/>
                <a:gd name="connsiteY56" fmla="*/ 613 h 10000"/>
                <a:gd name="connsiteX57" fmla="*/ 8197 w 10000"/>
                <a:gd name="connsiteY57" fmla="*/ 452 h 10000"/>
                <a:gd name="connsiteX58" fmla="*/ 8733 w 10000"/>
                <a:gd name="connsiteY58" fmla="*/ 323 h 10000"/>
                <a:gd name="connsiteX59" fmla="*/ 9211 w 10000"/>
                <a:gd name="connsiteY59" fmla="*/ 194 h 10000"/>
                <a:gd name="connsiteX60" fmla="*/ 9606 w 10000"/>
                <a:gd name="connsiteY60" fmla="*/ 65 h 10000"/>
                <a:gd name="connsiteX61" fmla="*/ 9888 w 10000"/>
                <a:gd name="connsiteY61" fmla="*/ 0 h 10000"/>
                <a:gd name="connsiteX62" fmla="*/ 9972 w 10000"/>
                <a:gd name="connsiteY62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2874 w 10000"/>
                <a:gd name="connsiteY32" fmla="*/ 8968 h 10000"/>
                <a:gd name="connsiteX33" fmla="*/ 2085 w 10000"/>
                <a:gd name="connsiteY33" fmla="*/ 9323 h 10000"/>
                <a:gd name="connsiteX34" fmla="*/ 1380 w 10000"/>
                <a:gd name="connsiteY34" fmla="*/ 9613 h 10000"/>
                <a:gd name="connsiteX35" fmla="*/ 733 w 10000"/>
                <a:gd name="connsiteY35" fmla="*/ 9774 h 10000"/>
                <a:gd name="connsiteX36" fmla="*/ 310 w 10000"/>
                <a:gd name="connsiteY36" fmla="*/ 9903 h 10000"/>
                <a:gd name="connsiteX37" fmla="*/ 0 w 10000"/>
                <a:gd name="connsiteY37" fmla="*/ 10000 h 10000"/>
                <a:gd name="connsiteX38" fmla="*/ 5718 w 10000"/>
                <a:gd name="connsiteY38" fmla="*/ 5387 h 10000"/>
                <a:gd name="connsiteX39" fmla="*/ 7380 w 10000"/>
                <a:gd name="connsiteY39" fmla="*/ 2129 h 10000"/>
                <a:gd name="connsiteX40" fmla="*/ 7380 w 10000"/>
                <a:gd name="connsiteY40" fmla="*/ 2065 h 10000"/>
                <a:gd name="connsiteX41" fmla="*/ 7380 w 10000"/>
                <a:gd name="connsiteY41" fmla="*/ 2065 h 10000"/>
                <a:gd name="connsiteX42" fmla="*/ 7380 w 10000"/>
                <a:gd name="connsiteY42" fmla="*/ 2065 h 10000"/>
                <a:gd name="connsiteX43" fmla="*/ 6422 w 10000"/>
                <a:gd name="connsiteY43" fmla="*/ 1161 h 10000"/>
                <a:gd name="connsiteX44" fmla="*/ 6338 w 10000"/>
                <a:gd name="connsiteY44" fmla="*/ 1097 h 10000"/>
                <a:gd name="connsiteX45" fmla="*/ 6310 w 10000"/>
                <a:gd name="connsiteY45" fmla="*/ 1032 h 10000"/>
                <a:gd name="connsiteX46" fmla="*/ 6310 w 10000"/>
                <a:gd name="connsiteY46" fmla="*/ 1000 h 10000"/>
                <a:gd name="connsiteX47" fmla="*/ 6338 w 10000"/>
                <a:gd name="connsiteY47" fmla="*/ 968 h 10000"/>
                <a:gd name="connsiteX48" fmla="*/ 6395 w 10000"/>
                <a:gd name="connsiteY48" fmla="*/ 968 h 10000"/>
                <a:gd name="connsiteX49" fmla="*/ 6422 w 10000"/>
                <a:gd name="connsiteY49" fmla="*/ 903 h 10000"/>
                <a:gd name="connsiteX50" fmla="*/ 6451 w 10000"/>
                <a:gd name="connsiteY50" fmla="*/ 903 h 10000"/>
                <a:gd name="connsiteX51" fmla="*/ 6536 w 10000"/>
                <a:gd name="connsiteY51" fmla="*/ 903 h 10000"/>
                <a:gd name="connsiteX52" fmla="*/ 6648 w 10000"/>
                <a:gd name="connsiteY52" fmla="*/ 871 h 10000"/>
                <a:gd name="connsiteX53" fmla="*/ 6704 w 10000"/>
                <a:gd name="connsiteY53" fmla="*/ 871 h 10000"/>
                <a:gd name="connsiteX54" fmla="*/ 7155 w 10000"/>
                <a:gd name="connsiteY54" fmla="*/ 742 h 10000"/>
                <a:gd name="connsiteX55" fmla="*/ 7634 w 10000"/>
                <a:gd name="connsiteY55" fmla="*/ 613 h 10000"/>
                <a:gd name="connsiteX56" fmla="*/ 8197 w 10000"/>
                <a:gd name="connsiteY56" fmla="*/ 452 h 10000"/>
                <a:gd name="connsiteX57" fmla="*/ 8733 w 10000"/>
                <a:gd name="connsiteY57" fmla="*/ 323 h 10000"/>
                <a:gd name="connsiteX58" fmla="*/ 9211 w 10000"/>
                <a:gd name="connsiteY58" fmla="*/ 194 h 10000"/>
                <a:gd name="connsiteX59" fmla="*/ 9606 w 10000"/>
                <a:gd name="connsiteY59" fmla="*/ 65 h 10000"/>
                <a:gd name="connsiteX60" fmla="*/ 9888 w 10000"/>
                <a:gd name="connsiteY60" fmla="*/ 0 h 10000"/>
                <a:gd name="connsiteX61" fmla="*/ 9972 w 10000"/>
                <a:gd name="connsiteY61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2874 w 10000"/>
                <a:gd name="connsiteY32" fmla="*/ 8968 h 10000"/>
                <a:gd name="connsiteX33" fmla="*/ 2085 w 10000"/>
                <a:gd name="connsiteY33" fmla="*/ 9323 h 10000"/>
                <a:gd name="connsiteX34" fmla="*/ 1380 w 10000"/>
                <a:gd name="connsiteY34" fmla="*/ 9613 h 10000"/>
                <a:gd name="connsiteX35" fmla="*/ 733 w 10000"/>
                <a:gd name="connsiteY35" fmla="*/ 9774 h 10000"/>
                <a:gd name="connsiteX36" fmla="*/ 310 w 10000"/>
                <a:gd name="connsiteY36" fmla="*/ 9903 h 10000"/>
                <a:gd name="connsiteX37" fmla="*/ 0 w 10000"/>
                <a:gd name="connsiteY37" fmla="*/ 10000 h 10000"/>
                <a:gd name="connsiteX38" fmla="*/ 5718 w 10000"/>
                <a:gd name="connsiteY38" fmla="*/ 5387 h 10000"/>
                <a:gd name="connsiteX39" fmla="*/ 7380 w 10000"/>
                <a:gd name="connsiteY39" fmla="*/ 2065 h 10000"/>
                <a:gd name="connsiteX40" fmla="*/ 7380 w 10000"/>
                <a:gd name="connsiteY40" fmla="*/ 2065 h 10000"/>
                <a:gd name="connsiteX41" fmla="*/ 7380 w 10000"/>
                <a:gd name="connsiteY41" fmla="*/ 2065 h 10000"/>
                <a:gd name="connsiteX42" fmla="*/ 6422 w 10000"/>
                <a:gd name="connsiteY42" fmla="*/ 1161 h 10000"/>
                <a:gd name="connsiteX43" fmla="*/ 6338 w 10000"/>
                <a:gd name="connsiteY43" fmla="*/ 1097 h 10000"/>
                <a:gd name="connsiteX44" fmla="*/ 6310 w 10000"/>
                <a:gd name="connsiteY44" fmla="*/ 1032 h 10000"/>
                <a:gd name="connsiteX45" fmla="*/ 6310 w 10000"/>
                <a:gd name="connsiteY45" fmla="*/ 1000 h 10000"/>
                <a:gd name="connsiteX46" fmla="*/ 6338 w 10000"/>
                <a:gd name="connsiteY46" fmla="*/ 968 h 10000"/>
                <a:gd name="connsiteX47" fmla="*/ 6395 w 10000"/>
                <a:gd name="connsiteY47" fmla="*/ 968 h 10000"/>
                <a:gd name="connsiteX48" fmla="*/ 6422 w 10000"/>
                <a:gd name="connsiteY48" fmla="*/ 903 h 10000"/>
                <a:gd name="connsiteX49" fmla="*/ 6451 w 10000"/>
                <a:gd name="connsiteY49" fmla="*/ 903 h 10000"/>
                <a:gd name="connsiteX50" fmla="*/ 6536 w 10000"/>
                <a:gd name="connsiteY50" fmla="*/ 903 h 10000"/>
                <a:gd name="connsiteX51" fmla="*/ 6648 w 10000"/>
                <a:gd name="connsiteY51" fmla="*/ 871 h 10000"/>
                <a:gd name="connsiteX52" fmla="*/ 6704 w 10000"/>
                <a:gd name="connsiteY52" fmla="*/ 871 h 10000"/>
                <a:gd name="connsiteX53" fmla="*/ 7155 w 10000"/>
                <a:gd name="connsiteY53" fmla="*/ 742 h 10000"/>
                <a:gd name="connsiteX54" fmla="*/ 7634 w 10000"/>
                <a:gd name="connsiteY54" fmla="*/ 613 h 10000"/>
                <a:gd name="connsiteX55" fmla="*/ 8197 w 10000"/>
                <a:gd name="connsiteY55" fmla="*/ 452 h 10000"/>
                <a:gd name="connsiteX56" fmla="*/ 8733 w 10000"/>
                <a:gd name="connsiteY56" fmla="*/ 323 h 10000"/>
                <a:gd name="connsiteX57" fmla="*/ 9211 w 10000"/>
                <a:gd name="connsiteY57" fmla="*/ 194 h 10000"/>
                <a:gd name="connsiteX58" fmla="*/ 9606 w 10000"/>
                <a:gd name="connsiteY58" fmla="*/ 65 h 10000"/>
                <a:gd name="connsiteX59" fmla="*/ 9888 w 10000"/>
                <a:gd name="connsiteY59" fmla="*/ 0 h 10000"/>
                <a:gd name="connsiteX60" fmla="*/ 9972 w 10000"/>
                <a:gd name="connsiteY60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2874 w 10000"/>
                <a:gd name="connsiteY32" fmla="*/ 8968 h 10000"/>
                <a:gd name="connsiteX33" fmla="*/ 2085 w 10000"/>
                <a:gd name="connsiteY33" fmla="*/ 9323 h 10000"/>
                <a:gd name="connsiteX34" fmla="*/ 1380 w 10000"/>
                <a:gd name="connsiteY34" fmla="*/ 9613 h 10000"/>
                <a:gd name="connsiteX35" fmla="*/ 733 w 10000"/>
                <a:gd name="connsiteY35" fmla="*/ 9774 h 10000"/>
                <a:gd name="connsiteX36" fmla="*/ 310 w 10000"/>
                <a:gd name="connsiteY36" fmla="*/ 9903 h 10000"/>
                <a:gd name="connsiteX37" fmla="*/ 0 w 10000"/>
                <a:gd name="connsiteY37" fmla="*/ 10000 h 10000"/>
                <a:gd name="connsiteX38" fmla="*/ 5718 w 10000"/>
                <a:gd name="connsiteY38" fmla="*/ 5387 h 10000"/>
                <a:gd name="connsiteX39" fmla="*/ 7380 w 10000"/>
                <a:gd name="connsiteY39" fmla="*/ 2065 h 10000"/>
                <a:gd name="connsiteX40" fmla="*/ 7380 w 10000"/>
                <a:gd name="connsiteY40" fmla="*/ 2065 h 10000"/>
                <a:gd name="connsiteX41" fmla="*/ 7380 w 10000"/>
                <a:gd name="connsiteY41" fmla="*/ 2065 h 10000"/>
                <a:gd name="connsiteX42" fmla="*/ 6422 w 10000"/>
                <a:gd name="connsiteY42" fmla="*/ 1161 h 10000"/>
                <a:gd name="connsiteX43" fmla="*/ 6338 w 10000"/>
                <a:gd name="connsiteY43" fmla="*/ 1097 h 10000"/>
                <a:gd name="connsiteX44" fmla="*/ 6310 w 10000"/>
                <a:gd name="connsiteY44" fmla="*/ 1032 h 10000"/>
                <a:gd name="connsiteX45" fmla="*/ 6310 w 10000"/>
                <a:gd name="connsiteY45" fmla="*/ 1000 h 10000"/>
                <a:gd name="connsiteX46" fmla="*/ 6338 w 10000"/>
                <a:gd name="connsiteY46" fmla="*/ 968 h 10000"/>
                <a:gd name="connsiteX47" fmla="*/ 6395 w 10000"/>
                <a:gd name="connsiteY47" fmla="*/ 968 h 10000"/>
                <a:gd name="connsiteX48" fmla="*/ 6422 w 10000"/>
                <a:gd name="connsiteY48" fmla="*/ 903 h 10000"/>
                <a:gd name="connsiteX49" fmla="*/ 6451 w 10000"/>
                <a:gd name="connsiteY49" fmla="*/ 903 h 10000"/>
                <a:gd name="connsiteX50" fmla="*/ 6536 w 10000"/>
                <a:gd name="connsiteY50" fmla="*/ 903 h 10000"/>
                <a:gd name="connsiteX51" fmla="*/ 6648 w 10000"/>
                <a:gd name="connsiteY51" fmla="*/ 871 h 10000"/>
                <a:gd name="connsiteX52" fmla="*/ 6704 w 10000"/>
                <a:gd name="connsiteY52" fmla="*/ 871 h 10000"/>
                <a:gd name="connsiteX53" fmla="*/ 7155 w 10000"/>
                <a:gd name="connsiteY53" fmla="*/ 742 h 10000"/>
                <a:gd name="connsiteX54" fmla="*/ 7634 w 10000"/>
                <a:gd name="connsiteY54" fmla="*/ 613 h 10000"/>
                <a:gd name="connsiteX55" fmla="*/ 8197 w 10000"/>
                <a:gd name="connsiteY55" fmla="*/ 452 h 10000"/>
                <a:gd name="connsiteX56" fmla="*/ 8733 w 10000"/>
                <a:gd name="connsiteY56" fmla="*/ 323 h 10000"/>
                <a:gd name="connsiteX57" fmla="*/ 9211 w 10000"/>
                <a:gd name="connsiteY57" fmla="*/ 194 h 10000"/>
                <a:gd name="connsiteX58" fmla="*/ 9606 w 10000"/>
                <a:gd name="connsiteY58" fmla="*/ 65 h 10000"/>
                <a:gd name="connsiteX59" fmla="*/ 9888 w 10000"/>
                <a:gd name="connsiteY59" fmla="*/ 0 h 10000"/>
                <a:gd name="connsiteX60" fmla="*/ 9972 w 10000"/>
                <a:gd name="connsiteY60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2874 w 10000"/>
                <a:gd name="connsiteY32" fmla="*/ 8968 h 10000"/>
                <a:gd name="connsiteX33" fmla="*/ 2085 w 10000"/>
                <a:gd name="connsiteY33" fmla="*/ 9323 h 10000"/>
                <a:gd name="connsiteX34" fmla="*/ 1380 w 10000"/>
                <a:gd name="connsiteY34" fmla="*/ 9613 h 10000"/>
                <a:gd name="connsiteX35" fmla="*/ 733 w 10000"/>
                <a:gd name="connsiteY35" fmla="*/ 9774 h 10000"/>
                <a:gd name="connsiteX36" fmla="*/ 310 w 10000"/>
                <a:gd name="connsiteY36" fmla="*/ 9903 h 10000"/>
                <a:gd name="connsiteX37" fmla="*/ 0 w 10000"/>
                <a:gd name="connsiteY37" fmla="*/ 10000 h 10000"/>
                <a:gd name="connsiteX38" fmla="*/ 5718 w 10000"/>
                <a:gd name="connsiteY38" fmla="*/ 5387 h 10000"/>
                <a:gd name="connsiteX39" fmla="*/ 7380 w 10000"/>
                <a:gd name="connsiteY39" fmla="*/ 2065 h 10000"/>
                <a:gd name="connsiteX40" fmla="*/ 7380 w 10000"/>
                <a:gd name="connsiteY40" fmla="*/ 2065 h 10000"/>
                <a:gd name="connsiteX41" fmla="*/ 7380 w 10000"/>
                <a:gd name="connsiteY41" fmla="*/ 2065 h 10000"/>
                <a:gd name="connsiteX42" fmla="*/ 6422 w 10000"/>
                <a:gd name="connsiteY42" fmla="*/ 1161 h 10000"/>
                <a:gd name="connsiteX43" fmla="*/ 6338 w 10000"/>
                <a:gd name="connsiteY43" fmla="*/ 1097 h 10000"/>
                <a:gd name="connsiteX44" fmla="*/ 6310 w 10000"/>
                <a:gd name="connsiteY44" fmla="*/ 1032 h 10000"/>
                <a:gd name="connsiteX45" fmla="*/ 6310 w 10000"/>
                <a:gd name="connsiteY45" fmla="*/ 1000 h 10000"/>
                <a:gd name="connsiteX46" fmla="*/ 6338 w 10000"/>
                <a:gd name="connsiteY46" fmla="*/ 968 h 10000"/>
                <a:gd name="connsiteX47" fmla="*/ 6395 w 10000"/>
                <a:gd name="connsiteY47" fmla="*/ 968 h 10000"/>
                <a:gd name="connsiteX48" fmla="*/ 6422 w 10000"/>
                <a:gd name="connsiteY48" fmla="*/ 903 h 10000"/>
                <a:gd name="connsiteX49" fmla="*/ 6451 w 10000"/>
                <a:gd name="connsiteY49" fmla="*/ 903 h 10000"/>
                <a:gd name="connsiteX50" fmla="*/ 6536 w 10000"/>
                <a:gd name="connsiteY50" fmla="*/ 903 h 10000"/>
                <a:gd name="connsiteX51" fmla="*/ 6648 w 10000"/>
                <a:gd name="connsiteY51" fmla="*/ 871 h 10000"/>
                <a:gd name="connsiteX52" fmla="*/ 6704 w 10000"/>
                <a:gd name="connsiteY52" fmla="*/ 871 h 10000"/>
                <a:gd name="connsiteX53" fmla="*/ 7155 w 10000"/>
                <a:gd name="connsiteY53" fmla="*/ 742 h 10000"/>
                <a:gd name="connsiteX54" fmla="*/ 7634 w 10000"/>
                <a:gd name="connsiteY54" fmla="*/ 613 h 10000"/>
                <a:gd name="connsiteX55" fmla="*/ 8197 w 10000"/>
                <a:gd name="connsiteY55" fmla="*/ 452 h 10000"/>
                <a:gd name="connsiteX56" fmla="*/ 8733 w 10000"/>
                <a:gd name="connsiteY56" fmla="*/ 323 h 10000"/>
                <a:gd name="connsiteX57" fmla="*/ 9211 w 10000"/>
                <a:gd name="connsiteY57" fmla="*/ 194 h 10000"/>
                <a:gd name="connsiteX58" fmla="*/ 9606 w 10000"/>
                <a:gd name="connsiteY58" fmla="*/ 65 h 10000"/>
                <a:gd name="connsiteX59" fmla="*/ 9888 w 10000"/>
                <a:gd name="connsiteY59" fmla="*/ 0 h 10000"/>
                <a:gd name="connsiteX60" fmla="*/ 9972 w 10000"/>
                <a:gd name="connsiteY60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2874 w 10000"/>
                <a:gd name="connsiteY32" fmla="*/ 8968 h 10000"/>
                <a:gd name="connsiteX33" fmla="*/ 2085 w 10000"/>
                <a:gd name="connsiteY33" fmla="*/ 9323 h 10000"/>
                <a:gd name="connsiteX34" fmla="*/ 1380 w 10000"/>
                <a:gd name="connsiteY34" fmla="*/ 9613 h 10000"/>
                <a:gd name="connsiteX35" fmla="*/ 733 w 10000"/>
                <a:gd name="connsiteY35" fmla="*/ 9774 h 10000"/>
                <a:gd name="connsiteX36" fmla="*/ 310 w 10000"/>
                <a:gd name="connsiteY36" fmla="*/ 9903 h 10000"/>
                <a:gd name="connsiteX37" fmla="*/ 0 w 10000"/>
                <a:gd name="connsiteY37" fmla="*/ 10000 h 10000"/>
                <a:gd name="connsiteX38" fmla="*/ 5718 w 10000"/>
                <a:gd name="connsiteY38" fmla="*/ 5387 h 10000"/>
                <a:gd name="connsiteX39" fmla="*/ 7380 w 10000"/>
                <a:gd name="connsiteY39" fmla="*/ 2065 h 10000"/>
                <a:gd name="connsiteX40" fmla="*/ 7380 w 10000"/>
                <a:gd name="connsiteY40" fmla="*/ 2065 h 10000"/>
                <a:gd name="connsiteX41" fmla="*/ 7380 w 10000"/>
                <a:gd name="connsiteY41" fmla="*/ 2065 h 10000"/>
                <a:gd name="connsiteX42" fmla="*/ 6422 w 10000"/>
                <a:gd name="connsiteY42" fmla="*/ 1161 h 10000"/>
                <a:gd name="connsiteX43" fmla="*/ 6338 w 10000"/>
                <a:gd name="connsiteY43" fmla="*/ 1097 h 10000"/>
                <a:gd name="connsiteX44" fmla="*/ 6310 w 10000"/>
                <a:gd name="connsiteY44" fmla="*/ 1032 h 10000"/>
                <a:gd name="connsiteX45" fmla="*/ 6310 w 10000"/>
                <a:gd name="connsiteY45" fmla="*/ 1000 h 10000"/>
                <a:gd name="connsiteX46" fmla="*/ 6338 w 10000"/>
                <a:gd name="connsiteY46" fmla="*/ 968 h 10000"/>
                <a:gd name="connsiteX47" fmla="*/ 6395 w 10000"/>
                <a:gd name="connsiteY47" fmla="*/ 968 h 10000"/>
                <a:gd name="connsiteX48" fmla="*/ 6422 w 10000"/>
                <a:gd name="connsiteY48" fmla="*/ 903 h 10000"/>
                <a:gd name="connsiteX49" fmla="*/ 6451 w 10000"/>
                <a:gd name="connsiteY49" fmla="*/ 903 h 10000"/>
                <a:gd name="connsiteX50" fmla="*/ 6536 w 10000"/>
                <a:gd name="connsiteY50" fmla="*/ 903 h 10000"/>
                <a:gd name="connsiteX51" fmla="*/ 6648 w 10000"/>
                <a:gd name="connsiteY51" fmla="*/ 871 h 10000"/>
                <a:gd name="connsiteX52" fmla="*/ 6704 w 10000"/>
                <a:gd name="connsiteY52" fmla="*/ 871 h 10000"/>
                <a:gd name="connsiteX53" fmla="*/ 7155 w 10000"/>
                <a:gd name="connsiteY53" fmla="*/ 742 h 10000"/>
                <a:gd name="connsiteX54" fmla="*/ 7634 w 10000"/>
                <a:gd name="connsiteY54" fmla="*/ 613 h 10000"/>
                <a:gd name="connsiteX55" fmla="*/ 8197 w 10000"/>
                <a:gd name="connsiteY55" fmla="*/ 452 h 10000"/>
                <a:gd name="connsiteX56" fmla="*/ 8733 w 10000"/>
                <a:gd name="connsiteY56" fmla="*/ 323 h 10000"/>
                <a:gd name="connsiteX57" fmla="*/ 9211 w 10000"/>
                <a:gd name="connsiteY57" fmla="*/ 194 h 10000"/>
                <a:gd name="connsiteX58" fmla="*/ 9606 w 10000"/>
                <a:gd name="connsiteY58" fmla="*/ 65 h 10000"/>
                <a:gd name="connsiteX59" fmla="*/ 9888 w 10000"/>
                <a:gd name="connsiteY59" fmla="*/ 0 h 10000"/>
                <a:gd name="connsiteX60" fmla="*/ 9972 w 10000"/>
                <a:gd name="connsiteY60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2874 w 10000"/>
                <a:gd name="connsiteY32" fmla="*/ 8968 h 10000"/>
                <a:gd name="connsiteX33" fmla="*/ 2085 w 10000"/>
                <a:gd name="connsiteY33" fmla="*/ 9323 h 10000"/>
                <a:gd name="connsiteX34" fmla="*/ 1380 w 10000"/>
                <a:gd name="connsiteY34" fmla="*/ 9613 h 10000"/>
                <a:gd name="connsiteX35" fmla="*/ 733 w 10000"/>
                <a:gd name="connsiteY35" fmla="*/ 9774 h 10000"/>
                <a:gd name="connsiteX36" fmla="*/ 0 w 10000"/>
                <a:gd name="connsiteY36" fmla="*/ 10000 h 10000"/>
                <a:gd name="connsiteX37" fmla="*/ 5718 w 10000"/>
                <a:gd name="connsiteY37" fmla="*/ 5387 h 10000"/>
                <a:gd name="connsiteX38" fmla="*/ 7380 w 10000"/>
                <a:gd name="connsiteY38" fmla="*/ 2065 h 10000"/>
                <a:gd name="connsiteX39" fmla="*/ 7380 w 10000"/>
                <a:gd name="connsiteY39" fmla="*/ 2065 h 10000"/>
                <a:gd name="connsiteX40" fmla="*/ 7380 w 10000"/>
                <a:gd name="connsiteY40" fmla="*/ 2065 h 10000"/>
                <a:gd name="connsiteX41" fmla="*/ 6422 w 10000"/>
                <a:gd name="connsiteY41" fmla="*/ 1161 h 10000"/>
                <a:gd name="connsiteX42" fmla="*/ 6338 w 10000"/>
                <a:gd name="connsiteY42" fmla="*/ 1097 h 10000"/>
                <a:gd name="connsiteX43" fmla="*/ 6310 w 10000"/>
                <a:gd name="connsiteY43" fmla="*/ 1032 h 10000"/>
                <a:gd name="connsiteX44" fmla="*/ 6310 w 10000"/>
                <a:gd name="connsiteY44" fmla="*/ 1000 h 10000"/>
                <a:gd name="connsiteX45" fmla="*/ 6338 w 10000"/>
                <a:gd name="connsiteY45" fmla="*/ 968 h 10000"/>
                <a:gd name="connsiteX46" fmla="*/ 6395 w 10000"/>
                <a:gd name="connsiteY46" fmla="*/ 968 h 10000"/>
                <a:gd name="connsiteX47" fmla="*/ 6422 w 10000"/>
                <a:gd name="connsiteY47" fmla="*/ 903 h 10000"/>
                <a:gd name="connsiteX48" fmla="*/ 6451 w 10000"/>
                <a:gd name="connsiteY48" fmla="*/ 903 h 10000"/>
                <a:gd name="connsiteX49" fmla="*/ 6536 w 10000"/>
                <a:gd name="connsiteY49" fmla="*/ 903 h 10000"/>
                <a:gd name="connsiteX50" fmla="*/ 6648 w 10000"/>
                <a:gd name="connsiteY50" fmla="*/ 871 h 10000"/>
                <a:gd name="connsiteX51" fmla="*/ 6704 w 10000"/>
                <a:gd name="connsiteY51" fmla="*/ 871 h 10000"/>
                <a:gd name="connsiteX52" fmla="*/ 7155 w 10000"/>
                <a:gd name="connsiteY52" fmla="*/ 742 h 10000"/>
                <a:gd name="connsiteX53" fmla="*/ 7634 w 10000"/>
                <a:gd name="connsiteY53" fmla="*/ 613 h 10000"/>
                <a:gd name="connsiteX54" fmla="*/ 8197 w 10000"/>
                <a:gd name="connsiteY54" fmla="*/ 452 h 10000"/>
                <a:gd name="connsiteX55" fmla="*/ 8733 w 10000"/>
                <a:gd name="connsiteY55" fmla="*/ 323 h 10000"/>
                <a:gd name="connsiteX56" fmla="*/ 9211 w 10000"/>
                <a:gd name="connsiteY56" fmla="*/ 194 h 10000"/>
                <a:gd name="connsiteX57" fmla="*/ 9606 w 10000"/>
                <a:gd name="connsiteY57" fmla="*/ 65 h 10000"/>
                <a:gd name="connsiteX58" fmla="*/ 9888 w 10000"/>
                <a:gd name="connsiteY58" fmla="*/ 0 h 10000"/>
                <a:gd name="connsiteX59" fmla="*/ 9972 w 10000"/>
                <a:gd name="connsiteY59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2874 w 10000"/>
                <a:gd name="connsiteY32" fmla="*/ 8968 h 10000"/>
                <a:gd name="connsiteX33" fmla="*/ 2085 w 10000"/>
                <a:gd name="connsiteY33" fmla="*/ 9323 h 10000"/>
                <a:gd name="connsiteX34" fmla="*/ 1380 w 10000"/>
                <a:gd name="connsiteY34" fmla="*/ 9613 h 10000"/>
                <a:gd name="connsiteX35" fmla="*/ 0 w 10000"/>
                <a:gd name="connsiteY35" fmla="*/ 10000 h 10000"/>
                <a:gd name="connsiteX36" fmla="*/ 5718 w 10000"/>
                <a:gd name="connsiteY36" fmla="*/ 5387 h 10000"/>
                <a:gd name="connsiteX37" fmla="*/ 7380 w 10000"/>
                <a:gd name="connsiteY37" fmla="*/ 2065 h 10000"/>
                <a:gd name="connsiteX38" fmla="*/ 7380 w 10000"/>
                <a:gd name="connsiteY38" fmla="*/ 2065 h 10000"/>
                <a:gd name="connsiteX39" fmla="*/ 7380 w 10000"/>
                <a:gd name="connsiteY39" fmla="*/ 2065 h 10000"/>
                <a:gd name="connsiteX40" fmla="*/ 6422 w 10000"/>
                <a:gd name="connsiteY40" fmla="*/ 1161 h 10000"/>
                <a:gd name="connsiteX41" fmla="*/ 6338 w 10000"/>
                <a:gd name="connsiteY41" fmla="*/ 1097 h 10000"/>
                <a:gd name="connsiteX42" fmla="*/ 6310 w 10000"/>
                <a:gd name="connsiteY42" fmla="*/ 1032 h 10000"/>
                <a:gd name="connsiteX43" fmla="*/ 6310 w 10000"/>
                <a:gd name="connsiteY43" fmla="*/ 1000 h 10000"/>
                <a:gd name="connsiteX44" fmla="*/ 6338 w 10000"/>
                <a:gd name="connsiteY44" fmla="*/ 968 h 10000"/>
                <a:gd name="connsiteX45" fmla="*/ 6395 w 10000"/>
                <a:gd name="connsiteY45" fmla="*/ 968 h 10000"/>
                <a:gd name="connsiteX46" fmla="*/ 6422 w 10000"/>
                <a:gd name="connsiteY46" fmla="*/ 903 h 10000"/>
                <a:gd name="connsiteX47" fmla="*/ 6451 w 10000"/>
                <a:gd name="connsiteY47" fmla="*/ 903 h 10000"/>
                <a:gd name="connsiteX48" fmla="*/ 6536 w 10000"/>
                <a:gd name="connsiteY48" fmla="*/ 903 h 10000"/>
                <a:gd name="connsiteX49" fmla="*/ 6648 w 10000"/>
                <a:gd name="connsiteY49" fmla="*/ 871 h 10000"/>
                <a:gd name="connsiteX50" fmla="*/ 6704 w 10000"/>
                <a:gd name="connsiteY50" fmla="*/ 871 h 10000"/>
                <a:gd name="connsiteX51" fmla="*/ 7155 w 10000"/>
                <a:gd name="connsiteY51" fmla="*/ 742 h 10000"/>
                <a:gd name="connsiteX52" fmla="*/ 7634 w 10000"/>
                <a:gd name="connsiteY52" fmla="*/ 613 h 10000"/>
                <a:gd name="connsiteX53" fmla="*/ 8197 w 10000"/>
                <a:gd name="connsiteY53" fmla="*/ 452 h 10000"/>
                <a:gd name="connsiteX54" fmla="*/ 8733 w 10000"/>
                <a:gd name="connsiteY54" fmla="*/ 323 h 10000"/>
                <a:gd name="connsiteX55" fmla="*/ 9211 w 10000"/>
                <a:gd name="connsiteY55" fmla="*/ 194 h 10000"/>
                <a:gd name="connsiteX56" fmla="*/ 9606 w 10000"/>
                <a:gd name="connsiteY56" fmla="*/ 65 h 10000"/>
                <a:gd name="connsiteX57" fmla="*/ 9888 w 10000"/>
                <a:gd name="connsiteY57" fmla="*/ 0 h 10000"/>
                <a:gd name="connsiteX58" fmla="*/ 9972 w 10000"/>
                <a:gd name="connsiteY58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2874 w 10000"/>
                <a:gd name="connsiteY32" fmla="*/ 8968 h 10000"/>
                <a:gd name="connsiteX33" fmla="*/ 2085 w 10000"/>
                <a:gd name="connsiteY33" fmla="*/ 9323 h 10000"/>
                <a:gd name="connsiteX34" fmla="*/ 0 w 10000"/>
                <a:gd name="connsiteY34" fmla="*/ 10000 h 10000"/>
                <a:gd name="connsiteX35" fmla="*/ 5718 w 10000"/>
                <a:gd name="connsiteY35" fmla="*/ 5387 h 10000"/>
                <a:gd name="connsiteX36" fmla="*/ 7380 w 10000"/>
                <a:gd name="connsiteY36" fmla="*/ 2065 h 10000"/>
                <a:gd name="connsiteX37" fmla="*/ 7380 w 10000"/>
                <a:gd name="connsiteY37" fmla="*/ 2065 h 10000"/>
                <a:gd name="connsiteX38" fmla="*/ 7380 w 10000"/>
                <a:gd name="connsiteY38" fmla="*/ 2065 h 10000"/>
                <a:gd name="connsiteX39" fmla="*/ 6422 w 10000"/>
                <a:gd name="connsiteY39" fmla="*/ 1161 h 10000"/>
                <a:gd name="connsiteX40" fmla="*/ 6338 w 10000"/>
                <a:gd name="connsiteY40" fmla="*/ 1097 h 10000"/>
                <a:gd name="connsiteX41" fmla="*/ 6310 w 10000"/>
                <a:gd name="connsiteY41" fmla="*/ 1032 h 10000"/>
                <a:gd name="connsiteX42" fmla="*/ 6310 w 10000"/>
                <a:gd name="connsiteY42" fmla="*/ 1000 h 10000"/>
                <a:gd name="connsiteX43" fmla="*/ 6338 w 10000"/>
                <a:gd name="connsiteY43" fmla="*/ 968 h 10000"/>
                <a:gd name="connsiteX44" fmla="*/ 6395 w 10000"/>
                <a:gd name="connsiteY44" fmla="*/ 968 h 10000"/>
                <a:gd name="connsiteX45" fmla="*/ 6422 w 10000"/>
                <a:gd name="connsiteY45" fmla="*/ 903 h 10000"/>
                <a:gd name="connsiteX46" fmla="*/ 6451 w 10000"/>
                <a:gd name="connsiteY46" fmla="*/ 903 h 10000"/>
                <a:gd name="connsiteX47" fmla="*/ 6536 w 10000"/>
                <a:gd name="connsiteY47" fmla="*/ 903 h 10000"/>
                <a:gd name="connsiteX48" fmla="*/ 6648 w 10000"/>
                <a:gd name="connsiteY48" fmla="*/ 871 h 10000"/>
                <a:gd name="connsiteX49" fmla="*/ 6704 w 10000"/>
                <a:gd name="connsiteY49" fmla="*/ 871 h 10000"/>
                <a:gd name="connsiteX50" fmla="*/ 7155 w 10000"/>
                <a:gd name="connsiteY50" fmla="*/ 742 h 10000"/>
                <a:gd name="connsiteX51" fmla="*/ 7634 w 10000"/>
                <a:gd name="connsiteY51" fmla="*/ 613 h 10000"/>
                <a:gd name="connsiteX52" fmla="*/ 8197 w 10000"/>
                <a:gd name="connsiteY52" fmla="*/ 452 h 10000"/>
                <a:gd name="connsiteX53" fmla="*/ 8733 w 10000"/>
                <a:gd name="connsiteY53" fmla="*/ 323 h 10000"/>
                <a:gd name="connsiteX54" fmla="*/ 9211 w 10000"/>
                <a:gd name="connsiteY54" fmla="*/ 194 h 10000"/>
                <a:gd name="connsiteX55" fmla="*/ 9606 w 10000"/>
                <a:gd name="connsiteY55" fmla="*/ 65 h 10000"/>
                <a:gd name="connsiteX56" fmla="*/ 9888 w 10000"/>
                <a:gd name="connsiteY56" fmla="*/ 0 h 10000"/>
                <a:gd name="connsiteX57" fmla="*/ 9972 w 10000"/>
                <a:gd name="connsiteY57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2874 w 10000"/>
                <a:gd name="connsiteY32" fmla="*/ 8968 h 10000"/>
                <a:gd name="connsiteX33" fmla="*/ 0 w 10000"/>
                <a:gd name="connsiteY33" fmla="*/ 10000 h 10000"/>
                <a:gd name="connsiteX34" fmla="*/ 5718 w 10000"/>
                <a:gd name="connsiteY34" fmla="*/ 5387 h 10000"/>
                <a:gd name="connsiteX35" fmla="*/ 7380 w 10000"/>
                <a:gd name="connsiteY35" fmla="*/ 2065 h 10000"/>
                <a:gd name="connsiteX36" fmla="*/ 7380 w 10000"/>
                <a:gd name="connsiteY36" fmla="*/ 2065 h 10000"/>
                <a:gd name="connsiteX37" fmla="*/ 7380 w 10000"/>
                <a:gd name="connsiteY37" fmla="*/ 2065 h 10000"/>
                <a:gd name="connsiteX38" fmla="*/ 6422 w 10000"/>
                <a:gd name="connsiteY38" fmla="*/ 1161 h 10000"/>
                <a:gd name="connsiteX39" fmla="*/ 6338 w 10000"/>
                <a:gd name="connsiteY39" fmla="*/ 1097 h 10000"/>
                <a:gd name="connsiteX40" fmla="*/ 6310 w 10000"/>
                <a:gd name="connsiteY40" fmla="*/ 1032 h 10000"/>
                <a:gd name="connsiteX41" fmla="*/ 6310 w 10000"/>
                <a:gd name="connsiteY41" fmla="*/ 1000 h 10000"/>
                <a:gd name="connsiteX42" fmla="*/ 6338 w 10000"/>
                <a:gd name="connsiteY42" fmla="*/ 968 h 10000"/>
                <a:gd name="connsiteX43" fmla="*/ 6395 w 10000"/>
                <a:gd name="connsiteY43" fmla="*/ 968 h 10000"/>
                <a:gd name="connsiteX44" fmla="*/ 6422 w 10000"/>
                <a:gd name="connsiteY44" fmla="*/ 903 h 10000"/>
                <a:gd name="connsiteX45" fmla="*/ 6451 w 10000"/>
                <a:gd name="connsiteY45" fmla="*/ 903 h 10000"/>
                <a:gd name="connsiteX46" fmla="*/ 6536 w 10000"/>
                <a:gd name="connsiteY46" fmla="*/ 903 h 10000"/>
                <a:gd name="connsiteX47" fmla="*/ 6648 w 10000"/>
                <a:gd name="connsiteY47" fmla="*/ 871 h 10000"/>
                <a:gd name="connsiteX48" fmla="*/ 6704 w 10000"/>
                <a:gd name="connsiteY48" fmla="*/ 871 h 10000"/>
                <a:gd name="connsiteX49" fmla="*/ 7155 w 10000"/>
                <a:gd name="connsiteY49" fmla="*/ 742 h 10000"/>
                <a:gd name="connsiteX50" fmla="*/ 7634 w 10000"/>
                <a:gd name="connsiteY50" fmla="*/ 613 h 10000"/>
                <a:gd name="connsiteX51" fmla="*/ 8197 w 10000"/>
                <a:gd name="connsiteY51" fmla="*/ 452 h 10000"/>
                <a:gd name="connsiteX52" fmla="*/ 8733 w 10000"/>
                <a:gd name="connsiteY52" fmla="*/ 323 h 10000"/>
                <a:gd name="connsiteX53" fmla="*/ 9211 w 10000"/>
                <a:gd name="connsiteY53" fmla="*/ 194 h 10000"/>
                <a:gd name="connsiteX54" fmla="*/ 9606 w 10000"/>
                <a:gd name="connsiteY54" fmla="*/ 65 h 10000"/>
                <a:gd name="connsiteX55" fmla="*/ 9888 w 10000"/>
                <a:gd name="connsiteY55" fmla="*/ 0 h 10000"/>
                <a:gd name="connsiteX56" fmla="*/ 9972 w 10000"/>
                <a:gd name="connsiteY56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3718 w 10000"/>
                <a:gd name="connsiteY31" fmla="*/ 8516 h 10000"/>
                <a:gd name="connsiteX32" fmla="*/ 0 w 10000"/>
                <a:gd name="connsiteY32" fmla="*/ 10000 h 10000"/>
                <a:gd name="connsiteX33" fmla="*/ 5718 w 10000"/>
                <a:gd name="connsiteY33" fmla="*/ 5387 h 10000"/>
                <a:gd name="connsiteX34" fmla="*/ 7380 w 10000"/>
                <a:gd name="connsiteY34" fmla="*/ 2065 h 10000"/>
                <a:gd name="connsiteX35" fmla="*/ 7380 w 10000"/>
                <a:gd name="connsiteY35" fmla="*/ 2065 h 10000"/>
                <a:gd name="connsiteX36" fmla="*/ 7380 w 10000"/>
                <a:gd name="connsiteY36" fmla="*/ 2065 h 10000"/>
                <a:gd name="connsiteX37" fmla="*/ 6422 w 10000"/>
                <a:gd name="connsiteY37" fmla="*/ 1161 h 10000"/>
                <a:gd name="connsiteX38" fmla="*/ 6338 w 10000"/>
                <a:gd name="connsiteY38" fmla="*/ 1097 h 10000"/>
                <a:gd name="connsiteX39" fmla="*/ 6310 w 10000"/>
                <a:gd name="connsiteY39" fmla="*/ 1032 h 10000"/>
                <a:gd name="connsiteX40" fmla="*/ 6310 w 10000"/>
                <a:gd name="connsiteY40" fmla="*/ 1000 h 10000"/>
                <a:gd name="connsiteX41" fmla="*/ 6338 w 10000"/>
                <a:gd name="connsiteY41" fmla="*/ 968 h 10000"/>
                <a:gd name="connsiteX42" fmla="*/ 6395 w 10000"/>
                <a:gd name="connsiteY42" fmla="*/ 968 h 10000"/>
                <a:gd name="connsiteX43" fmla="*/ 6422 w 10000"/>
                <a:gd name="connsiteY43" fmla="*/ 903 h 10000"/>
                <a:gd name="connsiteX44" fmla="*/ 6451 w 10000"/>
                <a:gd name="connsiteY44" fmla="*/ 903 h 10000"/>
                <a:gd name="connsiteX45" fmla="*/ 6536 w 10000"/>
                <a:gd name="connsiteY45" fmla="*/ 903 h 10000"/>
                <a:gd name="connsiteX46" fmla="*/ 6648 w 10000"/>
                <a:gd name="connsiteY46" fmla="*/ 871 h 10000"/>
                <a:gd name="connsiteX47" fmla="*/ 6704 w 10000"/>
                <a:gd name="connsiteY47" fmla="*/ 871 h 10000"/>
                <a:gd name="connsiteX48" fmla="*/ 7155 w 10000"/>
                <a:gd name="connsiteY48" fmla="*/ 742 h 10000"/>
                <a:gd name="connsiteX49" fmla="*/ 7634 w 10000"/>
                <a:gd name="connsiteY49" fmla="*/ 613 h 10000"/>
                <a:gd name="connsiteX50" fmla="*/ 8197 w 10000"/>
                <a:gd name="connsiteY50" fmla="*/ 452 h 10000"/>
                <a:gd name="connsiteX51" fmla="*/ 8733 w 10000"/>
                <a:gd name="connsiteY51" fmla="*/ 323 h 10000"/>
                <a:gd name="connsiteX52" fmla="*/ 9211 w 10000"/>
                <a:gd name="connsiteY52" fmla="*/ 194 h 10000"/>
                <a:gd name="connsiteX53" fmla="*/ 9606 w 10000"/>
                <a:gd name="connsiteY53" fmla="*/ 65 h 10000"/>
                <a:gd name="connsiteX54" fmla="*/ 9888 w 10000"/>
                <a:gd name="connsiteY54" fmla="*/ 0 h 10000"/>
                <a:gd name="connsiteX55" fmla="*/ 9972 w 10000"/>
                <a:gd name="connsiteY55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4649 w 10000"/>
                <a:gd name="connsiteY30" fmla="*/ 7968 h 10000"/>
                <a:gd name="connsiteX31" fmla="*/ 0 w 10000"/>
                <a:gd name="connsiteY31" fmla="*/ 10000 h 10000"/>
                <a:gd name="connsiteX32" fmla="*/ 5718 w 10000"/>
                <a:gd name="connsiteY32" fmla="*/ 5387 h 10000"/>
                <a:gd name="connsiteX33" fmla="*/ 7380 w 10000"/>
                <a:gd name="connsiteY33" fmla="*/ 2065 h 10000"/>
                <a:gd name="connsiteX34" fmla="*/ 7380 w 10000"/>
                <a:gd name="connsiteY34" fmla="*/ 2065 h 10000"/>
                <a:gd name="connsiteX35" fmla="*/ 7380 w 10000"/>
                <a:gd name="connsiteY35" fmla="*/ 2065 h 10000"/>
                <a:gd name="connsiteX36" fmla="*/ 6422 w 10000"/>
                <a:gd name="connsiteY36" fmla="*/ 1161 h 10000"/>
                <a:gd name="connsiteX37" fmla="*/ 6338 w 10000"/>
                <a:gd name="connsiteY37" fmla="*/ 1097 h 10000"/>
                <a:gd name="connsiteX38" fmla="*/ 6310 w 10000"/>
                <a:gd name="connsiteY38" fmla="*/ 1032 h 10000"/>
                <a:gd name="connsiteX39" fmla="*/ 6310 w 10000"/>
                <a:gd name="connsiteY39" fmla="*/ 1000 h 10000"/>
                <a:gd name="connsiteX40" fmla="*/ 6338 w 10000"/>
                <a:gd name="connsiteY40" fmla="*/ 968 h 10000"/>
                <a:gd name="connsiteX41" fmla="*/ 6395 w 10000"/>
                <a:gd name="connsiteY41" fmla="*/ 968 h 10000"/>
                <a:gd name="connsiteX42" fmla="*/ 6422 w 10000"/>
                <a:gd name="connsiteY42" fmla="*/ 903 h 10000"/>
                <a:gd name="connsiteX43" fmla="*/ 6451 w 10000"/>
                <a:gd name="connsiteY43" fmla="*/ 903 h 10000"/>
                <a:gd name="connsiteX44" fmla="*/ 6536 w 10000"/>
                <a:gd name="connsiteY44" fmla="*/ 903 h 10000"/>
                <a:gd name="connsiteX45" fmla="*/ 6648 w 10000"/>
                <a:gd name="connsiteY45" fmla="*/ 871 h 10000"/>
                <a:gd name="connsiteX46" fmla="*/ 6704 w 10000"/>
                <a:gd name="connsiteY46" fmla="*/ 871 h 10000"/>
                <a:gd name="connsiteX47" fmla="*/ 7155 w 10000"/>
                <a:gd name="connsiteY47" fmla="*/ 742 h 10000"/>
                <a:gd name="connsiteX48" fmla="*/ 7634 w 10000"/>
                <a:gd name="connsiteY48" fmla="*/ 613 h 10000"/>
                <a:gd name="connsiteX49" fmla="*/ 8197 w 10000"/>
                <a:gd name="connsiteY49" fmla="*/ 452 h 10000"/>
                <a:gd name="connsiteX50" fmla="*/ 8733 w 10000"/>
                <a:gd name="connsiteY50" fmla="*/ 323 h 10000"/>
                <a:gd name="connsiteX51" fmla="*/ 9211 w 10000"/>
                <a:gd name="connsiteY51" fmla="*/ 194 h 10000"/>
                <a:gd name="connsiteX52" fmla="*/ 9606 w 10000"/>
                <a:gd name="connsiteY52" fmla="*/ 65 h 10000"/>
                <a:gd name="connsiteX53" fmla="*/ 9888 w 10000"/>
                <a:gd name="connsiteY53" fmla="*/ 0 h 10000"/>
                <a:gd name="connsiteX54" fmla="*/ 9972 w 10000"/>
                <a:gd name="connsiteY54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5550 w 10000"/>
                <a:gd name="connsiteY29" fmla="*/ 7290 h 10000"/>
                <a:gd name="connsiteX30" fmla="*/ 0 w 10000"/>
                <a:gd name="connsiteY30" fmla="*/ 10000 h 10000"/>
                <a:gd name="connsiteX31" fmla="*/ 5718 w 10000"/>
                <a:gd name="connsiteY31" fmla="*/ 5387 h 10000"/>
                <a:gd name="connsiteX32" fmla="*/ 7380 w 10000"/>
                <a:gd name="connsiteY32" fmla="*/ 2065 h 10000"/>
                <a:gd name="connsiteX33" fmla="*/ 7380 w 10000"/>
                <a:gd name="connsiteY33" fmla="*/ 2065 h 10000"/>
                <a:gd name="connsiteX34" fmla="*/ 7380 w 10000"/>
                <a:gd name="connsiteY34" fmla="*/ 2065 h 10000"/>
                <a:gd name="connsiteX35" fmla="*/ 6422 w 10000"/>
                <a:gd name="connsiteY35" fmla="*/ 1161 h 10000"/>
                <a:gd name="connsiteX36" fmla="*/ 6338 w 10000"/>
                <a:gd name="connsiteY36" fmla="*/ 1097 h 10000"/>
                <a:gd name="connsiteX37" fmla="*/ 6310 w 10000"/>
                <a:gd name="connsiteY37" fmla="*/ 1032 h 10000"/>
                <a:gd name="connsiteX38" fmla="*/ 6310 w 10000"/>
                <a:gd name="connsiteY38" fmla="*/ 1000 h 10000"/>
                <a:gd name="connsiteX39" fmla="*/ 6338 w 10000"/>
                <a:gd name="connsiteY39" fmla="*/ 968 h 10000"/>
                <a:gd name="connsiteX40" fmla="*/ 6395 w 10000"/>
                <a:gd name="connsiteY40" fmla="*/ 968 h 10000"/>
                <a:gd name="connsiteX41" fmla="*/ 6422 w 10000"/>
                <a:gd name="connsiteY41" fmla="*/ 903 h 10000"/>
                <a:gd name="connsiteX42" fmla="*/ 6451 w 10000"/>
                <a:gd name="connsiteY42" fmla="*/ 903 h 10000"/>
                <a:gd name="connsiteX43" fmla="*/ 6536 w 10000"/>
                <a:gd name="connsiteY43" fmla="*/ 903 h 10000"/>
                <a:gd name="connsiteX44" fmla="*/ 6648 w 10000"/>
                <a:gd name="connsiteY44" fmla="*/ 871 h 10000"/>
                <a:gd name="connsiteX45" fmla="*/ 6704 w 10000"/>
                <a:gd name="connsiteY45" fmla="*/ 871 h 10000"/>
                <a:gd name="connsiteX46" fmla="*/ 7155 w 10000"/>
                <a:gd name="connsiteY46" fmla="*/ 742 h 10000"/>
                <a:gd name="connsiteX47" fmla="*/ 7634 w 10000"/>
                <a:gd name="connsiteY47" fmla="*/ 613 h 10000"/>
                <a:gd name="connsiteX48" fmla="*/ 8197 w 10000"/>
                <a:gd name="connsiteY48" fmla="*/ 452 h 10000"/>
                <a:gd name="connsiteX49" fmla="*/ 8733 w 10000"/>
                <a:gd name="connsiteY49" fmla="*/ 323 h 10000"/>
                <a:gd name="connsiteX50" fmla="*/ 9211 w 10000"/>
                <a:gd name="connsiteY50" fmla="*/ 194 h 10000"/>
                <a:gd name="connsiteX51" fmla="*/ 9606 w 10000"/>
                <a:gd name="connsiteY51" fmla="*/ 65 h 10000"/>
                <a:gd name="connsiteX52" fmla="*/ 9888 w 10000"/>
                <a:gd name="connsiteY52" fmla="*/ 0 h 10000"/>
                <a:gd name="connsiteX53" fmla="*/ 9972 w 10000"/>
                <a:gd name="connsiteY53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0 w 10000"/>
                <a:gd name="connsiteY29" fmla="*/ 10000 h 10000"/>
                <a:gd name="connsiteX30" fmla="*/ 5718 w 10000"/>
                <a:gd name="connsiteY30" fmla="*/ 5387 h 10000"/>
                <a:gd name="connsiteX31" fmla="*/ 7380 w 10000"/>
                <a:gd name="connsiteY31" fmla="*/ 2065 h 10000"/>
                <a:gd name="connsiteX32" fmla="*/ 7380 w 10000"/>
                <a:gd name="connsiteY32" fmla="*/ 2065 h 10000"/>
                <a:gd name="connsiteX33" fmla="*/ 7380 w 10000"/>
                <a:gd name="connsiteY33" fmla="*/ 2065 h 10000"/>
                <a:gd name="connsiteX34" fmla="*/ 6422 w 10000"/>
                <a:gd name="connsiteY34" fmla="*/ 1161 h 10000"/>
                <a:gd name="connsiteX35" fmla="*/ 6338 w 10000"/>
                <a:gd name="connsiteY35" fmla="*/ 1097 h 10000"/>
                <a:gd name="connsiteX36" fmla="*/ 6310 w 10000"/>
                <a:gd name="connsiteY36" fmla="*/ 1032 h 10000"/>
                <a:gd name="connsiteX37" fmla="*/ 6310 w 10000"/>
                <a:gd name="connsiteY37" fmla="*/ 1000 h 10000"/>
                <a:gd name="connsiteX38" fmla="*/ 6338 w 10000"/>
                <a:gd name="connsiteY38" fmla="*/ 968 h 10000"/>
                <a:gd name="connsiteX39" fmla="*/ 6395 w 10000"/>
                <a:gd name="connsiteY39" fmla="*/ 968 h 10000"/>
                <a:gd name="connsiteX40" fmla="*/ 6422 w 10000"/>
                <a:gd name="connsiteY40" fmla="*/ 903 h 10000"/>
                <a:gd name="connsiteX41" fmla="*/ 6451 w 10000"/>
                <a:gd name="connsiteY41" fmla="*/ 903 h 10000"/>
                <a:gd name="connsiteX42" fmla="*/ 6536 w 10000"/>
                <a:gd name="connsiteY42" fmla="*/ 903 h 10000"/>
                <a:gd name="connsiteX43" fmla="*/ 6648 w 10000"/>
                <a:gd name="connsiteY43" fmla="*/ 871 h 10000"/>
                <a:gd name="connsiteX44" fmla="*/ 6704 w 10000"/>
                <a:gd name="connsiteY44" fmla="*/ 871 h 10000"/>
                <a:gd name="connsiteX45" fmla="*/ 7155 w 10000"/>
                <a:gd name="connsiteY45" fmla="*/ 742 h 10000"/>
                <a:gd name="connsiteX46" fmla="*/ 7634 w 10000"/>
                <a:gd name="connsiteY46" fmla="*/ 613 h 10000"/>
                <a:gd name="connsiteX47" fmla="*/ 8197 w 10000"/>
                <a:gd name="connsiteY47" fmla="*/ 452 h 10000"/>
                <a:gd name="connsiteX48" fmla="*/ 8733 w 10000"/>
                <a:gd name="connsiteY48" fmla="*/ 323 h 10000"/>
                <a:gd name="connsiteX49" fmla="*/ 9211 w 10000"/>
                <a:gd name="connsiteY49" fmla="*/ 194 h 10000"/>
                <a:gd name="connsiteX50" fmla="*/ 9606 w 10000"/>
                <a:gd name="connsiteY50" fmla="*/ 65 h 10000"/>
                <a:gd name="connsiteX51" fmla="*/ 9888 w 10000"/>
                <a:gd name="connsiteY51" fmla="*/ 0 h 10000"/>
                <a:gd name="connsiteX52" fmla="*/ 9972 w 10000"/>
                <a:gd name="connsiteY52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0 w 10000"/>
                <a:gd name="connsiteY29" fmla="*/ 10000 h 10000"/>
                <a:gd name="connsiteX30" fmla="*/ 5718 w 10000"/>
                <a:gd name="connsiteY30" fmla="*/ 5387 h 10000"/>
                <a:gd name="connsiteX31" fmla="*/ 7380 w 10000"/>
                <a:gd name="connsiteY31" fmla="*/ 2065 h 10000"/>
                <a:gd name="connsiteX32" fmla="*/ 7380 w 10000"/>
                <a:gd name="connsiteY32" fmla="*/ 2065 h 10000"/>
                <a:gd name="connsiteX33" fmla="*/ 7380 w 10000"/>
                <a:gd name="connsiteY33" fmla="*/ 2065 h 10000"/>
                <a:gd name="connsiteX34" fmla="*/ 6422 w 10000"/>
                <a:gd name="connsiteY34" fmla="*/ 1161 h 10000"/>
                <a:gd name="connsiteX35" fmla="*/ 6338 w 10000"/>
                <a:gd name="connsiteY35" fmla="*/ 1097 h 10000"/>
                <a:gd name="connsiteX36" fmla="*/ 6310 w 10000"/>
                <a:gd name="connsiteY36" fmla="*/ 1032 h 10000"/>
                <a:gd name="connsiteX37" fmla="*/ 6310 w 10000"/>
                <a:gd name="connsiteY37" fmla="*/ 1000 h 10000"/>
                <a:gd name="connsiteX38" fmla="*/ 6338 w 10000"/>
                <a:gd name="connsiteY38" fmla="*/ 968 h 10000"/>
                <a:gd name="connsiteX39" fmla="*/ 6395 w 10000"/>
                <a:gd name="connsiteY39" fmla="*/ 968 h 10000"/>
                <a:gd name="connsiteX40" fmla="*/ 6422 w 10000"/>
                <a:gd name="connsiteY40" fmla="*/ 903 h 10000"/>
                <a:gd name="connsiteX41" fmla="*/ 6451 w 10000"/>
                <a:gd name="connsiteY41" fmla="*/ 903 h 10000"/>
                <a:gd name="connsiteX42" fmla="*/ 6536 w 10000"/>
                <a:gd name="connsiteY42" fmla="*/ 903 h 10000"/>
                <a:gd name="connsiteX43" fmla="*/ 6648 w 10000"/>
                <a:gd name="connsiteY43" fmla="*/ 871 h 10000"/>
                <a:gd name="connsiteX44" fmla="*/ 6704 w 10000"/>
                <a:gd name="connsiteY44" fmla="*/ 871 h 10000"/>
                <a:gd name="connsiteX45" fmla="*/ 7155 w 10000"/>
                <a:gd name="connsiteY45" fmla="*/ 742 h 10000"/>
                <a:gd name="connsiteX46" fmla="*/ 7634 w 10000"/>
                <a:gd name="connsiteY46" fmla="*/ 613 h 10000"/>
                <a:gd name="connsiteX47" fmla="*/ 8197 w 10000"/>
                <a:gd name="connsiteY47" fmla="*/ 452 h 10000"/>
                <a:gd name="connsiteX48" fmla="*/ 8733 w 10000"/>
                <a:gd name="connsiteY48" fmla="*/ 323 h 10000"/>
                <a:gd name="connsiteX49" fmla="*/ 9211 w 10000"/>
                <a:gd name="connsiteY49" fmla="*/ 194 h 10000"/>
                <a:gd name="connsiteX50" fmla="*/ 9606 w 10000"/>
                <a:gd name="connsiteY50" fmla="*/ 65 h 10000"/>
                <a:gd name="connsiteX51" fmla="*/ 9888 w 10000"/>
                <a:gd name="connsiteY51" fmla="*/ 0 h 10000"/>
                <a:gd name="connsiteX52" fmla="*/ 9972 w 10000"/>
                <a:gd name="connsiteY52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7296 w 10000"/>
                <a:gd name="connsiteY27" fmla="*/ 5613 h 10000"/>
                <a:gd name="connsiteX28" fmla="*/ 6451 w 10000"/>
                <a:gd name="connsiteY28" fmla="*/ 6484 h 10000"/>
                <a:gd name="connsiteX29" fmla="*/ 0 w 10000"/>
                <a:gd name="connsiteY29" fmla="*/ 10000 h 10000"/>
                <a:gd name="connsiteX30" fmla="*/ 5718 w 10000"/>
                <a:gd name="connsiteY30" fmla="*/ 5387 h 10000"/>
                <a:gd name="connsiteX31" fmla="*/ 7380 w 10000"/>
                <a:gd name="connsiteY31" fmla="*/ 2065 h 10000"/>
                <a:gd name="connsiteX32" fmla="*/ 7380 w 10000"/>
                <a:gd name="connsiteY32" fmla="*/ 2065 h 10000"/>
                <a:gd name="connsiteX33" fmla="*/ 7380 w 10000"/>
                <a:gd name="connsiteY33" fmla="*/ 2065 h 10000"/>
                <a:gd name="connsiteX34" fmla="*/ 6422 w 10000"/>
                <a:gd name="connsiteY34" fmla="*/ 1161 h 10000"/>
                <a:gd name="connsiteX35" fmla="*/ 6338 w 10000"/>
                <a:gd name="connsiteY35" fmla="*/ 1097 h 10000"/>
                <a:gd name="connsiteX36" fmla="*/ 6310 w 10000"/>
                <a:gd name="connsiteY36" fmla="*/ 1032 h 10000"/>
                <a:gd name="connsiteX37" fmla="*/ 6310 w 10000"/>
                <a:gd name="connsiteY37" fmla="*/ 1000 h 10000"/>
                <a:gd name="connsiteX38" fmla="*/ 6338 w 10000"/>
                <a:gd name="connsiteY38" fmla="*/ 968 h 10000"/>
                <a:gd name="connsiteX39" fmla="*/ 6395 w 10000"/>
                <a:gd name="connsiteY39" fmla="*/ 968 h 10000"/>
                <a:gd name="connsiteX40" fmla="*/ 6422 w 10000"/>
                <a:gd name="connsiteY40" fmla="*/ 903 h 10000"/>
                <a:gd name="connsiteX41" fmla="*/ 6451 w 10000"/>
                <a:gd name="connsiteY41" fmla="*/ 903 h 10000"/>
                <a:gd name="connsiteX42" fmla="*/ 6536 w 10000"/>
                <a:gd name="connsiteY42" fmla="*/ 903 h 10000"/>
                <a:gd name="connsiteX43" fmla="*/ 6648 w 10000"/>
                <a:gd name="connsiteY43" fmla="*/ 871 h 10000"/>
                <a:gd name="connsiteX44" fmla="*/ 6704 w 10000"/>
                <a:gd name="connsiteY44" fmla="*/ 871 h 10000"/>
                <a:gd name="connsiteX45" fmla="*/ 7155 w 10000"/>
                <a:gd name="connsiteY45" fmla="*/ 742 h 10000"/>
                <a:gd name="connsiteX46" fmla="*/ 7634 w 10000"/>
                <a:gd name="connsiteY46" fmla="*/ 613 h 10000"/>
                <a:gd name="connsiteX47" fmla="*/ 8197 w 10000"/>
                <a:gd name="connsiteY47" fmla="*/ 452 h 10000"/>
                <a:gd name="connsiteX48" fmla="*/ 8733 w 10000"/>
                <a:gd name="connsiteY48" fmla="*/ 323 h 10000"/>
                <a:gd name="connsiteX49" fmla="*/ 9211 w 10000"/>
                <a:gd name="connsiteY49" fmla="*/ 194 h 10000"/>
                <a:gd name="connsiteX50" fmla="*/ 9606 w 10000"/>
                <a:gd name="connsiteY50" fmla="*/ 65 h 10000"/>
                <a:gd name="connsiteX51" fmla="*/ 9888 w 10000"/>
                <a:gd name="connsiteY51" fmla="*/ 0 h 10000"/>
                <a:gd name="connsiteX52" fmla="*/ 9972 w 10000"/>
                <a:gd name="connsiteY52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8085 w 10000"/>
                <a:gd name="connsiteY26" fmla="*/ 4548 h 10000"/>
                <a:gd name="connsiteX27" fmla="*/ 6451 w 10000"/>
                <a:gd name="connsiteY27" fmla="*/ 6484 h 10000"/>
                <a:gd name="connsiteX28" fmla="*/ 0 w 10000"/>
                <a:gd name="connsiteY28" fmla="*/ 10000 h 10000"/>
                <a:gd name="connsiteX29" fmla="*/ 5718 w 10000"/>
                <a:gd name="connsiteY29" fmla="*/ 5387 h 10000"/>
                <a:gd name="connsiteX30" fmla="*/ 7380 w 10000"/>
                <a:gd name="connsiteY30" fmla="*/ 2065 h 10000"/>
                <a:gd name="connsiteX31" fmla="*/ 7380 w 10000"/>
                <a:gd name="connsiteY31" fmla="*/ 2065 h 10000"/>
                <a:gd name="connsiteX32" fmla="*/ 7380 w 10000"/>
                <a:gd name="connsiteY32" fmla="*/ 2065 h 10000"/>
                <a:gd name="connsiteX33" fmla="*/ 6422 w 10000"/>
                <a:gd name="connsiteY33" fmla="*/ 1161 h 10000"/>
                <a:gd name="connsiteX34" fmla="*/ 6338 w 10000"/>
                <a:gd name="connsiteY34" fmla="*/ 1097 h 10000"/>
                <a:gd name="connsiteX35" fmla="*/ 6310 w 10000"/>
                <a:gd name="connsiteY35" fmla="*/ 1032 h 10000"/>
                <a:gd name="connsiteX36" fmla="*/ 6310 w 10000"/>
                <a:gd name="connsiteY36" fmla="*/ 1000 h 10000"/>
                <a:gd name="connsiteX37" fmla="*/ 6338 w 10000"/>
                <a:gd name="connsiteY37" fmla="*/ 968 h 10000"/>
                <a:gd name="connsiteX38" fmla="*/ 6395 w 10000"/>
                <a:gd name="connsiteY38" fmla="*/ 968 h 10000"/>
                <a:gd name="connsiteX39" fmla="*/ 6422 w 10000"/>
                <a:gd name="connsiteY39" fmla="*/ 903 h 10000"/>
                <a:gd name="connsiteX40" fmla="*/ 6451 w 10000"/>
                <a:gd name="connsiteY40" fmla="*/ 903 h 10000"/>
                <a:gd name="connsiteX41" fmla="*/ 6536 w 10000"/>
                <a:gd name="connsiteY41" fmla="*/ 903 h 10000"/>
                <a:gd name="connsiteX42" fmla="*/ 6648 w 10000"/>
                <a:gd name="connsiteY42" fmla="*/ 871 h 10000"/>
                <a:gd name="connsiteX43" fmla="*/ 6704 w 10000"/>
                <a:gd name="connsiteY43" fmla="*/ 871 h 10000"/>
                <a:gd name="connsiteX44" fmla="*/ 7155 w 10000"/>
                <a:gd name="connsiteY44" fmla="*/ 742 h 10000"/>
                <a:gd name="connsiteX45" fmla="*/ 7634 w 10000"/>
                <a:gd name="connsiteY45" fmla="*/ 613 h 10000"/>
                <a:gd name="connsiteX46" fmla="*/ 8197 w 10000"/>
                <a:gd name="connsiteY46" fmla="*/ 452 h 10000"/>
                <a:gd name="connsiteX47" fmla="*/ 8733 w 10000"/>
                <a:gd name="connsiteY47" fmla="*/ 323 h 10000"/>
                <a:gd name="connsiteX48" fmla="*/ 9211 w 10000"/>
                <a:gd name="connsiteY48" fmla="*/ 194 h 10000"/>
                <a:gd name="connsiteX49" fmla="*/ 9606 w 10000"/>
                <a:gd name="connsiteY49" fmla="*/ 65 h 10000"/>
                <a:gd name="connsiteX50" fmla="*/ 9888 w 10000"/>
                <a:gd name="connsiteY50" fmla="*/ 0 h 10000"/>
                <a:gd name="connsiteX51" fmla="*/ 9972 w 10000"/>
                <a:gd name="connsiteY51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6451 w 10000"/>
                <a:gd name="connsiteY26" fmla="*/ 6484 h 10000"/>
                <a:gd name="connsiteX27" fmla="*/ 0 w 10000"/>
                <a:gd name="connsiteY27" fmla="*/ 10000 h 10000"/>
                <a:gd name="connsiteX28" fmla="*/ 5718 w 10000"/>
                <a:gd name="connsiteY28" fmla="*/ 5387 h 10000"/>
                <a:gd name="connsiteX29" fmla="*/ 7380 w 10000"/>
                <a:gd name="connsiteY29" fmla="*/ 2065 h 10000"/>
                <a:gd name="connsiteX30" fmla="*/ 7380 w 10000"/>
                <a:gd name="connsiteY30" fmla="*/ 2065 h 10000"/>
                <a:gd name="connsiteX31" fmla="*/ 7380 w 10000"/>
                <a:gd name="connsiteY31" fmla="*/ 2065 h 10000"/>
                <a:gd name="connsiteX32" fmla="*/ 6422 w 10000"/>
                <a:gd name="connsiteY32" fmla="*/ 1161 h 10000"/>
                <a:gd name="connsiteX33" fmla="*/ 6338 w 10000"/>
                <a:gd name="connsiteY33" fmla="*/ 1097 h 10000"/>
                <a:gd name="connsiteX34" fmla="*/ 6310 w 10000"/>
                <a:gd name="connsiteY34" fmla="*/ 1032 h 10000"/>
                <a:gd name="connsiteX35" fmla="*/ 6310 w 10000"/>
                <a:gd name="connsiteY35" fmla="*/ 1000 h 10000"/>
                <a:gd name="connsiteX36" fmla="*/ 6338 w 10000"/>
                <a:gd name="connsiteY36" fmla="*/ 968 h 10000"/>
                <a:gd name="connsiteX37" fmla="*/ 6395 w 10000"/>
                <a:gd name="connsiteY37" fmla="*/ 968 h 10000"/>
                <a:gd name="connsiteX38" fmla="*/ 6422 w 10000"/>
                <a:gd name="connsiteY38" fmla="*/ 903 h 10000"/>
                <a:gd name="connsiteX39" fmla="*/ 6451 w 10000"/>
                <a:gd name="connsiteY39" fmla="*/ 903 h 10000"/>
                <a:gd name="connsiteX40" fmla="*/ 6536 w 10000"/>
                <a:gd name="connsiteY40" fmla="*/ 903 h 10000"/>
                <a:gd name="connsiteX41" fmla="*/ 6648 w 10000"/>
                <a:gd name="connsiteY41" fmla="*/ 871 h 10000"/>
                <a:gd name="connsiteX42" fmla="*/ 6704 w 10000"/>
                <a:gd name="connsiteY42" fmla="*/ 871 h 10000"/>
                <a:gd name="connsiteX43" fmla="*/ 7155 w 10000"/>
                <a:gd name="connsiteY43" fmla="*/ 742 h 10000"/>
                <a:gd name="connsiteX44" fmla="*/ 7634 w 10000"/>
                <a:gd name="connsiteY44" fmla="*/ 613 h 10000"/>
                <a:gd name="connsiteX45" fmla="*/ 8197 w 10000"/>
                <a:gd name="connsiteY45" fmla="*/ 452 h 10000"/>
                <a:gd name="connsiteX46" fmla="*/ 8733 w 10000"/>
                <a:gd name="connsiteY46" fmla="*/ 323 h 10000"/>
                <a:gd name="connsiteX47" fmla="*/ 9211 w 10000"/>
                <a:gd name="connsiteY47" fmla="*/ 194 h 10000"/>
                <a:gd name="connsiteX48" fmla="*/ 9606 w 10000"/>
                <a:gd name="connsiteY48" fmla="*/ 65 h 10000"/>
                <a:gd name="connsiteX49" fmla="*/ 9888 w 10000"/>
                <a:gd name="connsiteY49" fmla="*/ 0 h 10000"/>
                <a:gd name="connsiteX50" fmla="*/ 9972 w 10000"/>
                <a:gd name="connsiteY50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6451 w 10000"/>
                <a:gd name="connsiteY26" fmla="*/ 6484 h 10000"/>
                <a:gd name="connsiteX27" fmla="*/ 0 w 10000"/>
                <a:gd name="connsiteY27" fmla="*/ 10000 h 10000"/>
                <a:gd name="connsiteX28" fmla="*/ 5718 w 10000"/>
                <a:gd name="connsiteY28" fmla="*/ 5387 h 10000"/>
                <a:gd name="connsiteX29" fmla="*/ 7380 w 10000"/>
                <a:gd name="connsiteY29" fmla="*/ 2065 h 10000"/>
                <a:gd name="connsiteX30" fmla="*/ 7380 w 10000"/>
                <a:gd name="connsiteY30" fmla="*/ 2065 h 10000"/>
                <a:gd name="connsiteX31" fmla="*/ 7380 w 10000"/>
                <a:gd name="connsiteY31" fmla="*/ 2065 h 10000"/>
                <a:gd name="connsiteX32" fmla="*/ 6422 w 10000"/>
                <a:gd name="connsiteY32" fmla="*/ 1161 h 10000"/>
                <a:gd name="connsiteX33" fmla="*/ 6338 w 10000"/>
                <a:gd name="connsiteY33" fmla="*/ 1097 h 10000"/>
                <a:gd name="connsiteX34" fmla="*/ 6310 w 10000"/>
                <a:gd name="connsiteY34" fmla="*/ 1032 h 10000"/>
                <a:gd name="connsiteX35" fmla="*/ 6310 w 10000"/>
                <a:gd name="connsiteY35" fmla="*/ 1000 h 10000"/>
                <a:gd name="connsiteX36" fmla="*/ 6338 w 10000"/>
                <a:gd name="connsiteY36" fmla="*/ 968 h 10000"/>
                <a:gd name="connsiteX37" fmla="*/ 6395 w 10000"/>
                <a:gd name="connsiteY37" fmla="*/ 968 h 10000"/>
                <a:gd name="connsiteX38" fmla="*/ 6422 w 10000"/>
                <a:gd name="connsiteY38" fmla="*/ 903 h 10000"/>
                <a:gd name="connsiteX39" fmla="*/ 6451 w 10000"/>
                <a:gd name="connsiteY39" fmla="*/ 903 h 10000"/>
                <a:gd name="connsiteX40" fmla="*/ 6536 w 10000"/>
                <a:gd name="connsiteY40" fmla="*/ 903 h 10000"/>
                <a:gd name="connsiteX41" fmla="*/ 6648 w 10000"/>
                <a:gd name="connsiteY41" fmla="*/ 871 h 10000"/>
                <a:gd name="connsiteX42" fmla="*/ 6704 w 10000"/>
                <a:gd name="connsiteY42" fmla="*/ 871 h 10000"/>
                <a:gd name="connsiteX43" fmla="*/ 7155 w 10000"/>
                <a:gd name="connsiteY43" fmla="*/ 742 h 10000"/>
                <a:gd name="connsiteX44" fmla="*/ 7634 w 10000"/>
                <a:gd name="connsiteY44" fmla="*/ 613 h 10000"/>
                <a:gd name="connsiteX45" fmla="*/ 8197 w 10000"/>
                <a:gd name="connsiteY45" fmla="*/ 452 h 10000"/>
                <a:gd name="connsiteX46" fmla="*/ 8733 w 10000"/>
                <a:gd name="connsiteY46" fmla="*/ 323 h 10000"/>
                <a:gd name="connsiteX47" fmla="*/ 9211 w 10000"/>
                <a:gd name="connsiteY47" fmla="*/ 194 h 10000"/>
                <a:gd name="connsiteX48" fmla="*/ 9606 w 10000"/>
                <a:gd name="connsiteY48" fmla="*/ 65 h 10000"/>
                <a:gd name="connsiteX49" fmla="*/ 9888 w 10000"/>
                <a:gd name="connsiteY49" fmla="*/ 0 h 10000"/>
                <a:gd name="connsiteX50" fmla="*/ 9972 w 10000"/>
                <a:gd name="connsiteY50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6451 w 10000"/>
                <a:gd name="connsiteY26" fmla="*/ 6484 h 10000"/>
                <a:gd name="connsiteX27" fmla="*/ 0 w 10000"/>
                <a:gd name="connsiteY27" fmla="*/ 10000 h 10000"/>
                <a:gd name="connsiteX28" fmla="*/ 5718 w 10000"/>
                <a:gd name="connsiteY28" fmla="*/ 5387 h 10000"/>
                <a:gd name="connsiteX29" fmla="*/ 7380 w 10000"/>
                <a:gd name="connsiteY29" fmla="*/ 2065 h 10000"/>
                <a:gd name="connsiteX30" fmla="*/ 7380 w 10000"/>
                <a:gd name="connsiteY30" fmla="*/ 2065 h 10000"/>
                <a:gd name="connsiteX31" fmla="*/ 7380 w 10000"/>
                <a:gd name="connsiteY31" fmla="*/ 2065 h 10000"/>
                <a:gd name="connsiteX32" fmla="*/ 6422 w 10000"/>
                <a:gd name="connsiteY32" fmla="*/ 1161 h 10000"/>
                <a:gd name="connsiteX33" fmla="*/ 6338 w 10000"/>
                <a:gd name="connsiteY33" fmla="*/ 1097 h 10000"/>
                <a:gd name="connsiteX34" fmla="*/ 6310 w 10000"/>
                <a:gd name="connsiteY34" fmla="*/ 1032 h 10000"/>
                <a:gd name="connsiteX35" fmla="*/ 6310 w 10000"/>
                <a:gd name="connsiteY35" fmla="*/ 1000 h 10000"/>
                <a:gd name="connsiteX36" fmla="*/ 6338 w 10000"/>
                <a:gd name="connsiteY36" fmla="*/ 968 h 10000"/>
                <a:gd name="connsiteX37" fmla="*/ 6395 w 10000"/>
                <a:gd name="connsiteY37" fmla="*/ 968 h 10000"/>
                <a:gd name="connsiteX38" fmla="*/ 6422 w 10000"/>
                <a:gd name="connsiteY38" fmla="*/ 903 h 10000"/>
                <a:gd name="connsiteX39" fmla="*/ 6451 w 10000"/>
                <a:gd name="connsiteY39" fmla="*/ 903 h 10000"/>
                <a:gd name="connsiteX40" fmla="*/ 6536 w 10000"/>
                <a:gd name="connsiteY40" fmla="*/ 903 h 10000"/>
                <a:gd name="connsiteX41" fmla="*/ 6648 w 10000"/>
                <a:gd name="connsiteY41" fmla="*/ 871 h 10000"/>
                <a:gd name="connsiteX42" fmla="*/ 6704 w 10000"/>
                <a:gd name="connsiteY42" fmla="*/ 871 h 10000"/>
                <a:gd name="connsiteX43" fmla="*/ 7155 w 10000"/>
                <a:gd name="connsiteY43" fmla="*/ 742 h 10000"/>
                <a:gd name="connsiteX44" fmla="*/ 7634 w 10000"/>
                <a:gd name="connsiteY44" fmla="*/ 613 h 10000"/>
                <a:gd name="connsiteX45" fmla="*/ 8197 w 10000"/>
                <a:gd name="connsiteY45" fmla="*/ 452 h 10000"/>
                <a:gd name="connsiteX46" fmla="*/ 8733 w 10000"/>
                <a:gd name="connsiteY46" fmla="*/ 323 h 10000"/>
                <a:gd name="connsiteX47" fmla="*/ 9211 w 10000"/>
                <a:gd name="connsiteY47" fmla="*/ 194 h 10000"/>
                <a:gd name="connsiteX48" fmla="*/ 9606 w 10000"/>
                <a:gd name="connsiteY48" fmla="*/ 65 h 10000"/>
                <a:gd name="connsiteX49" fmla="*/ 9888 w 10000"/>
                <a:gd name="connsiteY49" fmla="*/ 0 h 10000"/>
                <a:gd name="connsiteX50" fmla="*/ 9972 w 10000"/>
                <a:gd name="connsiteY50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6451 w 10000"/>
                <a:gd name="connsiteY26" fmla="*/ 6484 h 10000"/>
                <a:gd name="connsiteX27" fmla="*/ 0 w 10000"/>
                <a:gd name="connsiteY27" fmla="*/ 10000 h 10000"/>
                <a:gd name="connsiteX28" fmla="*/ 5718 w 10000"/>
                <a:gd name="connsiteY28" fmla="*/ 5387 h 10000"/>
                <a:gd name="connsiteX29" fmla="*/ 7380 w 10000"/>
                <a:gd name="connsiteY29" fmla="*/ 2065 h 10000"/>
                <a:gd name="connsiteX30" fmla="*/ 7380 w 10000"/>
                <a:gd name="connsiteY30" fmla="*/ 2065 h 10000"/>
                <a:gd name="connsiteX31" fmla="*/ 7380 w 10000"/>
                <a:gd name="connsiteY31" fmla="*/ 2065 h 10000"/>
                <a:gd name="connsiteX32" fmla="*/ 6422 w 10000"/>
                <a:gd name="connsiteY32" fmla="*/ 1161 h 10000"/>
                <a:gd name="connsiteX33" fmla="*/ 6338 w 10000"/>
                <a:gd name="connsiteY33" fmla="*/ 1097 h 10000"/>
                <a:gd name="connsiteX34" fmla="*/ 6310 w 10000"/>
                <a:gd name="connsiteY34" fmla="*/ 1032 h 10000"/>
                <a:gd name="connsiteX35" fmla="*/ 6310 w 10000"/>
                <a:gd name="connsiteY35" fmla="*/ 1000 h 10000"/>
                <a:gd name="connsiteX36" fmla="*/ 6338 w 10000"/>
                <a:gd name="connsiteY36" fmla="*/ 968 h 10000"/>
                <a:gd name="connsiteX37" fmla="*/ 6395 w 10000"/>
                <a:gd name="connsiteY37" fmla="*/ 968 h 10000"/>
                <a:gd name="connsiteX38" fmla="*/ 6422 w 10000"/>
                <a:gd name="connsiteY38" fmla="*/ 903 h 10000"/>
                <a:gd name="connsiteX39" fmla="*/ 6451 w 10000"/>
                <a:gd name="connsiteY39" fmla="*/ 903 h 10000"/>
                <a:gd name="connsiteX40" fmla="*/ 6536 w 10000"/>
                <a:gd name="connsiteY40" fmla="*/ 903 h 10000"/>
                <a:gd name="connsiteX41" fmla="*/ 6648 w 10000"/>
                <a:gd name="connsiteY41" fmla="*/ 871 h 10000"/>
                <a:gd name="connsiteX42" fmla="*/ 6704 w 10000"/>
                <a:gd name="connsiteY42" fmla="*/ 871 h 10000"/>
                <a:gd name="connsiteX43" fmla="*/ 7155 w 10000"/>
                <a:gd name="connsiteY43" fmla="*/ 742 h 10000"/>
                <a:gd name="connsiteX44" fmla="*/ 7634 w 10000"/>
                <a:gd name="connsiteY44" fmla="*/ 613 h 10000"/>
                <a:gd name="connsiteX45" fmla="*/ 8197 w 10000"/>
                <a:gd name="connsiteY45" fmla="*/ 452 h 10000"/>
                <a:gd name="connsiteX46" fmla="*/ 8733 w 10000"/>
                <a:gd name="connsiteY46" fmla="*/ 323 h 10000"/>
                <a:gd name="connsiteX47" fmla="*/ 9211 w 10000"/>
                <a:gd name="connsiteY47" fmla="*/ 194 h 10000"/>
                <a:gd name="connsiteX48" fmla="*/ 9606 w 10000"/>
                <a:gd name="connsiteY48" fmla="*/ 65 h 10000"/>
                <a:gd name="connsiteX49" fmla="*/ 9888 w 10000"/>
                <a:gd name="connsiteY49" fmla="*/ 0 h 10000"/>
                <a:gd name="connsiteX50" fmla="*/ 9972 w 10000"/>
                <a:gd name="connsiteY50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845 w 10000"/>
                <a:gd name="connsiteY24" fmla="*/ 3355 h 10000"/>
                <a:gd name="connsiteX25" fmla="*/ 8789 w 10000"/>
                <a:gd name="connsiteY25" fmla="*/ 3323 h 10000"/>
                <a:gd name="connsiteX26" fmla="*/ 6451 w 10000"/>
                <a:gd name="connsiteY26" fmla="*/ 6484 h 10000"/>
                <a:gd name="connsiteX27" fmla="*/ 0 w 10000"/>
                <a:gd name="connsiteY27" fmla="*/ 10000 h 10000"/>
                <a:gd name="connsiteX28" fmla="*/ 5718 w 10000"/>
                <a:gd name="connsiteY28" fmla="*/ 5387 h 10000"/>
                <a:gd name="connsiteX29" fmla="*/ 7380 w 10000"/>
                <a:gd name="connsiteY29" fmla="*/ 2065 h 10000"/>
                <a:gd name="connsiteX30" fmla="*/ 7380 w 10000"/>
                <a:gd name="connsiteY30" fmla="*/ 2065 h 10000"/>
                <a:gd name="connsiteX31" fmla="*/ 7380 w 10000"/>
                <a:gd name="connsiteY31" fmla="*/ 2065 h 10000"/>
                <a:gd name="connsiteX32" fmla="*/ 6422 w 10000"/>
                <a:gd name="connsiteY32" fmla="*/ 1161 h 10000"/>
                <a:gd name="connsiteX33" fmla="*/ 6338 w 10000"/>
                <a:gd name="connsiteY33" fmla="*/ 1097 h 10000"/>
                <a:gd name="connsiteX34" fmla="*/ 6310 w 10000"/>
                <a:gd name="connsiteY34" fmla="*/ 1032 h 10000"/>
                <a:gd name="connsiteX35" fmla="*/ 6310 w 10000"/>
                <a:gd name="connsiteY35" fmla="*/ 1000 h 10000"/>
                <a:gd name="connsiteX36" fmla="*/ 6338 w 10000"/>
                <a:gd name="connsiteY36" fmla="*/ 968 h 10000"/>
                <a:gd name="connsiteX37" fmla="*/ 6395 w 10000"/>
                <a:gd name="connsiteY37" fmla="*/ 968 h 10000"/>
                <a:gd name="connsiteX38" fmla="*/ 6422 w 10000"/>
                <a:gd name="connsiteY38" fmla="*/ 903 h 10000"/>
                <a:gd name="connsiteX39" fmla="*/ 6451 w 10000"/>
                <a:gd name="connsiteY39" fmla="*/ 903 h 10000"/>
                <a:gd name="connsiteX40" fmla="*/ 6536 w 10000"/>
                <a:gd name="connsiteY40" fmla="*/ 903 h 10000"/>
                <a:gd name="connsiteX41" fmla="*/ 6648 w 10000"/>
                <a:gd name="connsiteY41" fmla="*/ 871 h 10000"/>
                <a:gd name="connsiteX42" fmla="*/ 6704 w 10000"/>
                <a:gd name="connsiteY42" fmla="*/ 871 h 10000"/>
                <a:gd name="connsiteX43" fmla="*/ 7155 w 10000"/>
                <a:gd name="connsiteY43" fmla="*/ 742 h 10000"/>
                <a:gd name="connsiteX44" fmla="*/ 7634 w 10000"/>
                <a:gd name="connsiteY44" fmla="*/ 613 h 10000"/>
                <a:gd name="connsiteX45" fmla="*/ 8197 w 10000"/>
                <a:gd name="connsiteY45" fmla="*/ 452 h 10000"/>
                <a:gd name="connsiteX46" fmla="*/ 8733 w 10000"/>
                <a:gd name="connsiteY46" fmla="*/ 323 h 10000"/>
                <a:gd name="connsiteX47" fmla="*/ 9211 w 10000"/>
                <a:gd name="connsiteY47" fmla="*/ 194 h 10000"/>
                <a:gd name="connsiteX48" fmla="*/ 9606 w 10000"/>
                <a:gd name="connsiteY48" fmla="*/ 65 h 10000"/>
                <a:gd name="connsiteX49" fmla="*/ 9888 w 10000"/>
                <a:gd name="connsiteY49" fmla="*/ 0 h 10000"/>
                <a:gd name="connsiteX50" fmla="*/ 9972 w 10000"/>
                <a:gd name="connsiteY50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9014 w 10000"/>
                <a:gd name="connsiteY23" fmla="*/ 3548 h 10000"/>
                <a:gd name="connsiteX24" fmla="*/ 8789 w 10000"/>
                <a:gd name="connsiteY24" fmla="*/ 3323 h 10000"/>
                <a:gd name="connsiteX25" fmla="*/ 6451 w 10000"/>
                <a:gd name="connsiteY25" fmla="*/ 6484 h 10000"/>
                <a:gd name="connsiteX26" fmla="*/ 0 w 10000"/>
                <a:gd name="connsiteY26" fmla="*/ 10000 h 10000"/>
                <a:gd name="connsiteX27" fmla="*/ 5718 w 10000"/>
                <a:gd name="connsiteY27" fmla="*/ 5387 h 10000"/>
                <a:gd name="connsiteX28" fmla="*/ 7380 w 10000"/>
                <a:gd name="connsiteY28" fmla="*/ 2065 h 10000"/>
                <a:gd name="connsiteX29" fmla="*/ 7380 w 10000"/>
                <a:gd name="connsiteY29" fmla="*/ 2065 h 10000"/>
                <a:gd name="connsiteX30" fmla="*/ 7380 w 10000"/>
                <a:gd name="connsiteY30" fmla="*/ 2065 h 10000"/>
                <a:gd name="connsiteX31" fmla="*/ 6422 w 10000"/>
                <a:gd name="connsiteY31" fmla="*/ 1161 h 10000"/>
                <a:gd name="connsiteX32" fmla="*/ 6338 w 10000"/>
                <a:gd name="connsiteY32" fmla="*/ 1097 h 10000"/>
                <a:gd name="connsiteX33" fmla="*/ 6310 w 10000"/>
                <a:gd name="connsiteY33" fmla="*/ 1032 h 10000"/>
                <a:gd name="connsiteX34" fmla="*/ 6310 w 10000"/>
                <a:gd name="connsiteY34" fmla="*/ 1000 h 10000"/>
                <a:gd name="connsiteX35" fmla="*/ 6338 w 10000"/>
                <a:gd name="connsiteY35" fmla="*/ 968 h 10000"/>
                <a:gd name="connsiteX36" fmla="*/ 6395 w 10000"/>
                <a:gd name="connsiteY36" fmla="*/ 968 h 10000"/>
                <a:gd name="connsiteX37" fmla="*/ 6422 w 10000"/>
                <a:gd name="connsiteY37" fmla="*/ 903 h 10000"/>
                <a:gd name="connsiteX38" fmla="*/ 6451 w 10000"/>
                <a:gd name="connsiteY38" fmla="*/ 903 h 10000"/>
                <a:gd name="connsiteX39" fmla="*/ 6536 w 10000"/>
                <a:gd name="connsiteY39" fmla="*/ 903 h 10000"/>
                <a:gd name="connsiteX40" fmla="*/ 6648 w 10000"/>
                <a:gd name="connsiteY40" fmla="*/ 871 h 10000"/>
                <a:gd name="connsiteX41" fmla="*/ 6704 w 10000"/>
                <a:gd name="connsiteY41" fmla="*/ 871 h 10000"/>
                <a:gd name="connsiteX42" fmla="*/ 7155 w 10000"/>
                <a:gd name="connsiteY42" fmla="*/ 742 h 10000"/>
                <a:gd name="connsiteX43" fmla="*/ 7634 w 10000"/>
                <a:gd name="connsiteY43" fmla="*/ 613 h 10000"/>
                <a:gd name="connsiteX44" fmla="*/ 8197 w 10000"/>
                <a:gd name="connsiteY44" fmla="*/ 452 h 10000"/>
                <a:gd name="connsiteX45" fmla="*/ 8733 w 10000"/>
                <a:gd name="connsiteY45" fmla="*/ 323 h 10000"/>
                <a:gd name="connsiteX46" fmla="*/ 9211 w 10000"/>
                <a:gd name="connsiteY46" fmla="*/ 194 h 10000"/>
                <a:gd name="connsiteX47" fmla="*/ 9606 w 10000"/>
                <a:gd name="connsiteY47" fmla="*/ 65 h 10000"/>
                <a:gd name="connsiteX48" fmla="*/ 9888 w 10000"/>
                <a:gd name="connsiteY48" fmla="*/ 0 h 10000"/>
                <a:gd name="connsiteX49" fmla="*/ 9972 w 10000"/>
                <a:gd name="connsiteY49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9211 w 10000"/>
                <a:gd name="connsiteY22" fmla="*/ 3742 h 10000"/>
                <a:gd name="connsiteX23" fmla="*/ 8789 w 10000"/>
                <a:gd name="connsiteY23" fmla="*/ 3323 h 10000"/>
                <a:gd name="connsiteX24" fmla="*/ 6451 w 10000"/>
                <a:gd name="connsiteY24" fmla="*/ 6484 h 10000"/>
                <a:gd name="connsiteX25" fmla="*/ 0 w 10000"/>
                <a:gd name="connsiteY25" fmla="*/ 10000 h 10000"/>
                <a:gd name="connsiteX26" fmla="*/ 5718 w 10000"/>
                <a:gd name="connsiteY26" fmla="*/ 5387 h 10000"/>
                <a:gd name="connsiteX27" fmla="*/ 7380 w 10000"/>
                <a:gd name="connsiteY27" fmla="*/ 2065 h 10000"/>
                <a:gd name="connsiteX28" fmla="*/ 7380 w 10000"/>
                <a:gd name="connsiteY28" fmla="*/ 2065 h 10000"/>
                <a:gd name="connsiteX29" fmla="*/ 7380 w 10000"/>
                <a:gd name="connsiteY29" fmla="*/ 2065 h 10000"/>
                <a:gd name="connsiteX30" fmla="*/ 6422 w 10000"/>
                <a:gd name="connsiteY30" fmla="*/ 1161 h 10000"/>
                <a:gd name="connsiteX31" fmla="*/ 6338 w 10000"/>
                <a:gd name="connsiteY31" fmla="*/ 1097 h 10000"/>
                <a:gd name="connsiteX32" fmla="*/ 6310 w 10000"/>
                <a:gd name="connsiteY32" fmla="*/ 1032 h 10000"/>
                <a:gd name="connsiteX33" fmla="*/ 6310 w 10000"/>
                <a:gd name="connsiteY33" fmla="*/ 1000 h 10000"/>
                <a:gd name="connsiteX34" fmla="*/ 6338 w 10000"/>
                <a:gd name="connsiteY34" fmla="*/ 968 h 10000"/>
                <a:gd name="connsiteX35" fmla="*/ 6395 w 10000"/>
                <a:gd name="connsiteY35" fmla="*/ 968 h 10000"/>
                <a:gd name="connsiteX36" fmla="*/ 6422 w 10000"/>
                <a:gd name="connsiteY36" fmla="*/ 903 h 10000"/>
                <a:gd name="connsiteX37" fmla="*/ 6451 w 10000"/>
                <a:gd name="connsiteY37" fmla="*/ 903 h 10000"/>
                <a:gd name="connsiteX38" fmla="*/ 6536 w 10000"/>
                <a:gd name="connsiteY38" fmla="*/ 903 h 10000"/>
                <a:gd name="connsiteX39" fmla="*/ 6648 w 10000"/>
                <a:gd name="connsiteY39" fmla="*/ 871 h 10000"/>
                <a:gd name="connsiteX40" fmla="*/ 6704 w 10000"/>
                <a:gd name="connsiteY40" fmla="*/ 871 h 10000"/>
                <a:gd name="connsiteX41" fmla="*/ 7155 w 10000"/>
                <a:gd name="connsiteY41" fmla="*/ 742 h 10000"/>
                <a:gd name="connsiteX42" fmla="*/ 7634 w 10000"/>
                <a:gd name="connsiteY42" fmla="*/ 613 h 10000"/>
                <a:gd name="connsiteX43" fmla="*/ 8197 w 10000"/>
                <a:gd name="connsiteY43" fmla="*/ 452 h 10000"/>
                <a:gd name="connsiteX44" fmla="*/ 8733 w 10000"/>
                <a:gd name="connsiteY44" fmla="*/ 323 h 10000"/>
                <a:gd name="connsiteX45" fmla="*/ 9211 w 10000"/>
                <a:gd name="connsiteY45" fmla="*/ 194 h 10000"/>
                <a:gd name="connsiteX46" fmla="*/ 9606 w 10000"/>
                <a:gd name="connsiteY46" fmla="*/ 65 h 10000"/>
                <a:gd name="connsiteX47" fmla="*/ 9888 w 10000"/>
                <a:gd name="connsiteY47" fmla="*/ 0 h 10000"/>
                <a:gd name="connsiteX48" fmla="*/ 9972 w 10000"/>
                <a:gd name="connsiteY48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9493 w 10000"/>
                <a:gd name="connsiteY21" fmla="*/ 3968 h 10000"/>
                <a:gd name="connsiteX22" fmla="*/ 8789 w 10000"/>
                <a:gd name="connsiteY22" fmla="*/ 3323 h 10000"/>
                <a:gd name="connsiteX23" fmla="*/ 6451 w 10000"/>
                <a:gd name="connsiteY23" fmla="*/ 6484 h 10000"/>
                <a:gd name="connsiteX24" fmla="*/ 0 w 10000"/>
                <a:gd name="connsiteY24" fmla="*/ 10000 h 10000"/>
                <a:gd name="connsiteX25" fmla="*/ 5718 w 10000"/>
                <a:gd name="connsiteY25" fmla="*/ 5387 h 10000"/>
                <a:gd name="connsiteX26" fmla="*/ 7380 w 10000"/>
                <a:gd name="connsiteY26" fmla="*/ 2065 h 10000"/>
                <a:gd name="connsiteX27" fmla="*/ 7380 w 10000"/>
                <a:gd name="connsiteY27" fmla="*/ 2065 h 10000"/>
                <a:gd name="connsiteX28" fmla="*/ 7380 w 10000"/>
                <a:gd name="connsiteY28" fmla="*/ 2065 h 10000"/>
                <a:gd name="connsiteX29" fmla="*/ 6422 w 10000"/>
                <a:gd name="connsiteY29" fmla="*/ 1161 h 10000"/>
                <a:gd name="connsiteX30" fmla="*/ 6338 w 10000"/>
                <a:gd name="connsiteY30" fmla="*/ 1097 h 10000"/>
                <a:gd name="connsiteX31" fmla="*/ 6310 w 10000"/>
                <a:gd name="connsiteY31" fmla="*/ 1032 h 10000"/>
                <a:gd name="connsiteX32" fmla="*/ 6310 w 10000"/>
                <a:gd name="connsiteY32" fmla="*/ 1000 h 10000"/>
                <a:gd name="connsiteX33" fmla="*/ 6338 w 10000"/>
                <a:gd name="connsiteY33" fmla="*/ 968 h 10000"/>
                <a:gd name="connsiteX34" fmla="*/ 6395 w 10000"/>
                <a:gd name="connsiteY34" fmla="*/ 968 h 10000"/>
                <a:gd name="connsiteX35" fmla="*/ 6422 w 10000"/>
                <a:gd name="connsiteY35" fmla="*/ 903 h 10000"/>
                <a:gd name="connsiteX36" fmla="*/ 6451 w 10000"/>
                <a:gd name="connsiteY36" fmla="*/ 903 h 10000"/>
                <a:gd name="connsiteX37" fmla="*/ 6536 w 10000"/>
                <a:gd name="connsiteY37" fmla="*/ 903 h 10000"/>
                <a:gd name="connsiteX38" fmla="*/ 6648 w 10000"/>
                <a:gd name="connsiteY38" fmla="*/ 871 h 10000"/>
                <a:gd name="connsiteX39" fmla="*/ 6704 w 10000"/>
                <a:gd name="connsiteY39" fmla="*/ 871 h 10000"/>
                <a:gd name="connsiteX40" fmla="*/ 7155 w 10000"/>
                <a:gd name="connsiteY40" fmla="*/ 742 h 10000"/>
                <a:gd name="connsiteX41" fmla="*/ 7634 w 10000"/>
                <a:gd name="connsiteY41" fmla="*/ 613 h 10000"/>
                <a:gd name="connsiteX42" fmla="*/ 8197 w 10000"/>
                <a:gd name="connsiteY42" fmla="*/ 452 h 10000"/>
                <a:gd name="connsiteX43" fmla="*/ 8733 w 10000"/>
                <a:gd name="connsiteY43" fmla="*/ 323 h 10000"/>
                <a:gd name="connsiteX44" fmla="*/ 9211 w 10000"/>
                <a:gd name="connsiteY44" fmla="*/ 194 h 10000"/>
                <a:gd name="connsiteX45" fmla="*/ 9606 w 10000"/>
                <a:gd name="connsiteY45" fmla="*/ 65 h 10000"/>
                <a:gd name="connsiteX46" fmla="*/ 9888 w 10000"/>
                <a:gd name="connsiteY46" fmla="*/ 0 h 10000"/>
                <a:gd name="connsiteX47" fmla="*/ 9972 w 10000"/>
                <a:gd name="connsiteY47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9718 w 10000"/>
                <a:gd name="connsiteY20" fmla="*/ 4161 h 10000"/>
                <a:gd name="connsiteX21" fmla="*/ 8789 w 10000"/>
                <a:gd name="connsiteY21" fmla="*/ 3323 h 10000"/>
                <a:gd name="connsiteX22" fmla="*/ 6451 w 10000"/>
                <a:gd name="connsiteY22" fmla="*/ 6484 h 10000"/>
                <a:gd name="connsiteX23" fmla="*/ 0 w 10000"/>
                <a:gd name="connsiteY23" fmla="*/ 10000 h 10000"/>
                <a:gd name="connsiteX24" fmla="*/ 5718 w 10000"/>
                <a:gd name="connsiteY24" fmla="*/ 5387 h 10000"/>
                <a:gd name="connsiteX25" fmla="*/ 7380 w 10000"/>
                <a:gd name="connsiteY25" fmla="*/ 2065 h 10000"/>
                <a:gd name="connsiteX26" fmla="*/ 7380 w 10000"/>
                <a:gd name="connsiteY26" fmla="*/ 2065 h 10000"/>
                <a:gd name="connsiteX27" fmla="*/ 7380 w 10000"/>
                <a:gd name="connsiteY27" fmla="*/ 2065 h 10000"/>
                <a:gd name="connsiteX28" fmla="*/ 6422 w 10000"/>
                <a:gd name="connsiteY28" fmla="*/ 1161 h 10000"/>
                <a:gd name="connsiteX29" fmla="*/ 6338 w 10000"/>
                <a:gd name="connsiteY29" fmla="*/ 1097 h 10000"/>
                <a:gd name="connsiteX30" fmla="*/ 6310 w 10000"/>
                <a:gd name="connsiteY30" fmla="*/ 1032 h 10000"/>
                <a:gd name="connsiteX31" fmla="*/ 6310 w 10000"/>
                <a:gd name="connsiteY31" fmla="*/ 1000 h 10000"/>
                <a:gd name="connsiteX32" fmla="*/ 6338 w 10000"/>
                <a:gd name="connsiteY32" fmla="*/ 968 h 10000"/>
                <a:gd name="connsiteX33" fmla="*/ 6395 w 10000"/>
                <a:gd name="connsiteY33" fmla="*/ 968 h 10000"/>
                <a:gd name="connsiteX34" fmla="*/ 6422 w 10000"/>
                <a:gd name="connsiteY34" fmla="*/ 903 h 10000"/>
                <a:gd name="connsiteX35" fmla="*/ 6451 w 10000"/>
                <a:gd name="connsiteY35" fmla="*/ 903 h 10000"/>
                <a:gd name="connsiteX36" fmla="*/ 6536 w 10000"/>
                <a:gd name="connsiteY36" fmla="*/ 903 h 10000"/>
                <a:gd name="connsiteX37" fmla="*/ 6648 w 10000"/>
                <a:gd name="connsiteY37" fmla="*/ 871 h 10000"/>
                <a:gd name="connsiteX38" fmla="*/ 6704 w 10000"/>
                <a:gd name="connsiteY38" fmla="*/ 871 h 10000"/>
                <a:gd name="connsiteX39" fmla="*/ 7155 w 10000"/>
                <a:gd name="connsiteY39" fmla="*/ 742 h 10000"/>
                <a:gd name="connsiteX40" fmla="*/ 7634 w 10000"/>
                <a:gd name="connsiteY40" fmla="*/ 613 h 10000"/>
                <a:gd name="connsiteX41" fmla="*/ 8197 w 10000"/>
                <a:gd name="connsiteY41" fmla="*/ 452 h 10000"/>
                <a:gd name="connsiteX42" fmla="*/ 8733 w 10000"/>
                <a:gd name="connsiteY42" fmla="*/ 323 h 10000"/>
                <a:gd name="connsiteX43" fmla="*/ 9211 w 10000"/>
                <a:gd name="connsiteY43" fmla="*/ 194 h 10000"/>
                <a:gd name="connsiteX44" fmla="*/ 9606 w 10000"/>
                <a:gd name="connsiteY44" fmla="*/ 65 h 10000"/>
                <a:gd name="connsiteX45" fmla="*/ 9888 w 10000"/>
                <a:gd name="connsiteY45" fmla="*/ 0 h 10000"/>
                <a:gd name="connsiteX46" fmla="*/ 9972 w 10000"/>
                <a:gd name="connsiteY46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9803 w 10000"/>
                <a:gd name="connsiteY19" fmla="*/ 4290 h 10000"/>
                <a:gd name="connsiteX20" fmla="*/ 8789 w 10000"/>
                <a:gd name="connsiteY20" fmla="*/ 3323 h 10000"/>
                <a:gd name="connsiteX21" fmla="*/ 6451 w 10000"/>
                <a:gd name="connsiteY21" fmla="*/ 6484 h 10000"/>
                <a:gd name="connsiteX22" fmla="*/ 0 w 10000"/>
                <a:gd name="connsiteY22" fmla="*/ 10000 h 10000"/>
                <a:gd name="connsiteX23" fmla="*/ 5718 w 10000"/>
                <a:gd name="connsiteY23" fmla="*/ 5387 h 10000"/>
                <a:gd name="connsiteX24" fmla="*/ 7380 w 10000"/>
                <a:gd name="connsiteY24" fmla="*/ 2065 h 10000"/>
                <a:gd name="connsiteX25" fmla="*/ 7380 w 10000"/>
                <a:gd name="connsiteY25" fmla="*/ 2065 h 10000"/>
                <a:gd name="connsiteX26" fmla="*/ 7380 w 10000"/>
                <a:gd name="connsiteY26" fmla="*/ 2065 h 10000"/>
                <a:gd name="connsiteX27" fmla="*/ 6422 w 10000"/>
                <a:gd name="connsiteY27" fmla="*/ 1161 h 10000"/>
                <a:gd name="connsiteX28" fmla="*/ 6338 w 10000"/>
                <a:gd name="connsiteY28" fmla="*/ 1097 h 10000"/>
                <a:gd name="connsiteX29" fmla="*/ 6310 w 10000"/>
                <a:gd name="connsiteY29" fmla="*/ 1032 h 10000"/>
                <a:gd name="connsiteX30" fmla="*/ 6310 w 10000"/>
                <a:gd name="connsiteY30" fmla="*/ 1000 h 10000"/>
                <a:gd name="connsiteX31" fmla="*/ 6338 w 10000"/>
                <a:gd name="connsiteY31" fmla="*/ 968 h 10000"/>
                <a:gd name="connsiteX32" fmla="*/ 6395 w 10000"/>
                <a:gd name="connsiteY32" fmla="*/ 968 h 10000"/>
                <a:gd name="connsiteX33" fmla="*/ 6422 w 10000"/>
                <a:gd name="connsiteY33" fmla="*/ 903 h 10000"/>
                <a:gd name="connsiteX34" fmla="*/ 6451 w 10000"/>
                <a:gd name="connsiteY34" fmla="*/ 903 h 10000"/>
                <a:gd name="connsiteX35" fmla="*/ 6536 w 10000"/>
                <a:gd name="connsiteY35" fmla="*/ 903 h 10000"/>
                <a:gd name="connsiteX36" fmla="*/ 6648 w 10000"/>
                <a:gd name="connsiteY36" fmla="*/ 871 h 10000"/>
                <a:gd name="connsiteX37" fmla="*/ 6704 w 10000"/>
                <a:gd name="connsiteY37" fmla="*/ 871 h 10000"/>
                <a:gd name="connsiteX38" fmla="*/ 7155 w 10000"/>
                <a:gd name="connsiteY38" fmla="*/ 742 h 10000"/>
                <a:gd name="connsiteX39" fmla="*/ 7634 w 10000"/>
                <a:gd name="connsiteY39" fmla="*/ 613 h 10000"/>
                <a:gd name="connsiteX40" fmla="*/ 8197 w 10000"/>
                <a:gd name="connsiteY40" fmla="*/ 452 h 10000"/>
                <a:gd name="connsiteX41" fmla="*/ 8733 w 10000"/>
                <a:gd name="connsiteY41" fmla="*/ 323 h 10000"/>
                <a:gd name="connsiteX42" fmla="*/ 9211 w 10000"/>
                <a:gd name="connsiteY42" fmla="*/ 194 h 10000"/>
                <a:gd name="connsiteX43" fmla="*/ 9606 w 10000"/>
                <a:gd name="connsiteY43" fmla="*/ 65 h 10000"/>
                <a:gd name="connsiteX44" fmla="*/ 9888 w 10000"/>
                <a:gd name="connsiteY44" fmla="*/ 0 h 10000"/>
                <a:gd name="connsiteX45" fmla="*/ 9972 w 10000"/>
                <a:gd name="connsiteY45" fmla="*/ 0 h 10000"/>
                <a:gd name="connsiteX0" fmla="*/ 9972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8789 w 10000"/>
                <a:gd name="connsiteY19" fmla="*/ 3323 h 10000"/>
                <a:gd name="connsiteX20" fmla="*/ 6451 w 10000"/>
                <a:gd name="connsiteY20" fmla="*/ 6484 h 10000"/>
                <a:gd name="connsiteX21" fmla="*/ 0 w 10000"/>
                <a:gd name="connsiteY21" fmla="*/ 10000 h 10000"/>
                <a:gd name="connsiteX22" fmla="*/ 5718 w 10000"/>
                <a:gd name="connsiteY22" fmla="*/ 5387 h 10000"/>
                <a:gd name="connsiteX23" fmla="*/ 7380 w 10000"/>
                <a:gd name="connsiteY23" fmla="*/ 2065 h 10000"/>
                <a:gd name="connsiteX24" fmla="*/ 7380 w 10000"/>
                <a:gd name="connsiteY24" fmla="*/ 2065 h 10000"/>
                <a:gd name="connsiteX25" fmla="*/ 7380 w 10000"/>
                <a:gd name="connsiteY25" fmla="*/ 2065 h 10000"/>
                <a:gd name="connsiteX26" fmla="*/ 6422 w 10000"/>
                <a:gd name="connsiteY26" fmla="*/ 1161 h 10000"/>
                <a:gd name="connsiteX27" fmla="*/ 6338 w 10000"/>
                <a:gd name="connsiteY27" fmla="*/ 1097 h 10000"/>
                <a:gd name="connsiteX28" fmla="*/ 6310 w 10000"/>
                <a:gd name="connsiteY28" fmla="*/ 1032 h 10000"/>
                <a:gd name="connsiteX29" fmla="*/ 6310 w 10000"/>
                <a:gd name="connsiteY29" fmla="*/ 1000 h 10000"/>
                <a:gd name="connsiteX30" fmla="*/ 6338 w 10000"/>
                <a:gd name="connsiteY30" fmla="*/ 968 h 10000"/>
                <a:gd name="connsiteX31" fmla="*/ 6395 w 10000"/>
                <a:gd name="connsiteY31" fmla="*/ 968 h 10000"/>
                <a:gd name="connsiteX32" fmla="*/ 6422 w 10000"/>
                <a:gd name="connsiteY32" fmla="*/ 903 h 10000"/>
                <a:gd name="connsiteX33" fmla="*/ 6451 w 10000"/>
                <a:gd name="connsiteY33" fmla="*/ 903 h 10000"/>
                <a:gd name="connsiteX34" fmla="*/ 6536 w 10000"/>
                <a:gd name="connsiteY34" fmla="*/ 903 h 10000"/>
                <a:gd name="connsiteX35" fmla="*/ 6648 w 10000"/>
                <a:gd name="connsiteY35" fmla="*/ 871 h 10000"/>
                <a:gd name="connsiteX36" fmla="*/ 6704 w 10000"/>
                <a:gd name="connsiteY36" fmla="*/ 871 h 10000"/>
                <a:gd name="connsiteX37" fmla="*/ 7155 w 10000"/>
                <a:gd name="connsiteY37" fmla="*/ 742 h 10000"/>
                <a:gd name="connsiteX38" fmla="*/ 7634 w 10000"/>
                <a:gd name="connsiteY38" fmla="*/ 613 h 10000"/>
                <a:gd name="connsiteX39" fmla="*/ 8197 w 10000"/>
                <a:gd name="connsiteY39" fmla="*/ 452 h 10000"/>
                <a:gd name="connsiteX40" fmla="*/ 8733 w 10000"/>
                <a:gd name="connsiteY40" fmla="*/ 323 h 10000"/>
                <a:gd name="connsiteX41" fmla="*/ 9211 w 10000"/>
                <a:gd name="connsiteY41" fmla="*/ 194 h 10000"/>
                <a:gd name="connsiteX42" fmla="*/ 9606 w 10000"/>
                <a:gd name="connsiteY42" fmla="*/ 65 h 10000"/>
                <a:gd name="connsiteX43" fmla="*/ 9888 w 10000"/>
                <a:gd name="connsiteY43" fmla="*/ 0 h 10000"/>
                <a:gd name="connsiteX44" fmla="*/ 9972 w 10000"/>
                <a:gd name="connsiteY44" fmla="*/ 0 h 10000"/>
                <a:gd name="connsiteX0" fmla="*/ 9888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129 h 10000"/>
                <a:gd name="connsiteX4" fmla="*/ 10000 w 10000"/>
                <a:gd name="connsiteY4" fmla="*/ 452 h 10000"/>
                <a:gd name="connsiteX5" fmla="*/ 10000 w 10000"/>
                <a:gd name="connsiteY5" fmla="*/ 968 h 10000"/>
                <a:gd name="connsiteX6" fmla="*/ 10000 w 10000"/>
                <a:gd name="connsiteY6" fmla="*/ 1548 h 10000"/>
                <a:gd name="connsiteX7" fmla="*/ 9972 w 10000"/>
                <a:gd name="connsiteY7" fmla="*/ 2194 h 10000"/>
                <a:gd name="connsiteX8" fmla="*/ 9972 w 10000"/>
                <a:gd name="connsiteY8" fmla="*/ 2871 h 10000"/>
                <a:gd name="connsiteX9" fmla="*/ 9972 w 10000"/>
                <a:gd name="connsiteY9" fmla="*/ 3484 h 10000"/>
                <a:gd name="connsiteX10" fmla="*/ 9972 w 10000"/>
                <a:gd name="connsiteY10" fmla="*/ 4000 h 10000"/>
                <a:gd name="connsiteX11" fmla="*/ 9972 w 10000"/>
                <a:gd name="connsiteY11" fmla="*/ 4032 h 10000"/>
                <a:gd name="connsiteX12" fmla="*/ 9972 w 10000"/>
                <a:gd name="connsiteY12" fmla="*/ 4161 h 10000"/>
                <a:gd name="connsiteX13" fmla="*/ 9972 w 10000"/>
                <a:gd name="connsiteY13" fmla="*/ 4258 h 10000"/>
                <a:gd name="connsiteX14" fmla="*/ 9915 w 10000"/>
                <a:gd name="connsiteY14" fmla="*/ 4290 h 10000"/>
                <a:gd name="connsiteX15" fmla="*/ 9915 w 10000"/>
                <a:gd name="connsiteY15" fmla="*/ 4290 h 10000"/>
                <a:gd name="connsiteX16" fmla="*/ 9888 w 10000"/>
                <a:gd name="connsiteY16" fmla="*/ 4290 h 10000"/>
                <a:gd name="connsiteX17" fmla="*/ 9859 w 10000"/>
                <a:gd name="connsiteY17" fmla="*/ 4290 h 10000"/>
                <a:gd name="connsiteX18" fmla="*/ 9859 w 10000"/>
                <a:gd name="connsiteY18" fmla="*/ 4290 h 10000"/>
                <a:gd name="connsiteX19" fmla="*/ 8789 w 10000"/>
                <a:gd name="connsiteY19" fmla="*/ 3323 h 10000"/>
                <a:gd name="connsiteX20" fmla="*/ 6451 w 10000"/>
                <a:gd name="connsiteY20" fmla="*/ 6484 h 10000"/>
                <a:gd name="connsiteX21" fmla="*/ 0 w 10000"/>
                <a:gd name="connsiteY21" fmla="*/ 10000 h 10000"/>
                <a:gd name="connsiteX22" fmla="*/ 5718 w 10000"/>
                <a:gd name="connsiteY22" fmla="*/ 5387 h 10000"/>
                <a:gd name="connsiteX23" fmla="*/ 7380 w 10000"/>
                <a:gd name="connsiteY23" fmla="*/ 2065 h 10000"/>
                <a:gd name="connsiteX24" fmla="*/ 7380 w 10000"/>
                <a:gd name="connsiteY24" fmla="*/ 2065 h 10000"/>
                <a:gd name="connsiteX25" fmla="*/ 7380 w 10000"/>
                <a:gd name="connsiteY25" fmla="*/ 2065 h 10000"/>
                <a:gd name="connsiteX26" fmla="*/ 6422 w 10000"/>
                <a:gd name="connsiteY26" fmla="*/ 1161 h 10000"/>
                <a:gd name="connsiteX27" fmla="*/ 6338 w 10000"/>
                <a:gd name="connsiteY27" fmla="*/ 1097 h 10000"/>
                <a:gd name="connsiteX28" fmla="*/ 6310 w 10000"/>
                <a:gd name="connsiteY28" fmla="*/ 1032 h 10000"/>
                <a:gd name="connsiteX29" fmla="*/ 6310 w 10000"/>
                <a:gd name="connsiteY29" fmla="*/ 1000 h 10000"/>
                <a:gd name="connsiteX30" fmla="*/ 6338 w 10000"/>
                <a:gd name="connsiteY30" fmla="*/ 968 h 10000"/>
                <a:gd name="connsiteX31" fmla="*/ 6395 w 10000"/>
                <a:gd name="connsiteY31" fmla="*/ 968 h 10000"/>
                <a:gd name="connsiteX32" fmla="*/ 6422 w 10000"/>
                <a:gd name="connsiteY32" fmla="*/ 903 h 10000"/>
                <a:gd name="connsiteX33" fmla="*/ 6451 w 10000"/>
                <a:gd name="connsiteY33" fmla="*/ 903 h 10000"/>
                <a:gd name="connsiteX34" fmla="*/ 6536 w 10000"/>
                <a:gd name="connsiteY34" fmla="*/ 903 h 10000"/>
                <a:gd name="connsiteX35" fmla="*/ 6648 w 10000"/>
                <a:gd name="connsiteY35" fmla="*/ 871 h 10000"/>
                <a:gd name="connsiteX36" fmla="*/ 6704 w 10000"/>
                <a:gd name="connsiteY36" fmla="*/ 871 h 10000"/>
                <a:gd name="connsiteX37" fmla="*/ 7155 w 10000"/>
                <a:gd name="connsiteY37" fmla="*/ 742 h 10000"/>
                <a:gd name="connsiteX38" fmla="*/ 7634 w 10000"/>
                <a:gd name="connsiteY38" fmla="*/ 613 h 10000"/>
                <a:gd name="connsiteX39" fmla="*/ 8197 w 10000"/>
                <a:gd name="connsiteY39" fmla="*/ 452 h 10000"/>
                <a:gd name="connsiteX40" fmla="*/ 8733 w 10000"/>
                <a:gd name="connsiteY40" fmla="*/ 323 h 10000"/>
                <a:gd name="connsiteX41" fmla="*/ 9211 w 10000"/>
                <a:gd name="connsiteY41" fmla="*/ 194 h 10000"/>
                <a:gd name="connsiteX42" fmla="*/ 9606 w 10000"/>
                <a:gd name="connsiteY42" fmla="*/ 65 h 10000"/>
                <a:gd name="connsiteX43" fmla="*/ 9888 w 10000"/>
                <a:gd name="connsiteY43" fmla="*/ 0 h 10000"/>
                <a:gd name="connsiteX0" fmla="*/ 9888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32 h 10000"/>
                <a:gd name="connsiteX3" fmla="*/ 10000 w 10000"/>
                <a:gd name="connsiteY3" fmla="*/ 452 h 10000"/>
                <a:gd name="connsiteX4" fmla="*/ 10000 w 10000"/>
                <a:gd name="connsiteY4" fmla="*/ 968 h 10000"/>
                <a:gd name="connsiteX5" fmla="*/ 10000 w 10000"/>
                <a:gd name="connsiteY5" fmla="*/ 1548 h 10000"/>
                <a:gd name="connsiteX6" fmla="*/ 9972 w 10000"/>
                <a:gd name="connsiteY6" fmla="*/ 2194 h 10000"/>
                <a:gd name="connsiteX7" fmla="*/ 9972 w 10000"/>
                <a:gd name="connsiteY7" fmla="*/ 2871 h 10000"/>
                <a:gd name="connsiteX8" fmla="*/ 9972 w 10000"/>
                <a:gd name="connsiteY8" fmla="*/ 3484 h 10000"/>
                <a:gd name="connsiteX9" fmla="*/ 9972 w 10000"/>
                <a:gd name="connsiteY9" fmla="*/ 4000 h 10000"/>
                <a:gd name="connsiteX10" fmla="*/ 9972 w 10000"/>
                <a:gd name="connsiteY10" fmla="*/ 4032 h 10000"/>
                <a:gd name="connsiteX11" fmla="*/ 9972 w 10000"/>
                <a:gd name="connsiteY11" fmla="*/ 4161 h 10000"/>
                <a:gd name="connsiteX12" fmla="*/ 9972 w 10000"/>
                <a:gd name="connsiteY12" fmla="*/ 4258 h 10000"/>
                <a:gd name="connsiteX13" fmla="*/ 9915 w 10000"/>
                <a:gd name="connsiteY13" fmla="*/ 4290 h 10000"/>
                <a:gd name="connsiteX14" fmla="*/ 9915 w 10000"/>
                <a:gd name="connsiteY14" fmla="*/ 4290 h 10000"/>
                <a:gd name="connsiteX15" fmla="*/ 9888 w 10000"/>
                <a:gd name="connsiteY15" fmla="*/ 4290 h 10000"/>
                <a:gd name="connsiteX16" fmla="*/ 9859 w 10000"/>
                <a:gd name="connsiteY16" fmla="*/ 4290 h 10000"/>
                <a:gd name="connsiteX17" fmla="*/ 9859 w 10000"/>
                <a:gd name="connsiteY17" fmla="*/ 4290 h 10000"/>
                <a:gd name="connsiteX18" fmla="*/ 8789 w 10000"/>
                <a:gd name="connsiteY18" fmla="*/ 3323 h 10000"/>
                <a:gd name="connsiteX19" fmla="*/ 6451 w 10000"/>
                <a:gd name="connsiteY19" fmla="*/ 6484 h 10000"/>
                <a:gd name="connsiteX20" fmla="*/ 0 w 10000"/>
                <a:gd name="connsiteY20" fmla="*/ 10000 h 10000"/>
                <a:gd name="connsiteX21" fmla="*/ 5718 w 10000"/>
                <a:gd name="connsiteY21" fmla="*/ 5387 h 10000"/>
                <a:gd name="connsiteX22" fmla="*/ 7380 w 10000"/>
                <a:gd name="connsiteY22" fmla="*/ 2065 h 10000"/>
                <a:gd name="connsiteX23" fmla="*/ 7380 w 10000"/>
                <a:gd name="connsiteY23" fmla="*/ 2065 h 10000"/>
                <a:gd name="connsiteX24" fmla="*/ 7380 w 10000"/>
                <a:gd name="connsiteY24" fmla="*/ 2065 h 10000"/>
                <a:gd name="connsiteX25" fmla="*/ 6422 w 10000"/>
                <a:gd name="connsiteY25" fmla="*/ 1161 h 10000"/>
                <a:gd name="connsiteX26" fmla="*/ 6338 w 10000"/>
                <a:gd name="connsiteY26" fmla="*/ 1097 h 10000"/>
                <a:gd name="connsiteX27" fmla="*/ 6310 w 10000"/>
                <a:gd name="connsiteY27" fmla="*/ 1032 h 10000"/>
                <a:gd name="connsiteX28" fmla="*/ 6310 w 10000"/>
                <a:gd name="connsiteY28" fmla="*/ 1000 h 10000"/>
                <a:gd name="connsiteX29" fmla="*/ 6338 w 10000"/>
                <a:gd name="connsiteY29" fmla="*/ 968 h 10000"/>
                <a:gd name="connsiteX30" fmla="*/ 6395 w 10000"/>
                <a:gd name="connsiteY30" fmla="*/ 968 h 10000"/>
                <a:gd name="connsiteX31" fmla="*/ 6422 w 10000"/>
                <a:gd name="connsiteY31" fmla="*/ 903 h 10000"/>
                <a:gd name="connsiteX32" fmla="*/ 6451 w 10000"/>
                <a:gd name="connsiteY32" fmla="*/ 903 h 10000"/>
                <a:gd name="connsiteX33" fmla="*/ 6536 w 10000"/>
                <a:gd name="connsiteY33" fmla="*/ 903 h 10000"/>
                <a:gd name="connsiteX34" fmla="*/ 6648 w 10000"/>
                <a:gd name="connsiteY34" fmla="*/ 871 h 10000"/>
                <a:gd name="connsiteX35" fmla="*/ 6704 w 10000"/>
                <a:gd name="connsiteY35" fmla="*/ 871 h 10000"/>
                <a:gd name="connsiteX36" fmla="*/ 7155 w 10000"/>
                <a:gd name="connsiteY36" fmla="*/ 742 h 10000"/>
                <a:gd name="connsiteX37" fmla="*/ 7634 w 10000"/>
                <a:gd name="connsiteY37" fmla="*/ 613 h 10000"/>
                <a:gd name="connsiteX38" fmla="*/ 8197 w 10000"/>
                <a:gd name="connsiteY38" fmla="*/ 452 h 10000"/>
                <a:gd name="connsiteX39" fmla="*/ 8733 w 10000"/>
                <a:gd name="connsiteY39" fmla="*/ 323 h 10000"/>
                <a:gd name="connsiteX40" fmla="*/ 9211 w 10000"/>
                <a:gd name="connsiteY40" fmla="*/ 194 h 10000"/>
                <a:gd name="connsiteX41" fmla="*/ 9606 w 10000"/>
                <a:gd name="connsiteY41" fmla="*/ 65 h 10000"/>
                <a:gd name="connsiteX42" fmla="*/ 9888 w 10000"/>
                <a:gd name="connsiteY42" fmla="*/ 0 h 10000"/>
                <a:gd name="connsiteX0" fmla="*/ 9888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452 h 10000"/>
                <a:gd name="connsiteX3" fmla="*/ 10000 w 10000"/>
                <a:gd name="connsiteY3" fmla="*/ 968 h 10000"/>
                <a:gd name="connsiteX4" fmla="*/ 10000 w 10000"/>
                <a:gd name="connsiteY4" fmla="*/ 1548 h 10000"/>
                <a:gd name="connsiteX5" fmla="*/ 9972 w 10000"/>
                <a:gd name="connsiteY5" fmla="*/ 2194 h 10000"/>
                <a:gd name="connsiteX6" fmla="*/ 9972 w 10000"/>
                <a:gd name="connsiteY6" fmla="*/ 2871 h 10000"/>
                <a:gd name="connsiteX7" fmla="*/ 9972 w 10000"/>
                <a:gd name="connsiteY7" fmla="*/ 3484 h 10000"/>
                <a:gd name="connsiteX8" fmla="*/ 9972 w 10000"/>
                <a:gd name="connsiteY8" fmla="*/ 4000 h 10000"/>
                <a:gd name="connsiteX9" fmla="*/ 9972 w 10000"/>
                <a:gd name="connsiteY9" fmla="*/ 4032 h 10000"/>
                <a:gd name="connsiteX10" fmla="*/ 9972 w 10000"/>
                <a:gd name="connsiteY10" fmla="*/ 4161 h 10000"/>
                <a:gd name="connsiteX11" fmla="*/ 9972 w 10000"/>
                <a:gd name="connsiteY11" fmla="*/ 4258 h 10000"/>
                <a:gd name="connsiteX12" fmla="*/ 9915 w 10000"/>
                <a:gd name="connsiteY12" fmla="*/ 4290 h 10000"/>
                <a:gd name="connsiteX13" fmla="*/ 9915 w 10000"/>
                <a:gd name="connsiteY13" fmla="*/ 4290 h 10000"/>
                <a:gd name="connsiteX14" fmla="*/ 9888 w 10000"/>
                <a:gd name="connsiteY14" fmla="*/ 4290 h 10000"/>
                <a:gd name="connsiteX15" fmla="*/ 9859 w 10000"/>
                <a:gd name="connsiteY15" fmla="*/ 4290 h 10000"/>
                <a:gd name="connsiteX16" fmla="*/ 9859 w 10000"/>
                <a:gd name="connsiteY16" fmla="*/ 4290 h 10000"/>
                <a:gd name="connsiteX17" fmla="*/ 8789 w 10000"/>
                <a:gd name="connsiteY17" fmla="*/ 3323 h 10000"/>
                <a:gd name="connsiteX18" fmla="*/ 6451 w 10000"/>
                <a:gd name="connsiteY18" fmla="*/ 6484 h 10000"/>
                <a:gd name="connsiteX19" fmla="*/ 0 w 10000"/>
                <a:gd name="connsiteY19" fmla="*/ 10000 h 10000"/>
                <a:gd name="connsiteX20" fmla="*/ 5718 w 10000"/>
                <a:gd name="connsiteY20" fmla="*/ 5387 h 10000"/>
                <a:gd name="connsiteX21" fmla="*/ 7380 w 10000"/>
                <a:gd name="connsiteY21" fmla="*/ 2065 h 10000"/>
                <a:gd name="connsiteX22" fmla="*/ 7380 w 10000"/>
                <a:gd name="connsiteY22" fmla="*/ 2065 h 10000"/>
                <a:gd name="connsiteX23" fmla="*/ 7380 w 10000"/>
                <a:gd name="connsiteY23" fmla="*/ 2065 h 10000"/>
                <a:gd name="connsiteX24" fmla="*/ 6422 w 10000"/>
                <a:gd name="connsiteY24" fmla="*/ 1161 h 10000"/>
                <a:gd name="connsiteX25" fmla="*/ 6338 w 10000"/>
                <a:gd name="connsiteY25" fmla="*/ 1097 h 10000"/>
                <a:gd name="connsiteX26" fmla="*/ 6310 w 10000"/>
                <a:gd name="connsiteY26" fmla="*/ 1032 h 10000"/>
                <a:gd name="connsiteX27" fmla="*/ 6310 w 10000"/>
                <a:gd name="connsiteY27" fmla="*/ 1000 h 10000"/>
                <a:gd name="connsiteX28" fmla="*/ 6338 w 10000"/>
                <a:gd name="connsiteY28" fmla="*/ 968 h 10000"/>
                <a:gd name="connsiteX29" fmla="*/ 6395 w 10000"/>
                <a:gd name="connsiteY29" fmla="*/ 968 h 10000"/>
                <a:gd name="connsiteX30" fmla="*/ 6422 w 10000"/>
                <a:gd name="connsiteY30" fmla="*/ 903 h 10000"/>
                <a:gd name="connsiteX31" fmla="*/ 6451 w 10000"/>
                <a:gd name="connsiteY31" fmla="*/ 903 h 10000"/>
                <a:gd name="connsiteX32" fmla="*/ 6536 w 10000"/>
                <a:gd name="connsiteY32" fmla="*/ 903 h 10000"/>
                <a:gd name="connsiteX33" fmla="*/ 6648 w 10000"/>
                <a:gd name="connsiteY33" fmla="*/ 871 h 10000"/>
                <a:gd name="connsiteX34" fmla="*/ 6704 w 10000"/>
                <a:gd name="connsiteY34" fmla="*/ 871 h 10000"/>
                <a:gd name="connsiteX35" fmla="*/ 7155 w 10000"/>
                <a:gd name="connsiteY35" fmla="*/ 742 h 10000"/>
                <a:gd name="connsiteX36" fmla="*/ 7634 w 10000"/>
                <a:gd name="connsiteY36" fmla="*/ 613 h 10000"/>
                <a:gd name="connsiteX37" fmla="*/ 8197 w 10000"/>
                <a:gd name="connsiteY37" fmla="*/ 452 h 10000"/>
                <a:gd name="connsiteX38" fmla="*/ 8733 w 10000"/>
                <a:gd name="connsiteY38" fmla="*/ 323 h 10000"/>
                <a:gd name="connsiteX39" fmla="*/ 9211 w 10000"/>
                <a:gd name="connsiteY39" fmla="*/ 194 h 10000"/>
                <a:gd name="connsiteX40" fmla="*/ 9606 w 10000"/>
                <a:gd name="connsiteY40" fmla="*/ 65 h 10000"/>
                <a:gd name="connsiteX41" fmla="*/ 9888 w 10000"/>
                <a:gd name="connsiteY41" fmla="*/ 0 h 10000"/>
                <a:gd name="connsiteX0" fmla="*/ 9888 w 10007"/>
                <a:gd name="connsiteY0" fmla="*/ 0 h 10000"/>
                <a:gd name="connsiteX1" fmla="*/ 10000 w 10007"/>
                <a:gd name="connsiteY1" fmla="*/ 0 h 10000"/>
                <a:gd name="connsiteX2" fmla="*/ 10000 w 10007"/>
                <a:gd name="connsiteY2" fmla="*/ 452 h 10000"/>
                <a:gd name="connsiteX3" fmla="*/ 10007 w 10007"/>
                <a:gd name="connsiteY3" fmla="*/ 457 h 10000"/>
                <a:gd name="connsiteX4" fmla="*/ 10000 w 10007"/>
                <a:gd name="connsiteY4" fmla="*/ 968 h 10000"/>
                <a:gd name="connsiteX5" fmla="*/ 10000 w 10007"/>
                <a:gd name="connsiteY5" fmla="*/ 1548 h 10000"/>
                <a:gd name="connsiteX6" fmla="*/ 9972 w 10007"/>
                <a:gd name="connsiteY6" fmla="*/ 2194 h 10000"/>
                <a:gd name="connsiteX7" fmla="*/ 9972 w 10007"/>
                <a:gd name="connsiteY7" fmla="*/ 2871 h 10000"/>
                <a:gd name="connsiteX8" fmla="*/ 9972 w 10007"/>
                <a:gd name="connsiteY8" fmla="*/ 3484 h 10000"/>
                <a:gd name="connsiteX9" fmla="*/ 9972 w 10007"/>
                <a:gd name="connsiteY9" fmla="*/ 4000 h 10000"/>
                <a:gd name="connsiteX10" fmla="*/ 9972 w 10007"/>
                <a:gd name="connsiteY10" fmla="*/ 4032 h 10000"/>
                <a:gd name="connsiteX11" fmla="*/ 9972 w 10007"/>
                <a:gd name="connsiteY11" fmla="*/ 4161 h 10000"/>
                <a:gd name="connsiteX12" fmla="*/ 9972 w 10007"/>
                <a:gd name="connsiteY12" fmla="*/ 4258 h 10000"/>
                <a:gd name="connsiteX13" fmla="*/ 9915 w 10007"/>
                <a:gd name="connsiteY13" fmla="*/ 4290 h 10000"/>
                <a:gd name="connsiteX14" fmla="*/ 9915 w 10007"/>
                <a:gd name="connsiteY14" fmla="*/ 4290 h 10000"/>
                <a:gd name="connsiteX15" fmla="*/ 9888 w 10007"/>
                <a:gd name="connsiteY15" fmla="*/ 4290 h 10000"/>
                <a:gd name="connsiteX16" fmla="*/ 9859 w 10007"/>
                <a:gd name="connsiteY16" fmla="*/ 4290 h 10000"/>
                <a:gd name="connsiteX17" fmla="*/ 9859 w 10007"/>
                <a:gd name="connsiteY17" fmla="*/ 4290 h 10000"/>
                <a:gd name="connsiteX18" fmla="*/ 8789 w 10007"/>
                <a:gd name="connsiteY18" fmla="*/ 3323 h 10000"/>
                <a:gd name="connsiteX19" fmla="*/ 6451 w 10007"/>
                <a:gd name="connsiteY19" fmla="*/ 6484 h 10000"/>
                <a:gd name="connsiteX20" fmla="*/ 0 w 10007"/>
                <a:gd name="connsiteY20" fmla="*/ 10000 h 10000"/>
                <a:gd name="connsiteX21" fmla="*/ 5718 w 10007"/>
                <a:gd name="connsiteY21" fmla="*/ 5387 h 10000"/>
                <a:gd name="connsiteX22" fmla="*/ 7380 w 10007"/>
                <a:gd name="connsiteY22" fmla="*/ 2065 h 10000"/>
                <a:gd name="connsiteX23" fmla="*/ 7380 w 10007"/>
                <a:gd name="connsiteY23" fmla="*/ 2065 h 10000"/>
                <a:gd name="connsiteX24" fmla="*/ 7380 w 10007"/>
                <a:gd name="connsiteY24" fmla="*/ 2065 h 10000"/>
                <a:gd name="connsiteX25" fmla="*/ 6422 w 10007"/>
                <a:gd name="connsiteY25" fmla="*/ 1161 h 10000"/>
                <a:gd name="connsiteX26" fmla="*/ 6338 w 10007"/>
                <a:gd name="connsiteY26" fmla="*/ 1097 h 10000"/>
                <a:gd name="connsiteX27" fmla="*/ 6310 w 10007"/>
                <a:gd name="connsiteY27" fmla="*/ 1032 h 10000"/>
                <a:gd name="connsiteX28" fmla="*/ 6310 w 10007"/>
                <a:gd name="connsiteY28" fmla="*/ 1000 h 10000"/>
                <a:gd name="connsiteX29" fmla="*/ 6338 w 10007"/>
                <a:gd name="connsiteY29" fmla="*/ 968 h 10000"/>
                <a:gd name="connsiteX30" fmla="*/ 6395 w 10007"/>
                <a:gd name="connsiteY30" fmla="*/ 968 h 10000"/>
                <a:gd name="connsiteX31" fmla="*/ 6422 w 10007"/>
                <a:gd name="connsiteY31" fmla="*/ 903 h 10000"/>
                <a:gd name="connsiteX32" fmla="*/ 6451 w 10007"/>
                <a:gd name="connsiteY32" fmla="*/ 903 h 10000"/>
                <a:gd name="connsiteX33" fmla="*/ 6536 w 10007"/>
                <a:gd name="connsiteY33" fmla="*/ 903 h 10000"/>
                <a:gd name="connsiteX34" fmla="*/ 6648 w 10007"/>
                <a:gd name="connsiteY34" fmla="*/ 871 h 10000"/>
                <a:gd name="connsiteX35" fmla="*/ 6704 w 10007"/>
                <a:gd name="connsiteY35" fmla="*/ 871 h 10000"/>
                <a:gd name="connsiteX36" fmla="*/ 7155 w 10007"/>
                <a:gd name="connsiteY36" fmla="*/ 742 h 10000"/>
                <a:gd name="connsiteX37" fmla="*/ 7634 w 10007"/>
                <a:gd name="connsiteY37" fmla="*/ 613 h 10000"/>
                <a:gd name="connsiteX38" fmla="*/ 8197 w 10007"/>
                <a:gd name="connsiteY38" fmla="*/ 452 h 10000"/>
                <a:gd name="connsiteX39" fmla="*/ 8733 w 10007"/>
                <a:gd name="connsiteY39" fmla="*/ 323 h 10000"/>
                <a:gd name="connsiteX40" fmla="*/ 9211 w 10007"/>
                <a:gd name="connsiteY40" fmla="*/ 194 h 10000"/>
                <a:gd name="connsiteX41" fmla="*/ 9606 w 10007"/>
                <a:gd name="connsiteY41" fmla="*/ 65 h 10000"/>
                <a:gd name="connsiteX42" fmla="*/ 9888 w 10007"/>
                <a:gd name="connsiteY42" fmla="*/ 0 h 10000"/>
                <a:gd name="connsiteX0" fmla="*/ 9888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452 h 10000"/>
                <a:gd name="connsiteX3" fmla="*/ 10000 w 10000"/>
                <a:gd name="connsiteY3" fmla="*/ 968 h 10000"/>
                <a:gd name="connsiteX4" fmla="*/ 10000 w 10000"/>
                <a:gd name="connsiteY4" fmla="*/ 1548 h 10000"/>
                <a:gd name="connsiteX5" fmla="*/ 9972 w 10000"/>
                <a:gd name="connsiteY5" fmla="*/ 2194 h 10000"/>
                <a:gd name="connsiteX6" fmla="*/ 9972 w 10000"/>
                <a:gd name="connsiteY6" fmla="*/ 2871 h 10000"/>
                <a:gd name="connsiteX7" fmla="*/ 9972 w 10000"/>
                <a:gd name="connsiteY7" fmla="*/ 3484 h 10000"/>
                <a:gd name="connsiteX8" fmla="*/ 9972 w 10000"/>
                <a:gd name="connsiteY8" fmla="*/ 4000 h 10000"/>
                <a:gd name="connsiteX9" fmla="*/ 9972 w 10000"/>
                <a:gd name="connsiteY9" fmla="*/ 4032 h 10000"/>
                <a:gd name="connsiteX10" fmla="*/ 9972 w 10000"/>
                <a:gd name="connsiteY10" fmla="*/ 4161 h 10000"/>
                <a:gd name="connsiteX11" fmla="*/ 9972 w 10000"/>
                <a:gd name="connsiteY11" fmla="*/ 4258 h 10000"/>
                <a:gd name="connsiteX12" fmla="*/ 9915 w 10000"/>
                <a:gd name="connsiteY12" fmla="*/ 4290 h 10000"/>
                <a:gd name="connsiteX13" fmla="*/ 9915 w 10000"/>
                <a:gd name="connsiteY13" fmla="*/ 4290 h 10000"/>
                <a:gd name="connsiteX14" fmla="*/ 9888 w 10000"/>
                <a:gd name="connsiteY14" fmla="*/ 4290 h 10000"/>
                <a:gd name="connsiteX15" fmla="*/ 9859 w 10000"/>
                <a:gd name="connsiteY15" fmla="*/ 4290 h 10000"/>
                <a:gd name="connsiteX16" fmla="*/ 9859 w 10000"/>
                <a:gd name="connsiteY16" fmla="*/ 4290 h 10000"/>
                <a:gd name="connsiteX17" fmla="*/ 8789 w 10000"/>
                <a:gd name="connsiteY17" fmla="*/ 3323 h 10000"/>
                <a:gd name="connsiteX18" fmla="*/ 6451 w 10000"/>
                <a:gd name="connsiteY18" fmla="*/ 6484 h 10000"/>
                <a:gd name="connsiteX19" fmla="*/ 0 w 10000"/>
                <a:gd name="connsiteY19" fmla="*/ 10000 h 10000"/>
                <a:gd name="connsiteX20" fmla="*/ 5718 w 10000"/>
                <a:gd name="connsiteY20" fmla="*/ 5387 h 10000"/>
                <a:gd name="connsiteX21" fmla="*/ 7380 w 10000"/>
                <a:gd name="connsiteY21" fmla="*/ 2065 h 10000"/>
                <a:gd name="connsiteX22" fmla="*/ 7380 w 10000"/>
                <a:gd name="connsiteY22" fmla="*/ 2065 h 10000"/>
                <a:gd name="connsiteX23" fmla="*/ 7380 w 10000"/>
                <a:gd name="connsiteY23" fmla="*/ 2065 h 10000"/>
                <a:gd name="connsiteX24" fmla="*/ 6422 w 10000"/>
                <a:gd name="connsiteY24" fmla="*/ 1161 h 10000"/>
                <a:gd name="connsiteX25" fmla="*/ 6338 w 10000"/>
                <a:gd name="connsiteY25" fmla="*/ 1097 h 10000"/>
                <a:gd name="connsiteX26" fmla="*/ 6310 w 10000"/>
                <a:gd name="connsiteY26" fmla="*/ 1032 h 10000"/>
                <a:gd name="connsiteX27" fmla="*/ 6310 w 10000"/>
                <a:gd name="connsiteY27" fmla="*/ 1000 h 10000"/>
                <a:gd name="connsiteX28" fmla="*/ 6338 w 10000"/>
                <a:gd name="connsiteY28" fmla="*/ 968 h 10000"/>
                <a:gd name="connsiteX29" fmla="*/ 6395 w 10000"/>
                <a:gd name="connsiteY29" fmla="*/ 968 h 10000"/>
                <a:gd name="connsiteX30" fmla="*/ 6422 w 10000"/>
                <a:gd name="connsiteY30" fmla="*/ 903 h 10000"/>
                <a:gd name="connsiteX31" fmla="*/ 6451 w 10000"/>
                <a:gd name="connsiteY31" fmla="*/ 903 h 10000"/>
                <a:gd name="connsiteX32" fmla="*/ 6536 w 10000"/>
                <a:gd name="connsiteY32" fmla="*/ 903 h 10000"/>
                <a:gd name="connsiteX33" fmla="*/ 6648 w 10000"/>
                <a:gd name="connsiteY33" fmla="*/ 871 h 10000"/>
                <a:gd name="connsiteX34" fmla="*/ 6704 w 10000"/>
                <a:gd name="connsiteY34" fmla="*/ 871 h 10000"/>
                <a:gd name="connsiteX35" fmla="*/ 7155 w 10000"/>
                <a:gd name="connsiteY35" fmla="*/ 742 h 10000"/>
                <a:gd name="connsiteX36" fmla="*/ 7634 w 10000"/>
                <a:gd name="connsiteY36" fmla="*/ 613 h 10000"/>
                <a:gd name="connsiteX37" fmla="*/ 8197 w 10000"/>
                <a:gd name="connsiteY37" fmla="*/ 452 h 10000"/>
                <a:gd name="connsiteX38" fmla="*/ 8733 w 10000"/>
                <a:gd name="connsiteY38" fmla="*/ 323 h 10000"/>
                <a:gd name="connsiteX39" fmla="*/ 9211 w 10000"/>
                <a:gd name="connsiteY39" fmla="*/ 194 h 10000"/>
                <a:gd name="connsiteX40" fmla="*/ 9606 w 10000"/>
                <a:gd name="connsiteY40" fmla="*/ 65 h 10000"/>
                <a:gd name="connsiteX41" fmla="*/ 9888 w 10000"/>
                <a:gd name="connsiteY41" fmla="*/ 0 h 10000"/>
                <a:gd name="connsiteX0" fmla="*/ 9888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968 h 10000"/>
                <a:gd name="connsiteX3" fmla="*/ 10000 w 10000"/>
                <a:gd name="connsiteY3" fmla="*/ 1548 h 10000"/>
                <a:gd name="connsiteX4" fmla="*/ 9972 w 10000"/>
                <a:gd name="connsiteY4" fmla="*/ 2194 h 10000"/>
                <a:gd name="connsiteX5" fmla="*/ 9972 w 10000"/>
                <a:gd name="connsiteY5" fmla="*/ 2871 h 10000"/>
                <a:gd name="connsiteX6" fmla="*/ 9972 w 10000"/>
                <a:gd name="connsiteY6" fmla="*/ 3484 h 10000"/>
                <a:gd name="connsiteX7" fmla="*/ 9972 w 10000"/>
                <a:gd name="connsiteY7" fmla="*/ 4000 h 10000"/>
                <a:gd name="connsiteX8" fmla="*/ 9972 w 10000"/>
                <a:gd name="connsiteY8" fmla="*/ 4032 h 10000"/>
                <a:gd name="connsiteX9" fmla="*/ 9972 w 10000"/>
                <a:gd name="connsiteY9" fmla="*/ 4161 h 10000"/>
                <a:gd name="connsiteX10" fmla="*/ 9972 w 10000"/>
                <a:gd name="connsiteY10" fmla="*/ 4258 h 10000"/>
                <a:gd name="connsiteX11" fmla="*/ 9915 w 10000"/>
                <a:gd name="connsiteY11" fmla="*/ 4290 h 10000"/>
                <a:gd name="connsiteX12" fmla="*/ 9915 w 10000"/>
                <a:gd name="connsiteY12" fmla="*/ 4290 h 10000"/>
                <a:gd name="connsiteX13" fmla="*/ 9888 w 10000"/>
                <a:gd name="connsiteY13" fmla="*/ 4290 h 10000"/>
                <a:gd name="connsiteX14" fmla="*/ 9859 w 10000"/>
                <a:gd name="connsiteY14" fmla="*/ 4290 h 10000"/>
                <a:gd name="connsiteX15" fmla="*/ 9859 w 10000"/>
                <a:gd name="connsiteY15" fmla="*/ 4290 h 10000"/>
                <a:gd name="connsiteX16" fmla="*/ 8789 w 10000"/>
                <a:gd name="connsiteY16" fmla="*/ 3323 h 10000"/>
                <a:gd name="connsiteX17" fmla="*/ 6451 w 10000"/>
                <a:gd name="connsiteY17" fmla="*/ 6484 h 10000"/>
                <a:gd name="connsiteX18" fmla="*/ 0 w 10000"/>
                <a:gd name="connsiteY18" fmla="*/ 10000 h 10000"/>
                <a:gd name="connsiteX19" fmla="*/ 5718 w 10000"/>
                <a:gd name="connsiteY19" fmla="*/ 5387 h 10000"/>
                <a:gd name="connsiteX20" fmla="*/ 7380 w 10000"/>
                <a:gd name="connsiteY20" fmla="*/ 2065 h 10000"/>
                <a:gd name="connsiteX21" fmla="*/ 7380 w 10000"/>
                <a:gd name="connsiteY21" fmla="*/ 2065 h 10000"/>
                <a:gd name="connsiteX22" fmla="*/ 7380 w 10000"/>
                <a:gd name="connsiteY22" fmla="*/ 2065 h 10000"/>
                <a:gd name="connsiteX23" fmla="*/ 6422 w 10000"/>
                <a:gd name="connsiteY23" fmla="*/ 1161 h 10000"/>
                <a:gd name="connsiteX24" fmla="*/ 6338 w 10000"/>
                <a:gd name="connsiteY24" fmla="*/ 1097 h 10000"/>
                <a:gd name="connsiteX25" fmla="*/ 6310 w 10000"/>
                <a:gd name="connsiteY25" fmla="*/ 1032 h 10000"/>
                <a:gd name="connsiteX26" fmla="*/ 6310 w 10000"/>
                <a:gd name="connsiteY26" fmla="*/ 1000 h 10000"/>
                <a:gd name="connsiteX27" fmla="*/ 6338 w 10000"/>
                <a:gd name="connsiteY27" fmla="*/ 968 h 10000"/>
                <a:gd name="connsiteX28" fmla="*/ 6395 w 10000"/>
                <a:gd name="connsiteY28" fmla="*/ 968 h 10000"/>
                <a:gd name="connsiteX29" fmla="*/ 6422 w 10000"/>
                <a:gd name="connsiteY29" fmla="*/ 903 h 10000"/>
                <a:gd name="connsiteX30" fmla="*/ 6451 w 10000"/>
                <a:gd name="connsiteY30" fmla="*/ 903 h 10000"/>
                <a:gd name="connsiteX31" fmla="*/ 6536 w 10000"/>
                <a:gd name="connsiteY31" fmla="*/ 903 h 10000"/>
                <a:gd name="connsiteX32" fmla="*/ 6648 w 10000"/>
                <a:gd name="connsiteY32" fmla="*/ 871 h 10000"/>
                <a:gd name="connsiteX33" fmla="*/ 6704 w 10000"/>
                <a:gd name="connsiteY33" fmla="*/ 871 h 10000"/>
                <a:gd name="connsiteX34" fmla="*/ 7155 w 10000"/>
                <a:gd name="connsiteY34" fmla="*/ 742 h 10000"/>
                <a:gd name="connsiteX35" fmla="*/ 7634 w 10000"/>
                <a:gd name="connsiteY35" fmla="*/ 613 h 10000"/>
                <a:gd name="connsiteX36" fmla="*/ 8197 w 10000"/>
                <a:gd name="connsiteY36" fmla="*/ 452 h 10000"/>
                <a:gd name="connsiteX37" fmla="*/ 8733 w 10000"/>
                <a:gd name="connsiteY37" fmla="*/ 323 h 10000"/>
                <a:gd name="connsiteX38" fmla="*/ 9211 w 10000"/>
                <a:gd name="connsiteY38" fmla="*/ 194 h 10000"/>
                <a:gd name="connsiteX39" fmla="*/ 9606 w 10000"/>
                <a:gd name="connsiteY39" fmla="*/ 65 h 10000"/>
                <a:gd name="connsiteX40" fmla="*/ 9888 w 10000"/>
                <a:gd name="connsiteY40" fmla="*/ 0 h 10000"/>
                <a:gd name="connsiteX0" fmla="*/ 9888 w 10000"/>
                <a:gd name="connsiteY0" fmla="*/ 0 h 10000"/>
                <a:gd name="connsiteX1" fmla="*/ 10000 w 10000"/>
                <a:gd name="connsiteY1" fmla="*/ 0 h 10000"/>
                <a:gd name="connsiteX2" fmla="*/ 10000 w 10000"/>
                <a:gd name="connsiteY2" fmla="*/ 1548 h 10000"/>
                <a:gd name="connsiteX3" fmla="*/ 9972 w 10000"/>
                <a:gd name="connsiteY3" fmla="*/ 2194 h 10000"/>
                <a:gd name="connsiteX4" fmla="*/ 9972 w 10000"/>
                <a:gd name="connsiteY4" fmla="*/ 2871 h 10000"/>
                <a:gd name="connsiteX5" fmla="*/ 9972 w 10000"/>
                <a:gd name="connsiteY5" fmla="*/ 3484 h 10000"/>
                <a:gd name="connsiteX6" fmla="*/ 9972 w 10000"/>
                <a:gd name="connsiteY6" fmla="*/ 4000 h 10000"/>
                <a:gd name="connsiteX7" fmla="*/ 9972 w 10000"/>
                <a:gd name="connsiteY7" fmla="*/ 4032 h 10000"/>
                <a:gd name="connsiteX8" fmla="*/ 9972 w 10000"/>
                <a:gd name="connsiteY8" fmla="*/ 4161 h 10000"/>
                <a:gd name="connsiteX9" fmla="*/ 9972 w 10000"/>
                <a:gd name="connsiteY9" fmla="*/ 4258 h 10000"/>
                <a:gd name="connsiteX10" fmla="*/ 9915 w 10000"/>
                <a:gd name="connsiteY10" fmla="*/ 4290 h 10000"/>
                <a:gd name="connsiteX11" fmla="*/ 9915 w 10000"/>
                <a:gd name="connsiteY11" fmla="*/ 4290 h 10000"/>
                <a:gd name="connsiteX12" fmla="*/ 9888 w 10000"/>
                <a:gd name="connsiteY12" fmla="*/ 4290 h 10000"/>
                <a:gd name="connsiteX13" fmla="*/ 9859 w 10000"/>
                <a:gd name="connsiteY13" fmla="*/ 4290 h 10000"/>
                <a:gd name="connsiteX14" fmla="*/ 9859 w 10000"/>
                <a:gd name="connsiteY14" fmla="*/ 4290 h 10000"/>
                <a:gd name="connsiteX15" fmla="*/ 8789 w 10000"/>
                <a:gd name="connsiteY15" fmla="*/ 3323 h 10000"/>
                <a:gd name="connsiteX16" fmla="*/ 6451 w 10000"/>
                <a:gd name="connsiteY16" fmla="*/ 6484 h 10000"/>
                <a:gd name="connsiteX17" fmla="*/ 0 w 10000"/>
                <a:gd name="connsiteY17" fmla="*/ 10000 h 10000"/>
                <a:gd name="connsiteX18" fmla="*/ 5718 w 10000"/>
                <a:gd name="connsiteY18" fmla="*/ 5387 h 10000"/>
                <a:gd name="connsiteX19" fmla="*/ 7380 w 10000"/>
                <a:gd name="connsiteY19" fmla="*/ 2065 h 10000"/>
                <a:gd name="connsiteX20" fmla="*/ 7380 w 10000"/>
                <a:gd name="connsiteY20" fmla="*/ 2065 h 10000"/>
                <a:gd name="connsiteX21" fmla="*/ 7380 w 10000"/>
                <a:gd name="connsiteY21" fmla="*/ 2065 h 10000"/>
                <a:gd name="connsiteX22" fmla="*/ 6422 w 10000"/>
                <a:gd name="connsiteY22" fmla="*/ 1161 h 10000"/>
                <a:gd name="connsiteX23" fmla="*/ 6338 w 10000"/>
                <a:gd name="connsiteY23" fmla="*/ 1097 h 10000"/>
                <a:gd name="connsiteX24" fmla="*/ 6310 w 10000"/>
                <a:gd name="connsiteY24" fmla="*/ 1032 h 10000"/>
                <a:gd name="connsiteX25" fmla="*/ 6310 w 10000"/>
                <a:gd name="connsiteY25" fmla="*/ 1000 h 10000"/>
                <a:gd name="connsiteX26" fmla="*/ 6338 w 10000"/>
                <a:gd name="connsiteY26" fmla="*/ 968 h 10000"/>
                <a:gd name="connsiteX27" fmla="*/ 6395 w 10000"/>
                <a:gd name="connsiteY27" fmla="*/ 968 h 10000"/>
                <a:gd name="connsiteX28" fmla="*/ 6422 w 10000"/>
                <a:gd name="connsiteY28" fmla="*/ 903 h 10000"/>
                <a:gd name="connsiteX29" fmla="*/ 6451 w 10000"/>
                <a:gd name="connsiteY29" fmla="*/ 903 h 10000"/>
                <a:gd name="connsiteX30" fmla="*/ 6536 w 10000"/>
                <a:gd name="connsiteY30" fmla="*/ 903 h 10000"/>
                <a:gd name="connsiteX31" fmla="*/ 6648 w 10000"/>
                <a:gd name="connsiteY31" fmla="*/ 871 h 10000"/>
                <a:gd name="connsiteX32" fmla="*/ 6704 w 10000"/>
                <a:gd name="connsiteY32" fmla="*/ 871 h 10000"/>
                <a:gd name="connsiteX33" fmla="*/ 7155 w 10000"/>
                <a:gd name="connsiteY33" fmla="*/ 742 h 10000"/>
                <a:gd name="connsiteX34" fmla="*/ 7634 w 10000"/>
                <a:gd name="connsiteY34" fmla="*/ 613 h 10000"/>
                <a:gd name="connsiteX35" fmla="*/ 8197 w 10000"/>
                <a:gd name="connsiteY35" fmla="*/ 452 h 10000"/>
                <a:gd name="connsiteX36" fmla="*/ 8733 w 10000"/>
                <a:gd name="connsiteY36" fmla="*/ 323 h 10000"/>
                <a:gd name="connsiteX37" fmla="*/ 9211 w 10000"/>
                <a:gd name="connsiteY37" fmla="*/ 194 h 10000"/>
                <a:gd name="connsiteX38" fmla="*/ 9606 w 10000"/>
                <a:gd name="connsiteY38" fmla="*/ 65 h 10000"/>
                <a:gd name="connsiteX39" fmla="*/ 9888 w 10000"/>
                <a:gd name="connsiteY39" fmla="*/ 0 h 10000"/>
                <a:gd name="connsiteX0" fmla="*/ 9888 w 10000"/>
                <a:gd name="connsiteY0" fmla="*/ 0 h 10000"/>
                <a:gd name="connsiteX1" fmla="*/ 10000 w 10000"/>
                <a:gd name="connsiteY1" fmla="*/ 0 h 10000"/>
                <a:gd name="connsiteX2" fmla="*/ 9972 w 10000"/>
                <a:gd name="connsiteY2" fmla="*/ 2194 h 10000"/>
                <a:gd name="connsiteX3" fmla="*/ 9972 w 10000"/>
                <a:gd name="connsiteY3" fmla="*/ 2871 h 10000"/>
                <a:gd name="connsiteX4" fmla="*/ 9972 w 10000"/>
                <a:gd name="connsiteY4" fmla="*/ 3484 h 10000"/>
                <a:gd name="connsiteX5" fmla="*/ 9972 w 10000"/>
                <a:gd name="connsiteY5" fmla="*/ 4000 h 10000"/>
                <a:gd name="connsiteX6" fmla="*/ 9972 w 10000"/>
                <a:gd name="connsiteY6" fmla="*/ 4032 h 10000"/>
                <a:gd name="connsiteX7" fmla="*/ 9972 w 10000"/>
                <a:gd name="connsiteY7" fmla="*/ 4161 h 10000"/>
                <a:gd name="connsiteX8" fmla="*/ 9972 w 10000"/>
                <a:gd name="connsiteY8" fmla="*/ 4258 h 10000"/>
                <a:gd name="connsiteX9" fmla="*/ 9915 w 10000"/>
                <a:gd name="connsiteY9" fmla="*/ 4290 h 10000"/>
                <a:gd name="connsiteX10" fmla="*/ 9915 w 10000"/>
                <a:gd name="connsiteY10" fmla="*/ 4290 h 10000"/>
                <a:gd name="connsiteX11" fmla="*/ 9888 w 10000"/>
                <a:gd name="connsiteY11" fmla="*/ 4290 h 10000"/>
                <a:gd name="connsiteX12" fmla="*/ 9859 w 10000"/>
                <a:gd name="connsiteY12" fmla="*/ 4290 h 10000"/>
                <a:gd name="connsiteX13" fmla="*/ 9859 w 10000"/>
                <a:gd name="connsiteY13" fmla="*/ 4290 h 10000"/>
                <a:gd name="connsiteX14" fmla="*/ 8789 w 10000"/>
                <a:gd name="connsiteY14" fmla="*/ 3323 h 10000"/>
                <a:gd name="connsiteX15" fmla="*/ 6451 w 10000"/>
                <a:gd name="connsiteY15" fmla="*/ 6484 h 10000"/>
                <a:gd name="connsiteX16" fmla="*/ 0 w 10000"/>
                <a:gd name="connsiteY16" fmla="*/ 10000 h 10000"/>
                <a:gd name="connsiteX17" fmla="*/ 5718 w 10000"/>
                <a:gd name="connsiteY17" fmla="*/ 5387 h 10000"/>
                <a:gd name="connsiteX18" fmla="*/ 7380 w 10000"/>
                <a:gd name="connsiteY18" fmla="*/ 2065 h 10000"/>
                <a:gd name="connsiteX19" fmla="*/ 7380 w 10000"/>
                <a:gd name="connsiteY19" fmla="*/ 2065 h 10000"/>
                <a:gd name="connsiteX20" fmla="*/ 7380 w 10000"/>
                <a:gd name="connsiteY20" fmla="*/ 2065 h 10000"/>
                <a:gd name="connsiteX21" fmla="*/ 6422 w 10000"/>
                <a:gd name="connsiteY21" fmla="*/ 1161 h 10000"/>
                <a:gd name="connsiteX22" fmla="*/ 6338 w 10000"/>
                <a:gd name="connsiteY22" fmla="*/ 1097 h 10000"/>
                <a:gd name="connsiteX23" fmla="*/ 6310 w 10000"/>
                <a:gd name="connsiteY23" fmla="*/ 1032 h 10000"/>
                <a:gd name="connsiteX24" fmla="*/ 6310 w 10000"/>
                <a:gd name="connsiteY24" fmla="*/ 1000 h 10000"/>
                <a:gd name="connsiteX25" fmla="*/ 6338 w 10000"/>
                <a:gd name="connsiteY25" fmla="*/ 968 h 10000"/>
                <a:gd name="connsiteX26" fmla="*/ 6395 w 10000"/>
                <a:gd name="connsiteY26" fmla="*/ 968 h 10000"/>
                <a:gd name="connsiteX27" fmla="*/ 6422 w 10000"/>
                <a:gd name="connsiteY27" fmla="*/ 903 h 10000"/>
                <a:gd name="connsiteX28" fmla="*/ 6451 w 10000"/>
                <a:gd name="connsiteY28" fmla="*/ 903 h 10000"/>
                <a:gd name="connsiteX29" fmla="*/ 6536 w 10000"/>
                <a:gd name="connsiteY29" fmla="*/ 903 h 10000"/>
                <a:gd name="connsiteX30" fmla="*/ 6648 w 10000"/>
                <a:gd name="connsiteY30" fmla="*/ 871 h 10000"/>
                <a:gd name="connsiteX31" fmla="*/ 6704 w 10000"/>
                <a:gd name="connsiteY31" fmla="*/ 871 h 10000"/>
                <a:gd name="connsiteX32" fmla="*/ 7155 w 10000"/>
                <a:gd name="connsiteY32" fmla="*/ 742 h 10000"/>
                <a:gd name="connsiteX33" fmla="*/ 7634 w 10000"/>
                <a:gd name="connsiteY33" fmla="*/ 613 h 10000"/>
                <a:gd name="connsiteX34" fmla="*/ 8197 w 10000"/>
                <a:gd name="connsiteY34" fmla="*/ 452 h 10000"/>
                <a:gd name="connsiteX35" fmla="*/ 8733 w 10000"/>
                <a:gd name="connsiteY35" fmla="*/ 323 h 10000"/>
                <a:gd name="connsiteX36" fmla="*/ 9211 w 10000"/>
                <a:gd name="connsiteY36" fmla="*/ 194 h 10000"/>
                <a:gd name="connsiteX37" fmla="*/ 9606 w 10000"/>
                <a:gd name="connsiteY37" fmla="*/ 65 h 10000"/>
                <a:gd name="connsiteX38" fmla="*/ 9888 w 10000"/>
                <a:gd name="connsiteY38" fmla="*/ 0 h 10000"/>
                <a:gd name="connsiteX0" fmla="*/ 9888 w 10003"/>
                <a:gd name="connsiteY0" fmla="*/ 0 h 10000"/>
                <a:gd name="connsiteX1" fmla="*/ 10000 w 10003"/>
                <a:gd name="connsiteY1" fmla="*/ 0 h 10000"/>
                <a:gd name="connsiteX2" fmla="*/ 9972 w 10003"/>
                <a:gd name="connsiteY2" fmla="*/ 2871 h 10000"/>
                <a:gd name="connsiteX3" fmla="*/ 9972 w 10003"/>
                <a:gd name="connsiteY3" fmla="*/ 3484 h 10000"/>
                <a:gd name="connsiteX4" fmla="*/ 9972 w 10003"/>
                <a:gd name="connsiteY4" fmla="*/ 4000 h 10000"/>
                <a:gd name="connsiteX5" fmla="*/ 9972 w 10003"/>
                <a:gd name="connsiteY5" fmla="*/ 4032 h 10000"/>
                <a:gd name="connsiteX6" fmla="*/ 9972 w 10003"/>
                <a:gd name="connsiteY6" fmla="*/ 4161 h 10000"/>
                <a:gd name="connsiteX7" fmla="*/ 9972 w 10003"/>
                <a:gd name="connsiteY7" fmla="*/ 4258 h 10000"/>
                <a:gd name="connsiteX8" fmla="*/ 9915 w 10003"/>
                <a:gd name="connsiteY8" fmla="*/ 4290 h 10000"/>
                <a:gd name="connsiteX9" fmla="*/ 9915 w 10003"/>
                <a:gd name="connsiteY9" fmla="*/ 4290 h 10000"/>
                <a:gd name="connsiteX10" fmla="*/ 9888 w 10003"/>
                <a:gd name="connsiteY10" fmla="*/ 4290 h 10000"/>
                <a:gd name="connsiteX11" fmla="*/ 9859 w 10003"/>
                <a:gd name="connsiteY11" fmla="*/ 4290 h 10000"/>
                <a:gd name="connsiteX12" fmla="*/ 9859 w 10003"/>
                <a:gd name="connsiteY12" fmla="*/ 4290 h 10000"/>
                <a:gd name="connsiteX13" fmla="*/ 8789 w 10003"/>
                <a:gd name="connsiteY13" fmla="*/ 3323 h 10000"/>
                <a:gd name="connsiteX14" fmla="*/ 6451 w 10003"/>
                <a:gd name="connsiteY14" fmla="*/ 6484 h 10000"/>
                <a:gd name="connsiteX15" fmla="*/ 0 w 10003"/>
                <a:gd name="connsiteY15" fmla="*/ 10000 h 10000"/>
                <a:gd name="connsiteX16" fmla="*/ 5718 w 10003"/>
                <a:gd name="connsiteY16" fmla="*/ 5387 h 10000"/>
                <a:gd name="connsiteX17" fmla="*/ 7380 w 10003"/>
                <a:gd name="connsiteY17" fmla="*/ 2065 h 10000"/>
                <a:gd name="connsiteX18" fmla="*/ 7380 w 10003"/>
                <a:gd name="connsiteY18" fmla="*/ 2065 h 10000"/>
                <a:gd name="connsiteX19" fmla="*/ 7380 w 10003"/>
                <a:gd name="connsiteY19" fmla="*/ 2065 h 10000"/>
                <a:gd name="connsiteX20" fmla="*/ 6422 w 10003"/>
                <a:gd name="connsiteY20" fmla="*/ 1161 h 10000"/>
                <a:gd name="connsiteX21" fmla="*/ 6338 w 10003"/>
                <a:gd name="connsiteY21" fmla="*/ 1097 h 10000"/>
                <a:gd name="connsiteX22" fmla="*/ 6310 w 10003"/>
                <a:gd name="connsiteY22" fmla="*/ 1032 h 10000"/>
                <a:gd name="connsiteX23" fmla="*/ 6310 w 10003"/>
                <a:gd name="connsiteY23" fmla="*/ 1000 h 10000"/>
                <a:gd name="connsiteX24" fmla="*/ 6338 w 10003"/>
                <a:gd name="connsiteY24" fmla="*/ 968 h 10000"/>
                <a:gd name="connsiteX25" fmla="*/ 6395 w 10003"/>
                <a:gd name="connsiteY25" fmla="*/ 968 h 10000"/>
                <a:gd name="connsiteX26" fmla="*/ 6422 w 10003"/>
                <a:gd name="connsiteY26" fmla="*/ 903 h 10000"/>
                <a:gd name="connsiteX27" fmla="*/ 6451 w 10003"/>
                <a:gd name="connsiteY27" fmla="*/ 903 h 10000"/>
                <a:gd name="connsiteX28" fmla="*/ 6536 w 10003"/>
                <a:gd name="connsiteY28" fmla="*/ 903 h 10000"/>
                <a:gd name="connsiteX29" fmla="*/ 6648 w 10003"/>
                <a:gd name="connsiteY29" fmla="*/ 871 h 10000"/>
                <a:gd name="connsiteX30" fmla="*/ 6704 w 10003"/>
                <a:gd name="connsiteY30" fmla="*/ 871 h 10000"/>
                <a:gd name="connsiteX31" fmla="*/ 7155 w 10003"/>
                <a:gd name="connsiteY31" fmla="*/ 742 h 10000"/>
                <a:gd name="connsiteX32" fmla="*/ 7634 w 10003"/>
                <a:gd name="connsiteY32" fmla="*/ 613 h 10000"/>
                <a:gd name="connsiteX33" fmla="*/ 8197 w 10003"/>
                <a:gd name="connsiteY33" fmla="*/ 452 h 10000"/>
                <a:gd name="connsiteX34" fmla="*/ 8733 w 10003"/>
                <a:gd name="connsiteY34" fmla="*/ 323 h 10000"/>
                <a:gd name="connsiteX35" fmla="*/ 9211 w 10003"/>
                <a:gd name="connsiteY35" fmla="*/ 194 h 10000"/>
                <a:gd name="connsiteX36" fmla="*/ 9606 w 10003"/>
                <a:gd name="connsiteY36" fmla="*/ 65 h 10000"/>
                <a:gd name="connsiteX37" fmla="*/ 9888 w 10003"/>
                <a:gd name="connsiteY37" fmla="*/ 0 h 10000"/>
                <a:gd name="connsiteX0" fmla="*/ 9888 w 10003"/>
                <a:gd name="connsiteY0" fmla="*/ 0 h 10000"/>
                <a:gd name="connsiteX1" fmla="*/ 10000 w 10003"/>
                <a:gd name="connsiteY1" fmla="*/ 0 h 10000"/>
                <a:gd name="connsiteX2" fmla="*/ 9972 w 10003"/>
                <a:gd name="connsiteY2" fmla="*/ 3484 h 10000"/>
                <a:gd name="connsiteX3" fmla="*/ 9972 w 10003"/>
                <a:gd name="connsiteY3" fmla="*/ 4000 h 10000"/>
                <a:gd name="connsiteX4" fmla="*/ 9972 w 10003"/>
                <a:gd name="connsiteY4" fmla="*/ 4032 h 10000"/>
                <a:gd name="connsiteX5" fmla="*/ 9972 w 10003"/>
                <a:gd name="connsiteY5" fmla="*/ 4161 h 10000"/>
                <a:gd name="connsiteX6" fmla="*/ 9972 w 10003"/>
                <a:gd name="connsiteY6" fmla="*/ 4258 h 10000"/>
                <a:gd name="connsiteX7" fmla="*/ 9915 w 10003"/>
                <a:gd name="connsiteY7" fmla="*/ 4290 h 10000"/>
                <a:gd name="connsiteX8" fmla="*/ 9915 w 10003"/>
                <a:gd name="connsiteY8" fmla="*/ 4290 h 10000"/>
                <a:gd name="connsiteX9" fmla="*/ 9888 w 10003"/>
                <a:gd name="connsiteY9" fmla="*/ 4290 h 10000"/>
                <a:gd name="connsiteX10" fmla="*/ 9859 w 10003"/>
                <a:gd name="connsiteY10" fmla="*/ 4290 h 10000"/>
                <a:gd name="connsiteX11" fmla="*/ 9859 w 10003"/>
                <a:gd name="connsiteY11" fmla="*/ 4290 h 10000"/>
                <a:gd name="connsiteX12" fmla="*/ 8789 w 10003"/>
                <a:gd name="connsiteY12" fmla="*/ 3323 h 10000"/>
                <a:gd name="connsiteX13" fmla="*/ 6451 w 10003"/>
                <a:gd name="connsiteY13" fmla="*/ 6484 h 10000"/>
                <a:gd name="connsiteX14" fmla="*/ 0 w 10003"/>
                <a:gd name="connsiteY14" fmla="*/ 10000 h 10000"/>
                <a:gd name="connsiteX15" fmla="*/ 5718 w 10003"/>
                <a:gd name="connsiteY15" fmla="*/ 5387 h 10000"/>
                <a:gd name="connsiteX16" fmla="*/ 7380 w 10003"/>
                <a:gd name="connsiteY16" fmla="*/ 2065 h 10000"/>
                <a:gd name="connsiteX17" fmla="*/ 7380 w 10003"/>
                <a:gd name="connsiteY17" fmla="*/ 2065 h 10000"/>
                <a:gd name="connsiteX18" fmla="*/ 7380 w 10003"/>
                <a:gd name="connsiteY18" fmla="*/ 2065 h 10000"/>
                <a:gd name="connsiteX19" fmla="*/ 6422 w 10003"/>
                <a:gd name="connsiteY19" fmla="*/ 1161 h 10000"/>
                <a:gd name="connsiteX20" fmla="*/ 6338 w 10003"/>
                <a:gd name="connsiteY20" fmla="*/ 1097 h 10000"/>
                <a:gd name="connsiteX21" fmla="*/ 6310 w 10003"/>
                <a:gd name="connsiteY21" fmla="*/ 1032 h 10000"/>
                <a:gd name="connsiteX22" fmla="*/ 6310 w 10003"/>
                <a:gd name="connsiteY22" fmla="*/ 1000 h 10000"/>
                <a:gd name="connsiteX23" fmla="*/ 6338 w 10003"/>
                <a:gd name="connsiteY23" fmla="*/ 968 h 10000"/>
                <a:gd name="connsiteX24" fmla="*/ 6395 w 10003"/>
                <a:gd name="connsiteY24" fmla="*/ 968 h 10000"/>
                <a:gd name="connsiteX25" fmla="*/ 6422 w 10003"/>
                <a:gd name="connsiteY25" fmla="*/ 903 h 10000"/>
                <a:gd name="connsiteX26" fmla="*/ 6451 w 10003"/>
                <a:gd name="connsiteY26" fmla="*/ 903 h 10000"/>
                <a:gd name="connsiteX27" fmla="*/ 6536 w 10003"/>
                <a:gd name="connsiteY27" fmla="*/ 903 h 10000"/>
                <a:gd name="connsiteX28" fmla="*/ 6648 w 10003"/>
                <a:gd name="connsiteY28" fmla="*/ 871 h 10000"/>
                <a:gd name="connsiteX29" fmla="*/ 6704 w 10003"/>
                <a:gd name="connsiteY29" fmla="*/ 871 h 10000"/>
                <a:gd name="connsiteX30" fmla="*/ 7155 w 10003"/>
                <a:gd name="connsiteY30" fmla="*/ 742 h 10000"/>
                <a:gd name="connsiteX31" fmla="*/ 7634 w 10003"/>
                <a:gd name="connsiteY31" fmla="*/ 613 h 10000"/>
                <a:gd name="connsiteX32" fmla="*/ 8197 w 10003"/>
                <a:gd name="connsiteY32" fmla="*/ 452 h 10000"/>
                <a:gd name="connsiteX33" fmla="*/ 8733 w 10003"/>
                <a:gd name="connsiteY33" fmla="*/ 323 h 10000"/>
                <a:gd name="connsiteX34" fmla="*/ 9211 w 10003"/>
                <a:gd name="connsiteY34" fmla="*/ 194 h 10000"/>
                <a:gd name="connsiteX35" fmla="*/ 9606 w 10003"/>
                <a:gd name="connsiteY35" fmla="*/ 65 h 10000"/>
                <a:gd name="connsiteX36" fmla="*/ 9888 w 10003"/>
                <a:gd name="connsiteY36" fmla="*/ 0 h 10000"/>
                <a:gd name="connsiteX0" fmla="*/ 9888 w 10003"/>
                <a:gd name="connsiteY0" fmla="*/ 0 h 10000"/>
                <a:gd name="connsiteX1" fmla="*/ 10000 w 10003"/>
                <a:gd name="connsiteY1" fmla="*/ 0 h 10000"/>
                <a:gd name="connsiteX2" fmla="*/ 9972 w 10003"/>
                <a:gd name="connsiteY2" fmla="*/ 4000 h 10000"/>
                <a:gd name="connsiteX3" fmla="*/ 9972 w 10003"/>
                <a:gd name="connsiteY3" fmla="*/ 4032 h 10000"/>
                <a:gd name="connsiteX4" fmla="*/ 9972 w 10003"/>
                <a:gd name="connsiteY4" fmla="*/ 4161 h 10000"/>
                <a:gd name="connsiteX5" fmla="*/ 9972 w 10003"/>
                <a:gd name="connsiteY5" fmla="*/ 4258 h 10000"/>
                <a:gd name="connsiteX6" fmla="*/ 9915 w 10003"/>
                <a:gd name="connsiteY6" fmla="*/ 4290 h 10000"/>
                <a:gd name="connsiteX7" fmla="*/ 9915 w 10003"/>
                <a:gd name="connsiteY7" fmla="*/ 4290 h 10000"/>
                <a:gd name="connsiteX8" fmla="*/ 9888 w 10003"/>
                <a:gd name="connsiteY8" fmla="*/ 4290 h 10000"/>
                <a:gd name="connsiteX9" fmla="*/ 9859 w 10003"/>
                <a:gd name="connsiteY9" fmla="*/ 4290 h 10000"/>
                <a:gd name="connsiteX10" fmla="*/ 9859 w 10003"/>
                <a:gd name="connsiteY10" fmla="*/ 4290 h 10000"/>
                <a:gd name="connsiteX11" fmla="*/ 8789 w 10003"/>
                <a:gd name="connsiteY11" fmla="*/ 3323 h 10000"/>
                <a:gd name="connsiteX12" fmla="*/ 6451 w 10003"/>
                <a:gd name="connsiteY12" fmla="*/ 6484 h 10000"/>
                <a:gd name="connsiteX13" fmla="*/ 0 w 10003"/>
                <a:gd name="connsiteY13" fmla="*/ 10000 h 10000"/>
                <a:gd name="connsiteX14" fmla="*/ 5718 w 10003"/>
                <a:gd name="connsiteY14" fmla="*/ 5387 h 10000"/>
                <a:gd name="connsiteX15" fmla="*/ 7380 w 10003"/>
                <a:gd name="connsiteY15" fmla="*/ 2065 h 10000"/>
                <a:gd name="connsiteX16" fmla="*/ 7380 w 10003"/>
                <a:gd name="connsiteY16" fmla="*/ 2065 h 10000"/>
                <a:gd name="connsiteX17" fmla="*/ 7380 w 10003"/>
                <a:gd name="connsiteY17" fmla="*/ 2065 h 10000"/>
                <a:gd name="connsiteX18" fmla="*/ 6422 w 10003"/>
                <a:gd name="connsiteY18" fmla="*/ 1161 h 10000"/>
                <a:gd name="connsiteX19" fmla="*/ 6338 w 10003"/>
                <a:gd name="connsiteY19" fmla="*/ 1097 h 10000"/>
                <a:gd name="connsiteX20" fmla="*/ 6310 w 10003"/>
                <a:gd name="connsiteY20" fmla="*/ 1032 h 10000"/>
                <a:gd name="connsiteX21" fmla="*/ 6310 w 10003"/>
                <a:gd name="connsiteY21" fmla="*/ 1000 h 10000"/>
                <a:gd name="connsiteX22" fmla="*/ 6338 w 10003"/>
                <a:gd name="connsiteY22" fmla="*/ 968 h 10000"/>
                <a:gd name="connsiteX23" fmla="*/ 6395 w 10003"/>
                <a:gd name="connsiteY23" fmla="*/ 968 h 10000"/>
                <a:gd name="connsiteX24" fmla="*/ 6422 w 10003"/>
                <a:gd name="connsiteY24" fmla="*/ 903 h 10000"/>
                <a:gd name="connsiteX25" fmla="*/ 6451 w 10003"/>
                <a:gd name="connsiteY25" fmla="*/ 903 h 10000"/>
                <a:gd name="connsiteX26" fmla="*/ 6536 w 10003"/>
                <a:gd name="connsiteY26" fmla="*/ 903 h 10000"/>
                <a:gd name="connsiteX27" fmla="*/ 6648 w 10003"/>
                <a:gd name="connsiteY27" fmla="*/ 871 h 10000"/>
                <a:gd name="connsiteX28" fmla="*/ 6704 w 10003"/>
                <a:gd name="connsiteY28" fmla="*/ 871 h 10000"/>
                <a:gd name="connsiteX29" fmla="*/ 7155 w 10003"/>
                <a:gd name="connsiteY29" fmla="*/ 742 h 10000"/>
                <a:gd name="connsiteX30" fmla="*/ 7634 w 10003"/>
                <a:gd name="connsiteY30" fmla="*/ 613 h 10000"/>
                <a:gd name="connsiteX31" fmla="*/ 8197 w 10003"/>
                <a:gd name="connsiteY31" fmla="*/ 452 h 10000"/>
                <a:gd name="connsiteX32" fmla="*/ 8733 w 10003"/>
                <a:gd name="connsiteY32" fmla="*/ 323 h 10000"/>
                <a:gd name="connsiteX33" fmla="*/ 9211 w 10003"/>
                <a:gd name="connsiteY33" fmla="*/ 194 h 10000"/>
                <a:gd name="connsiteX34" fmla="*/ 9606 w 10003"/>
                <a:gd name="connsiteY34" fmla="*/ 65 h 10000"/>
                <a:gd name="connsiteX35" fmla="*/ 9888 w 10003"/>
                <a:gd name="connsiteY35" fmla="*/ 0 h 10000"/>
                <a:gd name="connsiteX0" fmla="*/ 9888 w 10003"/>
                <a:gd name="connsiteY0" fmla="*/ 0 h 10000"/>
                <a:gd name="connsiteX1" fmla="*/ 10000 w 10003"/>
                <a:gd name="connsiteY1" fmla="*/ 0 h 10000"/>
                <a:gd name="connsiteX2" fmla="*/ 9972 w 10003"/>
                <a:gd name="connsiteY2" fmla="*/ 4000 h 10000"/>
                <a:gd name="connsiteX3" fmla="*/ 9972 w 10003"/>
                <a:gd name="connsiteY3" fmla="*/ 4161 h 10000"/>
                <a:gd name="connsiteX4" fmla="*/ 9972 w 10003"/>
                <a:gd name="connsiteY4" fmla="*/ 4258 h 10000"/>
                <a:gd name="connsiteX5" fmla="*/ 9915 w 10003"/>
                <a:gd name="connsiteY5" fmla="*/ 4290 h 10000"/>
                <a:gd name="connsiteX6" fmla="*/ 9915 w 10003"/>
                <a:gd name="connsiteY6" fmla="*/ 4290 h 10000"/>
                <a:gd name="connsiteX7" fmla="*/ 9888 w 10003"/>
                <a:gd name="connsiteY7" fmla="*/ 4290 h 10000"/>
                <a:gd name="connsiteX8" fmla="*/ 9859 w 10003"/>
                <a:gd name="connsiteY8" fmla="*/ 4290 h 10000"/>
                <a:gd name="connsiteX9" fmla="*/ 9859 w 10003"/>
                <a:gd name="connsiteY9" fmla="*/ 4290 h 10000"/>
                <a:gd name="connsiteX10" fmla="*/ 8789 w 10003"/>
                <a:gd name="connsiteY10" fmla="*/ 3323 h 10000"/>
                <a:gd name="connsiteX11" fmla="*/ 6451 w 10003"/>
                <a:gd name="connsiteY11" fmla="*/ 6484 h 10000"/>
                <a:gd name="connsiteX12" fmla="*/ 0 w 10003"/>
                <a:gd name="connsiteY12" fmla="*/ 10000 h 10000"/>
                <a:gd name="connsiteX13" fmla="*/ 5718 w 10003"/>
                <a:gd name="connsiteY13" fmla="*/ 5387 h 10000"/>
                <a:gd name="connsiteX14" fmla="*/ 7380 w 10003"/>
                <a:gd name="connsiteY14" fmla="*/ 2065 h 10000"/>
                <a:gd name="connsiteX15" fmla="*/ 7380 w 10003"/>
                <a:gd name="connsiteY15" fmla="*/ 2065 h 10000"/>
                <a:gd name="connsiteX16" fmla="*/ 7380 w 10003"/>
                <a:gd name="connsiteY16" fmla="*/ 2065 h 10000"/>
                <a:gd name="connsiteX17" fmla="*/ 6422 w 10003"/>
                <a:gd name="connsiteY17" fmla="*/ 1161 h 10000"/>
                <a:gd name="connsiteX18" fmla="*/ 6338 w 10003"/>
                <a:gd name="connsiteY18" fmla="*/ 1097 h 10000"/>
                <a:gd name="connsiteX19" fmla="*/ 6310 w 10003"/>
                <a:gd name="connsiteY19" fmla="*/ 1032 h 10000"/>
                <a:gd name="connsiteX20" fmla="*/ 6310 w 10003"/>
                <a:gd name="connsiteY20" fmla="*/ 1000 h 10000"/>
                <a:gd name="connsiteX21" fmla="*/ 6338 w 10003"/>
                <a:gd name="connsiteY21" fmla="*/ 968 h 10000"/>
                <a:gd name="connsiteX22" fmla="*/ 6395 w 10003"/>
                <a:gd name="connsiteY22" fmla="*/ 968 h 10000"/>
                <a:gd name="connsiteX23" fmla="*/ 6422 w 10003"/>
                <a:gd name="connsiteY23" fmla="*/ 903 h 10000"/>
                <a:gd name="connsiteX24" fmla="*/ 6451 w 10003"/>
                <a:gd name="connsiteY24" fmla="*/ 903 h 10000"/>
                <a:gd name="connsiteX25" fmla="*/ 6536 w 10003"/>
                <a:gd name="connsiteY25" fmla="*/ 903 h 10000"/>
                <a:gd name="connsiteX26" fmla="*/ 6648 w 10003"/>
                <a:gd name="connsiteY26" fmla="*/ 871 h 10000"/>
                <a:gd name="connsiteX27" fmla="*/ 6704 w 10003"/>
                <a:gd name="connsiteY27" fmla="*/ 871 h 10000"/>
                <a:gd name="connsiteX28" fmla="*/ 7155 w 10003"/>
                <a:gd name="connsiteY28" fmla="*/ 742 h 10000"/>
                <a:gd name="connsiteX29" fmla="*/ 7634 w 10003"/>
                <a:gd name="connsiteY29" fmla="*/ 613 h 10000"/>
                <a:gd name="connsiteX30" fmla="*/ 8197 w 10003"/>
                <a:gd name="connsiteY30" fmla="*/ 452 h 10000"/>
                <a:gd name="connsiteX31" fmla="*/ 8733 w 10003"/>
                <a:gd name="connsiteY31" fmla="*/ 323 h 10000"/>
                <a:gd name="connsiteX32" fmla="*/ 9211 w 10003"/>
                <a:gd name="connsiteY32" fmla="*/ 194 h 10000"/>
                <a:gd name="connsiteX33" fmla="*/ 9606 w 10003"/>
                <a:gd name="connsiteY33" fmla="*/ 65 h 10000"/>
                <a:gd name="connsiteX34" fmla="*/ 9888 w 10003"/>
                <a:gd name="connsiteY34" fmla="*/ 0 h 10000"/>
                <a:gd name="connsiteX0" fmla="*/ 9888 w 10003"/>
                <a:gd name="connsiteY0" fmla="*/ 0 h 10000"/>
                <a:gd name="connsiteX1" fmla="*/ 10000 w 10003"/>
                <a:gd name="connsiteY1" fmla="*/ 0 h 10000"/>
                <a:gd name="connsiteX2" fmla="*/ 9972 w 10003"/>
                <a:gd name="connsiteY2" fmla="*/ 4161 h 10000"/>
                <a:gd name="connsiteX3" fmla="*/ 9972 w 10003"/>
                <a:gd name="connsiteY3" fmla="*/ 4258 h 10000"/>
                <a:gd name="connsiteX4" fmla="*/ 9915 w 10003"/>
                <a:gd name="connsiteY4" fmla="*/ 4290 h 10000"/>
                <a:gd name="connsiteX5" fmla="*/ 9915 w 10003"/>
                <a:gd name="connsiteY5" fmla="*/ 4290 h 10000"/>
                <a:gd name="connsiteX6" fmla="*/ 9888 w 10003"/>
                <a:gd name="connsiteY6" fmla="*/ 4290 h 10000"/>
                <a:gd name="connsiteX7" fmla="*/ 9859 w 10003"/>
                <a:gd name="connsiteY7" fmla="*/ 4290 h 10000"/>
                <a:gd name="connsiteX8" fmla="*/ 9859 w 10003"/>
                <a:gd name="connsiteY8" fmla="*/ 4290 h 10000"/>
                <a:gd name="connsiteX9" fmla="*/ 8789 w 10003"/>
                <a:gd name="connsiteY9" fmla="*/ 3323 h 10000"/>
                <a:gd name="connsiteX10" fmla="*/ 6451 w 10003"/>
                <a:gd name="connsiteY10" fmla="*/ 6484 h 10000"/>
                <a:gd name="connsiteX11" fmla="*/ 0 w 10003"/>
                <a:gd name="connsiteY11" fmla="*/ 10000 h 10000"/>
                <a:gd name="connsiteX12" fmla="*/ 5718 w 10003"/>
                <a:gd name="connsiteY12" fmla="*/ 5387 h 10000"/>
                <a:gd name="connsiteX13" fmla="*/ 7380 w 10003"/>
                <a:gd name="connsiteY13" fmla="*/ 2065 h 10000"/>
                <a:gd name="connsiteX14" fmla="*/ 7380 w 10003"/>
                <a:gd name="connsiteY14" fmla="*/ 2065 h 10000"/>
                <a:gd name="connsiteX15" fmla="*/ 7380 w 10003"/>
                <a:gd name="connsiteY15" fmla="*/ 2065 h 10000"/>
                <a:gd name="connsiteX16" fmla="*/ 6422 w 10003"/>
                <a:gd name="connsiteY16" fmla="*/ 1161 h 10000"/>
                <a:gd name="connsiteX17" fmla="*/ 6338 w 10003"/>
                <a:gd name="connsiteY17" fmla="*/ 1097 h 10000"/>
                <a:gd name="connsiteX18" fmla="*/ 6310 w 10003"/>
                <a:gd name="connsiteY18" fmla="*/ 1032 h 10000"/>
                <a:gd name="connsiteX19" fmla="*/ 6310 w 10003"/>
                <a:gd name="connsiteY19" fmla="*/ 1000 h 10000"/>
                <a:gd name="connsiteX20" fmla="*/ 6338 w 10003"/>
                <a:gd name="connsiteY20" fmla="*/ 968 h 10000"/>
                <a:gd name="connsiteX21" fmla="*/ 6395 w 10003"/>
                <a:gd name="connsiteY21" fmla="*/ 968 h 10000"/>
                <a:gd name="connsiteX22" fmla="*/ 6422 w 10003"/>
                <a:gd name="connsiteY22" fmla="*/ 903 h 10000"/>
                <a:gd name="connsiteX23" fmla="*/ 6451 w 10003"/>
                <a:gd name="connsiteY23" fmla="*/ 903 h 10000"/>
                <a:gd name="connsiteX24" fmla="*/ 6536 w 10003"/>
                <a:gd name="connsiteY24" fmla="*/ 903 h 10000"/>
                <a:gd name="connsiteX25" fmla="*/ 6648 w 10003"/>
                <a:gd name="connsiteY25" fmla="*/ 871 h 10000"/>
                <a:gd name="connsiteX26" fmla="*/ 6704 w 10003"/>
                <a:gd name="connsiteY26" fmla="*/ 871 h 10000"/>
                <a:gd name="connsiteX27" fmla="*/ 7155 w 10003"/>
                <a:gd name="connsiteY27" fmla="*/ 742 h 10000"/>
                <a:gd name="connsiteX28" fmla="*/ 7634 w 10003"/>
                <a:gd name="connsiteY28" fmla="*/ 613 h 10000"/>
                <a:gd name="connsiteX29" fmla="*/ 8197 w 10003"/>
                <a:gd name="connsiteY29" fmla="*/ 452 h 10000"/>
                <a:gd name="connsiteX30" fmla="*/ 8733 w 10003"/>
                <a:gd name="connsiteY30" fmla="*/ 323 h 10000"/>
                <a:gd name="connsiteX31" fmla="*/ 9211 w 10003"/>
                <a:gd name="connsiteY31" fmla="*/ 194 h 10000"/>
                <a:gd name="connsiteX32" fmla="*/ 9606 w 10003"/>
                <a:gd name="connsiteY32" fmla="*/ 65 h 10000"/>
                <a:gd name="connsiteX33" fmla="*/ 9888 w 10003"/>
                <a:gd name="connsiteY33" fmla="*/ 0 h 10000"/>
                <a:gd name="connsiteX0" fmla="*/ 9888 w 10003"/>
                <a:gd name="connsiteY0" fmla="*/ 0 h 10000"/>
                <a:gd name="connsiteX1" fmla="*/ 10000 w 10003"/>
                <a:gd name="connsiteY1" fmla="*/ 0 h 10000"/>
                <a:gd name="connsiteX2" fmla="*/ 9972 w 10003"/>
                <a:gd name="connsiteY2" fmla="*/ 4161 h 10000"/>
                <a:gd name="connsiteX3" fmla="*/ 9972 w 10003"/>
                <a:gd name="connsiteY3" fmla="*/ 4258 h 10000"/>
                <a:gd name="connsiteX4" fmla="*/ 9915 w 10003"/>
                <a:gd name="connsiteY4" fmla="*/ 4290 h 10000"/>
                <a:gd name="connsiteX5" fmla="*/ 9888 w 10003"/>
                <a:gd name="connsiteY5" fmla="*/ 4290 h 10000"/>
                <a:gd name="connsiteX6" fmla="*/ 9859 w 10003"/>
                <a:gd name="connsiteY6" fmla="*/ 4290 h 10000"/>
                <a:gd name="connsiteX7" fmla="*/ 9859 w 10003"/>
                <a:gd name="connsiteY7" fmla="*/ 4290 h 10000"/>
                <a:gd name="connsiteX8" fmla="*/ 8789 w 10003"/>
                <a:gd name="connsiteY8" fmla="*/ 3323 h 10000"/>
                <a:gd name="connsiteX9" fmla="*/ 6451 w 10003"/>
                <a:gd name="connsiteY9" fmla="*/ 6484 h 10000"/>
                <a:gd name="connsiteX10" fmla="*/ 0 w 10003"/>
                <a:gd name="connsiteY10" fmla="*/ 10000 h 10000"/>
                <a:gd name="connsiteX11" fmla="*/ 5718 w 10003"/>
                <a:gd name="connsiteY11" fmla="*/ 5387 h 10000"/>
                <a:gd name="connsiteX12" fmla="*/ 7380 w 10003"/>
                <a:gd name="connsiteY12" fmla="*/ 2065 h 10000"/>
                <a:gd name="connsiteX13" fmla="*/ 7380 w 10003"/>
                <a:gd name="connsiteY13" fmla="*/ 2065 h 10000"/>
                <a:gd name="connsiteX14" fmla="*/ 7380 w 10003"/>
                <a:gd name="connsiteY14" fmla="*/ 2065 h 10000"/>
                <a:gd name="connsiteX15" fmla="*/ 6422 w 10003"/>
                <a:gd name="connsiteY15" fmla="*/ 1161 h 10000"/>
                <a:gd name="connsiteX16" fmla="*/ 6338 w 10003"/>
                <a:gd name="connsiteY16" fmla="*/ 1097 h 10000"/>
                <a:gd name="connsiteX17" fmla="*/ 6310 w 10003"/>
                <a:gd name="connsiteY17" fmla="*/ 1032 h 10000"/>
                <a:gd name="connsiteX18" fmla="*/ 6310 w 10003"/>
                <a:gd name="connsiteY18" fmla="*/ 1000 h 10000"/>
                <a:gd name="connsiteX19" fmla="*/ 6338 w 10003"/>
                <a:gd name="connsiteY19" fmla="*/ 968 h 10000"/>
                <a:gd name="connsiteX20" fmla="*/ 6395 w 10003"/>
                <a:gd name="connsiteY20" fmla="*/ 968 h 10000"/>
                <a:gd name="connsiteX21" fmla="*/ 6422 w 10003"/>
                <a:gd name="connsiteY21" fmla="*/ 903 h 10000"/>
                <a:gd name="connsiteX22" fmla="*/ 6451 w 10003"/>
                <a:gd name="connsiteY22" fmla="*/ 903 h 10000"/>
                <a:gd name="connsiteX23" fmla="*/ 6536 w 10003"/>
                <a:gd name="connsiteY23" fmla="*/ 903 h 10000"/>
                <a:gd name="connsiteX24" fmla="*/ 6648 w 10003"/>
                <a:gd name="connsiteY24" fmla="*/ 871 h 10000"/>
                <a:gd name="connsiteX25" fmla="*/ 6704 w 10003"/>
                <a:gd name="connsiteY25" fmla="*/ 871 h 10000"/>
                <a:gd name="connsiteX26" fmla="*/ 7155 w 10003"/>
                <a:gd name="connsiteY26" fmla="*/ 742 h 10000"/>
                <a:gd name="connsiteX27" fmla="*/ 7634 w 10003"/>
                <a:gd name="connsiteY27" fmla="*/ 613 h 10000"/>
                <a:gd name="connsiteX28" fmla="*/ 8197 w 10003"/>
                <a:gd name="connsiteY28" fmla="*/ 452 h 10000"/>
                <a:gd name="connsiteX29" fmla="*/ 8733 w 10003"/>
                <a:gd name="connsiteY29" fmla="*/ 323 h 10000"/>
                <a:gd name="connsiteX30" fmla="*/ 9211 w 10003"/>
                <a:gd name="connsiteY30" fmla="*/ 194 h 10000"/>
                <a:gd name="connsiteX31" fmla="*/ 9606 w 10003"/>
                <a:gd name="connsiteY31" fmla="*/ 65 h 10000"/>
                <a:gd name="connsiteX32" fmla="*/ 9888 w 10003"/>
                <a:gd name="connsiteY32" fmla="*/ 0 h 10000"/>
                <a:gd name="connsiteX0" fmla="*/ 9888 w 10003"/>
                <a:gd name="connsiteY0" fmla="*/ 0 h 10000"/>
                <a:gd name="connsiteX1" fmla="*/ 10000 w 10003"/>
                <a:gd name="connsiteY1" fmla="*/ 0 h 10000"/>
                <a:gd name="connsiteX2" fmla="*/ 9972 w 10003"/>
                <a:gd name="connsiteY2" fmla="*/ 4258 h 10000"/>
                <a:gd name="connsiteX3" fmla="*/ 9915 w 10003"/>
                <a:gd name="connsiteY3" fmla="*/ 4290 h 10000"/>
                <a:gd name="connsiteX4" fmla="*/ 9888 w 10003"/>
                <a:gd name="connsiteY4" fmla="*/ 4290 h 10000"/>
                <a:gd name="connsiteX5" fmla="*/ 9859 w 10003"/>
                <a:gd name="connsiteY5" fmla="*/ 4290 h 10000"/>
                <a:gd name="connsiteX6" fmla="*/ 9859 w 10003"/>
                <a:gd name="connsiteY6" fmla="*/ 4290 h 10000"/>
                <a:gd name="connsiteX7" fmla="*/ 8789 w 10003"/>
                <a:gd name="connsiteY7" fmla="*/ 3323 h 10000"/>
                <a:gd name="connsiteX8" fmla="*/ 6451 w 10003"/>
                <a:gd name="connsiteY8" fmla="*/ 6484 h 10000"/>
                <a:gd name="connsiteX9" fmla="*/ 0 w 10003"/>
                <a:gd name="connsiteY9" fmla="*/ 10000 h 10000"/>
                <a:gd name="connsiteX10" fmla="*/ 5718 w 10003"/>
                <a:gd name="connsiteY10" fmla="*/ 5387 h 10000"/>
                <a:gd name="connsiteX11" fmla="*/ 7380 w 10003"/>
                <a:gd name="connsiteY11" fmla="*/ 2065 h 10000"/>
                <a:gd name="connsiteX12" fmla="*/ 7380 w 10003"/>
                <a:gd name="connsiteY12" fmla="*/ 2065 h 10000"/>
                <a:gd name="connsiteX13" fmla="*/ 7380 w 10003"/>
                <a:gd name="connsiteY13" fmla="*/ 2065 h 10000"/>
                <a:gd name="connsiteX14" fmla="*/ 6422 w 10003"/>
                <a:gd name="connsiteY14" fmla="*/ 1161 h 10000"/>
                <a:gd name="connsiteX15" fmla="*/ 6338 w 10003"/>
                <a:gd name="connsiteY15" fmla="*/ 1097 h 10000"/>
                <a:gd name="connsiteX16" fmla="*/ 6310 w 10003"/>
                <a:gd name="connsiteY16" fmla="*/ 1032 h 10000"/>
                <a:gd name="connsiteX17" fmla="*/ 6310 w 10003"/>
                <a:gd name="connsiteY17" fmla="*/ 1000 h 10000"/>
                <a:gd name="connsiteX18" fmla="*/ 6338 w 10003"/>
                <a:gd name="connsiteY18" fmla="*/ 968 h 10000"/>
                <a:gd name="connsiteX19" fmla="*/ 6395 w 10003"/>
                <a:gd name="connsiteY19" fmla="*/ 968 h 10000"/>
                <a:gd name="connsiteX20" fmla="*/ 6422 w 10003"/>
                <a:gd name="connsiteY20" fmla="*/ 903 h 10000"/>
                <a:gd name="connsiteX21" fmla="*/ 6451 w 10003"/>
                <a:gd name="connsiteY21" fmla="*/ 903 h 10000"/>
                <a:gd name="connsiteX22" fmla="*/ 6536 w 10003"/>
                <a:gd name="connsiteY22" fmla="*/ 903 h 10000"/>
                <a:gd name="connsiteX23" fmla="*/ 6648 w 10003"/>
                <a:gd name="connsiteY23" fmla="*/ 871 h 10000"/>
                <a:gd name="connsiteX24" fmla="*/ 6704 w 10003"/>
                <a:gd name="connsiteY24" fmla="*/ 871 h 10000"/>
                <a:gd name="connsiteX25" fmla="*/ 7155 w 10003"/>
                <a:gd name="connsiteY25" fmla="*/ 742 h 10000"/>
                <a:gd name="connsiteX26" fmla="*/ 7634 w 10003"/>
                <a:gd name="connsiteY26" fmla="*/ 613 h 10000"/>
                <a:gd name="connsiteX27" fmla="*/ 8197 w 10003"/>
                <a:gd name="connsiteY27" fmla="*/ 452 h 10000"/>
                <a:gd name="connsiteX28" fmla="*/ 8733 w 10003"/>
                <a:gd name="connsiteY28" fmla="*/ 323 h 10000"/>
                <a:gd name="connsiteX29" fmla="*/ 9211 w 10003"/>
                <a:gd name="connsiteY29" fmla="*/ 194 h 10000"/>
                <a:gd name="connsiteX30" fmla="*/ 9606 w 10003"/>
                <a:gd name="connsiteY30" fmla="*/ 65 h 10000"/>
                <a:gd name="connsiteX31" fmla="*/ 9888 w 10003"/>
                <a:gd name="connsiteY31" fmla="*/ 0 h 10000"/>
                <a:gd name="connsiteX0" fmla="*/ 9888 w 10000"/>
                <a:gd name="connsiteY0" fmla="*/ 0 h 10000"/>
                <a:gd name="connsiteX1" fmla="*/ 10000 w 10000"/>
                <a:gd name="connsiteY1" fmla="*/ 0 h 10000"/>
                <a:gd name="connsiteX2" fmla="*/ 9915 w 10000"/>
                <a:gd name="connsiteY2" fmla="*/ 4290 h 10000"/>
                <a:gd name="connsiteX3" fmla="*/ 9888 w 10000"/>
                <a:gd name="connsiteY3" fmla="*/ 4290 h 10000"/>
                <a:gd name="connsiteX4" fmla="*/ 9859 w 10000"/>
                <a:gd name="connsiteY4" fmla="*/ 4290 h 10000"/>
                <a:gd name="connsiteX5" fmla="*/ 9859 w 10000"/>
                <a:gd name="connsiteY5" fmla="*/ 4290 h 10000"/>
                <a:gd name="connsiteX6" fmla="*/ 8789 w 10000"/>
                <a:gd name="connsiteY6" fmla="*/ 3323 h 10000"/>
                <a:gd name="connsiteX7" fmla="*/ 6451 w 10000"/>
                <a:gd name="connsiteY7" fmla="*/ 6484 h 10000"/>
                <a:gd name="connsiteX8" fmla="*/ 0 w 10000"/>
                <a:gd name="connsiteY8" fmla="*/ 10000 h 10000"/>
                <a:gd name="connsiteX9" fmla="*/ 5718 w 10000"/>
                <a:gd name="connsiteY9" fmla="*/ 5387 h 10000"/>
                <a:gd name="connsiteX10" fmla="*/ 7380 w 10000"/>
                <a:gd name="connsiteY10" fmla="*/ 2065 h 10000"/>
                <a:gd name="connsiteX11" fmla="*/ 7380 w 10000"/>
                <a:gd name="connsiteY11" fmla="*/ 2065 h 10000"/>
                <a:gd name="connsiteX12" fmla="*/ 7380 w 10000"/>
                <a:gd name="connsiteY12" fmla="*/ 2065 h 10000"/>
                <a:gd name="connsiteX13" fmla="*/ 6422 w 10000"/>
                <a:gd name="connsiteY13" fmla="*/ 1161 h 10000"/>
                <a:gd name="connsiteX14" fmla="*/ 6338 w 10000"/>
                <a:gd name="connsiteY14" fmla="*/ 1097 h 10000"/>
                <a:gd name="connsiteX15" fmla="*/ 6310 w 10000"/>
                <a:gd name="connsiteY15" fmla="*/ 1032 h 10000"/>
                <a:gd name="connsiteX16" fmla="*/ 6310 w 10000"/>
                <a:gd name="connsiteY16" fmla="*/ 1000 h 10000"/>
                <a:gd name="connsiteX17" fmla="*/ 6338 w 10000"/>
                <a:gd name="connsiteY17" fmla="*/ 968 h 10000"/>
                <a:gd name="connsiteX18" fmla="*/ 6395 w 10000"/>
                <a:gd name="connsiteY18" fmla="*/ 968 h 10000"/>
                <a:gd name="connsiteX19" fmla="*/ 6422 w 10000"/>
                <a:gd name="connsiteY19" fmla="*/ 903 h 10000"/>
                <a:gd name="connsiteX20" fmla="*/ 6451 w 10000"/>
                <a:gd name="connsiteY20" fmla="*/ 903 h 10000"/>
                <a:gd name="connsiteX21" fmla="*/ 6536 w 10000"/>
                <a:gd name="connsiteY21" fmla="*/ 903 h 10000"/>
                <a:gd name="connsiteX22" fmla="*/ 6648 w 10000"/>
                <a:gd name="connsiteY22" fmla="*/ 871 h 10000"/>
                <a:gd name="connsiteX23" fmla="*/ 6704 w 10000"/>
                <a:gd name="connsiteY23" fmla="*/ 871 h 10000"/>
                <a:gd name="connsiteX24" fmla="*/ 7155 w 10000"/>
                <a:gd name="connsiteY24" fmla="*/ 742 h 10000"/>
                <a:gd name="connsiteX25" fmla="*/ 7634 w 10000"/>
                <a:gd name="connsiteY25" fmla="*/ 613 h 10000"/>
                <a:gd name="connsiteX26" fmla="*/ 8197 w 10000"/>
                <a:gd name="connsiteY26" fmla="*/ 452 h 10000"/>
                <a:gd name="connsiteX27" fmla="*/ 8733 w 10000"/>
                <a:gd name="connsiteY27" fmla="*/ 323 h 10000"/>
                <a:gd name="connsiteX28" fmla="*/ 9211 w 10000"/>
                <a:gd name="connsiteY28" fmla="*/ 194 h 10000"/>
                <a:gd name="connsiteX29" fmla="*/ 9606 w 10000"/>
                <a:gd name="connsiteY29" fmla="*/ 65 h 10000"/>
                <a:gd name="connsiteX30" fmla="*/ 9888 w 10000"/>
                <a:gd name="connsiteY30" fmla="*/ 0 h 10000"/>
                <a:gd name="connsiteX0" fmla="*/ 9888 w 10000"/>
                <a:gd name="connsiteY0" fmla="*/ 0 h 10000"/>
                <a:gd name="connsiteX1" fmla="*/ 10000 w 10000"/>
                <a:gd name="connsiteY1" fmla="*/ 0 h 10000"/>
                <a:gd name="connsiteX2" fmla="*/ 9915 w 10000"/>
                <a:gd name="connsiteY2" fmla="*/ 4290 h 10000"/>
                <a:gd name="connsiteX3" fmla="*/ 9859 w 10000"/>
                <a:gd name="connsiteY3" fmla="*/ 4290 h 10000"/>
                <a:gd name="connsiteX4" fmla="*/ 9859 w 10000"/>
                <a:gd name="connsiteY4" fmla="*/ 4290 h 10000"/>
                <a:gd name="connsiteX5" fmla="*/ 8789 w 10000"/>
                <a:gd name="connsiteY5" fmla="*/ 3323 h 10000"/>
                <a:gd name="connsiteX6" fmla="*/ 6451 w 10000"/>
                <a:gd name="connsiteY6" fmla="*/ 6484 h 10000"/>
                <a:gd name="connsiteX7" fmla="*/ 0 w 10000"/>
                <a:gd name="connsiteY7" fmla="*/ 10000 h 10000"/>
                <a:gd name="connsiteX8" fmla="*/ 5718 w 10000"/>
                <a:gd name="connsiteY8" fmla="*/ 5387 h 10000"/>
                <a:gd name="connsiteX9" fmla="*/ 7380 w 10000"/>
                <a:gd name="connsiteY9" fmla="*/ 2065 h 10000"/>
                <a:gd name="connsiteX10" fmla="*/ 7380 w 10000"/>
                <a:gd name="connsiteY10" fmla="*/ 2065 h 10000"/>
                <a:gd name="connsiteX11" fmla="*/ 7380 w 10000"/>
                <a:gd name="connsiteY11" fmla="*/ 2065 h 10000"/>
                <a:gd name="connsiteX12" fmla="*/ 6422 w 10000"/>
                <a:gd name="connsiteY12" fmla="*/ 1161 h 10000"/>
                <a:gd name="connsiteX13" fmla="*/ 6338 w 10000"/>
                <a:gd name="connsiteY13" fmla="*/ 1097 h 10000"/>
                <a:gd name="connsiteX14" fmla="*/ 6310 w 10000"/>
                <a:gd name="connsiteY14" fmla="*/ 1032 h 10000"/>
                <a:gd name="connsiteX15" fmla="*/ 6310 w 10000"/>
                <a:gd name="connsiteY15" fmla="*/ 1000 h 10000"/>
                <a:gd name="connsiteX16" fmla="*/ 6338 w 10000"/>
                <a:gd name="connsiteY16" fmla="*/ 968 h 10000"/>
                <a:gd name="connsiteX17" fmla="*/ 6395 w 10000"/>
                <a:gd name="connsiteY17" fmla="*/ 968 h 10000"/>
                <a:gd name="connsiteX18" fmla="*/ 6422 w 10000"/>
                <a:gd name="connsiteY18" fmla="*/ 903 h 10000"/>
                <a:gd name="connsiteX19" fmla="*/ 6451 w 10000"/>
                <a:gd name="connsiteY19" fmla="*/ 903 h 10000"/>
                <a:gd name="connsiteX20" fmla="*/ 6536 w 10000"/>
                <a:gd name="connsiteY20" fmla="*/ 903 h 10000"/>
                <a:gd name="connsiteX21" fmla="*/ 6648 w 10000"/>
                <a:gd name="connsiteY21" fmla="*/ 871 h 10000"/>
                <a:gd name="connsiteX22" fmla="*/ 6704 w 10000"/>
                <a:gd name="connsiteY22" fmla="*/ 871 h 10000"/>
                <a:gd name="connsiteX23" fmla="*/ 7155 w 10000"/>
                <a:gd name="connsiteY23" fmla="*/ 742 h 10000"/>
                <a:gd name="connsiteX24" fmla="*/ 7634 w 10000"/>
                <a:gd name="connsiteY24" fmla="*/ 613 h 10000"/>
                <a:gd name="connsiteX25" fmla="*/ 8197 w 10000"/>
                <a:gd name="connsiteY25" fmla="*/ 452 h 10000"/>
                <a:gd name="connsiteX26" fmla="*/ 8733 w 10000"/>
                <a:gd name="connsiteY26" fmla="*/ 323 h 10000"/>
                <a:gd name="connsiteX27" fmla="*/ 9211 w 10000"/>
                <a:gd name="connsiteY27" fmla="*/ 194 h 10000"/>
                <a:gd name="connsiteX28" fmla="*/ 9606 w 10000"/>
                <a:gd name="connsiteY28" fmla="*/ 65 h 10000"/>
                <a:gd name="connsiteX29" fmla="*/ 9888 w 10000"/>
                <a:gd name="connsiteY29" fmla="*/ 0 h 10000"/>
                <a:gd name="connsiteX0" fmla="*/ 9888 w 10000"/>
                <a:gd name="connsiteY0" fmla="*/ 0 h 10000"/>
                <a:gd name="connsiteX1" fmla="*/ 10000 w 10000"/>
                <a:gd name="connsiteY1" fmla="*/ 0 h 10000"/>
                <a:gd name="connsiteX2" fmla="*/ 9859 w 10000"/>
                <a:gd name="connsiteY2" fmla="*/ 4290 h 10000"/>
                <a:gd name="connsiteX3" fmla="*/ 9859 w 10000"/>
                <a:gd name="connsiteY3" fmla="*/ 4290 h 10000"/>
                <a:gd name="connsiteX4" fmla="*/ 8789 w 10000"/>
                <a:gd name="connsiteY4" fmla="*/ 3323 h 10000"/>
                <a:gd name="connsiteX5" fmla="*/ 6451 w 10000"/>
                <a:gd name="connsiteY5" fmla="*/ 6484 h 10000"/>
                <a:gd name="connsiteX6" fmla="*/ 0 w 10000"/>
                <a:gd name="connsiteY6" fmla="*/ 10000 h 10000"/>
                <a:gd name="connsiteX7" fmla="*/ 5718 w 10000"/>
                <a:gd name="connsiteY7" fmla="*/ 5387 h 10000"/>
                <a:gd name="connsiteX8" fmla="*/ 7380 w 10000"/>
                <a:gd name="connsiteY8" fmla="*/ 2065 h 10000"/>
                <a:gd name="connsiteX9" fmla="*/ 7380 w 10000"/>
                <a:gd name="connsiteY9" fmla="*/ 2065 h 10000"/>
                <a:gd name="connsiteX10" fmla="*/ 7380 w 10000"/>
                <a:gd name="connsiteY10" fmla="*/ 2065 h 10000"/>
                <a:gd name="connsiteX11" fmla="*/ 6422 w 10000"/>
                <a:gd name="connsiteY11" fmla="*/ 1161 h 10000"/>
                <a:gd name="connsiteX12" fmla="*/ 6338 w 10000"/>
                <a:gd name="connsiteY12" fmla="*/ 1097 h 10000"/>
                <a:gd name="connsiteX13" fmla="*/ 6310 w 10000"/>
                <a:gd name="connsiteY13" fmla="*/ 1032 h 10000"/>
                <a:gd name="connsiteX14" fmla="*/ 6310 w 10000"/>
                <a:gd name="connsiteY14" fmla="*/ 1000 h 10000"/>
                <a:gd name="connsiteX15" fmla="*/ 6338 w 10000"/>
                <a:gd name="connsiteY15" fmla="*/ 968 h 10000"/>
                <a:gd name="connsiteX16" fmla="*/ 6395 w 10000"/>
                <a:gd name="connsiteY16" fmla="*/ 968 h 10000"/>
                <a:gd name="connsiteX17" fmla="*/ 6422 w 10000"/>
                <a:gd name="connsiteY17" fmla="*/ 903 h 10000"/>
                <a:gd name="connsiteX18" fmla="*/ 6451 w 10000"/>
                <a:gd name="connsiteY18" fmla="*/ 903 h 10000"/>
                <a:gd name="connsiteX19" fmla="*/ 6536 w 10000"/>
                <a:gd name="connsiteY19" fmla="*/ 903 h 10000"/>
                <a:gd name="connsiteX20" fmla="*/ 6648 w 10000"/>
                <a:gd name="connsiteY20" fmla="*/ 871 h 10000"/>
                <a:gd name="connsiteX21" fmla="*/ 6704 w 10000"/>
                <a:gd name="connsiteY21" fmla="*/ 871 h 10000"/>
                <a:gd name="connsiteX22" fmla="*/ 7155 w 10000"/>
                <a:gd name="connsiteY22" fmla="*/ 742 h 10000"/>
                <a:gd name="connsiteX23" fmla="*/ 7634 w 10000"/>
                <a:gd name="connsiteY23" fmla="*/ 613 h 10000"/>
                <a:gd name="connsiteX24" fmla="*/ 8197 w 10000"/>
                <a:gd name="connsiteY24" fmla="*/ 452 h 10000"/>
                <a:gd name="connsiteX25" fmla="*/ 8733 w 10000"/>
                <a:gd name="connsiteY25" fmla="*/ 323 h 10000"/>
                <a:gd name="connsiteX26" fmla="*/ 9211 w 10000"/>
                <a:gd name="connsiteY26" fmla="*/ 194 h 10000"/>
                <a:gd name="connsiteX27" fmla="*/ 9606 w 10000"/>
                <a:gd name="connsiteY27" fmla="*/ 65 h 10000"/>
                <a:gd name="connsiteX28" fmla="*/ 9888 w 10000"/>
                <a:gd name="connsiteY28" fmla="*/ 0 h 10000"/>
                <a:gd name="connsiteX0" fmla="*/ 9888 w 10000"/>
                <a:gd name="connsiteY0" fmla="*/ 0 h 10000"/>
                <a:gd name="connsiteX1" fmla="*/ 10000 w 10000"/>
                <a:gd name="connsiteY1" fmla="*/ 0 h 10000"/>
                <a:gd name="connsiteX2" fmla="*/ 9859 w 10000"/>
                <a:gd name="connsiteY2" fmla="*/ 4290 h 10000"/>
                <a:gd name="connsiteX3" fmla="*/ 9859 w 10000"/>
                <a:gd name="connsiteY3" fmla="*/ 4290 h 10000"/>
                <a:gd name="connsiteX4" fmla="*/ 8789 w 10000"/>
                <a:gd name="connsiteY4" fmla="*/ 3323 h 10000"/>
                <a:gd name="connsiteX5" fmla="*/ 6451 w 10000"/>
                <a:gd name="connsiteY5" fmla="*/ 6484 h 10000"/>
                <a:gd name="connsiteX6" fmla="*/ 0 w 10000"/>
                <a:gd name="connsiteY6" fmla="*/ 10000 h 10000"/>
                <a:gd name="connsiteX7" fmla="*/ 5718 w 10000"/>
                <a:gd name="connsiteY7" fmla="*/ 5387 h 10000"/>
                <a:gd name="connsiteX8" fmla="*/ 7380 w 10000"/>
                <a:gd name="connsiteY8" fmla="*/ 2065 h 10000"/>
                <a:gd name="connsiteX9" fmla="*/ 7380 w 10000"/>
                <a:gd name="connsiteY9" fmla="*/ 2065 h 10000"/>
                <a:gd name="connsiteX10" fmla="*/ 7380 w 10000"/>
                <a:gd name="connsiteY10" fmla="*/ 2065 h 10000"/>
                <a:gd name="connsiteX11" fmla="*/ 6422 w 10000"/>
                <a:gd name="connsiteY11" fmla="*/ 1161 h 10000"/>
                <a:gd name="connsiteX12" fmla="*/ 6310 w 10000"/>
                <a:gd name="connsiteY12" fmla="*/ 1032 h 10000"/>
                <a:gd name="connsiteX13" fmla="*/ 6310 w 10000"/>
                <a:gd name="connsiteY13" fmla="*/ 1000 h 10000"/>
                <a:gd name="connsiteX14" fmla="*/ 6338 w 10000"/>
                <a:gd name="connsiteY14" fmla="*/ 968 h 10000"/>
                <a:gd name="connsiteX15" fmla="*/ 6395 w 10000"/>
                <a:gd name="connsiteY15" fmla="*/ 968 h 10000"/>
                <a:gd name="connsiteX16" fmla="*/ 6422 w 10000"/>
                <a:gd name="connsiteY16" fmla="*/ 903 h 10000"/>
                <a:gd name="connsiteX17" fmla="*/ 6451 w 10000"/>
                <a:gd name="connsiteY17" fmla="*/ 903 h 10000"/>
                <a:gd name="connsiteX18" fmla="*/ 6536 w 10000"/>
                <a:gd name="connsiteY18" fmla="*/ 903 h 10000"/>
                <a:gd name="connsiteX19" fmla="*/ 6648 w 10000"/>
                <a:gd name="connsiteY19" fmla="*/ 871 h 10000"/>
                <a:gd name="connsiteX20" fmla="*/ 6704 w 10000"/>
                <a:gd name="connsiteY20" fmla="*/ 871 h 10000"/>
                <a:gd name="connsiteX21" fmla="*/ 7155 w 10000"/>
                <a:gd name="connsiteY21" fmla="*/ 742 h 10000"/>
                <a:gd name="connsiteX22" fmla="*/ 7634 w 10000"/>
                <a:gd name="connsiteY22" fmla="*/ 613 h 10000"/>
                <a:gd name="connsiteX23" fmla="*/ 8197 w 10000"/>
                <a:gd name="connsiteY23" fmla="*/ 452 h 10000"/>
                <a:gd name="connsiteX24" fmla="*/ 8733 w 10000"/>
                <a:gd name="connsiteY24" fmla="*/ 323 h 10000"/>
                <a:gd name="connsiteX25" fmla="*/ 9211 w 10000"/>
                <a:gd name="connsiteY25" fmla="*/ 194 h 10000"/>
                <a:gd name="connsiteX26" fmla="*/ 9606 w 10000"/>
                <a:gd name="connsiteY26" fmla="*/ 65 h 10000"/>
                <a:gd name="connsiteX27" fmla="*/ 9888 w 10000"/>
                <a:gd name="connsiteY27" fmla="*/ 0 h 10000"/>
                <a:gd name="connsiteX0" fmla="*/ 9888 w 10000"/>
                <a:gd name="connsiteY0" fmla="*/ 0 h 10000"/>
                <a:gd name="connsiteX1" fmla="*/ 10000 w 10000"/>
                <a:gd name="connsiteY1" fmla="*/ 0 h 10000"/>
                <a:gd name="connsiteX2" fmla="*/ 9859 w 10000"/>
                <a:gd name="connsiteY2" fmla="*/ 4290 h 10000"/>
                <a:gd name="connsiteX3" fmla="*/ 9859 w 10000"/>
                <a:gd name="connsiteY3" fmla="*/ 4290 h 10000"/>
                <a:gd name="connsiteX4" fmla="*/ 8789 w 10000"/>
                <a:gd name="connsiteY4" fmla="*/ 3323 h 10000"/>
                <a:gd name="connsiteX5" fmla="*/ 6451 w 10000"/>
                <a:gd name="connsiteY5" fmla="*/ 6484 h 10000"/>
                <a:gd name="connsiteX6" fmla="*/ 0 w 10000"/>
                <a:gd name="connsiteY6" fmla="*/ 10000 h 10000"/>
                <a:gd name="connsiteX7" fmla="*/ 5718 w 10000"/>
                <a:gd name="connsiteY7" fmla="*/ 5387 h 10000"/>
                <a:gd name="connsiteX8" fmla="*/ 7380 w 10000"/>
                <a:gd name="connsiteY8" fmla="*/ 2065 h 10000"/>
                <a:gd name="connsiteX9" fmla="*/ 7380 w 10000"/>
                <a:gd name="connsiteY9" fmla="*/ 2065 h 10000"/>
                <a:gd name="connsiteX10" fmla="*/ 7380 w 10000"/>
                <a:gd name="connsiteY10" fmla="*/ 2065 h 10000"/>
                <a:gd name="connsiteX11" fmla="*/ 6310 w 10000"/>
                <a:gd name="connsiteY11" fmla="*/ 1032 h 10000"/>
                <a:gd name="connsiteX12" fmla="*/ 6310 w 10000"/>
                <a:gd name="connsiteY12" fmla="*/ 1000 h 10000"/>
                <a:gd name="connsiteX13" fmla="*/ 6338 w 10000"/>
                <a:gd name="connsiteY13" fmla="*/ 968 h 10000"/>
                <a:gd name="connsiteX14" fmla="*/ 6395 w 10000"/>
                <a:gd name="connsiteY14" fmla="*/ 968 h 10000"/>
                <a:gd name="connsiteX15" fmla="*/ 6422 w 10000"/>
                <a:gd name="connsiteY15" fmla="*/ 903 h 10000"/>
                <a:gd name="connsiteX16" fmla="*/ 6451 w 10000"/>
                <a:gd name="connsiteY16" fmla="*/ 903 h 10000"/>
                <a:gd name="connsiteX17" fmla="*/ 6536 w 10000"/>
                <a:gd name="connsiteY17" fmla="*/ 903 h 10000"/>
                <a:gd name="connsiteX18" fmla="*/ 6648 w 10000"/>
                <a:gd name="connsiteY18" fmla="*/ 871 h 10000"/>
                <a:gd name="connsiteX19" fmla="*/ 6704 w 10000"/>
                <a:gd name="connsiteY19" fmla="*/ 871 h 10000"/>
                <a:gd name="connsiteX20" fmla="*/ 7155 w 10000"/>
                <a:gd name="connsiteY20" fmla="*/ 742 h 10000"/>
                <a:gd name="connsiteX21" fmla="*/ 7634 w 10000"/>
                <a:gd name="connsiteY21" fmla="*/ 613 h 10000"/>
                <a:gd name="connsiteX22" fmla="*/ 8197 w 10000"/>
                <a:gd name="connsiteY22" fmla="*/ 452 h 10000"/>
                <a:gd name="connsiteX23" fmla="*/ 8733 w 10000"/>
                <a:gd name="connsiteY23" fmla="*/ 323 h 10000"/>
                <a:gd name="connsiteX24" fmla="*/ 9211 w 10000"/>
                <a:gd name="connsiteY24" fmla="*/ 194 h 10000"/>
                <a:gd name="connsiteX25" fmla="*/ 9606 w 10000"/>
                <a:gd name="connsiteY25" fmla="*/ 65 h 10000"/>
                <a:gd name="connsiteX26" fmla="*/ 9888 w 10000"/>
                <a:gd name="connsiteY26" fmla="*/ 0 h 10000"/>
                <a:gd name="connsiteX0" fmla="*/ 9888 w 10000"/>
                <a:gd name="connsiteY0" fmla="*/ 0 h 10000"/>
                <a:gd name="connsiteX1" fmla="*/ 10000 w 10000"/>
                <a:gd name="connsiteY1" fmla="*/ 0 h 10000"/>
                <a:gd name="connsiteX2" fmla="*/ 9859 w 10000"/>
                <a:gd name="connsiteY2" fmla="*/ 4290 h 10000"/>
                <a:gd name="connsiteX3" fmla="*/ 9859 w 10000"/>
                <a:gd name="connsiteY3" fmla="*/ 4290 h 10000"/>
                <a:gd name="connsiteX4" fmla="*/ 8789 w 10000"/>
                <a:gd name="connsiteY4" fmla="*/ 3323 h 10000"/>
                <a:gd name="connsiteX5" fmla="*/ 6451 w 10000"/>
                <a:gd name="connsiteY5" fmla="*/ 6484 h 10000"/>
                <a:gd name="connsiteX6" fmla="*/ 0 w 10000"/>
                <a:gd name="connsiteY6" fmla="*/ 10000 h 10000"/>
                <a:gd name="connsiteX7" fmla="*/ 5718 w 10000"/>
                <a:gd name="connsiteY7" fmla="*/ 5387 h 10000"/>
                <a:gd name="connsiteX8" fmla="*/ 7380 w 10000"/>
                <a:gd name="connsiteY8" fmla="*/ 2065 h 10000"/>
                <a:gd name="connsiteX9" fmla="*/ 7380 w 10000"/>
                <a:gd name="connsiteY9" fmla="*/ 2065 h 10000"/>
                <a:gd name="connsiteX10" fmla="*/ 7380 w 10000"/>
                <a:gd name="connsiteY10" fmla="*/ 2065 h 10000"/>
                <a:gd name="connsiteX11" fmla="*/ 6310 w 10000"/>
                <a:gd name="connsiteY11" fmla="*/ 1032 h 10000"/>
                <a:gd name="connsiteX12" fmla="*/ 6310 w 10000"/>
                <a:gd name="connsiteY12" fmla="*/ 1000 h 10000"/>
                <a:gd name="connsiteX13" fmla="*/ 6338 w 10000"/>
                <a:gd name="connsiteY13" fmla="*/ 968 h 10000"/>
                <a:gd name="connsiteX14" fmla="*/ 6395 w 10000"/>
                <a:gd name="connsiteY14" fmla="*/ 968 h 10000"/>
                <a:gd name="connsiteX15" fmla="*/ 6422 w 10000"/>
                <a:gd name="connsiteY15" fmla="*/ 903 h 10000"/>
                <a:gd name="connsiteX16" fmla="*/ 6451 w 10000"/>
                <a:gd name="connsiteY16" fmla="*/ 903 h 10000"/>
                <a:gd name="connsiteX17" fmla="*/ 6536 w 10000"/>
                <a:gd name="connsiteY17" fmla="*/ 903 h 10000"/>
                <a:gd name="connsiteX18" fmla="*/ 6704 w 10000"/>
                <a:gd name="connsiteY18" fmla="*/ 871 h 10000"/>
                <a:gd name="connsiteX19" fmla="*/ 7155 w 10000"/>
                <a:gd name="connsiteY19" fmla="*/ 742 h 10000"/>
                <a:gd name="connsiteX20" fmla="*/ 7634 w 10000"/>
                <a:gd name="connsiteY20" fmla="*/ 613 h 10000"/>
                <a:gd name="connsiteX21" fmla="*/ 8197 w 10000"/>
                <a:gd name="connsiteY21" fmla="*/ 452 h 10000"/>
                <a:gd name="connsiteX22" fmla="*/ 8733 w 10000"/>
                <a:gd name="connsiteY22" fmla="*/ 323 h 10000"/>
                <a:gd name="connsiteX23" fmla="*/ 9211 w 10000"/>
                <a:gd name="connsiteY23" fmla="*/ 194 h 10000"/>
                <a:gd name="connsiteX24" fmla="*/ 9606 w 10000"/>
                <a:gd name="connsiteY24" fmla="*/ 65 h 10000"/>
                <a:gd name="connsiteX25" fmla="*/ 9888 w 10000"/>
                <a:gd name="connsiteY25" fmla="*/ 0 h 10000"/>
                <a:gd name="connsiteX0" fmla="*/ 9888 w 10000"/>
                <a:gd name="connsiteY0" fmla="*/ 0 h 10000"/>
                <a:gd name="connsiteX1" fmla="*/ 10000 w 10000"/>
                <a:gd name="connsiteY1" fmla="*/ 0 h 10000"/>
                <a:gd name="connsiteX2" fmla="*/ 9859 w 10000"/>
                <a:gd name="connsiteY2" fmla="*/ 4290 h 10000"/>
                <a:gd name="connsiteX3" fmla="*/ 9859 w 10000"/>
                <a:gd name="connsiteY3" fmla="*/ 4290 h 10000"/>
                <a:gd name="connsiteX4" fmla="*/ 8789 w 10000"/>
                <a:gd name="connsiteY4" fmla="*/ 3323 h 10000"/>
                <a:gd name="connsiteX5" fmla="*/ 6451 w 10000"/>
                <a:gd name="connsiteY5" fmla="*/ 6484 h 10000"/>
                <a:gd name="connsiteX6" fmla="*/ 0 w 10000"/>
                <a:gd name="connsiteY6" fmla="*/ 10000 h 10000"/>
                <a:gd name="connsiteX7" fmla="*/ 5718 w 10000"/>
                <a:gd name="connsiteY7" fmla="*/ 5387 h 10000"/>
                <a:gd name="connsiteX8" fmla="*/ 7380 w 10000"/>
                <a:gd name="connsiteY8" fmla="*/ 2065 h 10000"/>
                <a:gd name="connsiteX9" fmla="*/ 7380 w 10000"/>
                <a:gd name="connsiteY9" fmla="*/ 2065 h 10000"/>
                <a:gd name="connsiteX10" fmla="*/ 7380 w 10000"/>
                <a:gd name="connsiteY10" fmla="*/ 2065 h 10000"/>
                <a:gd name="connsiteX11" fmla="*/ 6310 w 10000"/>
                <a:gd name="connsiteY11" fmla="*/ 1032 h 10000"/>
                <a:gd name="connsiteX12" fmla="*/ 6310 w 10000"/>
                <a:gd name="connsiteY12" fmla="*/ 1000 h 10000"/>
                <a:gd name="connsiteX13" fmla="*/ 6338 w 10000"/>
                <a:gd name="connsiteY13" fmla="*/ 968 h 10000"/>
                <a:gd name="connsiteX14" fmla="*/ 6395 w 10000"/>
                <a:gd name="connsiteY14" fmla="*/ 968 h 10000"/>
                <a:gd name="connsiteX15" fmla="*/ 6422 w 10000"/>
                <a:gd name="connsiteY15" fmla="*/ 903 h 10000"/>
                <a:gd name="connsiteX16" fmla="*/ 6451 w 10000"/>
                <a:gd name="connsiteY16" fmla="*/ 903 h 10000"/>
                <a:gd name="connsiteX17" fmla="*/ 6536 w 10000"/>
                <a:gd name="connsiteY17" fmla="*/ 903 h 10000"/>
                <a:gd name="connsiteX18" fmla="*/ 6704 w 10000"/>
                <a:gd name="connsiteY18" fmla="*/ 871 h 10000"/>
                <a:gd name="connsiteX19" fmla="*/ 7634 w 10000"/>
                <a:gd name="connsiteY19" fmla="*/ 613 h 10000"/>
                <a:gd name="connsiteX20" fmla="*/ 8197 w 10000"/>
                <a:gd name="connsiteY20" fmla="*/ 452 h 10000"/>
                <a:gd name="connsiteX21" fmla="*/ 8733 w 10000"/>
                <a:gd name="connsiteY21" fmla="*/ 323 h 10000"/>
                <a:gd name="connsiteX22" fmla="*/ 9211 w 10000"/>
                <a:gd name="connsiteY22" fmla="*/ 194 h 10000"/>
                <a:gd name="connsiteX23" fmla="*/ 9606 w 10000"/>
                <a:gd name="connsiteY23" fmla="*/ 65 h 10000"/>
                <a:gd name="connsiteX24" fmla="*/ 9888 w 10000"/>
                <a:gd name="connsiteY24" fmla="*/ 0 h 10000"/>
                <a:gd name="connsiteX0" fmla="*/ 9888 w 10000"/>
                <a:gd name="connsiteY0" fmla="*/ 0 h 10000"/>
                <a:gd name="connsiteX1" fmla="*/ 10000 w 10000"/>
                <a:gd name="connsiteY1" fmla="*/ 0 h 10000"/>
                <a:gd name="connsiteX2" fmla="*/ 9859 w 10000"/>
                <a:gd name="connsiteY2" fmla="*/ 4290 h 10000"/>
                <a:gd name="connsiteX3" fmla="*/ 9859 w 10000"/>
                <a:gd name="connsiteY3" fmla="*/ 4290 h 10000"/>
                <a:gd name="connsiteX4" fmla="*/ 8789 w 10000"/>
                <a:gd name="connsiteY4" fmla="*/ 3323 h 10000"/>
                <a:gd name="connsiteX5" fmla="*/ 6451 w 10000"/>
                <a:gd name="connsiteY5" fmla="*/ 6484 h 10000"/>
                <a:gd name="connsiteX6" fmla="*/ 0 w 10000"/>
                <a:gd name="connsiteY6" fmla="*/ 10000 h 10000"/>
                <a:gd name="connsiteX7" fmla="*/ 5718 w 10000"/>
                <a:gd name="connsiteY7" fmla="*/ 5387 h 10000"/>
                <a:gd name="connsiteX8" fmla="*/ 7380 w 10000"/>
                <a:gd name="connsiteY8" fmla="*/ 2065 h 10000"/>
                <a:gd name="connsiteX9" fmla="*/ 7380 w 10000"/>
                <a:gd name="connsiteY9" fmla="*/ 2065 h 10000"/>
                <a:gd name="connsiteX10" fmla="*/ 7380 w 10000"/>
                <a:gd name="connsiteY10" fmla="*/ 2065 h 10000"/>
                <a:gd name="connsiteX11" fmla="*/ 6310 w 10000"/>
                <a:gd name="connsiteY11" fmla="*/ 1032 h 10000"/>
                <a:gd name="connsiteX12" fmla="*/ 6310 w 10000"/>
                <a:gd name="connsiteY12" fmla="*/ 1000 h 10000"/>
                <a:gd name="connsiteX13" fmla="*/ 6338 w 10000"/>
                <a:gd name="connsiteY13" fmla="*/ 968 h 10000"/>
                <a:gd name="connsiteX14" fmla="*/ 6395 w 10000"/>
                <a:gd name="connsiteY14" fmla="*/ 968 h 10000"/>
                <a:gd name="connsiteX15" fmla="*/ 6422 w 10000"/>
                <a:gd name="connsiteY15" fmla="*/ 903 h 10000"/>
                <a:gd name="connsiteX16" fmla="*/ 6451 w 10000"/>
                <a:gd name="connsiteY16" fmla="*/ 903 h 10000"/>
                <a:gd name="connsiteX17" fmla="*/ 6536 w 10000"/>
                <a:gd name="connsiteY17" fmla="*/ 903 h 10000"/>
                <a:gd name="connsiteX18" fmla="*/ 6704 w 10000"/>
                <a:gd name="connsiteY18" fmla="*/ 871 h 10000"/>
                <a:gd name="connsiteX19" fmla="*/ 8197 w 10000"/>
                <a:gd name="connsiteY19" fmla="*/ 452 h 10000"/>
                <a:gd name="connsiteX20" fmla="*/ 8733 w 10000"/>
                <a:gd name="connsiteY20" fmla="*/ 323 h 10000"/>
                <a:gd name="connsiteX21" fmla="*/ 9211 w 10000"/>
                <a:gd name="connsiteY21" fmla="*/ 194 h 10000"/>
                <a:gd name="connsiteX22" fmla="*/ 9606 w 10000"/>
                <a:gd name="connsiteY22" fmla="*/ 65 h 10000"/>
                <a:gd name="connsiteX23" fmla="*/ 9888 w 10000"/>
                <a:gd name="connsiteY23" fmla="*/ 0 h 10000"/>
                <a:gd name="connsiteX0" fmla="*/ 9888 w 10000"/>
                <a:gd name="connsiteY0" fmla="*/ 0 h 10000"/>
                <a:gd name="connsiteX1" fmla="*/ 10000 w 10000"/>
                <a:gd name="connsiteY1" fmla="*/ 0 h 10000"/>
                <a:gd name="connsiteX2" fmla="*/ 9859 w 10000"/>
                <a:gd name="connsiteY2" fmla="*/ 4290 h 10000"/>
                <a:gd name="connsiteX3" fmla="*/ 9859 w 10000"/>
                <a:gd name="connsiteY3" fmla="*/ 4290 h 10000"/>
                <a:gd name="connsiteX4" fmla="*/ 8789 w 10000"/>
                <a:gd name="connsiteY4" fmla="*/ 3323 h 10000"/>
                <a:gd name="connsiteX5" fmla="*/ 6451 w 10000"/>
                <a:gd name="connsiteY5" fmla="*/ 6484 h 10000"/>
                <a:gd name="connsiteX6" fmla="*/ 0 w 10000"/>
                <a:gd name="connsiteY6" fmla="*/ 10000 h 10000"/>
                <a:gd name="connsiteX7" fmla="*/ 5718 w 10000"/>
                <a:gd name="connsiteY7" fmla="*/ 5387 h 10000"/>
                <a:gd name="connsiteX8" fmla="*/ 7380 w 10000"/>
                <a:gd name="connsiteY8" fmla="*/ 2065 h 10000"/>
                <a:gd name="connsiteX9" fmla="*/ 7380 w 10000"/>
                <a:gd name="connsiteY9" fmla="*/ 2065 h 10000"/>
                <a:gd name="connsiteX10" fmla="*/ 7380 w 10000"/>
                <a:gd name="connsiteY10" fmla="*/ 2065 h 10000"/>
                <a:gd name="connsiteX11" fmla="*/ 6310 w 10000"/>
                <a:gd name="connsiteY11" fmla="*/ 1032 h 10000"/>
                <a:gd name="connsiteX12" fmla="*/ 6310 w 10000"/>
                <a:gd name="connsiteY12" fmla="*/ 1000 h 10000"/>
                <a:gd name="connsiteX13" fmla="*/ 6338 w 10000"/>
                <a:gd name="connsiteY13" fmla="*/ 968 h 10000"/>
                <a:gd name="connsiteX14" fmla="*/ 6395 w 10000"/>
                <a:gd name="connsiteY14" fmla="*/ 968 h 10000"/>
                <a:gd name="connsiteX15" fmla="*/ 6422 w 10000"/>
                <a:gd name="connsiteY15" fmla="*/ 903 h 10000"/>
                <a:gd name="connsiteX16" fmla="*/ 6451 w 10000"/>
                <a:gd name="connsiteY16" fmla="*/ 903 h 10000"/>
                <a:gd name="connsiteX17" fmla="*/ 6536 w 10000"/>
                <a:gd name="connsiteY17" fmla="*/ 903 h 10000"/>
                <a:gd name="connsiteX18" fmla="*/ 6704 w 10000"/>
                <a:gd name="connsiteY18" fmla="*/ 871 h 10000"/>
                <a:gd name="connsiteX19" fmla="*/ 8733 w 10000"/>
                <a:gd name="connsiteY19" fmla="*/ 323 h 10000"/>
                <a:gd name="connsiteX20" fmla="*/ 9211 w 10000"/>
                <a:gd name="connsiteY20" fmla="*/ 194 h 10000"/>
                <a:gd name="connsiteX21" fmla="*/ 9606 w 10000"/>
                <a:gd name="connsiteY21" fmla="*/ 65 h 10000"/>
                <a:gd name="connsiteX22" fmla="*/ 9888 w 10000"/>
                <a:gd name="connsiteY22" fmla="*/ 0 h 10000"/>
                <a:gd name="connsiteX0" fmla="*/ 9888 w 10000"/>
                <a:gd name="connsiteY0" fmla="*/ 0 h 10000"/>
                <a:gd name="connsiteX1" fmla="*/ 10000 w 10000"/>
                <a:gd name="connsiteY1" fmla="*/ 0 h 10000"/>
                <a:gd name="connsiteX2" fmla="*/ 9859 w 10000"/>
                <a:gd name="connsiteY2" fmla="*/ 4290 h 10000"/>
                <a:gd name="connsiteX3" fmla="*/ 9859 w 10000"/>
                <a:gd name="connsiteY3" fmla="*/ 4290 h 10000"/>
                <a:gd name="connsiteX4" fmla="*/ 8789 w 10000"/>
                <a:gd name="connsiteY4" fmla="*/ 3323 h 10000"/>
                <a:gd name="connsiteX5" fmla="*/ 6451 w 10000"/>
                <a:gd name="connsiteY5" fmla="*/ 6484 h 10000"/>
                <a:gd name="connsiteX6" fmla="*/ 0 w 10000"/>
                <a:gd name="connsiteY6" fmla="*/ 10000 h 10000"/>
                <a:gd name="connsiteX7" fmla="*/ 5718 w 10000"/>
                <a:gd name="connsiteY7" fmla="*/ 5387 h 10000"/>
                <a:gd name="connsiteX8" fmla="*/ 7380 w 10000"/>
                <a:gd name="connsiteY8" fmla="*/ 2065 h 10000"/>
                <a:gd name="connsiteX9" fmla="*/ 7380 w 10000"/>
                <a:gd name="connsiteY9" fmla="*/ 2065 h 10000"/>
                <a:gd name="connsiteX10" fmla="*/ 7380 w 10000"/>
                <a:gd name="connsiteY10" fmla="*/ 2065 h 10000"/>
                <a:gd name="connsiteX11" fmla="*/ 6310 w 10000"/>
                <a:gd name="connsiteY11" fmla="*/ 1032 h 10000"/>
                <a:gd name="connsiteX12" fmla="*/ 6310 w 10000"/>
                <a:gd name="connsiteY12" fmla="*/ 1000 h 10000"/>
                <a:gd name="connsiteX13" fmla="*/ 6338 w 10000"/>
                <a:gd name="connsiteY13" fmla="*/ 968 h 10000"/>
                <a:gd name="connsiteX14" fmla="*/ 6395 w 10000"/>
                <a:gd name="connsiteY14" fmla="*/ 968 h 10000"/>
                <a:gd name="connsiteX15" fmla="*/ 6422 w 10000"/>
                <a:gd name="connsiteY15" fmla="*/ 903 h 10000"/>
                <a:gd name="connsiteX16" fmla="*/ 6451 w 10000"/>
                <a:gd name="connsiteY16" fmla="*/ 903 h 10000"/>
                <a:gd name="connsiteX17" fmla="*/ 6536 w 10000"/>
                <a:gd name="connsiteY17" fmla="*/ 903 h 10000"/>
                <a:gd name="connsiteX18" fmla="*/ 6704 w 10000"/>
                <a:gd name="connsiteY18" fmla="*/ 871 h 10000"/>
                <a:gd name="connsiteX19" fmla="*/ 9211 w 10000"/>
                <a:gd name="connsiteY19" fmla="*/ 194 h 10000"/>
                <a:gd name="connsiteX20" fmla="*/ 9606 w 10000"/>
                <a:gd name="connsiteY20" fmla="*/ 65 h 10000"/>
                <a:gd name="connsiteX21" fmla="*/ 9888 w 10000"/>
                <a:gd name="connsiteY21" fmla="*/ 0 h 10000"/>
                <a:gd name="connsiteX0" fmla="*/ 9888 w 10000"/>
                <a:gd name="connsiteY0" fmla="*/ 0 h 10000"/>
                <a:gd name="connsiteX1" fmla="*/ 10000 w 10000"/>
                <a:gd name="connsiteY1" fmla="*/ 0 h 10000"/>
                <a:gd name="connsiteX2" fmla="*/ 9859 w 10000"/>
                <a:gd name="connsiteY2" fmla="*/ 4290 h 10000"/>
                <a:gd name="connsiteX3" fmla="*/ 9859 w 10000"/>
                <a:gd name="connsiteY3" fmla="*/ 4290 h 10000"/>
                <a:gd name="connsiteX4" fmla="*/ 8789 w 10000"/>
                <a:gd name="connsiteY4" fmla="*/ 3323 h 10000"/>
                <a:gd name="connsiteX5" fmla="*/ 6451 w 10000"/>
                <a:gd name="connsiteY5" fmla="*/ 6484 h 10000"/>
                <a:gd name="connsiteX6" fmla="*/ 0 w 10000"/>
                <a:gd name="connsiteY6" fmla="*/ 10000 h 10000"/>
                <a:gd name="connsiteX7" fmla="*/ 5718 w 10000"/>
                <a:gd name="connsiteY7" fmla="*/ 5387 h 10000"/>
                <a:gd name="connsiteX8" fmla="*/ 7380 w 10000"/>
                <a:gd name="connsiteY8" fmla="*/ 2065 h 10000"/>
                <a:gd name="connsiteX9" fmla="*/ 7380 w 10000"/>
                <a:gd name="connsiteY9" fmla="*/ 2065 h 10000"/>
                <a:gd name="connsiteX10" fmla="*/ 7380 w 10000"/>
                <a:gd name="connsiteY10" fmla="*/ 2065 h 10000"/>
                <a:gd name="connsiteX11" fmla="*/ 6310 w 10000"/>
                <a:gd name="connsiteY11" fmla="*/ 1032 h 10000"/>
                <a:gd name="connsiteX12" fmla="*/ 6310 w 10000"/>
                <a:gd name="connsiteY12" fmla="*/ 1000 h 10000"/>
                <a:gd name="connsiteX13" fmla="*/ 6338 w 10000"/>
                <a:gd name="connsiteY13" fmla="*/ 968 h 10000"/>
                <a:gd name="connsiteX14" fmla="*/ 6395 w 10000"/>
                <a:gd name="connsiteY14" fmla="*/ 968 h 10000"/>
                <a:gd name="connsiteX15" fmla="*/ 6422 w 10000"/>
                <a:gd name="connsiteY15" fmla="*/ 903 h 10000"/>
                <a:gd name="connsiteX16" fmla="*/ 6451 w 10000"/>
                <a:gd name="connsiteY16" fmla="*/ 903 h 10000"/>
                <a:gd name="connsiteX17" fmla="*/ 6536 w 10000"/>
                <a:gd name="connsiteY17" fmla="*/ 903 h 10000"/>
                <a:gd name="connsiteX18" fmla="*/ 6704 w 10000"/>
                <a:gd name="connsiteY18" fmla="*/ 871 h 10000"/>
                <a:gd name="connsiteX19" fmla="*/ 9606 w 10000"/>
                <a:gd name="connsiteY19" fmla="*/ 65 h 10000"/>
                <a:gd name="connsiteX20" fmla="*/ 9888 w 10000"/>
                <a:gd name="connsiteY20" fmla="*/ 0 h 10000"/>
                <a:gd name="connsiteX0" fmla="*/ 9888 w 10000"/>
                <a:gd name="connsiteY0" fmla="*/ 0 h 10000"/>
                <a:gd name="connsiteX1" fmla="*/ 10000 w 10000"/>
                <a:gd name="connsiteY1" fmla="*/ 0 h 10000"/>
                <a:gd name="connsiteX2" fmla="*/ 9859 w 10000"/>
                <a:gd name="connsiteY2" fmla="*/ 4290 h 10000"/>
                <a:gd name="connsiteX3" fmla="*/ 9859 w 10000"/>
                <a:gd name="connsiteY3" fmla="*/ 4290 h 10000"/>
                <a:gd name="connsiteX4" fmla="*/ 8789 w 10000"/>
                <a:gd name="connsiteY4" fmla="*/ 3323 h 10000"/>
                <a:gd name="connsiteX5" fmla="*/ 6451 w 10000"/>
                <a:gd name="connsiteY5" fmla="*/ 6484 h 10000"/>
                <a:gd name="connsiteX6" fmla="*/ 0 w 10000"/>
                <a:gd name="connsiteY6" fmla="*/ 10000 h 10000"/>
                <a:gd name="connsiteX7" fmla="*/ 5718 w 10000"/>
                <a:gd name="connsiteY7" fmla="*/ 5387 h 10000"/>
                <a:gd name="connsiteX8" fmla="*/ 7380 w 10000"/>
                <a:gd name="connsiteY8" fmla="*/ 2065 h 10000"/>
                <a:gd name="connsiteX9" fmla="*/ 7380 w 10000"/>
                <a:gd name="connsiteY9" fmla="*/ 2065 h 10000"/>
                <a:gd name="connsiteX10" fmla="*/ 7380 w 10000"/>
                <a:gd name="connsiteY10" fmla="*/ 2065 h 10000"/>
                <a:gd name="connsiteX11" fmla="*/ 6310 w 10000"/>
                <a:gd name="connsiteY11" fmla="*/ 1032 h 10000"/>
                <a:gd name="connsiteX12" fmla="*/ 6310 w 10000"/>
                <a:gd name="connsiteY12" fmla="*/ 1000 h 10000"/>
                <a:gd name="connsiteX13" fmla="*/ 6338 w 10000"/>
                <a:gd name="connsiteY13" fmla="*/ 968 h 10000"/>
                <a:gd name="connsiteX14" fmla="*/ 6395 w 10000"/>
                <a:gd name="connsiteY14" fmla="*/ 968 h 10000"/>
                <a:gd name="connsiteX15" fmla="*/ 6422 w 10000"/>
                <a:gd name="connsiteY15" fmla="*/ 903 h 10000"/>
                <a:gd name="connsiteX16" fmla="*/ 6451 w 10000"/>
                <a:gd name="connsiteY16" fmla="*/ 903 h 10000"/>
                <a:gd name="connsiteX17" fmla="*/ 6536 w 10000"/>
                <a:gd name="connsiteY17" fmla="*/ 903 h 10000"/>
                <a:gd name="connsiteX18" fmla="*/ 6704 w 10000"/>
                <a:gd name="connsiteY18" fmla="*/ 871 h 10000"/>
                <a:gd name="connsiteX19" fmla="*/ 9888 w 10000"/>
                <a:gd name="connsiteY19" fmla="*/ 0 h 10000"/>
                <a:gd name="connsiteX0" fmla="*/ 6704 w 10000"/>
                <a:gd name="connsiteY0" fmla="*/ 871 h 10000"/>
                <a:gd name="connsiteX1" fmla="*/ 10000 w 10000"/>
                <a:gd name="connsiteY1" fmla="*/ 0 h 10000"/>
                <a:gd name="connsiteX2" fmla="*/ 9859 w 10000"/>
                <a:gd name="connsiteY2" fmla="*/ 4290 h 10000"/>
                <a:gd name="connsiteX3" fmla="*/ 9859 w 10000"/>
                <a:gd name="connsiteY3" fmla="*/ 4290 h 10000"/>
                <a:gd name="connsiteX4" fmla="*/ 8789 w 10000"/>
                <a:gd name="connsiteY4" fmla="*/ 3323 h 10000"/>
                <a:gd name="connsiteX5" fmla="*/ 6451 w 10000"/>
                <a:gd name="connsiteY5" fmla="*/ 6484 h 10000"/>
                <a:gd name="connsiteX6" fmla="*/ 0 w 10000"/>
                <a:gd name="connsiteY6" fmla="*/ 10000 h 10000"/>
                <a:gd name="connsiteX7" fmla="*/ 5718 w 10000"/>
                <a:gd name="connsiteY7" fmla="*/ 5387 h 10000"/>
                <a:gd name="connsiteX8" fmla="*/ 7380 w 10000"/>
                <a:gd name="connsiteY8" fmla="*/ 2065 h 10000"/>
                <a:gd name="connsiteX9" fmla="*/ 7380 w 10000"/>
                <a:gd name="connsiteY9" fmla="*/ 2065 h 10000"/>
                <a:gd name="connsiteX10" fmla="*/ 7380 w 10000"/>
                <a:gd name="connsiteY10" fmla="*/ 2065 h 10000"/>
                <a:gd name="connsiteX11" fmla="*/ 6310 w 10000"/>
                <a:gd name="connsiteY11" fmla="*/ 1032 h 10000"/>
                <a:gd name="connsiteX12" fmla="*/ 6310 w 10000"/>
                <a:gd name="connsiteY12" fmla="*/ 1000 h 10000"/>
                <a:gd name="connsiteX13" fmla="*/ 6338 w 10000"/>
                <a:gd name="connsiteY13" fmla="*/ 968 h 10000"/>
                <a:gd name="connsiteX14" fmla="*/ 6395 w 10000"/>
                <a:gd name="connsiteY14" fmla="*/ 968 h 10000"/>
                <a:gd name="connsiteX15" fmla="*/ 6422 w 10000"/>
                <a:gd name="connsiteY15" fmla="*/ 903 h 10000"/>
                <a:gd name="connsiteX16" fmla="*/ 6451 w 10000"/>
                <a:gd name="connsiteY16" fmla="*/ 903 h 10000"/>
                <a:gd name="connsiteX17" fmla="*/ 6536 w 10000"/>
                <a:gd name="connsiteY17" fmla="*/ 903 h 10000"/>
                <a:gd name="connsiteX18" fmla="*/ 6704 w 10000"/>
                <a:gd name="connsiteY18" fmla="*/ 871 h 10000"/>
                <a:gd name="connsiteX0" fmla="*/ 6536 w 10000"/>
                <a:gd name="connsiteY0" fmla="*/ 1042 h 10139"/>
                <a:gd name="connsiteX1" fmla="*/ 10000 w 10000"/>
                <a:gd name="connsiteY1" fmla="*/ 139 h 10139"/>
                <a:gd name="connsiteX2" fmla="*/ 9859 w 10000"/>
                <a:gd name="connsiteY2" fmla="*/ 4429 h 10139"/>
                <a:gd name="connsiteX3" fmla="*/ 9859 w 10000"/>
                <a:gd name="connsiteY3" fmla="*/ 4429 h 10139"/>
                <a:gd name="connsiteX4" fmla="*/ 8789 w 10000"/>
                <a:gd name="connsiteY4" fmla="*/ 3462 h 10139"/>
                <a:gd name="connsiteX5" fmla="*/ 6451 w 10000"/>
                <a:gd name="connsiteY5" fmla="*/ 6623 h 10139"/>
                <a:gd name="connsiteX6" fmla="*/ 0 w 10000"/>
                <a:gd name="connsiteY6" fmla="*/ 10139 h 10139"/>
                <a:gd name="connsiteX7" fmla="*/ 5718 w 10000"/>
                <a:gd name="connsiteY7" fmla="*/ 5526 h 10139"/>
                <a:gd name="connsiteX8" fmla="*/ 7380 w 10000"/>
                <a:gd name="connsiteY8" fmla="*/ 2204 h 10139"/>
                <a:gd name="connsiteX9" fmla="*/ 7380 w 10000"/>
                <a:gd name="connsiteY9" fmla="*/ 2204 h 10139"/>
                <a:gd name="connsiteX10" fmla="*/ 7380 w 10000"/>
                <a:gd name="connsiteY10" fmla="*/ 2204 h 10139"/>
                <a:gd name="connsiteX11" fmla="*/ 6310 w 10000"/>
                <a:gd name="connsiteY11" fmla="*/ 1171 h 10139"/>
                <a:gd name="connsiteX12" fmla="*/ 6310 w 10000"/>
                <a:gd name="connsiteY12" fmla="*/ 1139 h 10139"/>
                <a:gd name="connsiteX13" fmla="*/ 6338 w 10000"/>
                <a:gd name="connsiteY13" fmla="*/ 1107 h 10139"/>
                <a:gd name="connsiteX14" fmla="*/ 6395 w 10000"/>
                <a:gd name="connsiteY14" fmla="*/ 1107 h 10139"/>
                <a:gd name="connsiteX15" fmla="*/ 6422 w 10000"/>
                <a:gd name="connsiteY15" fmla="*/ 1042 h 10139"/>
                <a:gd name="connsiteX16" fmla="*/ 6451 w 10000"/>
                <a:gd name="connsiteY16" fmla="*/ 1042 h 10139"/>
                <a:gd name="connsiteX17" fmla="*/ 6536 w 10000"/>
                <a:gd name="connsiteY17" fmla="*/ 1042 h 10139"/>
                <a:gd name="connsiteX0" fmla="*/ 6451 w 10000"/>
                <a:gd name="connsiteY0" fmla="*/ 903 h 10000"/>
                <a:gd name="connsiteX1" fmla="*/ 10000 w 10000"/>
                <a:gd name="connsiteY1" fmla="*/ 0 h 10000"/>
                <a:gd name="connsiteX2" fmla="*/ 9859 w 10000"/>
                <a:gd name="connsiteY2" fmla="*/ 4290 h 10000"/>
                <a:gd name="connsiteX3" fmla="*/ 9859 w 10000"/>
                <a:gd name="connsiteY3" fmla="*/ 4290 h 10000"/>
                <a:gd name="connsiteX4" fmla="*/ 8789 w 10000"/>
                <a:gd name="connsiteY4" fmla="*/ 3323 h 10000"/>
                <a:gd name="connsiteX5" fmla="*/ 6451 w 10000"/>
                <a:gd name="connsiteY5" fmla="*/ 6484 h 10000"/>
                <a:gd name="connsiteX6" fmla="*/ 0 w 10000"/>
                <a:gd name="connsiteY6" fmla="*/ 10000 h 10000"/>
                <a:gd name="connsiteX7" fmla="*/ 5718 w 10000"/>
                <a:gd name="connsiteY7" fmla="*/ 5387 h 10000"/>
                <a:gd name="connsiteX8" fmla="*/ 7380 w 10000"/>
                <a:gd name="connsiteY8" fmla="*/ 2065 h 10000"/>
                <a:gd name="connsiteX9" fmla="*/ 7380 w 10000"/>
                <a:gd name="connsiteY9" fmla="*/ 2065 h 10000"/>
                <a:gd name="connsiteX10" fmla="*/ 7380 w 10000"/>
                <a:gd name="connsiteY10" fmla="*/ 2065 h 10000"/>
                <a:gd name="connsiteX11" fmla="*/ 6310 w 10000"/>
                <a:gd name="connsiteY11" fmla="*/ 1032 h 10000"/>
                <a:gd name="connsiteX12" fmla="*/ 6310 w 10000"/>
                <a:gd name="connsiteY12" fmla="*/ 1000 h 10000"/>
                <a:gd name="connsiteX13" fmla="*/ 6338 w 10000"/>
                <a:gd name="connsiteY13" fmla="*/ 968 h 10000"/>
                <a:gd name="connsiteX14" fmla="*/ 6395 w 10000"/>
                <a:gd name="connsiteY14" fmla="*/ 968 h 10000"/>
                <a:gd name="connsiteX15" fmla="*/ 6422 w 10000"/>
                <a:gd name="connsiteY15" fmla="*/ 903 h 10000"/>
                <a:gd name="connsiteX16" fmla="*/ 6451 w 10000"/>
                <a:gd name="connsiteY16" fmla="*/ 903 h 10000"/>
                <a:gd name="connsiteX0" fmla="*/ 6422 w 10000"/>
                <a:gd name="connsiteY0" fmla="*/ 903 h 10000"/>
                <a:gd name="connsiteX1" fmla="*/ 10000 w 10000"/>
                <a:gd name="connsiteY1" fmla="*/ 0 h 10000"/>
                <a:gd name="connsiteX2" fmla="*/ 9859 w 10000"/>
                <a:gd name="connsiteY2" fmla="*/ 4290 h 10000"/>
                <a:gd name="connsiteX3" fmla="*/ 9859 w 10000"/>
                <a:gd name="connsiteY3" fmla="*/ 4290 h 10000"/>
                <a:gd name="connsiteX4" fmla="*/ 8789 w 10000"/>
                <a:gd name="connsiteY4" fmla="*/ 3323 h 10000"/>
                <a:gd name="connsiteX5" fmla="*/ 6451 w 10000"/>
                <a:gd name="connsiteY5" fmla="*/ 6484 h 10000"/>
                <a:gd name="connsiteX6" fmla="*/ 0 w 10000"/>
                <a:gd name="connsiteY6" fmla="*/ 10000 h 10000"/>
                <a:gd name="connsiteX7" fmla="*/ 5718 w 10000"/>
                <a:gd name="connsiteY7" fmla="*/ 5387 h 10000"/>
                <a:gd name="connsiteX8" fmla="*/ 7380 w 10000"/>
                <a:gd name="connsiteY8" fmla="*/ 2065 h 10000"/>
                <a:gd name="connsiteX9" fmla="*/ 7380 w 10000"/>
                <a:gd name="connsiteY9" fmla="*/ 2065 h 10000"/>
                <a:gd name="connsiteX10" fmla="*/ 7380 w 10000"/>
                <a:gd name="connsiteY10" fmla="*/ 2065 h 10000"/>
                <a:gd name="connsiteX11" fmla="*/ 6310 w 10000"/>
                <a:gd name="connsiteY11" fmla="*/ 1032 h 10000"/>
                <a:gd name="connsiteX12" fmla="*/ 6310 w 10000"/>
                <a:gd name="connsiteY12" fmla="*/ 1000 h 10000"/>
                <a:gd name="connsiteX13" fmla="*/ 6338 w 10000"/>
                <a:gd name="connsiteY13" fmla="*/ 968 h 10000"/>
                <a:gd name="connsiteX14" fmla="*/ 6395 w 10000"/>
                <a:gd name="connsiteY14" fmla="*/ 968 h 10000"/>
                <a:gd name="connsiteX15" fmla="*/ 6422 w 10000"/>
                <a:gd name="connsiteY15" fmla="*/ 903 h 10000"/>
                <a:gd name="connsiteX0" fmla="*/ 6395 w 10000"/>
                <a:gd name="connsiteY0" fmla="*/ 1099 h 10131"/>
                <a:gd name="connsiteX1" fmla="*/ 10000 w 10000"/>
                <a:gd name="connsiteY1" fmla="*/ 131 h 10131"/>
                <a:gd name="connsiteX2" fmla="*/ 9859 w 10000"/>
                <a:gd name="connsiteY2" fmla="*/ 4421 h 10131"/>
                <a:gd name="connsiteX3" fmla="*/ 9859 w 10000"/>
                <a:gd name="connsiteY3" fmla="*/ 4421 h 10131"/>
                <a:gd name="connsiteX4" fmla="*/ 8789 w 10000"/>
                <a:gd name="connsiteY4" fmla="*/ 3454 h 10131"/>
                <a:gd name="connsiteX5" fmla="*/ 6451 w 10000"/>
                <a:gd name="connsiteY5" fmla="*/ 6615 h 10131"/>
                <a:gd name="connsiteX6" fmla="*/ 0 w 10000"/>
                <a:gd name="connsiteY6" fmla="*/ 10131 h 10131"/>
                <a:gd name="connsiteX7" fmla="*/ 5718 w 10000"/>
                <a:gd name="connsiteY7" fmla="*/ 5518 h 10131"/>
                <a:gd name="connsiteX8" fmla="*/ 7380 w 10000"/>
                <a:gd name="connsiteY8" fmla="*/ 2196 h 10131"/>
                <a:gd name="connsiteX9" fmla="*/ 7380 w 10000"/>
                <a:gd name="connsiteY9" fmla="*/ 2196 h 10131"/>
                <a:gd name="connsiteX10" fmla="*/ 7380 w 10000"/>
                <a:gd name="connsiteY10" fmla="*/ 2196 h 10131"/>
                <a:gd name="connsiteX11" fmla="*/ 6310 w 10000"/>
                <a:gd name="connsiteY11" fmla="*/ 1163 h 10131"/>
                <a:gd name="connsiteX12" fmla="*/ 6310 w 10000"/>
                <a:gd name="connsiteY12" fmla="*/ 1131 h 10131"/>
                <a:gd name="connsiteX13" fmla="*/ 6338 w 10000"/>
                <a:gd name="connsiteY13" fmla="*/ 1099 h 10131"/>
                <a:gd name="connsiteX14" fmla="*/ 6395 w 10000"/>
                <a:gd name="connsiteY14" fmla="*/ 1099 h 10131"/>
                <a:gd name="connsiteX0" fmla="*/ 6338 w 10000"/>
                <a:gd name="connsiteY0" fmla="*/ 968 h 10000"/>
                <a:gd name="connsiteX1" fmla="*/ 10000 w 10000"/>
                <a:gd name="connsiteY1" fmla="*/ 0 h 10000"/>
                <a:gd name="connsiteX2" fmla="*/ 9859 w 10000"/>
                <a:gd name="connsiteY2" fmla="*/ 4290 h 10000"/>
                <a:gd name="connsiteX3" fmla="*/ 9859 w 10000"/>
                <a:gd name="connsiteY3" fmla="*/ 4290 h 10000"/>
                <a:gd name="connsiteX4" fmla="*/ 8789 w 10000"/>
                <a:gd name="connsiteY4" fmla="*/ 3323 h 10000"/>
                <a:gd name="connsiteX5" fmla="*/ 6451 w 10000"/>
                <a:gd name="connsiteY5" fmla="*/ 6484 h 10000"/>
                <a:gd name="connsiteX6" fmla="*/ 0 w 10000"/>
                <a:gd name="connsiteY6" fmla="*/ 10000 h 10000"/>
                <a:gd name="connsiteX7" fmla="*/ 5718 w 10000"/>
                <a:gd name="connsiteY7" fmla="*/ 5387 h 10000"/>
                <a:gd name="connsiteX8" fmla="*/ 7380 w 10000"/>
                <a:gd name="connsiteY8" fmla="*/ 2065 h 10000"/>
                <a:gd name="connsiteX9" fmla="*/ 7380 w 10000"/>
                <a:gd name="connsiteY9" fmla="*/ 2065 h 10000"/>
                <a:gd name="connsiteX10" fmla="*/ 7380 w 10000"/>
                <a:gd name="connsiteY10" fmla="*/ 2065 h 10000"/>
                <a:gd name="connsiteX11" fmla="*/ 6310 w 10000"/>
                <a:gd name="connsiteY11" fmla="*/ 1032 h 10000"/>
                <a:gd name="connsiteX12" fmla="*/ 6310 w 10000"/>
                <a:gd name="connsiteY12" fmla="*/ 1000 h 10000"/>
                <a:gd name="connsiteX13" fmla="*/ 6338 w 10000"/>
                <a:gd name="connsiteY13" fmla="*/ 968 h 10000"/>
                <a:gd name="connsiteX0" fmla="*/ 6310 w 10000"/>
                <a:gd name="connsiteY0" fmla="*/ 1128 h 10128"/>
                <a:gd name="connsiteX1" fmla="*/ 10000 w 10000"/>
                <a:gd name="connsiteY1" fmla="*/ 128 h 10128"/>
                <a:gd name="connsiteX2" fmla="*/ 9859 w 10000"/>
                <a:gd name="connsiteY2" fmla="*/ 4418 h 10128"/>
                <a:gd name="connsiteX3" fmla="*/ 9859 w 10000"/>
                <a:gd name="connsiteY3" fmla="*/ 4418 h 10128"/>
                <a:gd name="connsiteX4" fmla="*/ 8789 w 10000"/>
                <a:gd name="connsiteY4" fmla="*/ 3451 h 10128"/>
                <a:gd name="connsiteX5" fmla="*/ 6451 w 10000"/>
                <a:gd name="connsiteY5" fmla="*/ 6612 h 10128"/>
                <a:gd name="connsiteX6" fmla="*/ 0 w 10000"/>
                <a:gd name="connsiteY6" fmla="*/ 10128 h 10128"/>
                <a:gd name="connsiteX7" fmla="*/ 5718 w 10000"/>
                <a:gd name="connsiteY7" fmla="*/ 5515 h 10128"/>
                <a:gd name="connsiteX8" fmla="*/ 7380 w 10000"/>
                <a:gd name="connsiteY8" fmla="*/ 2193 h 10128"/>
                <a:gd name="connsiteX9" fmla="*/ 7380 w 10000"/>
                <a:gd name="connsiteY9" fmla="*/ 2193 h 10128"/>
                <a:gd name="connsiteX10" fmla="*/ 7380 w 10000"/>
                <a:gd name="connsiteY10" fmla="*/ 2193 h 10128"/>
                <a:gd name="connsiteX11" fmla="*/ 6310 w 10000"/>
                <a:gd name="connsiteY11" fmla="*/ 1160 h 10128"/>
                <a:gd name="connsiteX12" fmla="*/ 6310 w 10000"/>
                <a:gd name="connsiteY12" fmla="*/ 1128 h 10128"/>
                <a:gd name="connsiteX0" fmla="*/ 6310 w 10000"/>
                <a:gd name="connsiteY0" fmla="*/ 1032 h 10000"/>
                <a:gd name="connsiteX1" fmla="*/ 10000 w 10000"/>
                <a:gd name="connsiteY1" fmla="*/ 0 h 10000"/>
                <a:gd name="connsiteX2" fmla="*/ 9859 w 10000"/>
                <a:gd name="connsiteY2" fmla="*/ 4290 h 10000"/>
                <a:gd name="connsiteX3" fmla="*/ 9859 w 10000"/>
                <a:gd name="connsiteY3" fmla="*/ 4290 h 10000"/>
                <a:gd name="connsiteX4" fmla="*/ 8789 w 10000"/>
                <a:gd name="connsiteY4" fmla="*/ 3323 h 10000"/>
                <a:gd name="connsiteX5" fmla="*/ 6451 w 10000"/>
                <a:gd name="connsiteY5" fmla="*/ 6484 h 10000"/>
                <a:gd name="connsiteX6" fmla="*/ 0 w 10000"/>
                <a:gd name="connsiteY6" fmla="*/ 10000 h 10000"/>
                <a:gd name="connsiteX7" fmla="*/ 5718 w 10000"/>
                <a:gd name="connsiteY7" fmla="*/ 5387 h 10000"/>
                <a:gd name="connsiteX8" fmla="*/ 7380 w 10000"/>
                <a:gd name="connsiteY8" fmla="*/ 2065 h 10000"/>
                <a:gd name="connsiteX9" fmla="*/ 7380 w 10000"/>
                <a:gd name="connsiteY9" fmla="*/ 2065 h 10000"/>
                <a:gd name="connsiteX10" fmla="*/ 7380 w 10000"/>
                <a:gd name="connsiteY10" fmla="*/ 2065 h 10000"/>
                <a:gd name="connsiteX11" fmla="*/ 6310 w 10000"/>
                <a:gd name="connsiteY11" fmla="*/ 103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10000" h="10000">
                  <a:moveTo>
                    <a:pt x="6310" y="1032"/>
                  </a:moveTo>
                  <a:lnTo>
                    <a:pt x="10000" y="0"/>
                  </a:lnTo>
                  <a:cubicBezTo>
                    <a:pt x="9995" y="715"/>
                    <a:pt x="9883" y="3575"/>
                    <a:pt x="9859" y="4290"/>
                  </a:cubicBezTo>
                  <a:lnTo>
                    <a:pt x="9859" y="4290"/>
                  </a:lnTo>
                  <a:lnTo>
                    <a:pt x="8789" y="3323"/>
                  </a:lnTo>
                  <a:cubicBezTo>
                    <a:pt x="8322" y="4165"/>
                    <a:pt x="7565" y="5364"/>
                    <a:pt x="6451" y="6484"/>
                  </a:cubicBezTo>
                  <a:cubicBezTo>
                    <a:pt x="4555" y="8013"/>
                    <a:pt x="1861" y="9489"/>
                    <a:pt x="0" y="10000"/>
                  </a:cubicBezTo>
                  <a:cubicBezTo>
                    <a:pt x="2552" y="8660"/>
                    <a:pt x="4458" y="7084"/>
                    <a:pt x="5718" y="5387"/>
                  </a:cubicBezTo>
                  <a:cubicBezTo>
                    <a:pt x="6295" y="4571"/>
                    <a:pt x="7138" y="3172"/>
                    <a:pt x="7380" y="2065"/>
                  </a:cubicBezTo>
                  <a:lnTo>
                    <a:pt x="7380" y="2065"/>
                  </a:lnTo>
                  <a:lnTo>
                    <a:pt x="7380" y="2065"/>
                  </a:lnTo>
                  <a:lnTo>
                    <a:pt x="6310" y="103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kern="0">
                <a:solidFill>
                  <a:prstClr val="black"/>
                </a:solidFill>
              </a:endParaRPr>
            </a:p>
          </p:txBody>
        </p:sp>
        <p:sp>
          <p:nvSpPr>
            <p:cNvPr id="68" name="Rectangle 179"/>
            <p:cNvSpPr>
              <a:spLocks noChangeArrowheads="1"/>
            </p:cNvSpPr>
            <p:nvPr/>
          </p:nvSpPr>
          <p:spPr bwMode="auto">
            <a:xfrm>
              <a:off x="684239" y="6740472"/>
              <a:ext cx="327144" cy="1186544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kern="0">
                <a:solidFill>
                  <a:prstClr val="black"/>
                </a:solidFill>
              </a:endParaRPr>
            </a:p>
          </p:txBody>
        </p:sp>
        <p:sp>
          <p:nvSpPr>
            <p:cNvPr id="69" name="Rectangle 180"/>
            <p:cNvSpPr>
              <a:spLocks noChangeArrowheads="1"/>
            </p:cNvSpPr>
            <p:nvPr/>
          </p:nvSpPr>
          <p:spPr bwMode="auto">
            <a:xfrm>
              <a:off x="245453" y="7093579"/>
              <a:ext cx="324548" cy="833437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kern="0">
                <a:solidFill>
                  <a:prstClr val="black"/>
                </a:solidFill>
              </a:endParaRPr>
            </a:p>
          </p:txBody>
        </p:sp>
        <p:sp>
          <p:nvSpPr>
            <p:cNvPr id="70" name="Rectangle 181"/>
            <p:cNvSpPr>
              <a:spLocks noChangeArrowheads="1"/>
            </p:cNvSpPr>
            <p:nvPr/>
          </p:nvSpPr>
          <p:spPr bwMode="auto">
            <a:xfrm>
              <a:off x="-195932" y="7399951"/>
              <a:ext cx="327144" cy="527064"/>
            </a:xfrm>
            <a:prstGeom prst="rect">
              <a:avLst/>
            </a:prstGeom>
            <a:grpFill/>
            <a:ln w="0">
              <a:noFill/>
              <a:prstDash val="solid"/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kern="0">
                <a:solidFill>
                  <a:prstClr val="black"/>
                </a:solidFill>
              </a:endParaRPr>
            </a:p>
          </p:txBody>
        </p:sp>
        <p:sp>
          <p:nvSpPr>
            <p:cNvPr id="71" name="Freeform 182"/>
            <p:cNvSpPr>
              <a:spLocks/>
            </p:cNvSpPr>
            <p:nvPr/>
          </p:nvSpPr>
          <p:spPr bwMode="auto">
            <a:xfrm>
              <a:off x="-369889" y="6688825"/>
              <a:ext cx="1489326" cy="1363085"/>
            </a:xfrm>
            <a:custGeom>
              <a:avLst/>
              <a:gdLst>
                <a:gd name="T0" fmla="*/ 19 w 575"/>
                <a:gd name="T1" fmla="*/ 0 h 530"/>
                <a:gd name="T2" fmla="*/ 24 w 575"/>
                <a:gd name="T3" fmla="*/ 0 h 530"/>
                <a:gd name="T4" fmla="*/ 29 w 575"/>
                <a:gd name="T5" fmla="*/ 3 h 530"/>
                <a:gd name="T6" fmla="*/ 33 w 575"/>
                <a:gd name="T7" fmla="*/ 7 h 530"/>
                <a:gd name="T8" fmla="*/ 36 w 575"/>
                <a:gd name="T9" fmla="*/ 12 h 530"/>
                <a:gd name="T10" fmla="*/ 37 w 575"/>
                <a:gd name="T11" fmla="*/ 18 h 530"/>
                <a:gd name="T12" fmla="*/ 37 w 575"/>
                <a:gd name="T13" fmla="*/ 492 h 530"/>
                <a:gd name="T14" fmla="*/ 557 w 575"/>
                <a:gd name="T15" fmla="*/ 492 h 530"/>
                <a:gd name="T16" fmla="*/ 562 w 575"/>
                <a:gd name="T17" fmla="*/ 494 h 530"/>
                <a:gd name="T18" fmla="*/ 567 w 575"/>
                <a:gd name="T19" fmla="*/ 496 h 530"/>
                <a:gd name="T20" fmla="*/ 571 w 575"/>
                <a:gd name="T21" fmla="*/ 500 h 530"/>
                <a:gd name="T22" fmla="*/ 574 w 575"/>
                <a:gd name="T23" fmla="*/ 505 h 530"/>
                <a:gd name="T24" fmla="*/ 575 w 575"/>
                <a:gd name="T25" fmla="*/ 512 h 530"/>
                <a:gd name="T26" fmla="*/ 574 w 575"/>
                <a:gd name="T27" fmla="*/ 517 h 530"/>
                <a:gd name="T28" fmla="*/ 571 w 575"/>
                <a:gd name="T29" fmla="*/ 522 h 530"/>
                <a:gd name="T30" fmla="*/ 567 w 575"/>
                <a:gd name="T31" fmla="*/ 526 h 530"/>
                <a:gd name="T32" fmla="*/ 562 w 575"/>
                <a:gd name="T33" fmla="*/ 529 h 530"/>
                <a:gd name="T34" fmla="*/ 557 w 575"/>
                <a:gd name="T35" fmla="*/ 530 h 530"/>
                <a:gd name="T36" fmla="*/ 19 w 575"/>
                <a:gd name="T37" fmla="*/ 530 h 530"/>
                <a:gd name="T38" fmla="*/ 12 w 575"/>
                <a:gd name="T39" fmla="*/ 529 h 530"/>
                <a:gd name="T40" fmla="*/ 7 w 575"/>
                <a:gd name="T41" fmla="*/ 526 h 530"/>
                <a:gd name="T42" fmla="*/ 3 w 575"/>
                <a:gd name="T43" fmla="*/ 522 h 530"/>
                <a:gd name="T44" fmla="*/ 0 w 575"/>
                <a:gd name="T45" fmla="*/ 517 h 530"/>
                <a:gd name="T46" fmla="*/ 0 w 575"/>
                <a:gd name="T47" fmla="*/ 512 h 530"/>
                <a:gd name="T48" fmla="*/ 0 w 575"/>
                <a:gd name="T49" fmla="*/ 18 h 530"/>
                <a:gd name="T50" fmla="*/ 0 w 575"/>
                <a:gd name="T51" fmla="*/ 12 h 530"/>
                <a:gd name="T52" fmla="*/ 3 w 575"/>
                <a:gd name="T53" fmla="*/ 7 h 530"/>
                <a:gd name="T54" fmla="*/ 7 w 575"/>
                <a:gd name="T55" fmla="*/ 3 h 530"/>
                <a:gd name="T56" fmla="*/ 12 w 575"/>
                <a:gd name="T57" fmla="*/ 0 h 530"/>
                <a:gd name="T58" fmla="*/ 19 w 575"/>
                <a:gd name="T59" fmla="*/ 0 h 530"/>
                <a:gd name="connsiteX0" fmla="*/ 330 w 10000"/>
                <a:gd name="connsiteY0" fmla="*/ 0 h 10000"/>
                <a:gd name="connsiteX1" fmla="*/ 417 w 10000"/>
                <a:gd name="connsiteY1" fmla="*/ 0 h 10000"/>
                <a:gd name="connsiteX2" fmla="*/ 504 w 10000"/>
                <a:gd name="connsiteY2" fmla="*/ 57 h 10000"/>
                <a:gd name="connsiteX3" fmla="*/ 574 w 10000"/>
                <a:gd name="connsiteY3" fmla="*/ 132 h 10000"/>
                <a:gd name="connsiteX4" fmla="*/ 626 w 10000"/>
                <a:gd name="connsiteY4" fmla="*/ 226 h 10000"/>
                <a:gd name="connsiteX5" fmla="*/ 643 w 10000"/>
                <a:gd name="connsiteY5" fmla="*/ 340 h 10000"/>
                <a:gd name="connsiteX6" fmla="*/ 643 w 10000"/>
                <a:gd name="connsiteY6" fmla="*/ 9283 h 10000"/>
                <a:gd name="connsiteX7" fmla="*/ 9687 w 10000"/>
                <a:gd name="connsiteY7" fmla="*/ 9283 h 10000"/>
                <a:gd name="connsiteX8" fmla="*/ 9774 w 10000"/>
                <a:gd name="connsiteY8" fmla="*/ 9321 h 10000"/>
                <a:gd name="connsiteX9" fmla="*/ 9861 w 10000"/>
                <a:gd name="connsiteY9" fmla="*/ 9358 h 10000"/>
                <a:gd name="connsiteX10" fmla="*/ 9930 w 10000"/>
                <a:gd name="connsiteY10" fmla="*/ 9434 h 10000"/>
                <a:gd name="connsiteX11" fmla="*/ 9983 w 10000"/>
                <a:gd name="connsiteY11" fmla="*/ 9528 h 10000"/>
                <a:gd name="connsiteX12" fmla="*/ 10000 w 10000"/>
                <a:gd name="connsiteY12" fmla="*/ 9660 h 10000"/>
                <a:gd name="connsiteX13" fmla="*/ 9983 w 10000"/>
                <a:gd name="connsiteY13" fmla="*/ 9755 h 10000"/>
                <a:gd name="connsiteX14" fmla="*/ 9930 w 10000"/>
                <a:gd name="connsiteY14" fmla="*/ 9849 h 10000"/>
                <a:gd name="connsiteX15" fmla="*/ 9861 w 10000"/>
                <a:gd name="connsiteY15" fmla="*/ 9925 h 10000"/>
                <a:gd name="connsiteX16" fmla="*/ 9774 w 10000"/>
                <a:gd name="connsiteY16" fmla="*/ 9981 h 10000"/>
                <a:gd name="connsiteX17" fmla="*/ 9687 w 10000"/>
                <a:gd name="connsiteY17" fmla="*/ 10000 h 10000"/>
                <a:gd name="connsiteX18" fmla="*/ 330 w 10000"/>
                <a:gd name="connsiteY18" fmla="*/ 10000 h 10000"/>
                <a:gd name="connsiteX19" fmla="*/ 209 w 10000"/>
                <a:gd name="connsiteY19" fmla="*/ 9981 h 10000"/>
                <a:gd name="connsiteX20" fmla="*/ 122 w 10000"/>
                <a:gd name="connsiteY20" fmla="*/ 9925 h 10000"/>
                <a:gd name="connsiteX21" fmla="*/ 52 w 10000"/>
                <a:gd name="connsiteY21" fmla="*/ 9849 h 10000"/>
                <a:gd name="connsiteX22" fmla="*/ 0 w 10000"/>
                <a:gd name="connsiteY22" fmla="*/ 9755 h 10000"/>
                <a:gd name="connsiteX23" fmla="*/ 0 w 10000"/>
                <a:gd name="connsiteY23" fmla="*/ 9660 h 10000"/>
                <a:gd name="connsiteX24" fmla="*/ 0 w 10000"/>
                <a:gd name="connsiteY24" fmla="*/ 340 h 10000"/>
                <a:gd name="connsiteX25" fmla="*/ 52 w 10000"/>
                <a:gd name="connsiteY25" fmla="*/ 132 h 10000"/>
                <a:gd name="connsiteX26" fmla="*/ 122 w 10000"/>
                <a:gd name="connsiteY26" fmla="*/ 57 h 10000"/>
                <a:gd name="connsiteX27" fmla="*/ 209 w 10000"/>
                <a:gd name="connsiteY27" fmla="*/ 0 h 10000"/>
                <a:gd name="connsiteX28" fmla="*/ 330 w 10000"/>
                <a:gd name="connsiteY28" fmla="*/ 0 h 10000"/>
                <a:gd name="connsiteX0" fmla="*/ 330 w 10000"/>
                <a:gd name="connsiteY0" fmla="*/ 438 h 10438"/>
                <a:gd name="connsiteX1" fmla="*/ 417 w 10000"/>
                <a:gd name="connsiteY1" fmla="*/ 438 h 10438"/>
                <a:gd name="connsiteX2" fmla="*/ 504 w 10000"/>
                <a:gd name="connsiteY2" fmla="*/ 495 h 10438"/>
                <a:gd name="connsiteX3" fmla="*/ 574 w 10000"/>
                <a:gd name="connsiteY3" fmla="*/ 570 h 10438"/>
                <a:gd name="connsiteX4" fmla="*/ 626 w 10000"/>
                <a:gd name="connsiteY4" fmla="*/ 664 h 10438"/>
                <a:gd name="connsiteX5" fmla="*/ 643 w 10000"/>
                <a:gd name="connsiteY5" fmla="*/ 778 h 10438"/>
                <a:gd name="connsiteX6" fmla="*/ 643 w 10000"/>
                <a:gd name="connsiteY6" fmla="*/ 9721 h 10438"/>
                <a:gd name="connsiteX7" fmla="*/ 9687 w 10000"/>
                <a:gd name="connsiteY7" fmla="*/ 9721 h 10438"/>
                <a:gd name="connsiteX8" fmla="*/ 9774 w 10000"/>
                <a:gd name="connsiteY8" fmla="*/ 9759 h 10438"/>
                <a:gd name="connsiteX9" fmla="*/ 9861 w 10000"/>
                <a:gd name="connsiteY9" fmla="*/ 9796 h 10438"/>
                <a:gd name="connsiteX10" fmla="*/ 9930 w 10000"/>
                <a:gd name="connsiteY10" fmla="*/ 9872 h 10438"/>
                <a:gd name="connsiteX11" fmla="*/ 9983 w 10000"/>
                <a:gd name="connsiteY11" fmla="*/ 9966 h 10438"/>
                <a:gd name="connsiteX12" fmla="*/ 10000 w 10000"/>
                <a:gd name="connsiteY12" fmla="*/ 10098 h 10438"/>
                <a:gd name="connsiteX13" fmla="*/ 9983 w 10000"/>
                <a:gd name="connsiteY13" fmla="*/ 10193 h 10438"/>
                <a:gd name="connsiteX14" fmla="*/ 9930 w 10000"/>
                <a:gd name="connsiteY14" fmla="*/ 10287 h 10438"/>
                <a:gd name="connsiteX15" fmla="*/ 9861 w 10000"/>
                <a:gd name="connsiteY15" fmla="*/ 10363 h 10438"/>
                <a:gd name="connsiteX16" fmla="*/ 9774 w 10000"/>
                <a:gd name="connsiteY16" fmla="*/ 10419 h 10438"/>
                <a:gd name="connsiteX17" fmla="*/ 9687 w 10000"/>
                <a:gd name="connsiteY17" fmla="*/ 10438 h 10438"/>
                <a:gd name="connsiteX18" fmla="*/ 330 w 10000"/>
                <a:gd name="connsiteY18" fmla="*/ 10438 h 10438"/>
                <a:gd name="connsiteX19" fmla="*/ 209 w 10000"/>
                <a:gd name="connsiteY19" fmla="*/ 10419 h 10438"/>
                <a:gd name="connsiteX20" fmla="*/ 122 w 10000"/>
                <a:gd name="connsiteY20" fmla="*/ 10363 h 10438"/>
                <a:gd name="connsiteX21" fmla="*/ 52 w 10000"/>
                <a:gd name="connsiteY21" fmla="*/ 10287 h 10438"/>
                <a:gd name="connsiteX22" fmla="*/ 0 w 10000"/>
                <a:gd name="connsiteY22" fmla="*/ 10193 h 10438"/>
                <a:gd name="connsiteX23" fmla="*/ 0 w 10000"/>
                <a:gd name="connsiteY23" fmla="*/ 10098 h 10438"/>
                <a:gd name="connsiteX24" fmla="*/ 0 w 10000"/>
                <a:gd name="connsiteY24" fmla="*/ 778 h 10438"/>
                <a:gd name="connsiteX25" fmla="*/ 122 w 10000"/>
                <a:gd name="connsiteY25" fmla="*/ 495 h 10438"/>
                <a:gd name="connsiteX26" fmla="*/ 209 w 10000"/>
                <a:gd name="connsiteY26" fmla="*/ 438 h 10438"/>
                <a:gd name="connsiteX27" fmla="*/ 330 w 10000"/>
                <a:gd name="connsiteY27" fmla="*/ 438 h 10438"/>
                <a:gd name="connsiteX0" fmla="*/ 330 w 10000"/>
                <a:gd name="connsiteY0" fmla="*/ 460 h 10460"/>
                <a:gd name="connsiteX1" fmla="*/ 417 w 10000"/>
                <a:gd name="connsiteY1" fmla="*/ 460 h 10460"/>
                <a:gd name="connsiteX2" fmla="*/ 504 w 10000"/>
                <a:gd name="connsiteY2" fmla="*/ 517 h 10460"/>
                <a:gd name="connsiteX3" fmla="*/ 574 w 10000"/>
                <a:gd name="connsiteY3" fmla="*/ 592 h 10460"/>
                <a:gd name="connsiteX4" fmla="*/ 626 w 10000"/>
                <a:gd name="connsiteY4" fmla="*/ 686 h 10460"/>
                <a:gd name="connsiteX5" fmla="*/ 643 w 10000"/>
                <a:gd name="connsiteY5" fmla="*/ 800 h 10460"/>
                <a:gd name="connsiteX6" fmla="*/ 643 w 10000"/>
                <a:gd name="connsiteY6" fmla="*/ 9743 h 10460"/>
                <a:gd name="connsiteX7" fmla="*/ 9687 w 10000"/>
                <a:gd name="connsiteY7" fmla="*/ 9743 h 10460"/>
                <a:gd name="connsiteX8" fmla="*/ 9774 w 10000"/>
                <a:gd name="connsiteY8" fmla="*/ 9781 h 10460"/>
                <a:gd name="connsiteX9" fmla="*/ 9861 w 10000"/>
                <a:gd name="connsiteY9" fmla="*/ 9818 h 10460"/>
                <a:gd name="connsiteX10" fmla="*/ 9930 w 10000"/>
                <a:gd name="connsiteY10" fmla="*/ 9894 h 10460"/>
                <a:gd name="connsiteX11" fmla="*/ 9983 w 10000"/>
                <a:gd name="connsiteY11" fmla="*/ 9988 h 10460"/>
                <a:gd name="connsiteX12" fmla="*/ 10000 w 10000"/>
                <a:gd name="connsiteY12" fmla="*/ 10120 h 10460"/>
                <a:gd name="connsiteX13" fmla="*/ 9983 w 10000"/>
                <a:gd name="connsiteY13" fmla="*/ 10215 h 10460"/>
                <a:gd name="connsiteX14" fmla="*/ 9930 w 10000"/>
                <a:gd name="connsiteY14" fmla="*/ 10309 h 10460"/>
                <a:gd name="connsiteX15" fmla="*/ 9861 w 10000"/>
                <a:gd name="connsiteY15" fmla="*/ 10385 h 10460"/>
                <a:gd name="connsiteX16" fmla="*/ 9774 w 10000"/>
                <a:gd name="connsiteY16" fmla="*/ 10441 h 10460"/>
                <a:gd name="connsiteX17" fmla="*/ 9687 w 10000"/>
                <a:gd name="connsiteY17" fmla="*/ 10460 h 10460"/>
                <a:gd name="connsiteX18" fmla="*/ 330 w 10000"/>
                <a:gd name="connsiteY18" fmla="*/ 10460 h 10460"/>
                <a:gd name="connsiteX19" fmla="*/ 209 w 10000"/>
                <a:gd name="connsiteY19" fmla="*/ 10441 h 10460"/>
                <a:gd name="connsiteX20" fmla="*/ 122 w 10000"/>
                <a:gd name="connsiteY20" fmla="*/ 10385 h 10460"/>
                <a:gd name="connsiteX21" fmla="*/ 52 w 10000"/>
                <a:gd name="connsiteY21" fmla="*/ 10309 h 10460"/>
                <a:gd name="connsiteX22" fmla="*/ 0 w 10000"/>
                <a:gd name="connsiteY22" fmla="*/ 10215 h 10460"/>
                <a:gd name="connsiteX23" fmla="*/ 0 w 10000"/>
                <a:gd name="connsiteY23" fmla="*/ 10120 h 10460"/>
                <a:gd name="connsiteX24" fmla="*/ 0 w 10000"/>
                <a:gd name="connsiteY24" fmla="*/ 800 h 10460"/>
                <a:gd name="connsiteX25" fmla="*/ 209 w 10000"/>
                <a:gd name="connsiteY25" fmla="*/ 460 h 10460"/>
                <a:gd name="connsiteX26" fmla="*/ 330 w 10000"/>
                <a:gd name="connsiteY26" fmla="*/ 460 h 10460"/>
                <a:gd name="connsiteX0" fmla="*/ 330 w 10000"/>
                <a:gd name="connsiteY0" fmla="*/ 460 h 10460"/>
                <a:gd name="connsiteX1" fmla="*/ 417 w 10000"/>
                <a:gd name="connsiteY1" fmla="*/ 460 h 10460"/>
                <a:gd name="connsiteX2" fmla="*/ 504 w 10000"/>
                <a:gd name="connsiteY2" fmla="*/ 517 h 10460"/>
                <a:gd name="connsiteX3" fmla="*/ 574 w 10000"/>
                <a:gd name="connsiteY3" fmla="*/ 592 h 10460"/>
                <a:gd name="connsiteX4" fmla="*/ 626 w 10000"/>
                <a:gd name="connsiteY4" fmla="*/ 686 h 10460"/>
                <a:gd name="connsiteX5" fmla="*/ 643 w 10000"/>
                <a:gd name="connsiteY5" fmla="*/ 800 h 10460"/>
                <a:gd name="connsiteX6" fmla="*/ 643 w 10000"/>
                <a:gd name="connsiteY6" fmla="*/ 9743 h 10460"/>
                <a:gd name="connsiteX7" fmla="*/ 9687 w 10000"/>
                <a:gd name="connsiteY7" fmla="*/ 9743 h 10460"/>
                <a:gd name="connsiteX8" fmla="*/ 9774 w 10000"/>
                <a:gd name="connsiteY8" fmla="*/ 9781 h 10460"/>
                <a:gd name="connsiteX9" fmla="*/ 9861 w 10000"/>
                <a:gd name="connsiteY9" fmla="*/ 9818 h 10460"/>
                <a:gd name="connsiteX10" fmla="*/ 9930 w 10000"/>
                <a:gd name="connsiteY10" fmla="*/ 9894 h 10460"/>
                <a:gd name="connsiteX11" fmla="*/ 9983 w 10000"/>
                <a:gd name="connsiteY11" fmla="*/ 9988 h 10460"/>
                <a:gd name="connsiteX12" fmla="*/ 10000 w 10000"/>
                <a:gd name="connsiteY12" fmla="*/ 10120 h 10460"/>
                <a:gd name="connsiteX13" fmla="*/ 9983 w 10000"/>
                <a:gd name="connsiteY13" fmla="*/ 10215 h 10460"/>
                <a:gd name="connsiteX14" fmla="*/ 9930 w 10000"/>
                <a:gd name="connsiteY14" fmla="*/ 10309 h 10460"/>
                <a:gd name="connsiteX15" fmla="*/ 9861 w 10000"/>
                <a:gd name="connsiteY15" fmla="*/ 10385 h 10460"/>
                <a:gd name="connsiteX16" fmla="*/ 9774 w 10000"/>
                <a:gd name="connsiteY16" fmla="*/ 10441 h 10460"/>
                <a:gd name="connsiteX17" fmla="*/ 9687 w 10000"/>
                <a:gd name="connsiteY17" fmla="*/ 10460 h 10460"/>
                <a:gd name="connsiteX18" fmla="*/ 330 w 10000"/>
                <a:gd name="connsiteY18" fmla="*/ 10460 h 10460"/>
                <a:gd name="connsiteX19" fmla="*/ 209 w 10000"/>
                <a:gd name="connsiteY19" fmla="*/ 10441 h 10460"/>
                <a:gd name="connsiteX20" fmla="*/ 122 w 10000"/>
                <a:gd name="connsiteY20" fmla="*/ 10385 h 10460"/>
                <a:gd name="connsiteX21" fmla="*/ 52 w 10000"/>
                <a:gd name="connsiteY21" fmla="*/ 10309 h 10460"/>
                <a:gd name="connsiteX22" fmla="*/ 0 w 10000"/>
                <a:gd name="connsiteY22" fmla="*/ 10215 h 10460"/>
                <a:gd name="connsiteX23" fmla="*/ 0 w 10000"/>
                <a:gd name="connsiteY23" fmla="*/ 10120 h 10460"/>
                <a:gd name="connsiteX24" fmla="*/ 0 w 10000"/>
                <a:gd name="connsiteY24" fmla="*/ 800 h 10460"/>
                <a:gd name="connsiteX25" fmla="*/ 330 w 10000"/>
                <a:gd name="connsiteY25" fmla="*/ 460 h 10460"/>
                <a:gd name="connsiteX0" fmla="*/ 0 w 10000"/>
                <a:gd name="connsiteY0" fmla="*/ 802 h 10462"/>
                <a:gd name="connsiteX1" fmla="*/ 417 w 10000"/>
                <a:gd name="connsiteY1" fmla="*/ 462 h 10462"/>
                <a:gd name="connsiteX2" fmla="*/ 504 w 10000"/>
                <a:gd name="connsiteY2" fmla="*/ 519 h 10462"/>
                <a:gd name="connsiteX3" fmla="*/ 574 w 10000"/>
                <a:gd name="connsiteY3" fmla="*/ 594 h 10462"/>
                <a:gd name="connsiteX4" fmla="*/ 626 w 10000"/>
                <a:gd name="connsiteY4" fmla="*/ 688 h 10462"/>
                <a:gd name="connsiteX5" fmla="*/ 643 w 10000"/>
                <a:gd name="connsiteY5" fmla="*/ 802 h 10462"/>
                <a:gd name="connsiteX6" fmla="*/ 643 w 10000"/>
                <a:gd name="connsiteY6" fmla="*/ 9745 h 10462"/>
                <a:gd name="connsiteX7" fmla="*/ 9687 w 10000"/>
                <a:gd name="connsiteY7" fmla="*/ 9745 h 10462"/>
                <a:gd name="connsiteX8" fmla="*/ 9774 w 10000"/>
                <a:gd name="connsiteY8" fmla="*/ 9783 h 10462"/>
                <a:gd name="connsiteX9" fmla="*/ 9861 w 10000"/>
                <a:gd name="connsiteY9" fmla="*/ 9820 h 10462"/>
                <a:gd name="connsiteX10" fmla="*/ 9930 w 10000"/>
                <a:gd name="connsiteY10" fmla="*/ 9896 h 10462"/>
                <a:gd name="connsiteX11" fmla="*/ 9983 w 10000"/>
                <a:gd name="connsiteY11" fmla="*/ 9990 h 10462"/>
                <a:gd name="connsiteX12" fmla="*/ 10000 w 10000"/>
                <a:gd name="connsiteY12" fmla="*/ 10122 h 10462"/>
                <a:gd name="connsiteX13" fmla="*/ 9983 w 10000"/>
                <a:gd name="connsiteY13" fmla="*/ 10217 h 10462"/>
                <a:gd name="connsiteX14" fmla="*/ 9930 w 10000"/>
                <a:gd name="connsiteY14" fmla="*/ 10311 h 10462"/>
                <a:gd name="connsiteX15" fmla="*/ 9861 w 10000"/>
                <a:gd name="connsiteY15" fmla="*/ 10387 h 10462"/>
                <a:gd name="connsiteX16" fmla="*/ 9774 w 10000"/>
                <a:gd name="connsiteY16" fmla="*/ 10443 h 10462"/>
                <a:gd name="connsiteX17" fmla="*/ 9687 w 10000"/>
                <a:gd name="connsiteY17" fmla="*/ 10462 h 10462"/>
                <a:gd name="connsiteX18" fmla="*/ 330 w 10000"/>
                <a:gd name="connsiteY18" fmla="*/ 10462 h 10462"/>
                <a:gd name="connsiteX19" fmla="*/ 209 w 10000"/>
                <a:gd name="connsiteY19" fmla="*/ 10443 h 10462"/>
                <a:gd name="connsiteX20" fmla="*/ 122 w 10000"/>
                <a:gd name="connsiteY20" fmla="*/ 10387 h 10462"/>
                <a:gd name="connsiteX21" fmla="*/ 52 w 10000"/>
                <a:gd name="connsiteY21" fmla="*/ 10311 h 10462"/>
                <a:gd name="connsiteX22" fmla="*/ 0 w 10000"/>
                <a:gd name="connsiteY22" fmla="*/ 10217 h 10462"/>
                <a:gd name="connsiteX23" fmla="*/ 0 w 10000"/>
                <a:gd name="connsiteY23" fmla="*/ 10122 h 10462"/>
                <a:gd name="connsiteX24" fmla="*/ 0 w 10000"/>
                <a:gd name="connsiteY24" fmla="*/ 802 h 10462"/>
                <a:gd name="connsiteX0" fmla="*/ 0 w 10000"/>
                <a:gd name="connsiteY0" fmla="*/ 784 h 10444"/>
                <a:gd name="connsiteX1" fmla="*/ 504 w 10000"/>
                <a:gd name="connsiteY1" fmla="*/ 501 h 10444"/>
                <a:gd name="connsiteX2" fmla="*/ 574 w 10000"/>
                <a:gd name="connsiteY2" fmla="*/ 576 h 10444"/>
                <a:gd name="connsiteX3" fmla="*/ 626 w 10000"/>
                <a:gd name="connsiteY3" fmla="*/ 670 h 10444"/>
                <a:gd name="connsiteX4" fmla="*/ 643 w 10000"/>
                <a:gd name="connsiteY4" fmla="*/ 784 h 10444"/>
                <a:gd name="connsiteX5" fmla="*/ 643 w 10000"/>
                <a:gd name="connsiteY5" fmla="*/ 9727 h 10444"/>
                <a:gd name="connsiteX6" fmla="*/ 9687 w 10000"/>
                <a:gd name="connsiteY6" fmla="*/ 9727 h 10444"/>
                <a:gd name="connsiteX7" fmla="*/ 9774 w 10000"/>
                <a:gd name="connsiteY7" fmla="*/ 9765 h 10444"/>
                <a:gd name="connsiteX8" fmla="*/ 9861 w 10000"/>
                <a:gd name="connsiteY8" fmla="*/ 9802 h 10444"/>
                <a:gd name="connsiteX9" fmla="*/ 9930 w 10000"/>
                <a:gd name="connsiteY9" fmla="*/ 9878 h 10444"/>
                <a:gd name="connsiteX10" fmla="*/ 9983 w 10000"/>
                <a:gd name="connsiteY10" fmla="*/ 9972 h 10444"/>
                <a:gd name="connsiteX11" fmla="*/ 10000 w 10000"/>
                <a:gd name="connsiteY11" fmla="*/ 10104 h 10444"/>
                <a:gd name="connsiteX12" fmla="*/ 9983 w 10000"/>
                <a:gd name="connsiteY12" fmla="*/ 10199 h 10444"/>
                <a:gd name="connsiteX13" fmla="*/ 9930 w 10000"/>
                <a:gd name="connsiteY13" fmla="*/ 10293 h 10444"/>
                <a:gd name="connsiteX14" fmla="*/ 9861 w 10000"/>
                <a:gd name="connsiteY14" fmla="*/ 10369 h 10444"/>
                <a:gd name="connsiteX15" fmla="*/ 9774 w 10000"/>
                <a:gd name="connsiteY15" fmla="*/ 10425 h 10444"/>
                <a:gd name="connsiteX16" fmla="*/ 9687 w 10000"/>
                <a:gd name="connsiteY16" fmla="*/ 10444 h 10444"/>
                <a:gd name="connsiteX17" fmla="*/ 330 w 10000"/>
                <a:gd name="connsiteY17" fmla="*/ 10444 h 10444"/>
                <a:gd name="connsiteX18" fmla="*/ 209 w 10000"/>
                <a:gd name="connsiteY18" fmla="*/ 10425 h 10444"/>
                <a:gd name="connsiteX19" fmla="*/ 122 w 10000"/>
                <a:gd name="connsiteY19" fmla="*/ 10369 h 10444"/>
                <a:gd name="connsiteX20" fmla="*/ 52 w 10000"/>
                <a:gd name="connsiteY20" fmla="*/ 10293 h 10444"/>
                <a:gd name="connsiteX21" fmla="*/ 0 w 10000"/>
                <a:gd name="connsiteY21" fmla="*/ 10199 h 10444"/>
                <a:gd name="connsiteX22" fmla="*/ 0 w 10000"/>
                <a:gd name="connsiteY22" fmla="*/ 10104 h 10444"/>
                <a:gd name="connsiteX23" fmla="*/ 0 w 10000"/>
                <a:gd name="connsiteY23" fmla="*/ 784 h 10444"/>
                <a:gd name="connsiteX0" fmla="*/ 0 w 10000"/>
                <a:gd name="connsiteY0" fmla="*/ 760 h 10420"/>
                <a:gd name="connsiteX1" fmla="*/ 574 w 10000"/>
                <a:gd name="connsiteY1" fmla="*/ 552 h 10420"/>
                <a:gd name="connsiteX2" fmla="*/ 626 w 10000"/>
                <a:gd name="connsiteY2" fmla="*/ 646 h 10420"/>
                <a:gd name="connsiteX3" fmla="*/ 643 w 10000"/>
                <a:gd name="connsiteY3" fmla="*/ 760 h 10420"/>
                <a:gd name="connsiteX4" fmla="*/ 643 w 10000"/>
                <a:gd name="connsiteY4" fmla="*/ 9703 h 10420"/>
                <a:gd name="connsiteX5" fmla="*/ 9687 w 10000"/>
                <a:gd name="connsiteY5" fmla="*/ 9703 h 10420"/>
                <a:gd name="connsiteX6" fmla="*/ 9774 w 10000"/>
                <a:gd name="connsiteY6" fmla="*/ 9741 h 10420"/>
                <a:gd name="connsiteX7" fmla="*/ 9861 w 10000"/>
                <a:gd name="connsiteY7" fmla="*/ 9778 h 10420"/>
                <a:gd name="connsiteX8" fmla="*/ 9930 w 10000"/>
                <a:gd name="connsiteY8" fmla="*/ 9854 h 10420"/>
                <a:gd name="connsiteX9" fmla="*/ 9983 w 10000"/>
                <a:gd name="connsiteY9" fmla="*/ 9948 h 10420"/>
                <a:gd name="connsiteX10" fmla="*/ 10000 w 10000"/>
                <a:gd name="connsiteY10" fmla="*/ 10080 h 10420"/>
                <a:gd name="connsiteX11" fmla="*/ 9983 w 10000"/>
                <a:gd name="connsiteY11" fmla="*/ 10175 h 10420"/>
                <a:gd name="connsiteX12" fmla="*/ 9930 w 10000"/>
                <a:gd name="connsiteY12" fmla="*/ 10269 h 10420"/>
                <a:gd name="connsiteX13" fmla="*/ 9861 w 10000"/>
                <a:gd name="connsiteY13" fmla="*/ 10345 h 10420"/>
                <a:gd name="connsiteX14" fmla="*/ 9774 w 10000"/>
                <a:gd name="connsiteY14" fmla="*/ 10401 h 10420"/>
                <a:gd name="connsiteX15" fmla="*/ 9687 w 10000"/>
                <a:gd name="connsiteY15" fmla="*/ 10420 h 10420"/>
                <a:gd name="connsiteX16" fmla="*/ 330 w 10000"/>
                <a:gd name="connsiteY16" fmla="*/ 10420 h 10420"/>
                <a:gd name="connsiteX17" fmla="*/ 209 w 10000"/>
                <a:gd name="connsiteY17" fmla="*/ 10401 h 10420"/>
                <a:gd name="connsiteX18" fmla="*/ 122 w 10000"/>
                <a:gd name="connsiteY18" fmla="*/ 10345 h 10420"/>
                <a:gd name="connsiteX19" fmla="*/ 52 w 10000"/>
                <a:gd name="connsiteY19" fmla="*/ 10269 h 10420"/>
                <a:gd name="connsiteX20" fmla="*/ 0 w 10000"/>
                <a:gd name="connsiteY20" fmla="*/ 10175 h 10420"/>
                <a:gd name="connsiteX21" fmla="*/ 0 w 10000"/>
                <a:gd name="connsiteY21" fmla="*/ 10080 h 10420"/>
                <a:gd name="connsiteX22" fmla="*/ 0 w 10000"/>
                <a:gd name="connsiteY22" fmla="*/ 760 h 10420"/>
                <a:gd name="connsiteX0" fmla="*/ 0 w 10000"/>
                <a:gd name="connsiteY0" fmla="*/ 730 h 10390"/>
                <a:gd name="connsiteX1" fmla="*/ 626 w 10000"/>
                <a:gd name="connsiteY1" fmla="*/ 616 h 10390"/>
                <a:gd name="connsiteX2" fmla="*/ 643 w 10000"/>
                <a:gd name="connsiteY2" fmla="*/ 730 h 10390"/>
                <a:gd name="connsiteX3" fmla="*/ 643 w 10000"/>
                <a:gd name="connsiteY3" fmla="*/ 9673 h 10390"/>
                <a:gd name="connsiteX4" fmla="*/ 9687 w 10000"/>
                <a:gd name="connsiteY4" fmla="*/ 9673 h 10390"/>
                <a:gd name="connsiteX5" fmla="*/ 9774 w 10000"/>
                <a:gd name="connsiteY5" fmla="*/ 9711 h 10390"/>
                <a:gd name="connsiteX6" fmla="*/ 9861 w 10000"/>
                <a:gd name="connsiteY6" fmla="*/ 9748 h 10390"/>
                <a:gd name="connsiteX7" fmla="*/ 9930 w 10000"/>
                <a:gd name="connsiteY7" fmla="*/ 9824 h 10390"/>
                <a:gd name="connsiteX8" fmla="*/ 9983 w 10000"/>
                <a:gd name="connsiteY8" fmla="*/ 9918 h 10390"/>
                <a:gd name="connsiteX9" fmla="*/ 10000 w 10000"/>
                <a:gd name="connsiteY9" fmla="*/ 10050 h 10390"/>
                <a:gd name="connsiteX10" fmla="*/ 9983 w 10000"/>
                <a:gd name="connsiteY10" fmla="*/ 10145 h 10390"/>
                <a:gd name="connsiteX11" fmla="*/ 9930 w 10000"/>
                <a:gd name="connsiteY11" fmla="*/ 10239 h 10390"/>
                <a:gd name="connsiteX12" fmla="*/ 9861 w 10000"/>
                <a:gd name="connsiteY12" fmla="*/ 10315 h 10390"/>
                <a:gd name="connsiteX13" fmla="*/ 9774 w 10000"/>
                <a:gd name="connsiteY13" fmla="*/ 10371 h 10390"/>
                <a:gd name="connsiteX14" fmla="*/ 9687 w 10000"/>
                <a:gd name="connsiteY14" fmla="*/ 10390 h 10390"/>
                <a:gd name="connsiteX15" fmla="*/ 330 w 10000"/>
                <a:gd name="connsiteY15" fmla="*/ 10390 h 10390"/>
                <a:gd name="connsiteX16" fmla="*/ 209 w 10000"/>
                <a:gd name="connsiteY16" fmla="*/ 10371 h 10390"/>
                <a:gd name="connsiteX17" fmla="*/ 122 w 10000"/>
                <a:gd name="connsiteY17" fmla="*/ 10315 h 10390"/>
                <a:gd name="connsiteX18" fmla="*/ 52 w 10000"/>
                <a:gd name="connsiteY18" fmla="*/ 10239 h 10390"/>
                <a:gd name="connsiteX19" fmla="*/ 0 w 10000"/>
                <a:gd name="connsiteY19" fmla="*/ 10145 h 10390"/>
                <a:gd name="connsiteX20" fmla="*/ 0 w 10000"/>
                <a:gd name="connsiteY20" fmla="*/ 10050 h 10390"/>
                <a:gd name="connsiteX21" fmla="*/ 0 w 10000"/>
                <a:gd name="connsiteY21" fmla="*/ 730 h 10390"/>
                <a:gd name="connsiteX0" fmla="*/ 0 w 10000"/>
                <a:gd name="connsiteY0" fmla="*/ 1141 h 10801"/>
                <a:gd name="connsiteX1" fmla="*/ 643 w 10000"/>
                <a:gd name="connsiteY1" fmla="*/ 1141 h 10801"/>
                <a:gd name="connsiteX2" fmla="*/ 643 w 10000"/>
                <a:gd name="connsiteY2" fmla="*/ 10084 h 10801"/>
                <a:gd name="connsiteX3" fmla="*/ 9687 w 10000"/>
                <a:gd name="connsiteY3" fmla="*/ 10084 h 10801"/>
                <a:gd name="connsiteX4" fmla="*/ 9774 w 10000"/>
                <a:gd name="connsiteY4" fmla="*/ 10122 h 10801"/>
                <a:gd name="connsiteX5" fmla="*/ 9861 w 10000"/>
                <a:gd name="connsiteY5" fmla="*/ 10159 h 10801"/>
                <a:gd name="connsiteX6" fmla="*/ 9930 w 10000"/>
                <a:gd name="connsiteY6" fmla="*/ 10235 h 10801"/>
                <a:gd name="connsiteX7" fmla="*/ 9983 w 10000"/>
                <a:gd name="connsiteY7" fmla="*/ 10329 h 10801"/>
                <a:gd name="connsiteX8" fmla="*/ 10000 w 10000"/>
                <a:gd name="connsiteY8" fmla="*/ 10461 h 10801"/>
                <a:gd name="connsiteX9" fmla="*/ 9983 w 10000"/>
                <a:gd name="connsiteY9" fmla="*/ 10556 h 10801"/>
                <a:gd name="connsiteX10" fmla="*/ 9930 w 10000"/>
                <a:gd name="connsiteY10" fmla="*/ 10650 h 10801"/>
                <a:gd name="connsiteX11" fmla="*/ 9861 w 10000"/>
                <a:gd name="connsiteY11" fmla="*/ 10726 h 10801"/>
                <a:gd name="connsiteX12" fmla="*/ 9774 w 10000"/>
                <a:gd name="connsiteY12" fmla="*/ 10782 h 10801"/>
                <a:gd name="connsiteX13" fmla="*/ 9687 w 10000"/>
                <a:gd name="connsiteY13" fmla="*/ 10801 h 10801"/>
                <a:gd name="connsiteX14" fmla="*/ 330 w 10000"/>
                <a:gd name="connsiteY14" fmla="*/ 10801 h 10801"/>
                <a:gd name="connsiteX15" fmla="*/ 209 w 10000"/>
                <a:gd name="connsiteY15" fmla="*/ 10782 h 10801"/>
                <a:gd name="connsiteX16" fmla="*/ 122 w 10000"/>
                <a:gd name="connsiteY16" fmla="*/ 10726 h 10801"/>
                <a:gd name="connsiteX17" fmla="*/ 52 w 10000"/>
                <a:gd name="connsiteY17" fmla="*/ 10650 h 10801"/>
                <a:gd name="connsiteX18" fmla="*/ 0 w 10000"/>
                <a:gd name="connsiteY18" fmla="*/ 10556 h 10801"/>
                <a:gd name="connsiteX19" fmla="*/ 0 w 10000"/>
                <a:gd name="connsiteY19" fmla="*/ 10461 h 10801"/>
                <a:gd name="connsiteX20" fmla="*/ 0 w 10000"/>
                <a:gd name="connsiteY20" fmla="*/ 1141 h 10801"/>
                <a:gd name="connsiteX0" fmla="*/ 0 w 10000"/>
                <a:gd name="connsiteY0" fmla="*/ 733 h 10393"/>
                <a:gd name="connsiteX1" fmla="*/ 643 w 10000"/>
                <a:gd name="connsiteY1" fmla="*/ 733 h 10393"/>
                <a:gd name="connsiteX2" fmla="*/ 643 w 10000"/>
                <a:gd name="connsiteY2" fmla="*/ 9676 h 10393"/>
                <a:gd name="connsiteX3" fmla="*/ 9687 w 10000"/>
                <a:gd name="connsiteY3" fmla="*/ 9676 h 10393"/>
                <a:gd name="connsiteX4" fmla="*/ 9774 w 10000"/>
                <a:gd name="connsiteY4" fmla="*/ 9714 h 10393"/>
                <a:gd name="connsiteX5" fmla="*/ 9861 w 10000"/>
                <a:gd name="connsiteY5" fmla="*/ 9751 h 10393"/>
                <a:gd name="connsiteX6" fmla="*/ 9930 w 10000"/>
                <a:gd name="connsiteY6" fmla="*/ 9827 h 10393"/>
                <a:gd name="connsiteX7" fmla="*/ 9983 w 10000"/>
                <a:gd name="connsiteY7" fmla="*/ 9921 h 10393"/>
                <a:gd name="connsiteX8" fmla="*/ 10000 w 10000"/>
                <a:gd name="connsiteY8" fmla="*/ 10053 h 10393"/>
                <a:gd name="connsiteX9" fmla="*/ 9983 w 10000"/>
                <a:gd name="connsiteY9" fmla="*/ 10148 h 10393"/>
                <a:gd name="connsiteX10" fmla="*/ 9930 w 10000"/>
                <a:gd name="connsiteY10" fmla="*/ 10242 h 10393"/>
                <a:gd name="connsiteX11" fmla="*/ 9861 w 10000"/>
                <a:gd name="connsiteY11" fmla="*/ 10318 h 10393"/>
                <a:gd name="connsiteX12" fmla="*/ 9774 w 10000"/>
                <a:gd name="connsiteY12" fmla="*/ 10374 h 10393"/>
                <a:gd name="connsiteX13" fmla="*/ 9687 w 10000"/>
                <a:gd name="connsiteY13" fmla="*/ 10393 h 10393"/>
                <a:gd name="connsiteX14" fmla="*/ 330 w 10000"/>
                <a:gd name="connsiteY14" fmla="*/ 10393 h 10393"/>
                <a:gd name="connsiteX15" fmla="*/ 209 w 10000"/>
                <a:gd name="connsiteY15" fmla="*/ 10374 h 10393"/>
                <a:gd name="connsiteX16" fmla="*/ 122 w 10000"/>
                <a:gd name="connsiteY16" fmla="*/ 10318 h 10393"/>
                <a:gd name="connsiteX17" fmla="*/ 52 w 10000"/>
                <a:gd name="connsiteY17" fmla="*/ 10242 h 10393"/>
                <a:gd name="connsiteX18" fmla="*/ 0 w 10000"/>
                <a:gd name="connsiteY18" fmla="*/ 10148 h 10393"/>
                <a:gd name="connsiteX19" fmla="*/ 0 w 10000"/>
                <a:gd name="connsiteY19" fmla="*/ 10053 h 10393"/>
                <a:gd name="connsiteX20" fmla="*/ 0 w 10000"/>
                <a:gd name="connsiteY20" fmla="*/ 733 h 10393"/>
                <a:gd name="connsiteX0" fmla="*/ 0 w 10000"/>
                <a:gd name="connsiteY0" fmla="*/ 214 h 9874"/>
                <a:gd name="connsiteX1" fmla="*/ 643 w 10000"/>
                <a:gd name="connsiteY1" fmla="*/ 214 h 9874"/>
                <a:gd name="connsiteX2" fmla="*/ 643 w 10000"/>
                <a:gd name="connsiteY2" fmla="*/ 9157 h 9874"/>
                <a:gd name="connsiteX3" fmla="*/ 9687 w 10000"/>
                <a:gd name="connsiteY3" fmla="*/ 9157 h 9874"/>
                <a:gd name="connsiteX4" fmla="*/ 9774 w 10000"/>
                <a:gd name="connsiteY4" fmla="*/ 9195 h 9874"/>
                <a:gd name="connsiteX5" fmla="*/ 9861 w 10000"/>
                <a:gd name="connsiteY5" fmla="*/ 9232 h 9874"/>
                <a:gd name="connsiteX6" fmla="*/ 9930 w 10000"/>
                <a:gd name="connsiteY6" fmla="*/ 9308 h 9874"/>
                <a:gd name="connsiteX7" fmla="*/ 9983 w 10000"/>
                <a:gd name="connsiteY7" fmla="*/ 9402 h 9874"/>
                <a:gd name="connsiteX8" fmla="*/ 10000 w 10000"/>
                <a:gd name="connsiteY8" fmla="*/ 9534 h 9874"/>
                <a:gd name="connsiteX9" fmla="*/ 9983 w 10000"/>
                <a:gd name="connsiteY9" fmla="*/ 9629 h 9874"/>
                <a:gd name="connsiteX10" fmla="*/ 9930 w 10000"/>
                <a:gd name="connsiteY10" fmla="*/ 9723 h 9874"/>
                <a:gd name="connsiteX11" fmla="*/ 9861 w 10000"/>
                <a:gd name="connsiteY11" fmla="*/ 9799 h 9874"/>
                <a:gd name="connsiteX12" fmla="*/ 9774 w 10000"/>
                <a:gd name="connsiteY12" fmla="*/ 9855 h 9874"/>
                <a:gd name="connsiteX13" fmla="*/ 9687 w 10000"/>
                <a:gd name="connsiteY13" fmla="*/ 9874 h 9874"/>
                <a:gd name="connsiteX14" fmla="*/ 330 w 10000"/>
                <a:gd name="connsiteY14" fmla="*/ 9874 h 9874"/>
                <a:gd name="connsiteX15" fmla="*/ 209 w 10000"/>
                <a:gd name="connsiteY15" fmla="*/ 9855 h 9874"/>
                <a:gd name="connsiteX16" fmla="*/ 122 w 10000"/>
                <a:gd name="connsiteY16" fmla="*/ 9799 h 9874"/>
                <a:gd name="connsiteX17" fmla="*/ 52 w 10000"/>
                <a:gd name="connsiteY17" fmla="*/ 9723 h 9874"/>
                <a:gd name="connsiteX18" fmla="*/ 0 w 10000"/>
                <a:gd name="connsiteY18" fmla="*/ 9629 h 9874"/>
                <a:gd name="connsiteX19" fmla="*/ 0 w 10000"/>
                <a:gd name="connsiteY19" fmla="*/ 9534 h 9874"/>
                <a:gd name="connsiteX20" fmla="*/ 0 w 10000"/>
                <a:gd name="connsiteY20" fmla="*/ 214 h 9874"/>
                <a:gd name="connsiteX0" fmla="*/ 0 w 10000"/>
                <a:gd name="connsiteY0" fmla="*/ 246 h 10029"/>
                <a:gd name="connsiteX1" fmla="*/ 643 w 10000"/>
                <a:gd name="connsiteY1" fmla="*/ 246 h 10029"/>
                <a:gd name="connsiteX2" fmla="*/ 643 w 10000"/>
                <a:gd name="connsiteY2" fmla="*/ 9303 h 10029"/>
                <a:gd name="connsiteX3" fmla="*/ 9687 w 10000"/>
                <a:gd name="connsiteY3" fmla="*/ 9303 h 10029"/>
                <a:gd name="connsiteX4" fmla="*/ 9774 w 10000"/>
                <a:gd name="connsiteY4" fmla="*/ 9341 h 10029"/>
                <a:gd name="connsiteX5" fmla="*/ 9861 w 10000"/>
                <a:gd name="connsiteY5" fmla="*/ 9379 h 10029"/>
                <a:gd name="connsiteX6" fmla="*/ 9930 w 10000"/>
                <a:gd name="connsiteY6" fmla="*/ 9456 h 10029"/>
                <a:gd name="connsiteX7" fmla="*/ 9983 w 10000"/>
                <a:gd name="connsiteY7" fmla="*/ 9551 h 10029"/>
                <a:gd name="connsiteX8" fmla="*/ 10000 w 10000"/>
                <a:gd name="connsiteY8" fmla="*/ 9685 h 10029"/>
                <a:gd name="connsiteX9" fmla="*/ 9983 w 10000"/>
                <a:gd name="connsiteY9" fmla="*/ 9781 h 10029"/>
                <a:gd name="connsiteX10" fmla="*/ 9930 w 10000"/>
                <a:gd name="connsiteY10" fmla="*/ 9876 h 10029"/>
                <a:gd name="connsiteX11" fmla="*/ 9861 w 10000"/>
                <a:gd name="connsiteY11" fmla="*/ 9953 h 10029"/>
                <a:gd name="connsiteX12" fmla="*/ 9774 w 10000"/>
                <a:gd name="connsiteY12" fmla="*/ 10010 h 10029"/>
                <a:gd name="connsiteX13" fmla="*/ 9687 w 10000"/>
                <a:gd name="connsiteY13" fmla="*/ 10029 h 10029"/>
                <a:gd name="connsiteX14" fmla="*/ 330 w 10000"/>
                <a:gd name="connsiteY14" fmla="*/ 10029 h 10029"/>
                <a:gd name="connsiteX15" fmla="*/ 209 w 10000"/>
                <a:gd name="connsiteY15" fmla="*/ 10010 h 10029"/>
                <a:gd name="connsiteX16" fmla="*/ 122 w 10000"/>
                <a:gd name="connsiteY16" fmla="*/ 9953 h 10029"/>
                <a:gd name="connsiteX17" fmla="*/ 52 w 10000"/>
                <a:gd name="connsiteY17" fmla="*/ 9876 h 10029"/>
                <a:gd name="connsiteX18" fmla="*/ 0 w 10000"/>
                <a:gd name="connsiteY18" fmla="*/ 9781 h 10029"/>
                <a:gd name="connsiteX19" fmla="*/ 0 w 10000"/>
                <a:gd name="connsiteY19" fmla="*/ 9685 h 10029"/>
                <a:gd name="connsiteX20" fmla="*/ 0 w 10000"/>
                <a:gd name="connsiteY20" fmla="*/ 246 h 10029"/>
                <a:gd name="connsiteX0" fmla="*/ 0 w 10000"/>
                <a:gd name="connsiteY0" fmla="*/ 246 h 10440"/>
                <a:gd name="connsiteX1" fmla="*/ 643 w 10000"/>
                <a:gd name="connsiteY1" fmla="*/ 246 h 10440"/>
                <a:gd name="connsiteX2" fmla="*/ 643 w 10000"/>
                <a:gd name="connsiteY2" fmla="*/ 9303 h 10440"/>
                <a:gd name="connsiteX3" fmla="*/ 9687 w 10000"/>
                <a:gd name="connsiteY3" fmla="*/ 9303 h 10440"/>
                <a:gd name="connsiteX4" fmla="*/ 9774 w 10000"/>
                <a:gd name="connsiteY4" fmla="*/ 9341 h 10440"/>
                <a:gd name="connsiteX5" fmla="*/ 9861 w 10000"/>
                <a:gd name="connsiteY5" fmla="*/ 9379 h 10440"/>
                <a:gd name="connsiteX6" fmla="*/ 9930 w 10000"/>
                <a:gd name="connsiteY6" fmla="*/ 9456 h 10440"/>
                <a:gd name="connsiteX7" fmla="*/ 9983 w 10000"/>
                <a:gd name="connsiteY7" fmla="*/ 9551 h 10440"/>
                <a:gd name="connsiteX8" fmla="*/ 10000 w 10000"/>
                <a:gd name="connsiteY8" fmla="*/ 9685 h 10440"/>
                <a:gd name="connsiteX9" fmla="*/ 9983 w 10000"/>
                <a:gd name="connsiteY9" fmla="*/ 9781 h 10440"/>
                <a:gd name="connsiteX10" fmla="*/ 9930 w 10000"/>
                <a:gd name="connsiteY10" fmla="*/ 9876 h 10440"/>
                <a:gd name="connsiteX11" fmla="*/ 9861 w 10000"/>
                <a:gd name="connsiteY11" fmla="*/ 9953 h 10440"/>
                <a:gd name="connsiteX12" fmla="*/ 9774 w 10000"/>
                <a:gd name="connsiteY12" fmla="*/ 10010 h 10440"/>
                <a:gd name="connsiteX13" fmla="*/ 9687 w 10000"/>
                <a:gd name="connsiteY13" fmla="*/ 10029 h 10440"/>
                <a:gd name="connsiteX14" fmla="*/ 330 w 10000"/>
                <a:gd name="connsiteY14" fmla="*/ 10029 h 10440"/>
                <a:gd name="connsiteX15" fmla="*/ 209 w 10000"/>
                <a:gd name="connsiteY15" fmla="*/ 10010 h 10440"/>
                <a:gd name="connsiteX16" fmla="*/ 122 w 10000"/>
                <a:gd name="connsiteY16" fmla="*/ 9953 h 10440"/>
                <a:gd name="connsiteX17" fmla="*/ 52 w 10000"/>
                <a:gd name="connsiteY17" fmla="*/ 9876 h 10440"/>
                <a:gd name="connsiteX18" fmla="*/ 0 w 10000"/>
                <a:gd name="connsiteY18" fmla="*/ 9685 h 10440"/>
                <a:gd name="connsiteX19" fmla="*/ 0 w 10000"/>
                <a:gd name="connsiteY19" fmla="*/ 246 h 10440"/>
                <a:gd name="connsiteX0" fmla="*/ 0 w 10000"/>
                <a:gd name="connsiteY0" fmla="*/ 246 h 10466"/>
                <a:gd name="connsiteX1" fmla="*/ 643 w 10000"/>
                <a:gd name="connsiteY1" fmla="*/ 246 h 10466"/>
                <a:gd name="connsiteX2" fmla="*/ 643 w 10000"/>
                <a:gd name="connsiteY2" fmla="*/ 9303 h 10466"/>
                <a:gd name="connsiteX3" fmla="*/ 9687 w 10000"/>
                <a:gd name="connsiteY3" fmla="*/ 9303 h 10466"/>
                <a:gd name="connsiteX4" fmla="*/ 9774 w 10000"/>
                <a:gd name="connsiteY4" fmla="*/ 9341 h 10466"/>
                <a:gd name="connsiteX5" fmla="*/ 9861 w 10000"/>
                <a:gd name="connsiteY5" fmla="*/ 9379 h 10466"/>
                <a:gd name="connsiteX6" fmla="*/ 9930 w 10000"/>
                <a:gd name="connsiteY6" fmla="*/ 9456 h 10466"/>
                <a:gd name="connsiteX7" fmla="*/ 9983 w 10000"/>
                <a:gd name="connsiteY7" fmla="*/ 9551 h 10466"/>
                <a:gd name="connsiteX8" fmla="*/ 10000 w 10000"/>
                <a:gd name="connsiteY8" fmla="*/ 9685 h 10466"/>
                <a:gd name="connsiteX9" fmla="*/ 9983 w 10000"/>
                <a:gd name="connsiteY9" fmla="*/ 9781 h 10466"/>
                <a:gd name="connsiteX10" fmla="*/ 9930 w 10000"/>
                <a:gd name="connsiteY10" fmla="*/ 9876 h 10466"/>
                <a:gd name="connsiteX11" fmla="*/ 9861 w 10000"/>
                <a:gd name="connsiteY11" fmla="*/ 9953 h 10466"/>
                <a:gd name="connsiteX12" fmla="*/ 9774 w 10000"/>
                <a:gd name="connsiteY12" fmla="*/ 10010 h 10466"/>
                <a:gd name="connsiteX13" fmla="*/ 9687 w 10000"/>
                <a:gd name="connsiteY13" fmla="*/ 10029 h 10466"/>
                <a:gd name="connsiteX14" fmla="*/ 330 w 10000"/>
                <a:gd name="connsiteY14" fmla="*/ 10029 h 10466"/>
                <a:gd name="connsiteX15" fmla="*/ 209 w 10000"/>
                <a:gd name="connsiteY15" fmla="*/ 10010 h 10466"/>
                <a:gd name="connsiteX16" fmla="*/ 122 w 10000"/>
                <a:gd name="connsiteY16" fmla="*/ 9953 h 10466"/>
                <a:gd name="connsiteX17" fmla="*/ 0 w 10000"/>
                <a:gd name="connsiteY17" fmla="*/ 9685 h 10466"/>
                <a:gd name="connsiteX18" fmla="*/ 0 w 10000"/>
                <a:gd name="connsiteY18" fmla="*/ 246 h 10466"/>
                <a:gd name="connsiteX0" fmla="*/ 0 w 10000"/>
                <a:gd name="connsiteY0" fmla="*/ 246 h 10029"/>
                <a:gd name="connsiteX1" fmla="*/ 643 w 10000"/>
                <a:gd name="connsiteY1" fmla="*/ 246 h 10029"/>
                <a:gd name="connsiteX2" fmla="*/ 643 w 10000"/>
                <a:gd name="connsiteY2" fmla="*/ 9303 h 10029"/>
                <a:gd name="connsiteX3" fmla="*/ 9687 w 10000"/>
                <a:gd name="connsiteY3" fmla="*/ 9303 h 10029"/>
                <a:gd name="connsiteX4" fmla="*/ 9774 w 10000"/>
                <a:gd name="connsiteY4" fmla="*/ 9341 h 10029"/>
                <a:gd name="connsiteX5" fmla="*/ 9861 w 10000"/>
                <a:gd name="connsiteY5" fmla="*/ 9379 h 10029"/>
                <a:gd name="connsiteX6" fmla="*/ 9930 w 10000"/>
                <a:gd name="connsiteY6" fmla="*/ 9456 h 10029"/>
                <a:gd name="connsiteX7" fmla="*/ 9983 w 10000"/>
                <a:gd name="connsiteY7" fmla="*/ 9551 h 10029"/>
                <a:gd name="connsiteX8" fmla="*/ 10000 w 10000"/>
                <a:gd name="connsiteY8" fmla="*/ 9685 h 10029"/>
                <a:gd name="connsiteX9" fmla="*/ 9983 w 10000"/>
                <a:gd name="connsiteY9" fmla="*/ 9781 h 10029"/>
                <a:gd name="connsiteX10" fmla="*/ 9930 w 10000"/>
                <a:gd name="connsiteY10" fmla="*/ 9876 h 10029"/>
                <a:gd name="connsiteX11" fmla="*/ 9861 w 10000"/>
                <a:gd name="connsiteY11" fmla="*/ 9953 h 10029"/>
                <a:gd name="connsiteX12" fmla="*/ 9774 w 10000"/>
                <a:gd name="connsiteY12" fmla="*/ 10010 h 10029"/>
                <a:gd name="connsiteX13" fmla="*/ 9687 w 10000"/>
                <a:gd name="connsiteY13" fmla="*/ 10029 h 10029"/>
                <a:gd name="connsiteX14" fmla="*/ 330 w 10000"/>
                <a:gd name="connsiteY14" fmla="*/ 10029 h 10029"/>
                <a:gd name="connsiteX15" fmla="*/ 209 w 10000"/>
                <a:gd name="connsiteY15" fmla="*/ 10010 h 10029"/>
                <a:gd name="connsiteX16" fmla="*/ 0 w 10000"/>
                <a:gd name="connsiteY16" fmla="*/ 9685 h 10029"/>
                <a:gd name="connsiteX17" fmla="*/ 0 w 10000"/>
                <a:gd name="connsiteY17" fmla="*/ 246 h 10029"/>
                <a:gd name="connsiteX0" fmla="*/ 0 w 10000"/>
                <a:gd name="connsiteY0" fmla="*/ 246 h 10029"/>
                <a:gd name="connsiteX1" fmla="*/ 643 w 10000"/>
                <a:gd name="connsiteY1" fmla="*/ 246 h 10029"/>
                <a:gd name="connsiteX2" fmla="*/ 643 w 10000"/>
                <a:gd name="connsiteY2" fmla="*/ 9303 h 10029"/>
                <a:gd name="connsiteX3" fmla="*/ 9687 w 10000"/>
                <a:gd name="connsiteY3" fmla="*/ 9303 h 10029"/>
                <a:gd name="connsiteX4" fmla="*/ 9774 w 10000"/>
                <a:gd name="connsiteY4" fmla="*/ 9341 h 10029"/>
                <a:gd name="connsiteX5" fmla="*/ 9861 w 10000"/>
                <a:gd name="connsiteY5" fmla="*/ 9379 h 10029"/>
                <a:gd name="connsiteX6" fmla="*/ 9930 w 10000"/>
                <a:gd name="connsiteY6" fmla="*/ 9456 h 10029"/>
                <a:gd name="connsiteX7" fmla="*/ 9983 w 10000"/>
                <a:gd name="connsiteY7" fmla="*/ 9551 h 10029"/>
                <a:gd name="connsiteX8" fmla="*/ 10000 w 10000"/>
                <a:gd name="connsiteY8" fmla="*/ 9685 h 10029"/>
                <a:gd name="connsiteX9" fmla="*/ 9983 w 10000"/>
                <a:gd name="connsiteY9" fmla="*/ 9781 h 10029"/>
                <a:gd name="connsiteX10" fmla="*/ 9930 w 10000"/>
                <a:gd name="connsiteY10" fmla="*/ 9876 h 10029"/>
                <a:gd name="connsiteX11" fmla="*/ 9861 w 10000"/>
                <a:gd name="connsiteY11" fmla="*/ 9953 h 10029"/>
                <a:gd name="connsiteX12" fmla="*/ 9774 w 10000"/>
                <a:gd name="connsiteY12" fmla="*/ 10010 h 10029"/>
                <a:gd name="connsiteX13" fmla="*/ 9687 w 10000"/>
                <a:gd name="connsiteY13" fmla="*/ 10029 h 10029"/>
                <a:gd name="connsiteX14" fmla="*/ 330 w 10000"/>
                <a:gd name="connsiteY14" fmla="*/ 10029 h 10029"/>
                <a:gd name="connsiteX15" fmla="*/ 0 w 10000"/>
                <a:gd name="connsiteY15" fmla="*/ 9685 h 10029"/>
                <a:gd name="connsiteX16" fmla="*/ 0 w 10000"/>
                <a:gd name="connsiteY16" fmla="*/ 246 h 10029"/>
                <a:gd name="connsiteX0" fmla="*/ 0 w 10000"/>
                <a:gd name="connsiteY0" fmla="*/ 246 h 10029"/>
                <a:gd name="connsiteX1" fmla="*/ 643 w 10000"/>
                <a:gd name="connsiteY1" fmla="*/ 246 h 10029"/>
                <a:gd name="connsiteX2" fmla="*/ 643 w 10000"/>
                <a:gd name="connsiteY2" fmla="*/ 9303 h 10029"/>
                <a:gd name="connsiteX3" fmla="*/ 9687 w 10000"/>
                <a:gd name="connsiteY3" fmla="*/ 9303 h 10029"/>
                <a:gd name="connsiteX4" fmla="*/ 9774 w 10000"/>
                <a:gd name="connsiteY4" fmla="*/ 9341 h 10029"/>
                <a:gd name="connsiteX5" fmla="*/ 9861 w 10000"/>
                <a:gd name="connsiteY5" fmla="*/ 9379 h 10029"/>
                <a:gd name="connsiteX6" fmla="*/ 9930 w 10000"/>
                <a:gd name="connsiteY6" fmla="*/ 9456 h 10029"/>
                <a:gd name="connsiteX7" fmla="*/ 9983 w 10000"/>
                <a:gd name="connsiteY7" fmla="*/ 9551 h 10029"/>
                <a:gd name="connsiteX8" fmla="*/ 10000 w 10000"/>
                <a:gd name="connsiteY8" fmla="*/ 9685 h 10029"/>
                <a:gd name="connsiteX9" fmla="*/ 9983 w 10000"/>
                <a:gd name="connsiteY9" fmla="*/ 9781 h 10029"/>
                <a:gd name="connsiteX10" fmla="*/ 9930 w 10000"/>
                <a:gd name="connsiteY10" fmla="*/ 9876 h 10029"/>
                <a:gd name="connsiteX11" fmla="*/ 9861 w 10000"/>
                <a:gd name="connsiteY11" fmla="*/ 9953 h 10029"/>
                <a:gd name="connsiteX12" fmla="*/ 9774 w 10000"/>
                <a:gd name="connsiteY12" fmla="*/ 10010 h 10029"/>
                <a:gd name="connsiteX13" fmla="*/ 9687 w 10000"/>
                <a:gd name="connsiteY13" fmla="*/ 10029 h 10029"/>
                <a:gd name="connsiteX14" fmla="*/ 330 w 10000"/>
                <a:gd name="connsiteY14" fmla="*/ 10029 h 10029"/>
                <a:gd name="connsiteX15" fmla="*/ 0 w 10000"/>
                <a:gd name="connsiteY15" fmla="*/ 9685 h 10029"/>
                <a:gd name="connsiteX16" fmla="*/ 0 w 10000"/>
                <a:gd name="connsiteY16" fmla="*/ 246 h 10029"/>
                <a:gd name="connsiteX0" fmla="*/ 0 w 10000"/>
                <a:gd name="connsiteY0" fmla="*/ 246 h 10029"/>
                <a:gd name="connsiteX1" fmla="*/ 643 w 10000"/>
                <a:gd name="connsiteY1" fmla="*/ 246 h 10029"/>
                <a:gd name="connsiteX2" fmla="*/ 643 w 10000"/>
                <a:gd name="connsiteY2" fmla="*/ 9303 h 10029"/>
                <a:gd name="connsiteX3" fmla="*/ 9687 w 10000"/>
                <a:gd name="connsiteY3" fmla="*/ 9303 h 10029"/>
                <a:gd name="connsiteX4" fmla="*/ 9774 w 10000"/>
                <a:gd name="connsiteY4" fmla="*/ 9341 h 10029"/>
                <a:gd name="connsiteX5" fmla="*/ 9861 w 10000"/>
                <a:gd name="connsiteY5" fmla="*/ 9379 h 10029"/>
                <a:gd name="connsiteX6" fmla="*/ 9930 w 10000"/>
                <a:gd name="connsiteY6" fmla="*/ 9456 h 10029"/>
                <a:gd name="connsiteX7" fmla="*/ 9983 w 10000"/>
                <a:gd name="connsiteY7" fmla="*/ 9551 h 10029"/>
                <a:gd name="connsiteX8" fmla="*/ 10000 w 10000"/>
                <a:gd name="connsiteY8" fmla="*/ 9685 h 10029"/>
                <a:gd name="connsiteX9" fmla="*/ 9983 w 10000"/>
                <a:gd name="connsiteY9" fmla="*/ 9781 h 10029"/>
                <a:gd name="connsiteX10" fmla="*/ 9930 w 10000"/>
                <a:gd name="connsiteY10" fmla="*/ 9876 h 10029"/>
                <a:gd name="connsiteX11" fmla="*/ 9861 w 10000"/>
                <a:gd name="connsiteY11" fmla="*/ 9953 h 10029"/>
                <a:gd name="connsiteX12" fmla="*/ 9774 w 10000"/>
                <a:gd name="connsiteY12" fmla="*/ 10010 h 10029"/>
                <a:gd name="connsiteX13" fmla="*/ 9687 w 10000"/>
                <a:gd name="connsiteY13" fmla="*/ 10029 h 10029"/>
                <a:gd name="connsiteX14" fmla="*/ 330 w 10000"/>
                <a:gd name="connsiteY14" fmla="*/ 10029 h 10029"/>
                <a:gd name="connsiteX15" fmla="*/ 0 w 10000"/>
                <a:gd name="connsiteY15" fmla="*/ 9685 h 10029"/>
                <a:gd name="connsiteX16" fmla="*/ 0 w 10000"/>
                <a:gd name="connsiteY16" fmla="*/ 246 h 10029"/>
                <a:gd name="connsiteX0" fmla="*/ 0 w 10408"/>
                <a:gd name="connsiteY0" fmla="*/ 246 h 10029"/>
                <a:gd name="connsiteX1" fmla="*/ 643 w 10408"/>
                <a:gd name="connsiteY1" fmla="*/ 246 h 10029"/>
                <a:gd name="connsiteX2" fmla="*/ 643 w 10408"/>
                <a:gd name="connsiteY2" fmla="*/ 9303 h 10029"/>
                <a:gd name="connsiteX3" fmla="*/ 9687 w 10408"/>
                <a:gd name="connsiteY3" fmla="*/ 9303 h 10029"/>
                <a:gd name="connsiteX4" fmla="*/ 9861 w 10408"/>
                <a:gd name="connsiteY4" fmla="*/ 9379 h 10029"/>
                <a:gd name="connsiteX5" fmla="*/ 9930 w 10408"/>
                <a:gd name="connsiteY5" fmla="*/ 9456 h 10029"/>
                <a:gd name="connsiteX6" fmla="*/ 9983 w 10408"/>
                <a:gd name="connsiteY6" fmla="*/ 9551 h 10029"/>
                <a:gd name="connsiteX7" fmla="*/ 10000 w 10408"/>
                <a:gd name="connsiteY7" fmla="*/ 9685 h 10029"/>
                <a:gd name="connsiteX8" fmla="*/ 9983 w 10408"/>
                <a:gd name="connsiteY8" fmla="*/ 9781 h 10029"/>
                <a:gd name="connsiteX9" fmla="*/ 9930 w 10408"/>
                <a:gd name="connsiteY9" fmla="*/ 9876 h 10029"/>
                <a:gd name="connsiteX10" fmla="*/ 9861 w 10408"/>
                <a:gd name="connsiteY10" fmla="*/ 9953 h 10029"/>
                <a:gd name="connsiteX11" fmla="*/ 9774 w 10408"/>
                <a:gd name="connsiteY11" fmla="*/ 10010 h 10029"/>
                <a:gd name="connsiteX12" fmla="*/ 9687 w 10408"/>
                <a:gd name="connsiteY12" fmla="*/ 10029 h 10029"/>
                <a:gd name="connsiteX13" fmla="*/ 330 w 10408"/>
                <a:gd name="connsiteY13" fmla="*/ 10029 h 10029"/>
                <a:gd name="connsiteX14" fmla="*/ 0 w 10408"/>
                <a:gd name="connsiteY14" fmla="*/ 9685 h 10029"/>
                <a:gd name="connsiteX15" fmla="*/ 0 w 10408"/>
                <a:gd name="connsiteY15" fmla="*/ 246 h 10029"/>
                <a:gd name="connsiteX0" fmla="*/ 0 w 10431"/>
                <a:gd name="connsiteY0" fmla="*/ 246 h 10029"/>
                <a:gd name="connsiteX1" fmla="*/ 643 w 10431"/>
                <a:gd name="connsiteY1" fmla="*/ 246 h 10029"/>
                <a:gd name="connsiteX2" fmla="*/ 643 w 10431"/>
                <a:gd name="connsiteY2" fmla="*/ 9303 h 10029"/>
                <a:gd name="connsiteX3" fmla="*/ 9687 w 10431"/>
                <a:gd name="connsiteY3" fmla="*/ 9303 h 10029"/>
                <a:gd name="connsiteX4" fmla="*/ 9930 w 10431"/>
                <a:gd name="connsiteY4" fmla="*/ 9456 h 10029"/>
                <a:gd name="connsiteX5" fmla="*/ 9983 w 10431"/>
                <a:gd name="connsiteY5" fmla="*/ 9551 h 10029"/>
                <a:gd name="connsiteX6" fmla="*/ 10000 w 10431"/>
                <a:gd name="connsiteY6" fmla="*/ 9685 h 10029"/>
                <a:gd name="connsiteX7" fmla="*/ 9983 w 10431"/>
                <a:gd name="connsiteY7" fmla="*/ 9781 h 10029"/>
                <a:gd name="connsiteX8" fmla="*/ 9930 w 10431"/>
                <a:gd name="connsiteY8" fmla="*/ 9876 h 10029"/>
                <a:gd name="connsiteX9" fmla="*/ 9861 w 10431"/>
                <a:gd name="connsiteY9" fmla="*/ 9953 h 10029"/>
                <a:gd name="connsiteX10" fmla="*/ 9774 w 10431"/>
                <a:gd name="connsiteY10" fmla="*/ 10010 h 10029"/>
                <a:gd name="connsiteX11" fmla="*/ 9687 w 10431"/>
                <a:gd name="connsiteY11" fmla="*/ 10029 h 10029"/>
                <a:gd name="connsiteX12" fmla="*/ 330 w 10431"/>
                <a:gd name="connsiteY12" fmla="*/ 10029 h 10029"/>
                <a:gd name="connsiteX13" fmla="*/ 0 w 10431"/>
                <a:gd name="connsiteY13" fmla="*/ 9685 h 10029"/>
                <a:gd name="connsiteX14" fmla="*/ 0 w 10431"/>
                <a:gd name="connsiteY14" fmla="*/ 246 h 10029"/>
                <a:gd name="connsiteX0" fmla="*/ 0 w 10451"/>
                <a:gd name="connsiteY0" fmla="*/ 246 h 10029"/>
                <a:gd name="connsiteX1" fmla="*/ 643 w 10451"/>
                <a:gd name="connsiteY1" fmla="*/ 246 h 10029"/>
                <a:gd name="connsiteX2" fmla="*/ 643 w 10451"/>
                <a:gd name="connsiteY2" fmla="*/ 9303 h 10029"/>
                <a:gd name="connsiteX3" fmla="*/ 9687 w 10451"/>
                <a:gd name="connsiteY3" fmla="*/ 9303 h 10029"/>
                <a:gd name="connsiteX4" fmla="*/ 9983 w 10451"/>
                <a:gd name="connsiteY4" fmla="*/ 9551 h 10029"/>
                <a:gd name="connsiteX5" fmla="*/ 10000 w 10451"/>
                <a:gd name="connsiteY5" fmla="*/ 9685 h 10029"/>
                <a:gd name="connsiteX6" fmla="*/ 9983 w 10451"/>
                <a:gd name="connsiteY6" fmla="*/ 9781 h 10029"/>
                <a:gd name="connsiteX7" fmla="*/ 9930 w 10451"/>
                <a:gd name="connsiteY7" fmla="*/ 9876 h 10029"/>
                <a:gd name="connsiteX8" fmla="*/ 9861 w 10451"/>
                <a:gd name="connsiteY8" fmla="*/ 9953 h 10029"/>
                <a:gd name="connsiteX9" fmla="*/ 9774 w 10451"/>
                <a:gd name="connsiteY9" fmla="*/ 10010 h 10029"/>
                <a:gd name="connsiteX10" fmla="*/ 9687 w 10451"/>
                <a:gd name="connsiteY10" fmla="*/ 10029 h 10029"/>
                <a:gd name="connsiteX11" fmla="*/ 330 w 10451"/>
                <a:gd name="connsiteY11" fmla="*/ 10029 h 10029"/>
                <a:gd name="connsiteX12" fmla="*/ 0 w 10451"/>
                <a:gd name="connsiteY12" fmla="*/ 9685 h 10029"/>
                <a:gd name="connsiteX13" fmla="*/ 0 w 10451"/>
                <a:gd name="connsiteY13" fmla="*/ 246 h 10029"/>
                <a:gd name="connsiteX0" fmla="*/ 0 w 10458"/>
                <a:gd name="connsiteY0" fmla="*/ 246 h 10029"/>
                <a:gd name="connsiteX1" fmla="*/ 643 w 10458"/>
                <a:gd name="connsiteY1" fmla="*/ 246 h 10029"/>
                <a:gd name="connsiteX2" fmla="*/ 643 w 10458"/>
                <a:gd name="connsiteY2" fmla="*/ 9303 h 10029"/>
                <a:gd name="connsiteX3" fmla="*/ 9687 w 10458"/>
                <a:gd name="connsiteY3" fmla="*/ 9303 h 10029"/>
                <a:gd name="connsiteX4" fmla="*/ 10000 w 10458"/>
                <a:gd name="connsiteY4" fmla="*/ 9685 h 10029"/>
                <a:gd name="connsiteX5" fmla="*/ 9983 w 10458"/>
                <a:gd name="connsiteY5" fmla="*/ 9781 h 10029"/>
                <a:gd name="connsiteX6" fmla="*/ 9930 w 10458"/>
                <a:gd name="connsiteY6" fmla="*/ 9876 h 10029"/>
                <a:gd name="connsiteX7" fmla="*/ 9861 w 10458"/>
                <a:gd name="connsiteY7" fmla="*/ 9953 h 10029"/>
                <a:gd name="connsiteX8" fmla="*/ 9774 w 10458"/>
                <a:gd name="connsiteY8" fmla="*/ 10010 h 10029"/>
                <a:gd name="connsiteX9" fmla="*/ 9687 w 10458"/>
                <a:gd name="connsiteY9" fmla="*/ 10029 h 10029"/>
                <a:gd name="connsiteX10" fmla="*/ 330 w 10458"/>
                <a:gd name="connsiteY10" fmla="*/ 10029 h 10029"/>
                <a:gd name="connsiteX11" fmla="*/ 0 w 10458"/>
                <a:gd name="connsiteY11" fmla="*/ 9685 h 10029"/>
                <a:gd name="connsiteX12" fmla="*/ 0 w 10458"/>
                <a:gd name="connsiteY12" fmla="*/ 246 h 10029"/>
                <a:gd name="connsiteX0" fmla="*/ 0 w 10454"/>
                <a:gd name="connsiteY0" fmla="*/ 246 h 10029"/>
                <a:gd name="connsiteX1" fmla="*/ 643 w 10454"/>
                <a:gd name="connsiteY1" fmla="*/ 246 h 10029"/>
                <a:gd name="connsiteX2" fmla="*/ 643 w 10454"/>
                <a:gd name="connsiteY2" fmla="*/ 9303 h 10029"/>
                <a:gd name="connsiteX3" fmla="*/ 9687 w 10454"/>
                <a:gd name="connsiteY3" fmla="*/ 9303 h 10029"/>
                <a:gd name="connsiteX4" fmla="*/ 9983 w 10454"/>
                <a:gd name="connsiteY4" fmla="*/ 9781 h 10029"/>
                <a:gd name="connsiteX5" fmla="*/ 9930 w 10454"/>
                <a:gd name="connsiteY5" fmla="*/ 9876 h 10029"/>
                <a:gd name="connsiteX6" fmla="*/ 9861 w 10454"/>
                <a:gd name="connsiteY6" fmla="*/ 9953 h 10029"/>
                <a:gd name="connsiteX7" fmla="*/ 9774 w 10454"/>
                <a:gd name="connsiteY7" fmla="*/ 10010 h 10029"/>
                <a:gd name="connsiteX8" fmla="*/ 9687 w 10454"/>
                <a:gd name="connsiteY8" fmla="*/ 10029 h 10029"/>
                <a:gd name="connsiteX9" fmla="*/ 330 w 10454"/>
                <a:gd name="connsiteY9" fmla="*/ 10029 h 10029"/>
                <a:gd name="connsiteX10" fmla="*/ 0 w 10454"/>
                <a:gd name="connsiteY10" fmla="*/ 9685 h 10029"/>
                <a:gd name="connsiteX11" fmla="*/ 0 w 10454"/>
                <a:gd name="connsiteY11" fmla="*/ 246 h 10029"/>
                <a:gd name="connsiteX0" fmla="*/ 0 w 10436"/>
                <a:gd name="connsiteY0" fmla="*/ 246 h 10029"/>
                <a:gd name="connsiteX1" fmla="*/ 643 w 10436"/>
                <a:gd name="connsiteY1" fmla="*/ 246 h 10029"/>
                <a:gd name="connsiteX2" fmla="*/ 643 w 10436"/>
                <a:gd name="connsiteY2" fmla="*/ 9303 h 10029"/>
                <a:gd name="connsiteX3" fmla="*/ 9687 w 10436"/>
                <a:gd name="connsiteY3" fmla="*/ 9303 h 10029"/>
                <a:gd name="connsiteX4" fmla="*/ 9930 w 10436"/>
                <a:gd name="connsiteY4" fmla="*/ 9876 h 10029"/>
                <a:gd name="connsiteX5" fmla="*/ 9861 w 10436"/>
                <a:gd name="connsiteY5" fmla="*/ 9953 h 10029"/>
                <a:gd name="connsiteX6" fmla="*/ 9774 w 10436"/>
                <a:gd name="connsiteY6" fmla="*/ 10010 h 10029"/>
                <a:gd name="connsiteX7" fmla="*/ 9687 w 10436"/>
                <a:gd name="connsiteY7" fmla="*/ 10029 h 10029"/>
                <a:gd name="connsiteX8" fmla="*/ 330 w 10436"/>
                <a:gd name="connsiteY8" fmla="*/ 10029 h 10029"/>
                <a:gd name="connsiteX9" fmla="*/ 0 w 10436"/>
                <a:gd name="connsiteY9" fmla="*/ 9685 h 10029"/>
                <a:gd name="connsiteX10" fmla="*/ 0 w 10436"/>
                <a:gd name="connsiteY10" fmla="*/ 246 h 10029"/>
                <a:gd name="connsiteX0" fmla="*/ 0 w 10414"/>
                <a:gd name="connsiteY0" fmla="*/ 246 h 10029"/>
                <a:gd name="connsiteX1" fmla="*/ 643 w 10414"/>
                <a:gd name="connsiteY1" fmla="*/ 246 h 10029"/>
                <a:gd name="connsiteX2" fmla="*/ 643 w 10414"/>
                <a:gd name="connsiteY2" fmla="*/ 9303 h 10029"/>
                <a:gd name="connsiteX3" fmla="*/ 9687 w 10414"/>
                <a:gd name="connsiteY3" fmla="*/ 9303 h 10029"/>
                <a:gd name="connsiteX4" fmla="*/ 9861 w 10414"/>
                <a:gd name="connsiteY4" fmla="*/ 9953 h 10029"/>
                <a:gd name="connsiteX5" fmla="*/ 9774 w 10414"/>
                <a:gd name="connsiteY5" fmla="*/ 10010 h 10029"/>
                <a:gd name="connsiteX6" fmla="*/ 9687 w 10414"/>
                <a:gd name="connsiteY6" fmla="*/ 10029 h 10029"/>
                <a:gd name="connsiteX7" fmla="*/ 330 w 10414"/>
                <a:gd name="connsiteY7" fmla="*/ 10029 h 10029"/>
                <a:gd name="connsiteX8" fmla="*/ 0 w 10414"/>
                <a:gd name="connsiteY8" fmla="*/ 9685 h 10029"/>
                <a:gd name="connsiteX9" fmla="*/ 0 w 10414"/>
                <a:gd name="connsiteY9" fmla="*/ 246 h 10029"/>
                <a:gd name="connsiteX0" fmla="*/ 0 w 10414"/>
                <a:gd name="connsiteY0" fmla="*/ 246 h 10029"/>
                <a:gd name="connsiteX1" fmla="*/ 643 w 10414"/>
                <a:gd name="connsiteY1" fmla="*/ 246 h 10029"/>
                <a:gd name="connsiteX2" fmla="*/ 643 w 10414"/>
                <a:gd name="connsiteY2" fmla="*/ 9303 h 10029"/>
                <a:gd name="connsiteX3" fmla="*/ 9687 w 10414"/>
                <a:gd name="connsiteY3" fmla="*/ 9303 h 10029"/>
                <a:gd name="connsiteX4" fmla="*/ 9861 w 10414"/>
                <a:gd name="connsiteY4" fmla="*/ 9953 h 10029"/>
                <a:gd name="connsiteX5" fmla="*/ 9687 w 10414"/>
                <a:gd name="connsiteY5" fmla="*/ 10029 h 10029"/>
                <a:gd name="connsiteX6" fmla="*/ 330 w 10414"/>
                <a:gd name="connsiteY6" fmla="*/ 10029 h 10029"/>
                <a:gd name="connsiteX7" fmla="*/ 0 w 10414"/>
                <a:gd name="connsiteY7" fmla="*/ 9685 h 10029"/>
                <a:gd name="connsiteX8" fmla="*/ 0 w 10414"/>
                <a:gd name="connsiteY8" fmla="*/ 246 h 10029"/>
                <a:gd name="connsiteX0" fmla="*/ 0 w 10836"/>
                <a:gd name="connsiteY0" fmla="*/ 246 h 10029"/>
                <a:gd name="connsiteX1" fmla="*/ 643 w 10836"/>
                <a:gd name="connsiteY1" fmla="*/ 246 h 10029"/>
                <a:gd name="connsiteX2" fmla="*/ 643 w 10836"/>
                <a:gd name="connsiteY2" fmla="*/ 9303 h 10029"/>
                <a:gd name="connsiteX3" fmla="*/ 9687 w 10836"/>
                <a:gd name="connsiteY3" fmla="*/ 9303 h 10029"/>
                <a:gd name="connsiteX4" fmla="*/ 9687 w 10836"/>
                <a:gd name="connsiteY4" fmla="*/ 10029 h 10029"/>
                <a:gd name="connsiteX5" fmla="*/ 330 w 10836"/>
                <a:gd name="connsiteY5" fmla="*/ 10029 h 10029"/>
                <a:gd name="connsiteX6" fmla="*/ 0 w 10836"/>
                <a:gd name="connsiteY6" fmla="*/ 9685 h 10029"/>
                <a:gd name="connsiteX7" fmla="*/ 0 w 10836"/>
                <a:gd name="connsiteY7" fmla="*/ 246 h 10029"/>
                <a:gd name="connsiteX0" fmla="*/ 0 w 10455"/>
                <a:gd name="connsiteY0" fmla="*/ 246 h 10029"/>
                <a:gd name="connsiteX1" fmla="*/ 643 w 10455"/>
                <a:gd name="connsiteY1" fmla="*/ 246 h 10029"/>
                <a:gd name="connsiteX2" fmla="*/ 643 w 10455"/>
                <a:gd name="connsiteY2" fmla="*/ 9303 h 10029"/>
                <a:gd name="connsiteX3" fmla="*/ 9687 w 10455"/>
                <a:gd name="connsiteY3" fmla="*/ 9303 h 10029"/>
                <a:gd name="connsiteX4" fmla="*/ 9687 w 10455"/>
                <a:gd name="connsiteY4" fmla="*/ 10029 h 10029"/>
                <a:gd name="connsiteX5" fmla="*/ 330 w 10455"/>
                <a:gd name="connsiteY5" fmla="*/ 10029 h 10029"/>
                <a:gd name="connsiteX6" fmla="*/ 0 w 10455"/>
                <a:gd name="connsiteY6" fmla="*/ 9685 h 10029"/>
                <a:gd name="connsiteX7" fmla="*/ 0 w 10455"/>
                <a:gd name="connsiteY7" fmla="*/ 246 h 10029"/>
                <a:gd name="connsiteX0" fmla="*/ 0 w 9961"/>
                <a:gd name="connsiteY0" fmla="*/ 246 h 10029"/>
                <a:gd name="connsiteX1" fmla="*/ 643 w 9961"/>
                <a:gd name="connsiteY1" fmla="*/ 246 h 10029"/>
                <a:gd name="connsiteX2" fmla="*/ 643 w 9961"/>
                <a:gd name="connsiteY2" fmla="*/ 9303 h 10029"/>
                <a:gd name="connsiteX3" fmla="*/ 9687 w 9961"/>
                <a:gd name="connsiteY3" fmla="*/ 9303 h 10029"/>
                <a:gd name="connsiteX4" fmla="*/ 9687 w 9961"/>
                <a:gd name="connsiteY4" fmla="*/ 10029 h 10029"/>
                <a:gd name="connsiteX5" fmla="*/ 330 w 9961"/>
                <a:gd name="connsiteY5" fmla="*/ 10029 h 10029"/>
                <a:gd name="connsiteX6" fmla="*/ 0 w 9961"/>
                <a:gd name="connsiteY6" fmla="*/ 9685 h 10029"/>
                <a:gd name="connsiteX7" fmla="*/ 0 w 9961"/>
                <a:gd name="connsiteY7" fmla="*/ 246 h 10029"/>
                <a:gd name="connsiteX0" fmla="*/ 0 w 10026"/>
                <a:gd name="connsiteY0" fmla="*/ 246 h 10001"/>
                <a:gd name="connsiteX1" fmla="*/ 646 w 10026"/>
                <a:gd name="connsiteY1" fmla="*/ 246 h 10001"/>
                <a:gd name="connsiteX2" fmla="*/ 646 w 10026"/>
                <a:gd name="connsiteY2" fmla="*/ 9277 h 10001"/>
                <a:gd name="connsiteX3" fmla="*/ 9725 w 10026"/>
                <a:gd name="connsiteY3" fmla="*/ 9277 h 10001"/>
                <a:gd name="connsiteX4" fmla="*/ 9725 w 10026"/>
                <a:gd name="connsiteY4" fmla="*/ 10001 h 10001"/>
                <a:gd name="connsiteX5" fmla="*/ 331 w 10026"/>
                <a:gd name="connsiteY5" fmla="*/ 10001 h 10001"/>
                <a:gd name="connsiteX6" fmla="*/ 0 w 10026"/>
                <a:gd name="connsiteY6" fmla="*/ 9658 h 10001"/>
                <a:gd name="connsiteX7" fmla="*/ 0 w 10026"/>
                <a:gd name="connsiteY7" fmla="*/ 246 h 10001"/>
                <a:gd name="connsiteX0" fmla="*/ 0 w 10015"/>
                <a:gd name="connsiteY0" fmla="*/ 246 h 10003"/>
                <a:gd name="connsiteX1" fmla="*/ 646 w 10015"/>
                <a:gd name="connsiteY1" fmla="*/ 246 h 10003"/>
                <a:gd name="connsiteX2" fmla="*/ 646 w 10015"/>
                <a:gd name="connsiteY2" fmla="*/ 9277 h 10003"/>
                <a:gd name="connsiteX3" fmla="*/ 9725 w 10015"/>
                <a:gd name="connsiteY3" fmla="*/ 9277 h 10003"/>
                <a:gd name="connsiteX4" fmla="*/ 9725 w 10015"/>
                <a:gd name="connsiteY4" fmla="*/ 10001 h 10003"/>
                <a:gd name="connsiteX5" fmla="*/ 331 w 10015"/>
                <a:gd name="connsiteY5" fmla="*/ 10001 h 10003"/>
                <a:gd name="connsiteX6" fmla="*/ 0 w 10015"/>
                <a:gd name="connsiteY6" fmla="*/ 9658 h 10003"/>
                <a:gd name="connsiteX7" fmla="*/ 0 w 10015"/>
                <a:gd name="connsiteY7" fmla="*/ 246 h 100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0015" h="10003">
                  <a:moveTo>
                    <a:pt x="0" y="246"/>
                  </a:moveTo>
                  <a:cubicBezTo>
                    <a:pt x="7" y="-128"/>
                    <a:pt x="661" y="-33"/>
                    <a:pt x="646" y="246"/>
                  </a:cubicBezTo>
                  <a:lnTo>
                    <a:pt x="646" y="9277"/>
                  </a:lnTo>
                  <a:lnTo>
                    <a:pt x="9725" y="9277"/>
                  </a:lnTo>
                  <a:cubicBezTo>
                    <a:pt x="10115" y="9273"/>
                    <a:pt x="10110" y="10052"/>
                    <a:pt x="9725" y="10001"/>
                  </a:cubicBezTo>
                  <a:lnTo>
                    <a:pt x="331" y="10001"/>
                  </a:lnTo>
                  <a:cubicBezTo>
                    <a:pt x="200" y="9996"/>
                    <a:pt x="10" y="9929"/>
                    <a:pt x="0" y="9658"/>
                  </a:cubicBezTo>
                  <a:lnTo>
                    <a:pt x="0" y="246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kern="0">
                <a:solidFill>
                  <a:prstClr val="black"/>
                </a:solidFill>
              </a:endParaRPr>
            </a:p>
          </p:txBody>
        </p:sp>
        <p:sp>
          <p:nvSpPr>
            <p:cNvPr id="72" name="Freeform 183"/>
            <p:cNvSpPr>
              <a:spLocks/>
            </p:cNvSpPr>
            <p:nvPr/>
          </p:nvSpPr>
          <p:spPr bwMode="auto">
            <a:xfrm>
              <a:off x="-195932" y="7399948"/>
              <a:ext cx="327144" cy="210308"/>
            </a:xfrm>
            <a:custGeom>
              <a:avLst/>
              <a:gdLst>
                <a:gd name="T0" fmla="*/ 0 w 126"/>
                <a:gd name="T1" fmla="*/ 0 h 81"/>
                <a:gd name="T2" fmla="*/ 126 w 126"/>
                <a:gd name="T3" fmla="*/ 0 h 81"/>
                <a:gd name="T4" fmla="*/ 126 w 126"/>
                <a:gd name="T5" fmla="*/ 80 h 81"/>
                <a:gd name="T6" fmla="*/ 81 w 126"/>
                <a:gd name="T7" fmla="*/ 81 h 81"/>
                <a:gd name="T8" fmla="*/ 39 w 126"/>
                <a:gd name="T9" fmla="*/ 80 h 81"/>
                <a:gd name="T10" fmla="*/ 0 w 126"/>
                <a:gd name="T11" fmla="*/ 77 h 81"/>
                <a:gd name="T12" fmla="*/ 0 w 126"/>
                <a:gd name="T13" fmla="*/ 0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6" h="81">
                  <a:moveTo>
                    <a:pt x="0" y="0"/>
                  </a:moveTo>
                  <a:lnTo>
                    <a:pt x="126" y="0"/>
                  </a:lnTo>
                  <a:lnTo>
                    <a:pt x="126" y="80"/>
                  </a:lnTo>
                  <a:lnTo>
                    <a:pt x="81" y="81"/>
                  </a:lnTo>
                  <a:lnTo>
                    <a:pt x="39" y="80"/>
                  </a:lnTo>
                  <a:lnTo>
                    <a:pt x="0" y="77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kern="0">
                <a:solidFill>
                  <a:prstClr val="black"/>
                </a:solidFill>
              </a:endParaRPr>
            </a:p>
          </p:txBody>
        </p:sp>
        <p:sp>
          <p:nvSpPr>
            <p:cNvPr id="73" name="Freeform 184"/>
            <p:cNvSpPr>
              <a:spLocks/>
            </p:cNvSpPr>
            <p:nvPr/>
          </p:nvSpPr>
          <p:spPr bwMode="auto">
            <a:xfrm>
              <a:off x="245453" y="7093576"/>
              <a:ext cx="324548" cy="503697"/>
            </a:xfrm>
            <a:custGeom>
              <a:avLst/>
              <a:gdLst>
                <a:gd name="T0" fmla="*/ 0 w 125"/>
                <a:gd name="T1" fmla="*/ 0 h 194"/>
                <a:gd name="T2" fmla="*/ 125 w 125"/>
                <a:gd name="T3" fmla="*/ 0 h 194"/>
                <a:gd name="T4" fmla="*/ 125 w 125"/>
                <a:gd name="T5" fmla="*/ 172 h 194"/>
                <a:gd name="T6" fmla="*/ 62 w 125"/>
                <a:gd name="T7" fmla="*/ 186 h 194"/>
                <a:gd name="T8" fmla="*/ 0 w 125"/>
                <a:gd name="T9" fmla="*/ 194 h 194"/>
                <a:gd name="T10" fmla="*/ 0 w 125"/>
                <a:gd name="T11" fmla="*/ 0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5" h="194">
                  <a:moveTo>
                    <a:pt x="0" y="0"/>
                  </a:moveTo>
                  <a:lnTo>
                    <a:pt x="125" y="0"/>
                  </a:lnTo>
                  <a:lnTo>
                    <a:pt x="125" y="172"/>
                  </a:lnTo>
                  <a:lnTo>
                    <a:pt x="62" y="186"/>
                  </a:lnTo>
                  <a:lnTo>
                    <a:pt x="0" y="194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kern="0">
                <a:solidFill>
                  <a:prstClr val="black"/>
                </a:solidFill>
              </a:endParaRPr>
            </a:p>
          </p:txBody>
        </p:sp>
        <p:sp>
          <p:nvSpPr>
            <p:cNvPr id="74" name="Freeform 185"/>
            <p:cNvSpPr>
              <a:spLocks/>
            </p:cNvSpPr>
            <p:nvPr/>
          </p:nvSpPr>
          <p:spPr bwMode="auto">
            <a:xfrm>
              <a:off x="684239" y="6740469"/>
              <a:ext cx="327144" cy="760736"/>
            </a:xfrm>
            <a:custGeom>
              <a:avLst/>
              <a:gdLst>
                <a:gd name="T0" fmla="*/ 0 w 126"/>
                <a:gd name="T1" fmla="*/ 0 h 293"/>
                <a:gd name="T2" fmla="*/ 126 w 126"/>
                <a:gd name="T3" fmla="*/ 0 h 293"/>
                <a:gd name="T4" fmla="*/ 126 w 126"/>
                <a:gd name="T5" fmla="*/ 238 h 293"/>
                <a:gd name="T6" fmla="*/ 63 w 126"/>
                <a:gd name="T7" fmla="*/ 270 h 293"/>
                <a:gd name="T8" fmla="*/ 0 w 126"/>
                <a:gd name="T9" fmla="*/ 293 h 293"/>
                <a:gd name="T10" fmla="*/ 0 w 126"/>
                <a:gd name="T11" fmla="*/ 0 h 2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6" h="293">
                  <a:moveTo>
                    <a:pt x="0" y="0"/>
                  </a:moveTo>
                  <a:lnTo>
                    <a:pt x="126" y="0"/>
                  </a:lnTo>
                  <a:lnTo>
                    <a:pt x="126" y="238"/>
                  </a:lnTo>
                  <a:lnTo>
                    <a:pt x="63" y="270"/>
                  </a:lnTo>
                  <a:lnTo>
                    <a:pt x="0" y="293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kern="0">
                <a:solidFill>
                  <a:prstClr val="black"/>
                </a:solidFill>
              </a:endParaRPr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807042" y="5487211"/>
            <a:ext cx="496939" cy="486977"/>
            <a:chOff x="2405063" y="711201"/>
            <a:chExt cx="2771775" cy="2716212"/>
          </a:xfrm>
          <a:solidFill>
            <a:schemeClr val="bg1"/>
          </a:solidFill>
        </p:grpSpPr>
        <p:sp>
          <p:nvSpPr>
            <p:cNvPr id="76" name="Freeform 5"/>
            <p:cNvSpPr>
              <a:spLocks noEditPoints="1"/>
            </p:cNvSpPr>
            <p:nvPr/>
          </p:nvSpPr>
          <p:spPr bwMode="auto">
            <a:xfrm>
              <a:off x="3138488" y="711201"/>
              <a:ext cx="2038350" cy="1878012"/>
            </a:xfrm>
            <a:custGeom>
              <a:avLst/>
              <a:gdLst>
                <a:gd name="T0" fmla="*/ 5390 w 12583"/>
                <a:gd name="T1" fmla="*/ 1416 h 11576"/>
                <a:gd name="T2" fmla="*/ 4649 w 12583"/>
                <a:gd name="T3" fmla="*/ 1592 h 11576"/>
                <a:gd name="T4" fmla="*/ 3803 w 12583"/>
                <a:gd name="T5" fmla="*/ 639 h 11576"/>
                <a:gd name="T6" fmla="*/ 2914 w 12583"/>
                <a:gd name="T7" fmla="*/ 1127 h 11576"/>
                <a:gd name="T8" fmla="*/ 2961 w 12583"/>
                <a:gd name="T9" fmla="*/ 2222 h 11576"/>
                <a:gd name="T10" fmla="*/ 3062 w 12583"/>
                <a:gd name="T11" fmla="*/ 2509 h 11576"/>
                <a:gd name="T12" fmla="*/ 2788 w 12583"/>
                <a:gd name="T13" fmla="*/ 2765 h 11576"/>
                <a:gd name="T14" fmla="*/ 1953 w 12583"/>
                <a:gd name="T15" fmla="*/ 2842 h 11576"/>
                <a:gd name="T16" fmla="*/ 979 w 12583"/>
                <a:gd name="T17" fmla="*/ 3178 h 11576"/>
                <a:gd name="T18" fmla="*/ 811 w 12583"/>
                <a:gd name="T19" fmla="*/ 3468 h 11576"/>
                <a:gd name="T20" fmla="*/ 663 w 12583"/>
                <a:gd name="T21" fmla="*/ 3779 h 11576"/>
                <a:gd name="T22" fmla="*/ 1615 w 12583"/>
                <a:gd name="T23" fmla="*/ 4626 h 11576"/>
                <a:gd name="T24" fmla="*/ 1439 w 12583"/>
                <a:gd name="T25" fmla="*/ 5367 h 11576"/>
                <a:gd name="T26" fmla="*/ 742 w 12583"/>
                <a:gd name="T27" fmla="*/ 5482 h 11576"/>
                <a:gd name="T28" fmla="*/ 134 w 12583"/>
                <a:gd name="T29" fmla="*/ 6813 h 11576"/>
                <a:gd name="T30" fmla="*/ 713 w 12583"/>
                <a:gd name="T31" fmla="*/ 7045 h 11576"/>
                <a:gd name="T32" fmla="*/ 1439 w 12583"/>
                <a:gd name="T33" fmla="*/ 7166 h 11576"/>
                <a:gd name="T34" fmla="*/ 1615 w 12583"/>
                <a:gd name="T35" fmla="*/ 7907 h 11576"/>
                <a:gd name="T36" fmla="*/ 895 w 12583"/>
                <a:gd name="T37" fmla="*/ 8527 h 11576"/>
                <a:gd name="T38" fmla="*/ 663 w 12583"/>
                <a:gd name="T39" fmla="*/ 8753 h 11576"/>
                <a:gd name="T40" fmla="*/ 945 w 12583"/>
                <a:gd name="T41" fmla="*/ 9318 h 11576"/>
                <a:gd name="T42" fmla="*/ 3266 w 12583"/>
                <a:gd name="T43" fmla="*/ 9643 h 11576"/>
                <a:gd name="T44" fmla="*/ 5711 w 12583"/>
                <a:gd name="T45" fmla="*/ 10479 h 11576"/>
                <a:gd name="T46" fmla="*/ 7498 w 12583"/>
                <a:gd name="T47" fmla="*/ 10702 h 11576"/>
                <a:gd name="T48" fmla="*/ 9306 w 12583"/>
                <a:gd name="T49" fmla="*/ 11576 h 11576"/>
                <a:gd name="T50" fmla="*/ 9906 w 12583"/>
                <a:gd name="T51" fmla="*/ 11223 h 11576"/>
                <a:gd name="T52" fmla="*/ 9518 w 12583"/>
                <a:gd name="T53" fmla="*/ 10023 h 11576"/>
                <a:gd name="T54" fmla="*/ 10047 w 12583"/>
                <a:gd name="T55" fmla="*/ 9494 h 11576"/>
                <a:gd name="T56" fmla="*/ 11211 w 12583"/>
                <a:gd name="T57" fmla="*/ 9882 h 11576"/>
                <a:gd name="T58" fmla="*/ 11412 w 12583"/>
                <a:gd name="T59" fmla="*/ 9660 h 11576"/>
                <a:gd name="T60" fmla="*/ 11881 w 12583"/>
                <a:gd name="T61" fmla="*/ 8753 h 11576"/>
                <a:gd name="T62" fmla="*/ 11798 w 12583"/>
                <a:gd name="T63" fmla="*/ 8625 h 11576"/>
                <a:gd name="T64" fmla="*/ 11056 w 12583"/>
                <a:gd name="T65" fmla="*/ 7540 h 11576"/>
                <a:gd name="T66" fmla="*/ 11140 w 12583"/>
                <a:gd name="T67" fmla="*/ 7166 h 11576"/>
                <a:gd name="T68" fmla="*/ 11473 w 12583"/>
                <a:gd name="T69" fmla="*/ 7110 h 11576"/>
                <a:gd name="T70" fmla="*/ 11806 w 12583"/>
                <a:gd name="T71" fmla="*/ 7055 h 11576"/>
                <a:gd name="T72" fmla="*/ 12410 w 12583"/>
                <a:gd name="T73" fmla="*/ 5684 h 11576"/>
                <a:gd name="T74" fmla="*/ 11836 w 12583"/>
                <a:gd name="T75" fmla="*/ 5483 h 11576"/>
                <a:gd name="T76" fmla="*/ 11140 w 12583"/>
                <a:gd name="T77" fmla="*/ 5367 h 11576"/>
                <a:gd name="T78" fmla="*/ 11058 w 12583"/>
                <a:gd name="T79" fmla="*/ 4990 h 11576"/>
                <a:gd name="T80" fmla="*/ 11430 w 12583"/>
                <a:gd name="T81" fmla="*/ 4210 h 11576"/>
                <a:gd name="T82" fmla="*/ 11593 w 12583"/>
                <a:gd name="T83" fmla="*/ 3186 h 11576"/>
                <a:gd name="T84" fmla="*/ 10651 w 12583"/>
                <a:gd name="T85" fmla="*/ 2831 h 11576"/>
                <a:gd name="T86" fmla="*/ 10047 w 12583"/>
                <a:gd name="T87" fmla="*/ 3038 h 11576"/>
                <a:gd name="T88" fmla="*/ 9518 w 12583"/>
                <a:gd name="T89" fmla="*/ 2509 h 11576"/>
                <a:gd name="T90" fmla="*/ 9707 w 12583"/>
                <a:gd name="T91" fmla="*/ 1922 h 11576"/>
                <a:gd name="T92" fmla="*/ 9101 w 12583"/>
                <a:gd name="T93" fmla="*/ 809 h 11576"/>
                <a:gd name="T94" fmla="*/ 8812 w 12583"/>
                <a:gd name="T95" fmla="*/ 639 h 11576"/>
                <a:gd name="T96" fmla="*/ 7930 w 12583"/>
                <a:gd name="T97" fmla="*/ 1592 h 11576"/>
                <a:gd name="T98" fmla="*/ 7189 w 12583"/>
                <a:gd name="T99" fmla="*/ 1416 h 11576"/>
                <a:gd name="T100" fmla="*/ 6999 w 12583"/>
                <a:gd name="T101" fmla="*/ 336 h 11576"/>
                <a:gd name="T102" fmla="*/ 5813 w 12583"/>
                <a:gd name="T103" fmla="*/ 110 h 11576"/>
                <a:gd name="T104" fmla="*/ 5511 w 12583"/>
                <a:gd name="T105" fmla="*/ 654 h 11576"/>
                <a:gd name="T106" fmla="*/ 5390 w 12583"/>
                <a:gd name="T107" fmla="*/ 1416 h 11576"/>
                <a:gd name="T108" fmla="*/ 6360 w 12583"/>
                <a:gd name="T109" fmla="*/ 3125 h 11576"/>
                <a:gd name="T110" fmla="*/ 9260 w 12583"/>
                <a:gd name="T111" fmla="*/ 6025 h 11576"/>
                <a:gd name="T112" fmla="*/ 6360 w 12583"/>
                <a:gd name="T113" fmla="*/ 8925 h 11576"/>
                <a:gd name="T114" fmla="*/ 3460 w 12583"/>
                <a:gd name="T115" fmla="*/ 6025 h 11576"/>
                <a:gd name="T116" fmla="*/ 6360 w 12583"/>
                <a:gd name="T117" fmla="*/ 3125 h 11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2583" h="11576">
                  <a:moveTo>
                    <a:pt x="5390" y="1416"/>
                  </a:moveTo>
                  <a:cubicBezTo>
                    <a:pt x="5168" y="1420"/>
                    <a:pt x="4852" y="1545"/>
                    <a:pt x="4649" y="1592"/>
                  </a:cubicBezTo>
                  <a:cubicBezTo>
                    <a:pt x="4490" y="1485"/>
                    <a:pt x="4035" y="841"/>
                    <a:pt x="3803" y="639"/>
                  </a:cubicBezTo>
                  <a:cubicBezTo>
                    <a:pt x="3657" y="673"/>
                    <a:pt x="3080" y="1029"/>
                    <a:pt x="2914" y="1127"/>
                  </a:cubicBezTo>
                  <a:cubicBezTo>
                    <a:pt x="2569" y="1330"/>
                    <a:pt x="2605" y="1275"/>
                    <a:pt x="2961" y="2222"/>
                  </a:cubicBezTo>
                  <a:cubicBezTo>
                    <a:pt x="2998" y="2321"/>
                    <a:pt x="3033" y="2385"/>
                    <a:pt x="3062" y="2509"/>
                  </a:cubicBezTo>
                  <a:cubicBezTo>
                    <a:pt x="3020" y="2566"/>
                    <a:pt x="2863" y="2690"/>
                    <a:pt x="2788" y="2765"/>
                  </a:cubicBezTo>
                  <a:cubicBezTo>
                    <a:pt x="2452" y="3101"/>
                    <a:pt x="2679" y="3122"/>
                    <a:pt x="1953" y="2842"/>
                  </a:cubicBezTo>
                  <a:cubicBezTo>
                    <a:pt x="1211" y="2555"/>
                    <a:pt x="1336" y="2557"/>
                    <a:pt x="979" y="3178"/>
                  </a:cubicBezTo>
                  <a:cubicBezTo>
                    <a:pt x="926" y="3269"/>
                    <a:pt x="870" y="3370"/>
                    <a:pt x="811" y="3468"/>
                  </a:cubicBezTo>
                  <a:cubicBezTo>
                    <a:pt x="748" y="3572"/>
                    <a:pt x="693" y="3652"/>
                    <a:pt x="663" y="3779"/>
                  </a:cubicBezTo>
                  <a:cubicBezTo>
                    <a:pt x="808" y="3996"/>
                    <a:pt x="1493" y="4458"/>
                    <a:pt x="1615" y="4626"/>
                  </a:cubicBezTo>
                  <a:cubicBezTo>
                    <a:pt x="1563" y="4852"/>
                    <a:pt x="1439" y="5095"/>
                    <a:pt x="1439" y="5367"/>
                  </a:cubicBezTo>
                  <a:cubicBezTo>
                    <a:pt x="1254" y="5371"/>
                    <a:pt x="934" y="5444"/>
                    <a:pt x="742" y="5482"/>
                  </a:cubicBezTo>
                  <a:cubicBezTo>
                    <a:pt x="0" y="5627"/>
                    <a:pt x="134" y="5374"/>
                    <a:pt x="134" y="6813"/>
                  </a:cubicBezTo>
                  <a:cubicBezTo>
                    <a:pt x="134" y="7007"/>
                    <a:pt x="511" y="7011"/>
                    <a:pt x="713" y="7045"/>
                  </a:cubicBezTo>
                  <a:cubicBezTo>
                    <a:pt x="942" y="7083"/>
                    <a:pt x="1229" y="7161"/>
                    <a:pt x="1439" y="7166"/>
                  </a:cubicBezTo>
                  <a:cubicBezTo>
                    <a:pt x="1439" y="7437"/>
                    <a:pt x="1563" y="7680"/>
                    <a:pt x="1615" y="7907"/>
                  </a:cubicBezTo>
                  <a:lnTo>
                    <a:pt x="895" y="8527"/>
                  </a:lnTo>
                  <a:cubicBezTo>
                    <a:pt x="785" y="8612"/>
                    <a:pt x="736" y="8644"/>
                    <a:pt x="663" y="8753"/>
                  </a:cubicBezTo>
                  <a:cubicBezTo>
                    <a:pt x="693" y="8883"/>
                    <a:pt x="864" y="9165"/>
                    <a:pt x="945" y="9318"/>
                  </a:cubicBezTo>
                  <a:cubicBezTo>
                    <a:pt x="2140" y="9318"/>
                    <a:pt x="2195" y="9349"/>
                    <a:pt x="3266" y="9643"/>
                  </a:cubicBezTo>
                  <a:cubicBezTo>
                    <a:pt x="4193" y="9897"/>
                    <a:pt x="4293" y="10363"/>
                    <a:pt x="5711" y="10479"/>
                  </a:cubicBezTo>
                  <a:cubicBezTo>
                    <a:pt x="6404" y="10536"/>
                    <a:pt x="6804" y="10563"/>
                    <a:pt x="7498" y="10702"/>
                  </a:cubicBezTo>
                  <a:cubicBezTo>
                    <a:pt x="7945" y="10792"/>
                    <a:pt x="9168" y="11058"/>
                    <a:pt x="9306" y="11576"/>
                  </a:cubicBezTo>
                  <a:cubicBezTo>
                    <a:pt x="9409" y="11552"/>
                    <a:pt x="9906" y="11297"/>
                    <a:pt x="9906" y="11223"/>
                  </a:cubicBezTo>
                  <a:cubicBezTo>
                    <a:pt x="9906" y="11025"/>
                    <a:pt x="9518" y="10220"/>
                    <a:pt x="9518" y="10023"/>
                  </a:cubicBezTo>
                  <a:cubicBezTo>
                    <a:pt x="9518" y="9983"/>
                    <a:pt x="9986" y="9535"/>
                    <a:pt x="10047" y="9494"/>
                  </a:cubicBezTo>
                  <a:cubicBezTo>
                    <a:pt x="10325" y="9559"/>
                    <a:pt x="11051" y="9882"/>
                    <a:pt x="11211" y="9882"/>
                  </a:cubicBezTo>
                  <a:cubicBezTo>
                    <a:pt x="11332" y="9882"/>
                    <a:pt x="11361" y="9754"/>
                    <a:pt x="11412" y="9660"/>
                  </a:cubicBezTo>
                  <a:cubicBezTo>
                    <a:pt x="11526" y="9449"/>
                    <a:pt x="11881" y="8907"/>
                    <a:pt x="11881" y="8753"/>
                  </a:cubicBezTo>
                  <a:cubicBezTo>
                    <a:pt x="11881" y="8666"/>
                    <a:pt x="11850" y="8672"/>
                    <a:pt x="11798" y="8625"/>
                  </a:cubicBezTo>
                  <a:cubicBezTo>
                    <a:pt x="10850" y="7786"/>
                    <a:pt x="10911" y="8119"/>
                    <a:pt x="11056" y="7540"/>
                  </a:cubicBezTo>
                  <a:cubicBezTo>
                    <a:pt x="11089" y="7409"/>
                    <a:pt x="11130" y="7290"/>
                    <a:pt x="11140" y="7166"/>
                  </a:cubicBezTo>
                  <a:cubicBezTo>
                    <a:pt x="11264" y="7163"/>
                    <a:pt x="11348" y="7133"/>
                    <a:pt x="11473" y="7110"/>
                  </a:cubicBezTo>
                  <a:cubicBezTo>
                    <a:pt x="11608" y="7086"/>
                    <a:pt x="11678" y="7076"/>
                    <a:pt x="11806" y="7055"/>
                  </a:cubicBezTo>
                  <a:cubicBezTo>
                    <a:pt x="12583" y="6926"/>
                    <a:pt x="12410" y="7160"/>
                    <a:pt x="12410" y="5684"/>
                  </a:cubicBezTo>
                  <a:cubicBezTo>
                    <a:pt x="12410" y="5530"/>
                    <a:pt x="12065" y="5520"/>
                    <a:pt x="11836" y="5483"/>
                  </a:cubicBezTo>
                  <a:cubicBezTo>
                    <a:pt x="11617" y="5447"/>
                    <a:pt x="11345" y="5371"/>
                    <a:pt x="11140" y="5367"/>
                  </a:cubicBezTo>
                  <a:cubicBezTo>
                    <a:pt x="11130" y="5242"/>
                    <a:pt x="11092" y="5109"/>
                    <a:pt x="11058" y="4990"/>
                  </a:cubicBezTo>
                  <a:cubicBezTo>
                    <a:pt x="10916" y="4501"/>
                    <a:pt x="10872" y="4697"/>
                    <a:pt x="11430" y="4210"/>
                  </a:cubicBezTo>
                  <a:cubicBezTo>
                    <a:pt x="11961" y="3748"/>
                    <a:pt x="12038" y="3922"/>
                    <a:pt x="11593" y="3186"/>
                  </a:cubicBezTo>
                  <a:cubicBezTo>
                    <a:pt x="11168" y="2485"/>
                    <a:pt x="11423" y="2577"/>
                    <a:pt x="10651" y="2831"/>
                  </a:cubicBezTo>
                  <a:cubicBezTo>
                    <a:pt x="10455" y="2896"/>
                    <a:pt x="10253" y="2990"/>
                    <a:pt x="10047" y="3038"/>
                  </a:cubicBezTo>
                  <a:cubicBezTo>
                    <a:pt x="9986" y="2997"/>
                    <a:pt x="9518" y="2549"/>
                    <a:pt x="9518" y="2509"/>
                  </a:cubicBezTo>
                  <a:cubicBezTo>
                    <a:pt x="9518" y="2384"/>
                    <a:pt x="9659" y="2065"/>
                    <a:pt x="9707" y="1922"/>
                  </a:cubicBezTo>
                  <a:cubicBezTo>
                    <a:pt x="9988" y="1089"/>
                    <a:pt x="10108" y="1419"/>
                    <a:pt x="9101" y="809"/>
                  </a:cubicBezTo>
                  <a:cubicBezTo>
                    <a:pt x="8998" y="747"/>
                    <a:pt x="8913" y="693"/>
                    <a:pt x="8812" y="639"/>
                  </a:cubicBezTo>
                  <a:cubicBezTo>
                    <a:pt x="8548" y="779"/>
                    <a:pt x="7996" y="1592"/>
                    <a:pt x="7930" y="1592"/>
                  </a:cubicBezTo>
                  <a:cubicBezTo>
                    <a:pt x="7749" y="1592"/>
                    <a:pt x="7454" y="1421"/>
                    <a:pt x="7189" y="1416"/>
                  </a:cubicBezTo>
                  <a:lnTo>
                    <a:pt x="6999" y="336"/>
                  </a:lnTo>
                  <a:cubicBezTo>
                    <a:pt x="6927" y="0"/>
                    <a:pt x="6683" y="110"/>
                    <a:pt x="5813" y="110"/>
                  </a:cubicBezTo>
                  <a:cubicBezTo>
                    <a:pt x="5526" y="110"/>
                    <a:pt x="5558" y="404"/>
                    <a:pt x="5511" y="654"/>
                  </a:cubicBezTo>
                  <a:cubicBezTo>
                    <a:pt x="5470" y="873"/>
                    <a:pt x="5390" y="1199"/>
                    <a:pt x="5390" y="1416"/>
                  </a:cubicBezTo>
                  <a:close/>
                  <a:moveTo>
                    <a:pt x="6360" y="3125"/>
                  </a:moveTo>
                  <a:cubicBezTo>
                    <a:pt x="7962" y="3125"/>
                    <a:pt x="9260" y="4423"/>
                    <a:pt x="9260" y="6025"/>
                  </a:cubicBezTo>
                  <a:cubicBezTo>
                    <a:pt x="9260" y="7626"/>
                    <a:pt x="7962" y="8925"/>
                    <a:pt x="6360" y="8925"/>
                  </a:cubicBezTo>
                  <a:cubicBezTo>
                    <a:pt x="4759" y="8925"/>
                    <a:pt x="3460" y="7626"/>
                    <a:pt x="3460" y="6025"/>
                  </a:cubicBezTo>
                  <a:cubicBezTo>
                    <a:pt x="3460" y="4423"/>
                    <a:pt x="4759" y="3125"/>
                    <a:pt x="6360" y="31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Freeform 6"/>
            <p:cNvSpPr>
              <a:spLocks/>
            </p:cNvSpPr>
            <p:nvPr/>
          </p:nvSpPr>
          <p:spPr bwMode="auto">
            <a:xfrm>
              <a:off x="2787651" y="2271713"/>
              <a:ext cx="2320925" cy="1155700"/>
            </a:xfrm>
            <a:custGeom>
              <a:avLst/>
              <a:gdLst>
                <a:gd name="T0" fmla="*/ 0 w 14318"/>
                <a:gd name="T1" fmla="*/ 898 h 7128"/>
                <a:gd name="T2" fmla="*/ 0 w 14318"/>
                <a:gd name="T3" fmla="*/ 4179 h 7128"/>
                <a:gd name="T4" fmla="*/ 787 w 14318"/>
                <a:gd name="T5" fmla="*/ 4662 h 7128"/>
                <a:gd name="T6" fmla="*/ 1753 w 14318"/>
                <a:gd name="T7" fmla="*/ 5001 h 7128"/>
                <a:gd name="T8" fmla="*/ 2645 w 14318"/>
                <a:gd name="T9" fmla="*/ 5414 h 7128"/>
                <a:gd name="T10" fmla="*/ 3069 w 14318"/>
                <a:gd name="T11" fmla="*/ 5626 h 7128"/>
                <a:gd name="T12" fmla="*/ 5730 w 14318"/>
                <a:gd name="T13" fmla="*/ 6845 h 7128"/>
                <a:gd name="T14" fmla="*/ 7405 w 14318"/>
                <a:gd name="T15" fmla="*/ 6998 h 7128"/>
                <a:gd name="T16" fmla="*/ 9635 w 14318"/>
                <a:gd name="T17" fmla="*/ 6653 h 7128"/>
                <a:gd name="T18" fmla="*/ 11719 w 14318"/>
                <a:gd name="T19" fmla="*/ 6127 h 7128"/>
                <a:gd name="T20" fmla="*/ 12473 w 14318"/>
                <a:gd name="T21" fmla="*/ 5611 h 7128"/>
                <a:gd name="T22" fmla="*/ 13960 w 14318"/>
                <a:gd name="T23" fmla="*/ 4487 h 7128"/>
                <a:gd name="T24" fmla="*/ 14158 w 14318"/>
                <a:gd name="T25" fmla="*/ 4047 h 7128"/>
                <a:gd name="T26" fmla="*/ 13899 w 14318"/>
                <a:gd name="T27" fmla="*/ 3685 h 7128"/>
                <a:gd name="T28" fmla="*/ 14118 w 14318"/>
                <a:gd name="T29" fmla="*/ 2973 h 7128"/>
                <a:gd name="T30" fmla="*/ 11809 w 14318"/>
                <a:gd name="T31" fmla="*/ 3289 h 7128"/>
                <a:gd name="T32" fmla="*/ 8572 w 14318"/>
                <a:gd name="T33" fmla="*/ 4073 h 7128"/>
                <a:gd name="T34" fmla="*/ 6504 w 14318"/>
                <a:gd name="T35" fmla="*/ 3496 h 7128"/>
                <a:gd name="T36" fmla="*/ 6385 w 14318"/>
                <a:gd name="T37" fmla="*/ 3438 h 7128"/>
                <a:gd name="T38" fmla="*/ 6602 w 14318"/>
                <a:gd name="T39" fmla="*/ 3408 h 7128"/>
                <a:gd name="T40" fmla="*/ 8855 w 14318"/>
                <a:gd name="T41" fmla="*/ 3473 h 7128"/>
                <a:gd name="T42" fmla="*/ 11160 w 14318"/>
                <a:gd name="T43" fmla="*/ 2957 h 7128"/>
                <a:gd name="T44" fmla="*/ 7175 w 14318"/>
                <a:gd name="T45" fmla="*/ 1166 h 7128"/>
                <a:gd name="T46" fmla="*/ 4536 w 14318"/>
                <a:gd name="T47" fmla="*/ 172 h 7128"/>
                <a:gd name="T48" fmla="*/ 3714 w 14318"/>
                <a:gd name="T49" fmla="*/ 77 h 7128"/>
                <a:gd name="T50" fmla="*/ 1249 w 14318"/>
                <a:gd name="T51" fmla="*/ 313 h 7128"/>
                <a:gd name="T52" fmla="*/ 0 w 14318"/>
                <a:gd name="T53" fmla="*/ 898 h 7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318" h="7128">
                  <a:moveTo>
                    <a:pt x="0" y="898"/>
                  </a:moveTo>
                  <a:lnTo>
                    <a:pt x="0" y="4179"/>
                  </a:lnTo>
                  <a:cubicBezTo>
                    <a:pt x="0" y="4652"/>
                    <a:pt x="402" y="4609"/>
                    <a:pt x="787" y="4662"/>
                  </a:cubicBezTo>
                  <a:cubicBezTo>
                    <a:pt x="1192" y="4718"/>
                    <a:pt x="1432" y="4862"/>
                    <a:pt x="1753" y="5001"/>
                  </a:cubicBezTo>
                  <a:lnTo>
                    <a:pt x="2645" y="5414"/>
                  </a:lnTo>
                  <a:cubicBezTo>
                    <a:pt x="2787" y="5484"/>
                    <a:pt x="2928" y="5554"/>
                    <a:pt x="3069" y="5626"/>
                  </a:cubicBezTo>
                  <a:cubicBezTo>
                    <a:pt x="3797" y="5993"/>
                    <a:pt x="4972" y="6542"/>
                    <a:pt x="5730" y="6845"/>
                  </a:cubicBezTo>
                  <a:cubicBezTo>
                    <a:pt x="6436" y="7128"/>
                    <a:pt x="6569" y="7076"/>
                    <a:pt x="7405" y="6998"/>
                  </a:cubicBezTo>
                  <a:cubicBezTo>
                    <a:pt x="7893" y="6953"/>
                    <a:pt x="9113" y="6741"/>
                    <a:pt x="9635" y="6653"/>
                  </a:cubicBezTo>
                  <a:cubicBezTo>
                    <a:pt x="10538" y="6501"/>
                    <a:pt x="10969" y="6592"/>
                    <a:pt x="11719" y="6127"/>
                  </a:cubicBezTo>
                  <a:cubicBezTo>
                    <a:pt x="11989" y="5959"/>
                    <a:pt x="12189" y="5784"/>
                    <a:pt x="12473" y="5611"/>
                  </a:cubicBezTo>
                  <a:cubicBezTo>
                    <a:pt x="12844" y="5385"/>
                    <a:pt x="13693" y="4800"/>
                    <a:pt x="13960" y="4487"/>
                  </a:cubicBezTo>
                  <a:cubicBezTo>
                    <a:pt x="14065" y="4364"/>
                    <a:pt x="14127" y="4246"/>
                    <a:pt x="14158" y="4047"/>
                  </a:cubicBezTo>
                  <a:cubicBezTo>
                    <a:pt x="14197" y="3798"/>
                    <a:pt x="14090" y="3786"/>
                    <a:pt x="13899" y="3685"/>
                  </a:cubicBezTo>
                  <a:cubicBezTo>
                    <a:pt x="13951" y="3491"/>
                    <a:pt x="14318" y="3376"/>
                    <a:pt x="14118" y="2973"/>
                  </a:cubicBezTo>
                  <a:cubicBezTo>
                    <a:pt x="13767" y="2267"/>
                    <a:pt x="12476" y="2620"/>
                    <a:pt x="11809" y="3289"/>
                  </a:cubicBezTo>
                  <a:cubicBezTo>
                    <a:pt x="11065" y="4036"/>
                    <a:pt x="9603" y="4073"/>
                    <a:pt x="8572" y="4073"/>
                  </a:cubicBezTo>
                  <a:cubicBezTo>
                    <a:pt x="7722" y="4073"/>
                    <a:pt x="7218" y="3782"/>
                    <a:pt x="6504" y="3496"/>
                  </a:cubicBezTo>
                  <a:lnTo>
                    <a:pt x="6385" y="3438"/>
                  </a:lnTo>
                  <a:cubicBezTo>
                    <a:pt x="6502" y="3436"/>
                    <a:pt x="6510" y="3418"/>
                    <a:pt x="6602" y="3408"/>
                  </a:cubicBezTo>
                  <a:cubicBezTo>
                    <a:pt x="7233" y="3343"/>
                    <a:pt x="8268" y="3477"/>
                    <a:pt x="8855" y="3473"/>
                  </a:cubicBezTo>
                  <a:cubicBezTo>
                    <a:pt x="9863" y="3466"/>
                    <a:pt x="10682" y="3939"/>
                    <a:pt x="11160" y="2957"/>
                  </a:cubicBezTo>
                  <a:cubicBezTo>
                    <a:pt x="11975" y="1282"/>
                    <a:pt x="8206" y="1325"/>
                    <a:pt x="7175" y="1166"/>
                  </a:cubicBezTo>
                  <a:cubicBezTo>
                    <a:pt x="6541" y="1069"/>
                    <a:pt x="6009" y="506"/>
                    <a:pt x="4536" y="172"/>
                  </a:cubicBezTo>
                  <a:cubicBezTo>
                    <a:pt x="4238" y="105"/>
                    <a:pt x="4032" y="119"/>
                    <a:pt x="3714" y="77"/>
                  </a:cubicBezTo>
                  <a:cubicBezTo>
                    <a:pt x="3133" y="0"/>
                    <a:pt x="1857" y="178"/>
                    <a:pt x="1249" y="313"/>
                  </a:cubicBezTo>
                  <a:cubicBezTo>
                    <a:pt x="809" y="411"/>
                    <a:pt x="0" y="525"/>
                    <a:pt x="0" y="89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Freeform 7"/>
            <p:cNvSpPr>
              <a:spLocks/>
            </p:cNvSpPr>
            <p:nvPr/>
          </p:nvSpPr>
          <p:spPr bwMode="auto">
            <a:xfrm>
              <a:off x="2405063" y="2233613"/>
              <a:ext cx="307975" cy="909637"/>
            </a:xfrm>
            <a:custGeom>
              <a:avLst/>
              <a:gdLst>
                <a:gd name="T0" fmla="*/ 0 w 1905"/>
                <a:gd name="T1" fmla="*/ 318 h 5609"/>
                <a:gd name="T2" fmla="*/ 0 w 1905"/>
                <a:gd name="T3" fmla="*/ 5292 h 5609"/>
                <a:gd name="T4" fmla="*/ 318 w 1905"/>
                <a:gd name="T5" fmla="*/ 5609 h 5609"/>
                <a:gd name="T6" fmla="*/ 1588 w 1905"/>
                <a:gd name="T7" fmla="*/ 5609 h 5609"/>
                <a:gd name="T8" fmla="*/ 1905 w 1905"/>
                <a:gd name="T9" fmla="*/ 5257 h 5609"/>
                <a:gd name="T10" fmla="*/ 1905 w 1905"/>
                <a:gd name="T11" fmla="*/ 283 h 5609"/>
                <a:gd name="T12" fmla="*/ 1552 w 1905"/>
                <a:gd name="T13" fmla="*/ 0 h 5609"/>
                <a:gd name="T14" fmla="*/ 318 w 1905"/>
                <a:gd name="T15" fmla="*/ 0 h 5609"/>
                <a:gd name="T16" fmla="*/ 0 w 1905"/>
                <a:gd name="T17" fmla="*/ 318 h 5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05" h="5609">
                  <a:moveTo>
                    <a:pt x="0" y="318"/>
                  </a:moveTo>
                  <a:lnTo>
                    <a:pt x="0" y="5292"/>
                  </a:lnTo>
                  <a:cubicBezTo>
                    <a:pt x="0" y="5466"/>
                    <a:pt x="143" y="5609"/>
                    <a:pt x="318" y="5609"/>
                  </a:cubicBezTo>
                  <a:lnTo>
                    <a:pt x="1588" y="5609"/>
                  </a:lnTo>
                  <a:cubicBezTo>
                    <a:pt x="1778" y="5609"/>
                    <a:pt x="1905" y="5435"/>
                    <a:pt x="1905" y="5257"/>
                  </a:cubicBezTo>
                  <a:lnTo>
                    <a:pt x="1905" y="283"/>
                  </a:lnTo>
                  <a:cubicBezTo>
                    <a:pt x="1905" y="175"/>
                    <a:pt x="1743" y="0"/>
                    <a:pt x="1552" y="0"/>
                  </a:cubicBezTo>
                  <a:lnTo>
                    <a:pt x="318" y="0"/>
                  </a:lnTo>
                  <a:cubicBezTo>
                    <a:pt x="143" y="0"/>
                    <a:pt x="0" y="143"/>
                    <a:pt x="0" y="31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" name="Group 4"/>
          <p:cNvGrpSpPr>
            <a:grpSpLocks noChangeAspect="1"/>
          </p:cNvGrpSpPr>
          <p:nvPr/>
        </p:nvGrpSpPr>
        <p:grpSpPr bwMode="auto">
          <a:xfrm>
            <a:off x="821404" y="1645303"/>
            <a:ext cx="468214" cy="488914"/>
            <a:chOff x="474" y="870"/>
            <a:chExt cx="475" cy="496"/>
          </a:xfrm>
          <a:solidFill>
            <a:schemeClr val="bg1"/>
          </a:solidFill>
        </p:grpSpPr>
        <p:sp>
          <p:nvSpPr>
            <p:cNvPr id="81" name="Freeform 6"/>
            <p:cNvSpPr>
              <a:spLocks/>
            </p:cNvSpPr>
            <p:nvPr/>
          </p:nvSpPr>
          <p:spPr bwMode="auto">
            <a:xfrm>
              <a:off x="783" y="870"/>
              <a:ext cx="98" cy="97"/>
            </a:xfrm>
            <a:custGeom>
              <a:avLst/>
              <a:gdLst>
                <a:gd name="T0" fmla="*/ 343 w 686"/>
                <a:gd name="T1" fmla="*/ 0 h 684"/>
                <a:gd name="T2" fmla="*/ 343 w 686"/>
                <a:gd name="T3" fmla="*/ 0 h 684"/>
                <a:gd name="T4" fmla="*/ 390 w 686"/>
                <a:gd name="T5" fmla="*/ 2 h 684"/>
                <a:gd name="T6" fmla="*/ 434 w 686"/>
                <a:gd name="T7" fmla="*/ 12 h 684"/>
                <a:gd name="T8" fmla="*/ 477 w 686"/>
                <a:gd name="T9" fmla="*/ 26 h 684"/>
                <a:gd name="T10" fmla="*/ 517 w 686"/>
                <a:gd name="T11" fmla="*/ 46 h 684"/>
                <a:gd name="T12" fmla="*/ 553 w 686"/>
                <a:gd name="T13" fmla="*/ 70 h 684"/>
                <a:gd name="T14" fmla="*/ 586 w 686"/>
                <a:gd name="T15" fmla="*/ 99 h 684"/>
                <a:gd name="T16" fmla="*/ 615 w 686"/>
                <a:gd name="T17" fmla="*/ 133 h 684"/>
                <a:gd name="T18" fmla="*/ 640 w 686"/>
                <a:gd name="T19" fmla="*/ 169 h 684"/>
                <a:gd name="T20" fmla="*/ 659 w 686"/>
                <a:gd name="T21" fmla="*/ 209 h 684"/>
                <a:gd name="T22" fmla="*/ 674 w 686"/>
                <a:gd name="T23" fmla="*/ 251 h 684"/>
                <a:gd name="T24" fmla="*/ 683 w 686"/>
                <a:gd name="T25" fmla="*/ 295 h 684"/>
                <a:gd name="T26" fmla="*/ 686 w 686"/>
                <a:gd name="T27" fmla="*/ 342 h 684"/>
                <a:gd name="T28" fmla="*/ 683 w 686"/>
                <a:gd name="T29" fmla="*/ 388 h 684"/>
                <a:gd name="T30" fmla="*/ 674 w 686"/>
                <a:gd name="T31" fmla="*/ 433 h 684"/>
                <a:gd name="T32" fmla="*/ 659 w 686"/>
                <a:gd name="T33" fmla="*/ 475 h 684"/>
                <a:gd name="T34" fmla="*/ 640 w 686"/>
                <a:gd name="T35" fmla="*/ 514 h 684"/>
                <a:gd name="T36" fmla="*/ 615 w 686"/>
                <a:gd name="T37" fmla="*/ 551 h 684"/>
                <a:gd name="T38" fmla="*/ 586 w 686"/>
                <a:gd name="T39" fmla="*/ 583 h 684"/>
                <a:gd name="T40" fmla="*/ 553 w 686"/>
                <a:gd name="T41" fmla="*/ 612 h 684"/>
                <a:gd name="T42" fmla="*/ 517 w 686"/>
                <a:gd name="T43" fmla="*/ 637 h 684"/>
                <a:gd name="T44" fmla="*/ 477 w 686"/>
                <a:gd name="T45" fmla="*/ 657 h 684"/>
                <a:gd name="T46" fmla="*/ 434 w 686"/>
                <a:gd name="T47" fmla="*/ 672 h 684"/>
                <a:gd name="T48" fmla="*/ 390 w 686"/>
                <a:gd name="T49" fmla="*/ 680 h 684"/>
                <a:gd name="T50" fmla="*/ 343 w 686"/>
                <a:gd name="T51" fmla="*/ 684 h 684"/>
                <a:gd name="T52" fmla="*/ 296 w 686"/>
                <a:gd name="T53" fmla="*/ 680 h 684"/>
                <a:gd name="T54" fmla="*/ 252 w 686"/>
                <a:gd name="T55" fmla="*/ 672 h 684"/>
                <a:gd name="T56" fmla="*/ 209 w 686"/>
                <a:gd name="T57" fmla="*/ 657 h 684"/>
                <a:gd name="T58" fmla="*/ 170 w 686"/>
                <a:gd name="T59" fmla="*/ 637 h 684"/>
                <a:gd name="T60" fmla="*/ 133 w 686"/>
                <a:gd name="T61" fmla="*/ 612 h 684"/>
                <a:gd name="T62" fmla="*/ 101 w 686"/>
                <a:gd name="T63" fmla="*/ 583 h 684"/>
                <a:gd name="T64" fmla="*/ 71 w 686"/>
                <a:gd name="T65" fmla="*/ 551 h 684"/>
                <a:gd name="T66" fmla="*/ 46 w 686"/>
                <a:gd name="T67" fmla="*/ 514 h 684"/>
                <a:gd name="T68" fmla="*/ 27 w 686"/>
                <a:gd name="T69" fmla="*/ 475 h 684"/>
                <a:gd name="T70" fmla="*/ 12 w 686"/>
                <a:gd name="T71" fmla="*/ 433 h 684"/>
                <a:gd name="T72" fmla="*/ 3 w 686"/>
                <a:gd name="T73" fmla="*/ 388 h 684"/>
                <a:gd name="T74" fmla="*/ 0 w 686"/>
                <a:gd name="T75" fmla="*/ 342 h 684"/>
                <a:gd name="T76" fmla="*/ 3 w 686"/>
                <a:gd name="T77" fmla="*/ 295 h 684"/>
                <a:gd name="T78" fmla="*/ 12 w 686"/>
                <a:gd name="T79" fmla="*/ 251 h 684"/>
                <a:gd name="T80" fmla="*/ 27 w 686"/>
                <a:gd name="T81" fmla="*/ 209 h 684"/>
                <a:gd name="T82" fmla="*/ 46 w 686"/>
                <a:gd name="T83" fmla="*/ 169 h 684"/>
                <a:gd name="T84" fmla="*/ 71 w 686"/>
                <a:gd name="T85" fmla="*/ 133 h 684"/>
                <a:gd name="T86" fmla="*/ 101 w 686"/>
                <a:gd name="T87" fmla="*/ 99 h 684"/>
                <a:gd name="T88" fmla="*/ 133 w 686"/>
                <a:gd name="T89" fmla="*/ 70 h 684"/>
                <a:gd name="T90" fmla="*/ 170 w 686"/>
                <a:gd name="T91" fmla="*/ 46 h 684"/>
                <a:gd name="T92" fmla="*/ 209 w 686"/>
                <a:gd name="T93" fmla="*/ 26 h 684"/>
                <a:gd name="T94" fmla="*/ 252 w 686"/>
                <a:gd name="T95" fmla="*/ 12 h 684"/>
                <a:gd name="T96" fmla="*/ 296 w 686"/>
                <a:gd name="T97" fmla="*/ 2 h 684"/>
                <a:gd name="T98" fmla="*/ 343 w 686"/>
                <a:gd name="T99" fmla="*/ 0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6" h="684">
                  <a:moveTo>
                    <a:pt x="343" y="0"/>
                  </a:moveTo>
                  <a:lnTo>
                    <a:pt x="343" y="0"/>
                  </a:lnTo>
                  <a:lnTo>
                    <a:pt x="390" y="2"/>
                  </a:lnTo>
                  <a:lnTo>
                    <a:pt x="434" y="12"/>
                  </a:lnTo>
                  <a:lnTo>
                    <a:pt x="477" y="26"/>
                  </a:lnTo>
                  <a:lnTo>
                    <a:pt x="517" y="46"/>
                  </a:lnTo>
                  <a:lnTo>
                    <a:pt x="553" y="70"/>
                  </a:lnTo>
                  <a:lnTo>
                    <a:pt x="586" y="99"/>
                  </a:lnTo>
                  <a:lnTo>
                    <a:pt x="615" y="133"/>
                  </a:lnTo>
                  <a:lnTo>
                    <a:pt x="640" y="169"/>
                  </a:lnTo>
                  <a:lnTo>
                    <a:pt x="659" y="209"/>
                  </a:lnTo>
                  <a:lnTo>
                    <a:pt x="674" y="251"/>
                  </a:lnTo>
                  <a:lnTo>
                    <a:pt x="683" y="295"/>
                  </a:lnTo>
                  <a:lnTo>
                    <a:pt x="686" y="342"/>
                  </a:lnTo>
                  <a:lnTo>
                    <a:pt x="683" y="388"/>
                  </a:lnTo>
                  <a:lnTo>
                    <a:pt x="674" y="433"/>
                  </a:lnTo>
                  <a:lnTo>
                    <a:pt x="659" y="475"/>
                  </a:lnTo>
                  <a:lnTo>
                    <a:pt x="640" y="514"/>
                  </a:lnTo>
                  <a:lnTo>
                    <a:pt x="615" y="551"/>
                  </a:lnTo>
                  <a:lnTo>
                    <a:pt x="586" y="583"/>
                  </a:lnTo>
                  <a:lnTo>
                    <a:pt x="553" y="612"/>
                  </a:lnTo>
                  <a:lnTo>
                    <a:pt x="517" y="637"/>
                  </a:lnTo>
                  <a:lnTo>
                    <a:pt x="477" y="657"/>
                  </a:lnTo>
                  <a:lnTo>
                    <a:pt x="434" y="672"/>
                  </a:lnTo>
                  <a:lnTo>
                    <a:pt x="390" y="680"/>
                  </a:lnTo>
                  <a:lnTo>
                    <a:pt x="343" y="684"/>
                  </a:lnTo>
                  <a:lnTo>
                    <a:pt x="296" y="680"/>
                  </a:lnTo>
                  <a:lnTo>
                    <a:pt x="252" y="672"/>
                  </a:lnTo>
                  <a:lnTo>
                    <a:pt x="209" y="657"/>
                  </a:lnTo>
                  <a:lnTo>
                    <a:pt x="170" y="637"/>
                  </a:lnTo>
                  <a:lnTo>
                    <a:pt x="133" y="612"/>
                  </a:lnTo>
                  <a:lnTo>
                    <a:pt x="101" y="583"/>
                  </a:lnTo>
                  <a:lnTo>
                    <a:pt x="71" y="551"/>
                  </a:lnTo>
                  <a:lnTo>
                    <a:pt x="46" y="514"/>
                  </a:lnTo>
                  <a:lnTo>
                    <a:pt x="27" y="475"/>
                  </a:lnTo>
                  <a:lnTo>
                    <a:pt x="12" y="433"/>
                  </a:lnTo>
                  <a:lnTo>
                    <a:pt x="3" y="388"/>
                  </a:lnTo>
                  <a:lnTo>
                    <a:pt x="0" y="342"/>
                  </a:lnTo>
                  <a:lnTo>
                    <a:pt x="3" y="295"/>
                  </a:lnTo>
                  <a:lnTo>
                    <a:pt x="12" y="251"/>
                  </a:lnTo>
                  <a:lnTo>
                    <a:pt x="27" y="209"/>
                  </a:lnTo>
                  <a:lnTo>
                    <a:pt x="46" y="169"/>
                  </a:lnTo>
                  <a:lnTo>
                    <a:pt x="71" y="133"/>
                  </a:lnTo>
                  <a:lnTo>
                    <a:pt x="101" y="99"/>
                  </a:lnTo>
                  <a:lnTo>
                    <a:pt x="133" y="70"/>
                  </a:lnTo>
                  <a:lnTo>
                    <a:pt x="170" y="46"/>
                  </a:lnTo>
                  <a:lnTo>
                    <a:pt x="209" y="26"/>
                  </a:lnTo>
                  <a:lnTo>
                    <a:pt x="252" y="12"/>
                  </a:lnTo>
                  <a:lnTo>
                    <a:pt x="296" y="2"/>
                  </a:lnTo>
                  <a:lnTo>
                    <a:pt x="34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7"/>
            <p:cNvSpPr>
              <a:spLocks/>
            </p:cNvSpPr>
            <p:nvPr/>
          </p:nvSpPr>
          <p:spPr bwMode="auto">
            <a:xfrm>
              <a:off x="542" y="870"/>
              <a:ext cx="98" cy="97"/>
            </a:xfrm>
            <a:custGeom>
              <a:avLst/>
              <a:gdLst>
                <a:gd name="T0" fmla="*/ 343 w 686"/>
                <a:gd name="T1" fmla="*/ 0 h 684"/>
                <a:gd name="T2" fmla="*/ 343 w 686"/>
                <a:gd name="T3" fmla="*/ 0 h 684"/>
                <a:gd name="T4" fmla="*/ 390 w 686"/>
                <a:gd name="T5" fmla="*/ 2 h 684"/>
                <a:gd name="T6" fmla="*/ 434 w 686"/>
                <a:gd name="T7" fmla="*/ 12 h 684"/>
                <a:gd name="T8" fmla="*/ 477 w 686"/>
                <a:gd name="T9" fmla="*/ 26 h 684"/>
                <a:gd name="T10" fmla="*/ 517 w 686"/>
                <a:gd name="T11" fmla="*/ 46 h 684"/>
                <a:gd name="T12" fmla="*/ 553 w 686"/>
                <a:gd name="T13" fmla="*/ 70 h 684"/>
                <a:gd name="T14" fmla="*/ 587 w 686"/>
                <a:gd name="T15" fmla="*/ 99 h 684"/>
                <a:gd name="T16" fmla="*/ 615 w 686"/>
                <a:gd name="T17" fmla="*/ 133 h 684"/>
                <a:gd name="T18" fmla="*/ 640 w 686"/>
                <a:gd name="T19" fmla="*/ 169 h 684"/>
                <a:gd name="T20" fmla="*/ 659 w 686"/>
                <a:gd name="T21" fmla="*/ 209 h 684"/>
                <a:gd name="T22" fmla="*/ 675 w 686"/>
                <a:gd name="T23" fmla="*/ 251 h 684"/>
                <a:gd name="T24" fmla="*/ 683 w 686"/>
                <a:gd name="T25" fmla="*/ 295 h 684"/>
                <a:gd name="T26" fmla="*/ 686 w 686"/>
                <a:gd name="T27" fmla="*/ 342 h 684"/>
                <a:gd name="T28" fmla="*/ 683 w 686"/>
                <a:gd name="T29" fmla="*/ 388 h 684"/>
                <a:gd name="T30" fmla="*/ 675 w 686"/>
                <a:gd name="T31" fmla="*/ 433 h 684"/>
                <a:gd name="T32" fmla="*/ 659 w 686"/>
                <a:gd name="T33" fmla="*/ 475 h 684"/>
                <a:gd name="T34" fmla="*/ 640 w 686"/>
                <a:gd name="T35" fmla="*/ 514 h 684"/>
                <a:gd name="T36" fmla="*/ 615 w 686"/>
                <a:gd name="T37" fmla="*/ 551 h 684"/>
                <a:gd name="T38" fmla="*/ 587 w 686"/>
                <a:gd name="T39" fmla="*/ 583 h 684"/>
                <a:gd name="T40" fmla="*/ 553 w 686"/>
                <a:gd name="T41" fmla="*/ 612 h 684"/>
                <a:gd name="T42" fmla="*/ 517 w 686"/>
                <a:gd name="T43" fmla="*/ 637 h 684"/>
                <a:gd name="T44" fmla="*/ 477 w 686"/>
                <a:gd name="T45" fmla="*/ 657 h 684"/>
                <a:gd name="T46" fmla="*/ 434 w 686"/>
                <a:gd name="T47" fmla="*/ 672 h 684"/>
                <a:gd name="T48" fmla="*/ 390 w 686"/>
                <a:gd name="T49" fmla="*/ 680 h 684"/>
                <a:gd name="T50" fmla="*/ 343 w 686"/>
                <a:gd name="T51" fmla="*/ 684 h 684"/>
                <a:gd name="T52" fmla="*/ 296 w 686"/>
                <a:gd name="T53" fmla="*/ 680 h 684"/>
                <a:gd name="T54" fmla="*/ 252 w 686"/>
                <a:gd name="T55" fmla="*/ 672 h 684"/>
                <a:gd name="T56" fmla="*/ 210 w 686"/>
                <a:gd name="T57" fmla="*/ 657 h 684"/>
                <a:gd name="T58" fmla="*/ 170 w 686"/>
                <a:gd name="T59" fmla="*/ 637 h 684"/>
                <a:gd name="T60" fmla="*/ 134 w 686"/>
                <a:gd name="T61" fmla="*/ 612 h 684"/>
                <a:gd name="T62" fmla="*/ 101 w 686"/>
                <a:gd name="T63" fmla="*/ 583 h 684"/>
                <a:gd name="T64" fmla="*/ 72 w 686"/>
                <a:gd name="T65" fmla="*/ 551 h 684"/>
                <a:gd name="T66" fmla="*/ 47 w 686"/>
                <a:gd name="T67" fmla="*/ 514 h 684"/>
                <a:gd name="T68" fmla="*/ 27 w 686"/>
                <a:gd name="T69" fmla="*/ 475 h 684"/>
                <a:gd name="T70" fmla="*/ 12 w 686"/>
                <a:gd name="T71" fmla="*/ 433 h 684"/>
                <a:gd name="T72" fmla="*/ 3 w 686"/>
                <a:gd name="T73" fmla="*/ 388 h 684"/>
                <a:gd name="T74" fmla="*/ 0 w 686"/>
                <a:gd name="T75" fmla="*/ 342 h 684"/>
                <a:gd name="T76" fmla="*/ 3 w 686"/>
                <a:gd name="T77" fmla="*/ 295 h 684"/>
                <a:gd name="T78" fmla="*/ 12 w 686"/>
                <a:gd name="T79" fmla="*/ 251 h 684"/>
                <a:gd name="T80" fmla="*/ 27 w 686"/>
                <a:gd name="T81" fmla="*/ 209 h 684"/>
                <a:gd name="T82" fmla="*/ 47 w 686"/>
                <a:gd name="T83" fmla="*/ 169 h 684"/>
                <a:gd name="T84" fmla="*/ 72 w 686"/>
                <a:gd name="T85" fmla="*/ 133 h 684"/>
                <a:gd name="T86" fmla="*/ 101 w 686"/>
                <a:gd name="T87" fmla="*/ 99 h 684"/>
                <a:gd name="T88" fmla="*/ 134 w 686"/>
                <a:gd name="T89" fmla="*/ 70 h 684"/>
                <a:gd name="T90" fmla="*/ 170 w 686"/>
                <a:gd name="T91" fmla="*/ 46 h 684"/>
                <a:gd name="T92" fmla="*/ 210 w 686"/>
                <a:gd name="T93" fmla="*/ 26 h 684"/>
                <a:gd name="T94" fmla="*/ 252 w 686"/>
                <a:gd name="T95" fmla="*/ 12 h 684"/>
                <a:gd name="T96" fmla="*/ 296 w 686"/>
                <a:gd name="T97" fmla="*/ 2 h 684"/>
                <a:gd name="T98" fmla="*/ 343 w 686"/>
                <a:gd name="T99" fmla="*/ 0 h 6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686" h="684">
                  <a:moveTo>
                    <a:pt x="343" y="0"/>
                  </a:moveTo>
                  <a:lnTo>
                    <a:pt x="343" y="0"/>
                  </a:lnTo>
                  <a:lnTo>
                    <a:pt x="390" y="2"/>
                  </a:lnTo>
                  <a:lnTo>
                    <a:pt x="434" y="12"/>
                  </a:lnTo>
                  <a:lnTo>
                    <a:pt x="477" y="26"/>
                  </a:lnTo>
                  <a:lnTo>
                    <a:pt x="517" y="46"/>
                  </a:lnTo>
                  <a:lnTo>
                    <a:pt x="553" y="70"/>
                  </a:lnTo>
                  <a:lnTo>
                    <a:pt x="587" y="99"/>
                  </a:lnTo>
                  <a:lnTo>
                    <a:pt x="615" y="133"/>
                  </a:lnTo>
                  <a:lnTo>
                    <a:pt x="640" y="169"/>
                  </a:lnTo>
                  <a:lnTo>
                    <a:pt x="659" y="209"/>
                  </a:lnTo>
                  <a:lnTo>
                    <a:pt x="675" y="251"/>
                  </a:lnTo>
                  <a:lnTo>
                    <a:pt x="683" y="295"/>
                  </a:lnTo>
                  <a:lnTo>
                    <a:pt x="686" y="342"/>
                  </a:lnTo>
                  <a:lnTo>
                    <a:pt x="683" y="388"/>
                  </a:lnTo>
                  <a:lnTo>
                    <a:pt x="675" y="433"/>
                  </a:lnTo>
                  <a:lnTo>
                    <a:pt x="659" y="475"/>
                  </a:lnTo>
                  <a:lnTo>
                    <a:pt x="640" y="514"/>
                  </a:lnTo>
                  <a:lnTo>
                    <a:pt x="615" y="551"/>
                  </a:lnTo>
                  <a:lnTo>
                    <a:pt x="587" y="583"/>
                  </a:lnTo>
                  <a:lnTo>
                    <a:pt x="553" y="612"/>
                  </a:lnTo>
                  <a:lnTo>
                    <a:pt x="517" y="637"/>
                  </a:lnTo>
                  <a:lnTo>
                    <a:pt x="477" y="657"/>
                  </a:lnTo>
                  <a:lnTo>
                    <a:pt x="434" y="672"/>
                  </a:lnTo>
                  <a:lnTo>
                    <a:pt x="390" y="680"/>
                  </a:lnTo>
                  <a:lnTo>
                    <a:pt x="343" y="684"/>
                  </a:lnTo>
                  <a:lnTo>
                    <a:pt x="296" y="680"/>
                  </a:lnTo>
                  <a:lnTo>
                    <a:pt x="252" y="672"/>
                  </a:lnTo>
                  <a:lnTo>
                    <a:pt x="210" y="657"/>
                  </a:lnTo>
                  <a:lnTo>
                    <a:pt x="170" y="637"/>
                  </a:lnTo>
                  <a:lnTo>
                    <a:pt x="134" y="612"/>
                  </a:lnTo>
                  <a:lnTo>
                    <a:pt x="101" y="583"/>
                  </a:lnTo>
                  <a:lnTo>
                    <a:pt x="72" y="551"/>
                  </a:lnTo>
                  <a:lnTo>
                    <a:pt x="47" y="514"/>
                  </a:lnTo>
                  <a:lnTo>
                    <a:pt x="27" y="475"/>
                  </a:lnTo>
                  <a:lnTo>
                    <a:pt x="12" y="433"/>
                  </a:lnTo>
                  <a:lnTo>
                    <a:pt x="3" y="388"/>
                  </a:lnTo>
                  <a:lnTo>
                    <a:pt x="0" y="342"/>
                  </a:lnTo>
                  <a:lnTo>
                    <a:pt x="3" y="295"/>
                  </a:lnTo>
                  <a:lnTo>
                    <a:pt x="12" y="251"/>
                  </a:lnTo>
                  <a:lnTo>
                    <a:pt x="27" y="209"/>
                  </a:lnTo>
                  <a:lnTo>
                    <a:pt x="47" y="169"/>
                  </a:lnTo>
                  <a:lnTo>
                    <a:pt x="72" y="133"/>
                  </a:lnTo>
                  <a:lnTo>
                    <a:pt x="101" y="99"/>
                  </a:lnTo>
                  <a:lnTo>
                    <a:pt x="134" y="70"/>
                  </a:lnTo>
                  <a:lnTo>
                    <a:pt x="170" y="46"/>
                  </a:lnTo>
                  <a:lnTo>
                    <a:pt x="210" y="26"/>
                  </a:lnTo>
                  <a:lnTo>
                    <a:pt x="252" y="12"/>
                  </a:lnTo>
                  <a:lnTo>
                    <a:pt x="296" y="2"/>
                  </a:lnTo>
                  <a:lnTo>
                    <a:pt x="34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8"/>
            <p:cNvSpPr>
              <a:spLocks/>
            </p:cNvSpPr>
            <p:nvPr/>
          </p:nvSpPr>
          <p:spPr bwMode="auto">
            <a:xfrm>
              <a:off x="474" y="970"/>
              <a:ext cx="234" cy="396"/>
            </a:xfrm>
            <a:custGeom>
              <a:avLst/>
              <a:gdLst>
                <a:gd name="T0" fmla="*/ 1240 w 1642"/>
                <a:gd name="T1" fmla="*/ 3 h 2771"/>
                <a:gd name="T2" fmla="*/ 1321 w 1642"/>
                <a:gd name="T3" fmla="*/ 41 h 2771"/>
                <a:gd name="T4" fmla="*/ 1372 w 1642"/>
                <a:gd name="T5" fmla="*/ 114 h 2771"/>
                <a:gd name="T6" fmla="*/ 1642 w 1642"/>
                <a:gd name="T7" fmla="*/ 1059 h 2771"/>
                <a:gd name="T8" fmla="*/ 1640 w 1642"/>
                <a:gd name="T9" fmla="*/ 1126 h 2771"/>
                <a:gd name="T10" fmla="*/ 1601 w 1642"/>
                <a:gd name="T11" fmla="*/ 1208 h 2771"/>
                <a:gd name="T12" fmla="*/ 1529 w 1642"/>
                <a:gd name="T13" fmla="*/ 1258 h 2771"/>
                <a:gd name="T14" fmla="*/ 1437 w 1642"/>
                <a:gd name="T15" fmla="*/ 1266 h 2771"/>
                <a:gd name="T16" fmla="*/ 1357 w 1642"/>
                <a:gd name="T17" fmla="*/ 1229 h 2771"/>
                <a:gd name="T18" fmla="*/ 1306 w 1642"/>
                <a:gd name="T19" fmla="*/ 1157 h 2771"/>
                <a:gd name="T20" fmla="*/ 1372 w 1642"/>
                <a:gd name="T21" fmla="*/ 1611 h 2771"/>
                <a:gd name="T22" fmla="*/ 1381 w 1642"/>
                <a:gd name="T23" fmla="*/ 1706 h 2771"/>
                <a:gd name="T24" fmla="*/ 1343 w 1642"/>
                <a:gd name="T25" fmla="*/ 1787 h 2771"/>
                <a:gd name="T26" fmla="*/ 1270 w 1642"/>
                <a:gd name="T27" fmla="*/ 1838 h 2771"/>
                <a:gd name="T28" fmla="*/ 1191 w 1642"/>
                <a:gd name="T29" fmla="*/ 1849 h 2771"/>
                <a:gd name="T30" fmla="*/ 1180 w 1642"/>
                <a:gd name="T31" fmla="*/ 2658 h 2771"/>
                <a:gd name="T32" fmla="*/ 1129 w 1642"/>
                <a:gd name="T33" fmla="*/ 2731 h 2771"/>
                <a:gd name="T34" fmla="*/ 1048 w 1642"/>
                <a:gd name="T35" fmla="*/ 2769 h 2771"/>
                <a:gd name="T36" fmla="*/ 956 w 1642"/>
                <a:gd name="T37" fmla="*/ 2760 h 2771"/>
                <a:gd name="T38" fmla="*/ 883 w 1642"/>
                <a:gd name="T39" fmla="*/ 2709 h 2771"/>
                <a:gd name="T40" fmla="*/ 845 w 1642"/>
                <a:gd name="T41" fmla="*/ 2629 h 2771"/>
                <a:gd name="T42" fmla="*/ 801 w 1642"/>
                <a:gd name="T43" fmla="*/ 1849 h 2771"/>
                <a:gd name="T44" fmla="*/ 790 w 1642"/>
                <a:gd name="T45" fmla="*/ 2658 h 2771"/>
                <a:gd name="T46" fmla="*/ 739 w 1642"/>
                <a:gd name="T47" fmla="*/ 2731 h 2771"/>
                <a:gd name="T48" fmla="*/ 657 w 1642"/>
                <a:gd name="T49" fmla="*/ 2769 h 2771"/>
                <a:gd name="T50" fmla="*/ 566 w 1642"/>
                <a:gd name="T51" fmla="*/ 2760 h 2771"/>
                <a:gd name="T52" fmla="*/ 493 w 1642"/>
                <a:gd name="T53" fmla="*/ 2709 h 2771"/>
                <a:gd name="T54" fmla="*/ 455 w 1642"/>
                <a:gd name="T55" fmla="*/ 2629 h 2771"/>
                <a:gd name="T56" fmla="*/ 433 w 1642"/>
                <a:gd name="T57" fmla="*/ 1849 h 2771"/>
                <a:gd name="T58" fmla="*/ 345 w 1642"/>
                <a:gd name="T59" fmla="*/ 1825 h 2771"/>
                <a:gd name="T60" fmla="*/ 282 w 1642"/>
                <a:gd name="T61" fmla="*/ 1762 h 2771"/>
                <a:gd name="T62" fmla="*/ 258 w 1642"/>
                <a:gd name="T63" fmla="*/ 1676 h 2771"/>
                <a:gd name="T64" fmla="*/ 457 w 1642"/>
                <a:gd name="T65" fmla="*/ 715 h 2771"/>
                <a:gd name="T66" fmla="*/ 324 w 1642"/>
                <a:gd name="T67" fmla="*/ 1185 h 2771"/>
                <a:gd name="T68" fmla="*/ 262 w 1642"/>
                <a:gd name="T69" fmla="*/ 1245 h 2771"/>
                <a:gd name="T70" fmla="*/ 175 w 1642"/>
                <a:gd name="T71" fmla="*/ 1269 h 2771"/>
                <a:gd name="T72" fmla="*/ 87 w 1642"/>
                <a:gd name="T73" fmla="*/ 1245 h 2771"/>
                <a:gd name="T74" fmla="*/ 24 w 1642"/>
                <a:gd name="T75" fmla="*/ 1183 h 2771"/>
                <a:gd name="T76" fmla="*/ 0 w 1642"/>
                <a:gd name="T77" fmla="*/ 1095 h 2771"/>
                <a:gd name="T78" fmla="*/ 2 w 1642"/>
                <a:gd name="T79" fmla="*/ 1046 h 2771"/>
                <a:gd name="T80" fmla="*/ 283 w 1642"/>
                <a:gd name="T81" fmla="*/ 87 h 2771"/>
                <a:gd name="T82" fmla="*/ 345 w 1642"/>
                <a:gd name="T83" fmla="*/ 24 h 2771"/>
                <a:gd name="T84" fmla="*/ 433 w 1642"/>
                <a:gd name="T85" fmla="*/ 0 h 2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642" h="2771">
                  <a:moveTo>
                    <a:pt x="433" y="0"/>
                  </a:moveTo>
                  <a:lnTo>
                    <a:pt x="1210" y="0"/>
                  </a:lnTo>
                  <a:lnTo>
                    <a:pt x="1240" y="3"/>
                  </a:lnTo>
                  <a:lnTo>
                    <a:pt x="1270" y="11"/>
                  </a:lnTo>
                  <a:lnTo>
                    <a:pt x="1297" y="24"/>
                  </a:lnTo>
                  <a:lnTo>
                    <a:pt x="1321" y="41"/>
                  </a:lnTo>
                  <a:lnTo>
                    <a:pt x="1343" y="62"/>
                  </a:lnTo>
                  <a:lnTo>
                    <a:pt x="1360" y="87"/>
                  </a:lnTo>
                  <a:lnTo>
                    <a:pt x="1372" y="114"/>
                  </a:lnTo>
                  <a:lnTo>
                    <a:pt x="1381" y="144"/>
                  </a:lnTo>
                  <a:lnTo>
                    <a:pt x="1640" y="1046"/>
                  </a:lnTo>
                  <a:lnTo>
                    <a:pt x="1642" y="1059"/>
                  </a:lnTo>
                  <a:lnTo>
                    <a:pt x="1640" y="1071"/>
                  </a:lnTo>
                  <a:lnTo>
                    <a:pt x="1642" y="1095"/>
                  </a:lnTo>
                  <a:lnTo>
                    <a:pt x="1640" y="1126"/>
                  </a:lnTo>
                  <a:lnTo>
                    <a:pt x="1632" y="1156"/>
                  </a:lnTo>
                  <a:lnTo>
                    <a:pt x="1619" y="1183"/>
                  </a:lnTo>
                  <a:lnTo>
                    <a:pt x="1601" y="1208"/>
                  </a:lnTo>
                  <a:lnTo>
                    <a:pt x="1581" y="1228"/>
                  </a:lnTo>
                  <a:lnTo>
                    <a:pt x="1557" y="1245"/>
                  </a:lnTo>
                  <a:lnTo>
                    <a:pt x="1529" y="1258"/>
                  </a:lnTo>
                  <a:lnTo>
                    <a:pt x="1500" y="1266"/>
                  </a:lnTo>
                  <a:lnTo>
                    <a:pt x="1469" y="1269"/>
                  </a:lnTo>
                  <a:lnTo>
                    <a:pt x="1437" y="1266"/>
                  </a:lnTo>
                  <a:lnTo>
                    <a:pt x="1409" y="1258"/>
                  </a:lnTo>
                  <a:lnTo>
                    <a:pt x="1382" y="1245"/>
                  </a:lnTo>
                  <a:lnTo>
                    <a:pt x="1357" y="1229"/>
                  </a:lnTo>
                  <a:lnTo>
                    <a:pt x="1336" y="1208"/>
                  </a:lnTo>
                  <a:lnTo>
                    <a:pt x="1319" y="1184"/>
                  </a:lnTo>
                  <a:lnTo>
                    <a:pt x="1306" y="1157"/>
                  </a:lnTo>
                  <a:lnTo>
                    <a:pt x="1297" y="1126"/>
                  </a:lnTo>
                  <a:lnTo>
                    <a:pt x="1186" y="715"/>
                  </a:lnTo>
                  <a:lnTo>
                    <a:pt x="1372" y="1611"/>
                  </a:lnTo>
                  <a:lnTo>
                    <a:pt x="1381" y="1642"/>
                  </a:lnTo>
                  <a:lnTo>
                    <a:pt x="1384" y="1676"/>
                  </a:lnTo>
                  <a:lnTo>
                    <a:pt x="1381" y="1706"/>
                  </a:lnTo>
                  <a:lnTo>
                    <a:pt x="1373" y="1735"/>
                  </a:lnTo>
                  <a:lnTo>
                    <a:pt x="1360" y="1762"/>
                  </a:lnTo>
                  <a:lnTo>
                    <a:pt x="1343" y="1787"/>
                  </a:lnTo>
                  <a:lnTo>
                    <a:pt x="1322" y="1808"/>
                  </a:lnTo>
                  <a:lnTo>
                    <a:pt x="1297" y="1825"/>
                  </a:lnTo>
                  <a:lnTo>
                    <a:pt x="1270" y="1838"/>
                  </a:lnTo>
                  <a:lnTo>
                    <a:pt x="1240" y="1846"/>
                  </a:lnTo>
                  <a:lnTo>
                    <a:pt x="1210" y="1849"/>
                  </a:lnTo>
                  <a:lnTo>
                    <a:pt x="1191" y="1849"/>
                  </a:lnTo>
                  <a:lnTo>
                    <a:pt x="1191" y="2598"/>
                  </a:lnTo>
                  <a:lnTo>
                    <a:pt x="1187" y="2629"/>
                  </a:lnTo>
                  <a:lnTo>
                    <a:pt x="1180" y="2658"/>
                  </a:lnTo>
                  <a:lnTo>
                    <a:pt x="1167" y="2685"/>
                  </a:lnTo>
                  <a:lnTo>
                    <a:pt x="1149" y="2709"/>
                  </a:lnTo>
                  <a:lnTo>
                    <a:pt x="1129" y="2731"/>
                  </a:lnTo>
                  <a:lnTo>
                    <a:pt x="1105" y="2748"/>
                  </a:lnTo>
                  <a:lnTo>
                    <a:pt x="1078" y="2760"/>
                  </a:lnTo>
                  <a:lnTo>
                    <a:pt x="1048" y="2769"/>
                  </a:lnTo>
                  <a:lnTo>
                    <a:pt x="1017" y="2771"/>
                  </a:lnTo>
                  <a:lnTo>
                    <a:pt x="985" y="2769"/>
                  </a:lnTo>
                  <a:lnTo>
                    <a:pt x="956" y="2760"/>
                  </a:lnTo>
                  <a:lnTo>
                    <a:pt x="929" y="2748"/>
                  </a:lnTo>
                  <a:lnTo>
                    <a:pt x="904" y="2731"/>
                  </a:lnTo>
                  <a:lnTo>
                    <a:pt x="883" y="2709"/>
                  </a:lnTo>
                  <a:lnTo>
                    <a:pt x="866" y="2685"/>
                  </a:lnTo>
                  <a:lnTo>
                    <a:pt x="853" y="2658"/>
                  </a:lnTo>
                  <a:lnTo>
                    <a:pt x="845" y="2629"/>
                  </a:lnTo>
                  <a:lnTo>
                    <a:pt x="842" y="2598"/>
                  </a:lnTo>
                  <a:lnTo>
                    <a:pt x="842" y="1849"/>
                  </a:lnTo>
                  <a:lnTo>
                    <a:pt x="801" y="1849"/>
                  </a:lnTo>
                  <a:lnTo>
                    <a:pt x="801" y="2598"/>
                  </a:lnTo>
                  <a:lnTo>
                    <a:pt x="798" y="2629"/>
                  </a:lnTo>
                  <a:lnTo>
                    <a:pt x="790" y="2658"/>
                  </a:lnTo>
                  <a:lnTo>
                    <a:pt x="777" y="2685"/>
                  </a:lnTo>
                  <a:lnTo>
                    <a:pt x="759" y="2709"/>
                  </a:lnTo>
                  <a:lnTo>
                    <a:pt x="739" y="2731"/>
                  </a:lnTo>
                  <a:lnTo>
                    <a:pt x="715" y="2748"/>
                  </a:lnTo>
                  <a:lnTo>
                    <a:pt x="688" y="2760"/>
                  </a:lnTo>
                  <a:lnTo>
                    <a:pt x="657" y="2769"/>
                  </a:lnTo>
                  <a:lnTo>
                    <a:pt x="627" y="2771"/>
                  </a:lnTo>
                  <a:lnTo>
                    <a:pt x="595" y="2769"/>
                  </a:lnTo>
                  <a:lnTo>
                    <a:pt x="566" y="2760"/>
                  </a:lnTo>
                  <a:lnTo>
                    <a:pt x="539" y="2748"/>
                  </a:lnTo>
                  <a:lnTo>
                    <a:pt x="514" y="2731"/>
                  </a:lnTo>
                  <a:lnTo>
                    <a:pt x="493" y="2709"/>
                  </a:lnTo>
                  <a:lnTo>
                    <a:pt x="476" y="2685"/>
                  </a:lnTo>
                  <a:lnTo>
                    <a:pt x="463" y="2658"/>
                  </a:lnTo>
                  <a:lnTo>
                    <a:pt x="455" y="2629"/>
                  </a:lnTo>
                  <a:lnTo>
                    <a:pt x="452" y="2598"/>
                  </a:lnTo>
                  <a:lnTo>
                    <a:pt x="452" y="1849"/>
                  </a:lnTo>
                  <a:lnTo>
                    <a:pt x="433" y="1849"/>
                  </a:lnTo>
                  <a:lnTo>
                    <a:pt x="402" y="1846"/>
                  </a:lnTo>
                  <a:lnTo>
                    <a:pt x="373" y="1838"/>
                  </a:lnTo>
                  <a:lnTo>
                    <a:pt x="345" y="1825"/>
                  </a:lnTo>
                  <a:lnTo>
                    <a:pt x="321" y="1808"/>
                  </a:lnTo>
                  <a:lnTo>
                    <a:pt x="300" y="1787"/>
                  </a:lnTo>
                  <a:lnTo>
                    <a:pt x="282" y="1762"/>
                  </a:lnTo>
                  <a:lnTo>
                    <a:pt x="269" y="1735"/>
                  </a:lnTo>
                  <a:lnTo>
                    <a:pt x="262" y="1706"/>
                  </a:lnTo>
                  <a:lnTo>
                    <a:pt x="258" y="1676"/>
                  </a:lnTo>
                  <a:lnTo>
                    <a:pt x="262" y="1643"/>
                  </a:lnTo>
                  <a:lnTo>
                    <a:pt x="271" y="1612"/>
                  </a:lnTo>
                  <a:lnTo>
                    <a:pt x="457" y="715"/>
                  </a:lnTo>
                  <a:lnTo>
                    <a:pt x="344" y="1131"/>
                  </a:lnTo>
                  <a:lnTo>
                    <a:pt x="337" y="1159"/>
                  </a:lnTo>
                  <a:lnTo>
                    <a:pt x="324" y="1185"/>
                  </a:lnTo>
                  <a:lnTo>
                    <a:pt x="306" y="1209"/>
                  </a:lnTo>
                  <a:lnTo>
                    <a:pt x="286" y="1229"/>
                  </a:lnTo>
                  <a:lnTo>
                    <a:pt x="262" y="1245"/>
                  </a:lnTo>
                  <a:lnTo>
                    <a:pt x="235" y="1258"/>
                  </a:lnTo>
                  <a:lnTo>
                    <a:pt x="205" y="1266"/>
                  </a:lnTo>
                  <a:lnTo>
                    <a:pt x="175" y="1269"/>
                  </a:lnTo>
                  <a:lnTo>
                    <a:pt x="143" y="1266"/>
                  </a:lnTo>
                  <a:lnTo>
                    <a:pt x="114" y="1258"/>
                  </a:lnTo>
                  <a:lnTo>
                    <a:pt x="87" y="1245"/>
                  </a:lnTo>
                  <a:lnTo>
                    <a:pt x="62" y="1228"/>
                  </a:lnTo>
                  <a:lnTo>
                    <a:pt x="41" y="1208"/>
                  </a:lnTo>
                  <a:lnTo>
                    <a:pt x="24" y="1183"/>
                  </a:lnTo>
                  <a:lnTo>
                    <a:pt x="11" y="1156"/>
                  </a:lnTo>
                  <a:lnTo>
                    <a:pt x="3" y="1126"/>
                  </a:lnTo>
                  <a:lnTo>
                    <a:pt x="0" y="1095"/>
                  </a:lnTo>
                  <a:lnTo>
                    <a:pt x="2" y="1071"/>
                  </a:lnTo>
                  <a:lnTo>
                    <a:pt x="0" y="1059"/>
                  </a:lnTo>
                  <a:lnTo>
                    <a:pt x="2" y="1046"/>
                  </a:lnTo>
                  <a:lnTo>
                    <a:pt x="262" y="144"/>
                  </a:lnTo>
                  <a:lnTo>
                    <a:pt x="270" y="114"/>
                  </a:lnTo>
                  <a:lnTo>
                    <a:pt x="283" y="87"/>
                  </a:lnTo>
                  <a:lnTo>
                    <a:pt x="301" y="62"/>
                  </a:lnTo>
                  <a:lnTo>
                    <a:pt x="321" y="41"/>
                  </a:lnTo>
                  <a:lnTo>
                    <a:pt x="345" y="24"/>
                  </a:lnTo>
                  <a:lnTo>
                    <a:pt x="373" y="11"/>
                  </a:lnTo>
                  <a:lnTo>
                    <a:pt x="402" y="3"/>
                  </a:lnTo>
                  <a:lnTo>
                    <a:pt x="43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9"/>
            <p:cNvSpPr>
              <a:spLocks/>
            </p:cNvSpPr>
            <p:nvPr/>
          </p:nvSpPr>
          <p:spPr bwMode="auto">
            <a:xfrm>
              <a:off x="714" y="970"/>
              <a:ext cx="235" cy="396"/>
            </a:xfrm>
            <a:custGeom>
              <a:avLst/>
              <a:gdLst>
                <a:gd name="T0" fmla="*/ 1299 w 1642"/>
                <a:gd name="T1" fmla="*/ 0 h 2771"/>
                <a:gd name="T2" fmla="*/ 1360 w 1642"/>
                <a:gd name="T3" fmla="*/ 11 h 2771"/>
                <a:gd name="T4" fmla="*/ 1412 w 1642"/>
                <a:gd name="T5" fmla="*/ 41 h 2771"/>
                <a:gd name="T6" fmla="*/ 1450 w 1642"/>
                <a:gd name="T7" fmla="*/ 88 h 2771"/>
                <a:gd name="T8" fmla="*/ 1471 w 1642"/>
                <a:gd name="T9" fmla="*/ 146 h 2771"/>
                <a:gd name="T10" fmla="*/ 1642 w 1642"/>
                <a:gd name="T11" fmla="*/ 1060 h 2771"/>
                <a:gd name="T12" fmla="*/ 1642 w 1642"/>
                <a:gd name="T13" fmla="*/ 1095 h 2771"/>
                <a:gd name="T14" fmla="*/ 1631 w 1642"/>
                <a:gd name="T15" fmla="*/ 1156 h 2771"/>
                <a:gd name="T16" fmla="*/ 1601 w 1642"/>
                <a:gd name="T17" fmla="*/ 1208 h 2771"/>
                <a:gd name="T18" fmla="*/ 1556 w 1642"/>
                <a:gd name="T19" fmla="*/ 1245 h 2771"/>
                <a:gd name="T20" fmla="*/ 1499 w 1642"/>
                <a:gd name="T21" fmla="*/ 1266 h 2771"/>
                <a:gd name="T22" fmla="*/ 1437 w 1642"/>
                <a:gd name="T23" fmla="*/ 1266 h 2771"/>
                <a:gd name="T24" fmla="*/ 1382 w 1642"/>
                <a:gd name="T25" fmla="*/ 1245 h 2771"/>
                <a:gd name="T26" fmla="*/ 1336 w 1642"/>
                <a:gd name="T27" fmla="*/ 1208 h 2771"/>
                <a:gd name="T28" fmla="*/ 1305 w 1642"/>
                <a:gd name="T29" fmla="*/ 1157 h 2771"/>
                <a:gd name="T30" fmla="*/ 1189 w 1642"/>
                <a:gd name="T31" fmla="*/ 453 h 2771"/>
                <a:gd name="T32" fmla="*/ 1187 w 1642"/>
                <a:gd name="T33" fmla="*/ 2629 h 2771"/>
                <a:gd name="T34" fmla="*/ 1166 w 1642"/>
                <a:gd name="T35" fmla="*/ 2685 h 2771"/>
                <a:gd name="T36" fmla="*/ 1128 w 1642"/>
                <a:gd name="T37" fmla="*/ 2731 h 2771"/>
                <a:gd name="T38" fmla="*/ 1076 w 1642"/>
                <a:gd name="T39" fmla="*/ 2760 h 2771"/>
                <a:gd name="T40" fmla="*/ 1017 w 1642"/>
                <a:gd name="T41" fmla="*/ 2771 h 2771"/>
                <a:gd name="T42" fmla="*/ 956 w 1642"/>
                <a:gd name="T43" fmla="*/ 2760 h 2771"/>
                <a:gd name="T44" fmla="*/ 904 w 1642"/>
                <a:gd name="T45" fmla="*/ 2731 h 2771"/>
                <a:gd name="T46" fmla="*/ 866 w 1642"/>
                <a:gd name="T47" fmla="*/ 2685 h 2771"/>
                <a:gd name="T48" fmla="*/ 845 w 1642"/>
                <a:gd name="T49" fmla="*/ 2629 h 2771"/>
                <a:gd name="T50" fmla="*/ 842 w 1642"/>
                <a:gd name="T51" fmla="*/ 1536 h 2771"/>
                <a:gd name="T52" fmla="*/ 800 w 1642"/>
                <a:gd name="T53" fmla="*/ 2598 h 2771"/>
                <a:gd name="T54" fmla="*/ 789 w 1642"/>
                <a:gd name="T55" fmla="*/ 2658 h 2771"/>
                <a:gd name="T56" fmla="*/ 759 w 1642"/>
                <a:gd name="T57" fmla="*/ 2709 h 2771"/>
                <a:gd name="T58" fmla="*/ 713 w 1642"/>
                <a:gd name="T59" fmla="*/ 2748 h 2771"/>
                <a:gd name="T60" fmla="*/ 657 w 1642"/>
                <a:gd name="T61" fmla="*/ 2769 h 2771"/>
                <a:gd name="T62" fmla="*/ 595 w 1642"/>
                <a:gd name="T63" fmla="*/ 2769 h 2771"/>
                <a:gd name="T64" fmla="*/ 539 w 1642"/>
                <a:gd name="T65" fmla="*/ 2748 h 2771"/>
                <a:gd name="T66" fmla="*/ 493 w 1642"/>
                <a:gd name="T67" fmla="*/ 2709 h 2771"/>
                <a:gd name="T68" fmla="*/ 462 w 1642"/>
                <a:gd name="T69" fmla="*/ 2658 h 2771"/>
                <a:gd name="T70" fmla="*/ 452 w 1642"/>
                <a:gd name="T71" fmla="*/ 2598 h 2771"/>
                <a:gd name="T72" fmla="*/ 345 w 1642"/>
                <a:gd name="T73" fmla="*/ 1125 h 2771"/>
                <a:gd name="T74" fmla="*/ 323 w 1642"/>
                <a:gd name="T75" fmla="*/ 1184 h 2771"/>
                <a:gd name="T76" fmla="*/ 285 w 1642"/>
                <a:gd name="T77" fmla="*/ 1228 h 2771"/>
                <a:gd name="T78" fmla="*/ 234 w 1642"/>
                <a:gd name="T79" fmla="*/ 1258 h 2771"/>
                <a:gd name="T80" fmla="*/ 175 w 1642"/>
                <a:gd name="T81" fmla="*/ 1269 h 2771"/>
                <a:gd name="T82" fmla="*/ 114 w 1642"/>
                <a:gd name="T83" fmla="*/ 1258 h 2771"/>
                <a:gd name="T84" fmla="*/ 62 w 1642"/>
                <a:gd name="T85" fmla="*/ 1228 h 2771"/>
                <a:gd name="T86" fmla="*/ 24 w 1642"/>
                <a:gd name="T87" fmla="*/ 1183 h 2771"/>
                <a:gd name="T88" fmla="*/ 3 w 1642"/>
                <a:gd name="T89" fmla="*/ 1126 h 2771"/>
                <a:gd name="T90" fmla="*/ 2 w 1642"/>
                <a:gd name="T91" fmla="*/ 1071 h 2771"/>
                <a:gd name="T92" fmla="*/ 1 w 1642"/>
                <a:gd name="T93" fmla="*/ 1050 h 2771"/>
                <a:gd name="T94" fmla="*/ 180 w 1642"/>
                <a:gd name="T95" fmla="*/ 115 h 2771"/>
                <a:gd name="T96" fmla="*/ 209 w 1642"/>
                <a:gd name="T97" fmla="*/ 63 h 2771"/>
                <a:gd name="T98" fmla="*/ 255 w 1642"/>
                <a:gd name="T99" fmla="*/ 24 h 2771"/>
                <a:gd name="T100" fmla="*/ 311 w 1642"/>
                <a:gd name="T101" fmla="*/ 3 h 2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642" h="2771">
                  <a:moveTo>
                    <a:pt x="343" y="0"/>
                  </a:moveTo>
                  <a:lnTo>
                    <a:pt x="1299" y="0"/>
                  </a:lnTo>
                  <a:lnTo>
                    <a:pt x="1330" y="3"/>
                  </a:lnTo>
                  <a:lnTo>
                    <a:pt x="1360" y="11"/>
                  </a:lnTo>
                  <a:lnTo>
                    <a:pt x="1387" y="24"/>
                  </a:lnTo>
                  <a:lnTo>
                    <a:pt x="1412" y="41"/>
                  </a:lnTo>
                  <a:lnTo>
                    <a:pt x="1433" y="63"/>
                  </a:lnTo>
                  <a:lnTo>
                    <a:pt x="1450" y="88"/>
                  </a:lnTo>
                  <a:lnTo>
                    <a:pt x="1463" y="116"/>
                  </a:lnTo>
                  <a:lnTo>
                    <a:pt x="1471" y="146"/>
                  </a:lnTo>
                  <a:lnTo>
                    <a:pt x="1641" y="1050"/>
                  </a:lnTo>
                  <a:lnTo>
                    <a:pt x="1642" y="1060"/>
                  </a:lnTo>
                  <a:lnTo>
                    <a:pt x="1640" y="1071"/>
                  </a:lnTo>
                  <a:lnTo>
                    <a:pt x="1642" y="1095"/>
                  </a:lnTo>
                  <a:lnTo>
                    <a:pt x="1639" y="1126"/>
                  </a:lnTo>
                  <a:lnTo>
                    <a:pt x="1631" y="1156"/>
                  </a:lnTo>
                  <a:lnTo>
                    <a:pt x="1618" y="1183"/>
                  </a:lnTo>
                  <a:lnTo>
                    <a:pt x="1601" y="1208"/>
                  </a:lnTo>
                  <a:lnTo>
                    <a:pt x="1580" y="1228"/>
                  </a:lnTo>
                  <a:lnTo>
                    <a:pt x="1556" y="1245"/>
                  </a:lnTo>
                  <a:lnTo>
                    <a:pt x="1529" y="1258"/>
                  </a:lnTo>
                  <a:lnTo>
                    <a:pt x="1499" y="1266"/>
                  </a:lnTo>
                  <a:lnTo>
                    <a:pt x="1468" y="1269"/>
                  </a:lnTo>
                  <a:lnTo>
                    <a:pt x="1437" y="1266"/>
                  </a:lnTo>
                  <a:lnTo>
                    <a:pt x="1408" y="1258"/>
                  </a:lnTo>
                  <a:lnTo>
                    <a:pt x="1382" y="1245"/>
                  </a:lnTo>
                  <a:lnTo>
                    <a:pt x="1357" y="1229"/>
                  </a:lnTo>
                  <a:lnTo>
                    <a:pt x="1336" y="1208"/>
                  </a:lnTo>
                  <a:lnTo>
                    <a:pt x="1319" y="1184"/>
                  </a:lnTo>
                  <a:lnTo>
                    <a:pt x="1305" y="1157"/>
                  </a:lnTo>
                  <a:lnTo>
                    <a:pt x="1297" y="1126"/>
                  </a:lnTo>
                  <a:lnTo>
                    <a:pt x="1189" y="453"/>
                  </a:lnTo>
                  <a:lnTo>
                    <a:pt x="1190" y="2598"/>
                  </a:lnTo>
                  <a:lnTo>
                    <a:pt x="1187" y="2629"/>
                  </a:lnTo>
                  <a:lnTo>
                    <a:pt x="1179" y="2658"/>
                  </a:lnTo>
                  <a:lnTo>
                    <a:pt x="1166" y="2685"/>
                  </a:lnTo>
                  <a:lnTo>
                    <a:pt x="1149" y="2709"/>
                  </a:lnTo>
                  <a:lnTo>
                    <a:pt x="1128" y="2731"/>
                  </a:lnTo>
                  <a:lnTo>
                    <a:pt x="1103" y="2748"/>
                  </a:lnTo>
                  <a:lnTo>
                    <a:pt x="1076" y="2760"/>
                  </a:lnTo>
                  <a:lnTo>
                    <a:pt x="1047" y="2769"/>
                  </a:lnTo>
                  <a:lnTo>
                    <a:pt x="1017" y="2771"/>
                  </a:lnTo>
                  <a:lnTo>
                    <a:pt x="985" y="2769"/>
                  </a:lnTo>
                  <a:lnTo>
                    <a:pt x="956" y="2760"/>
                  </a:lnTo>
                  <a:lnTo>
                    <a:pt x="929" y="2748"/>
                  </a:lnTo>
                  <a:lnTo>
                    <a:pt x="904" y="2731"/>
                  </a:lnTo>
                  <a:lnTo>
                    <a:pt x="883" y="2709"/>
                  </a:lnTo>
                  <a:lnTo>
                    <a:pt x="866" y="2685"/>
                  </a:lnTo>
                  <a:lnTo>
                    <a:pt x="852" y="2658"/>
                  </a:lnTo>
                  <a:lnTo>
                    <a:pt x="845" y="2629"/>
                  </a:lnTo>
                  <a:lnTo>
                    <a:pt x="842" y="2598"/>
                  </a:lnTo>
                  <a:lnTo>
                    <a:pt x="842" y="1536"/>
                  </a:lnTo>
                  <a:lnTo>
                    <a:pt x="800" y="1536"/>
                  </a:lnTo>
                  <a:lnTo>
                    <a:pt x="800" y="2598"/>
                  </a:lnTo>
                  <a:lnTo>
                    <a:pt x="797" y="2629"/>
                  </a:lnTo>
                  <a:lnTo>
                    <a:pt x="789" y="2658"/>
                  </a:lnTo>
                  <a:lnTo>
                    <a:pt x="776" y="2685"/>
                  </a:lnTo>
                  <a:lnTo>
                    <a:pt x="759" y="2709"/>
                  </a:lnTo>
                  <a:lnTo>
                    <a:pt x="738" y="2731"/>
                  </a:lnTo>
                  <a:lnTo>
                    <a:pt x="713" y="2748"/>
                  </a:lnTo>
                  <a:lnTo>
                    <a:pt x="686" y="2760"/>
                  </a:lnTo>
                  <a:lnTo>
                    <a:pt x="657" y="2769"/>
                  </a:lnTo>
                  <a:lnTo>
                    <a:pt x="625" y="2771"/>
                  </a:lnTo>
                  <a:lnTo>
                    <a:pt x="595" y="2769"/>
                  </a:lnTo>
                  <a:lnTo>
                    <a:pt x="566" y="2760"/>
                  </a:lnTo>
                  <a:lnTo>
                    <a:pt x="539" y="2748"/>
                  </a:lnTo>
                  <a:lnTo>
                    <a:pt x="514" y="2731"/>
                  </a:lnTo>
                  <a:lnTo>
                    <a:pt x="493" y="2709"/>
                  </a:lnTo>
                  <a:lnTo>
                    <a:pt x="476" y="2685"/>
                  </a:lnTo>
                  <a:lnTo>
                    <a:pt x="462" y="2658"/>
                  </a:lnTo>
                  <a:lnTo>
                    <a:pt x="455" y="2629"/>
                  </a:lnTo>
                  <a:lnTo>
                    <a:pt x="452" y="2598"/>
                  </a:lnTo>
                  <a:lnTo>
                    <a:pt x="454" y="453"/>
                  </a:lnTo>
                  <a:lnTo>
                    <a:pt x="345" y="1125"/>
                  </a:lnTo>
                  <a:lnTo>
                    <a:pt x="336" y="1156"/>
                  </a:lnTo>
                  <a:lnTo>
                    <a:pt x="323" y="1184"/>
                  </a:lnTo>
                  <a:lnTo>
                    <a:pt x="306" y="1208"/>
                  </a:lnTo>
                  <a:lnTo>
                    <a:pt x="285" y="1228"/>
                  </a:lnTo>
                  <a:lnTo>
                    <a:pt x="262" y="1245"/>
                  </a:lnTo>
                  <a:lnTo>
                    <a:pt x="234" y="1258"/>
                  </a:lnTo>
                  <a:lnTo>
                    <a:pt x="205" y="1266"/>
                  </a:lnTo>
                  <a:lnTo>
                    <a:pt x="175" y="1269"/>
                  </a:lnTo>
                  <a:lnTo>
                    <a:pt x="143" y="1266"/>
                  </a:lnTo>
                  <a:lnTo>
                    <a:pt x="114" y="1258"/>
                  </a:lnTo>
                  <a:lnTo>
                    <a:pt x="87" y="1245"/>
                  </a:lnTo>
                  <a:lnTo>
                    <a:pt x="62" y="1228"/>
                  </a:lnTo>
                  <a:lnTo>
                    <a:pt x="41" y="1208"/>
                  </a:lnTo>
                  <a:lnTo>
                    <a:pt x="24" y="1183"/>
                  </a:lnTo>
                  <a:lnTo>
                    <a:pt x="11" y="1156"/>
                  </a:lnTo>
                  <a:lnTo>
                    <a:pt x="3" y="1126"/>
                  </a:lnTo>
                  <a:lnTo>
                    <a:pt x="0" y="1095"/>
                  </a:lnTo>
                  <a:lnTo>
                    <a:pt x="2" y="1071"/>
                  </a:lnTo>
                  <a:lnTo>
                    <a:pt x="0" y="1060"/>
                  </a:lnTo>
                  <a:lnTo>
                    <a:pt x="1" y="1050"/>
                  </a:lnTo>
                  <a:lnTo>
                    <a:pt x="172" y="145"/>
                  </a:lnTo>
                  <a:lnTo>
                    <a:pt x="180" y="115"/>
                  </a:lnTo>
                  <a:lnTo>
                    <a:pt x="192" y="88"/>
                  </a:lnTo>
                  <a:lnTo>
                    <a:pt x="209" y="63"/>
                  </a:lnTo>
                  <a:lnTo>
                    <a:pt x="230" y="41"/>
                  </a:lnTo>
                  <a:lnTo>
                    <a:pt x="255" y="24"/>
                  </a:lnTo>
                  <a:lnTo>
                    <a:pt x="282" y="11"/>
                  </a:lnTo>
                  <a:lnTo>
                    <a:pt x="311" y="3"/>
                  </a:lnTo>
                  <a:lnTo>
                    <a:pt x="34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01197541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ENEFITS OF PRENUTIAL AGREEMEN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7</a:t>
            </a:fld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1478280" y="1447800"/>
            <a:ext cx="1010412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4320" rtlCol="0" anchor="ctr"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urtails bitterness from a prior dissolution.</a:t>
            </a:r>
          </a:p>
        </p:txBody>
      </p:sp>
      <p:sp>
        <p:nvSpPr>
          <p:cNvPr id="6" name="Rectangle 5"/>
          <p:cNvSpPr/>
          <p:nvPr/>
        </p:nvSpPr>
        <p:spPr>
          <a:xfrm>
            <a:off x="1478280" y="2408035"/>
            <a:ext cx="1010412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ne can serve as personal representative of the deceased spouse’s estate.</a:t>
            </a:r>
          </a:p>
        </p:txBody>
      </p:sp>
      <p:sp>
        <p:nvSpPr>
          <p:cNvPr id="7" name="Rectangle 6"/>
          <p:cNvSpPr/>
          <p:nvPr/>
        </p:nvSpPr>
        <p:spPr>
          <a:xfrm>
            <a:off x="1478280" y="3368269"/>
            <a:ext cx="1010412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tects one’s marriage for the benefit of children from a prior marriage.</a:t>
            </a:r>
          </a:p>
        </p:txBody>
      </p:sp>
      <p:sp>
        <p:nvSpPr>
          <p:cNvPr id="8" name="Rectangle 7"/>
          <p:cNvSpPr/>
          <p:nvPr/>
        </p:nvSpPr>
        <p:spPr>
          <a:xfrm>
            <a:off x="1478280" y="4328504"/>
            <a:ext cx="1010412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ets forth wishes regarding property division.</a:t>
            </a:r>
          </a:p>
        </p:txBody>
      </p:sp>
      <p:sp>
        <p:nvSpPr>
          <p:cNvPr id="9" name="Rectangle 8"/>
          <p:cNvSpPr/>
          <p:nvPr/>
        </p:nvSpPr>
        <p:spPr>
          <a:xfrm>
            <a:off x="1478280" y="5288739"/>
            <a:ext cx="10104120" cy="88346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432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omotes economic responsibilities during marriage.</a:t>
            </a:r>
          </a:p>
        </p:txBody>
      </p:sp>
      <p:sp>
        <p:nvSpPr>
          <p:cNvPr id="10" name="Pentagon 9"/>
          <p:cNvSpPr/>
          <p:nvPr/>
        </p:nvSpPr>
        <p:spPr>
          <a:xfrm>
            <a:off x="609600" y="1447800"/>
            <a:ext cx="1005840" cy="883920"/>
          </a:xfrm>
          <a:prstGeom prst="homePlate">
            <a:avLst>
              <a:gd name="adj" fmla="val 13793"/>
            </a:avLst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Pentagon 10"/>
          <p:cNvSpPr/>
          <p:nvPr/>
        </p:nvSpPr>
        <p:spPr>
          <a:xfrm>
            <a:off x="609600" y="2408035"/>
            <a:ext cx="1005840" cy="883920"/>
          </a:xfrm>
          <a:prstGeom prst="homePlate">
            <a:avLst>
              <a:gd name="adj" fmla="val 13793"/>
            </a:avLst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Pentagon 11"/>
          <p:cNvSpPr/>
          <p:nvPr/>
        </p:nvSpPr>
        <p:spPr>
          <a:xfrm>
            <a:off x="609600" y="3368270"/>
            <a:ext cx="1005840" cy="883920"/>
          </a:xfrm>
          <a:prstGeom prst="homePlate">
            <a:avLst>
              <a:gd name="adj" fmla="val 13793"/>
            </a:avLst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Pentagon 12"/>
          <p:cNvSpPr/>
          <p:nvPr/>
        </p:nvSpPr>
        <p:spPr>
          <a:xfrm>
            <a:off x="609600" y="4328505"/>
            <a:ext cx="1005840" cy="883920"/>
          </a:xfrm>
          <a:prstGeom prst="homePlate">
            <a:avLst>
              <a:gd name="adj" fmla="val 13793"/>
            </a:avLst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entagon 13"/>
          <p:cNvSpPr/>
          <p:nvPr/>
        </p:nvSpPr>
        <p:spPr>
          <a:xfrm>
            <a:off x="609600" y="5288739"/>
            <a:ext cx="1005840" cy="883920"/>
          </a:xfrm>
          <a:prstGeom prst="homePlate">
            <a:avLst>
              <a:gd name="adj" fmla="val 13793"/>
            </a:avLst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11518993" y="1447800"/>
            <a:ext cx="63407" cy="883920"/>
          </a:xfrm>
          <a:prstGeom prst="rect">
            <a:avLst/>
          </a:prstGeom>
          <a:solidFill>
            <a:srgbClr val="268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11518993" y="2407920"/>
            <a:ext cx="63407" cy="883920"/>
          </a:xfrm>
          <a:prstGeom prst="rect">
            <a:avLst/>
          </a:prstGeom>
          <a:solidFill>
            <a:srgbClr val="268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11518993" y="3368040"/>
            <a:ext cx="63407" cy="883920"/>
          </a:xfrm>
          <a:prstGeom prst="rect">
            <a:avLst/>
          </a:prstGeom>
          <a:solidFill>
            <a:srgbClr val="268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11518993" y="4328160"/>
            <a:ext cx="63407" cy="883920"/>
          </a:xfrm>
          <a:prstGeom prst="rect">
            <a:avLst/>
          </a:prstGeom>
          <a:solidFill>
            <a:srgbClr val="268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11518993" y="5288280"/>
            <a:ext cx="63407" cy="883920"/>
          </a:xfrm>
          <a:prstGeom prst="rect">
            <a:avLst/>
          </a:prstGeom>
          <a:solidFill>
            <a:srgbClr val="26867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Chevron 19"/>
          <p:cNvSpPr/>
          <p:nvPr/>
        </p:nvSpPr>
        <p:spPr>
          <a:xfrm>
            <a:off x="1415039" y="1447800"/>
            <a:ext cx="200401" cy="883461"/>
          </a:xfrm>
          <a:prstGeom prst="chevron">
            <a:avLst>
              <a:gd name="adj" fmla="val 60288"/>
            </a:avLst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1" name="Chevron 20"/>
          <p:cNvSpPr/>
          <p:nvPr/>
        </p:nvSpPr>
        <p:spPr>
          <a:xfrm>
            <a:off x="1415039" y="2408150"/>
            <a:ext cx="200401" cy="883461"/>
          </a:xfrm>
          <a:prstGeom prst="chevron">
            <a:avLst>
              <a:gd name="adj" fmla="val 60288"/>
            </a:avLst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2" name="Chevron 21"/>
          <p:cNvSpPr/>
          <p:nvPr/>
        </p:nvSpPr>
        <p:spPr>
          <a:xfrm>
            <a:off x="1415039" y="3368500"/>
            <a:ext cx="200401" cy="883461"/>
          </a:xfrm>
          <a:prstGeom prst="chevron">
            <a:avLst>
              <a:gd name="adj" fmla="val 60288"/>
            </a:avLst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3" name="Chevron 22"/>
          <p:cNvSpPr/>
          <p:nvPr/>
        </p:nvSpPr>
        <p:spPr>
          <a:xfrm>
            <a:off x="1415039" y="4328850"/>
            <a:ext cx="200401" cy="883461"/>
          </a:xfrm>
          <a:prstGeom prst="chevron">
            <a:avLst>
              <a:gd name="adj" fmla="val 60288"/>
            </a:avLst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4" name="Chevron 23"/>
          <p:cNvSpPr/>
          <p:nvPr/>
        </p:nvSpPr>
        <p:spPr>
          <a:xfrm>
            <a:off x="1415039" y="5289198"/>
            <a:ext cx="200401" cy="883461"/>
          </a:xfrm>
          <a:prstGeom prst="chevron">
            <a:avLst>
              <a:gd name="adj" fmla="val 60288"/>
            </a:avLst>
          </a:prstGeom>
          <a:solidFill>
            <a:schemeClr val="bg1">
              <a:alpha val="3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25" name="Freeform 5"/>
          <p:cNvSpPr>
            <a:spLocks noEditPoints="1"/>
          </p:cNvSpPr>
          <p:nvPr/>
        </p:nvSpPr>
        <p:spPr bwMode="auto">
          <a:xfrm>
            <a:off x="751462" y="2571770"/>
            <a:ext cx="557994" cy="556450"/>
          </a:xfrm>
          <a:custGeom>
            <a:avLst/>
            <a:gdLst>
              <a:gd name="T0" fmla="*/ 2164 w 7940"/>
              <a:gd name="T1" fmla="*/ 5578 h 7924"/>
              <a:gd name="T2" fmla="*/ 2514 w 7940"/>
              <a:gd name="T3" fmla="*/ 4983 h 7924"/>
              <a:gd name="T4" fmla="*/ 3673 w 7940"/>
              <a:gd name="T5" fmla="*/ 5684 h 7924"/>
              <a:gd name="T6" fmla="*/ 3871 w 7940"/>
              <a:gd name="T7" fmla="*/ 5410 h 7924"/>
              <a:gd name="T8" fmla="*/ 4084 w 7940"/>
              <a:gd name="T9" fmla="*/ 5410 h 7924"/>
              <a:gd name="T10" fmla="*/ 4282 w 7940"/>
              <a:gd name="T11" fmla="*/ 5699 h 7924"/>
              <a:gd name="T12" fmla="*/ 4343 w 7940"/>
              <a:gd name="T13" fmla="*/ 5532 h 7924"/>
              <a:gd name="T14" fmla="*/ 5456 w 7940"/>
              <a:gd name="T15" fmla="*/ 4998 h 7924"/>
              <a:gd name="T16" fmla="*/ 5806 w 7940"/>
              <a:gd name="T17" fmla="*/ 2347 h 7924"/>
              <a:gd name="T18" fmla="*/ 2484 w 7940"/>
              <a:gd name="T19" fmla="*/ 183 h 7924"/>
              <a:gd name="T20" fmla="*/ 3185 w 7940"/>
              <a:gd name="T21" fmla="*/ 167 h 7924"/>
              <a:gd name="T22" fmla="*/ 3764 w 7940"/>
              <a:gd name="T23" fmla="*/ 807 h 7924"/>
              <a:gd name="T24" fmla="*/ 4587 w 7940"/>
              <a:gd name="T25" fmla="*/ 685 h 7924"/>
              <a:gd name="T26" fmla="*/ 5257 w 7940"/>
              <a:gd name="T27" fmla="*/ 106 h 7924"/>
              <a:gd name="T28" fmla="*/ 5959 w 7940"/>
              <a:gd name="T29" fmla="*/ 411 h 7924"/>
              <a:gd name="T30" fmla="*/ 5989 w 7940"/>
              <a:gd name="T31" fmla="*/ 1310 h 7924"/>
              <a:gd name="T32" fmla="*/ 6431 w 7940"/>
              <a:gd name="T33" fmla="*/ 1981 h 7924"/>
              <a:gd name="T34" fmla="*/ 7284 w 7940"/>
              <a:gd name="T35" fmla="*/ 1966 h 7924"/>
              <a:gd name="T36" fmla="*/ 7757 w 7940"/>
              <a:gd name="T37" fmla="*/ 2499 h 7924"/>
              <a:gd name="T38" fmla="*/ 7772 w 7940"/>
              <a:gd name="T39" fmla="*/ 3200 h 7924"/>
              <a:gd name="T40" fmla="*/ 7132 w 7940"/>
              <a:gd name="T41" fmla="*/ 3794 h 7924"/>
              <a:gd name="T42" fmla="*/ 7254 w 7940"/>
              <a:gd name="T43" fmla="*/ 4587 h 7924"/>
              <a:gd name="T44" fmla="*/ 7833 w 7940"/>
              <a:gd name="T45" fmla="*/ 5257 h 7924"/>
              <a:gd name="T46" fmla="*/ 7528 w 7940"/>
              <a:gd name="T47" fmla="*/ 5959 h 7924"/>
              <a:gd name="T48" fmla="*/ 6629 w 7940"/>
              <a:gd name="T49" fmla="*/ 5989 h 7924"/>
              <a:gd name="T50" fmla="*/ 5959 w 7940"/>
              <a:gd name="T51" fmla="*/ 6431 h 7924"/>
              <a:gd name="T52" fmla="*/ 5974 w 7940"/>
              <a:gd name="T53" fmla="*/ 7284 h 7924"/>
              <a:gd name="T54" fmla="*/ 5425 w 7940"/>
              <a:gd name="T55" fmla="*/ 7742 h 7924"/>
              <a:gd name="T56" fmla="*/ 4724 w 7940"/>
              <a:gd name="T57" fmla="*/ 7757 h 7924"/>
              <a:gd name="T58" fmla="*/ 4145 w 7940"/>
              <a:gd name="T59" fmla="*/ 7117 h 7924"/>
              <a:gd name="T60" fmla="*/ 3368 w 7940"/>
              <a:gd name="T61" fmla="*/ 7239 h 7924"/>
              <a:gd name="T62" fmla="*/ 2697 w 7940"/>
              <a:gd name="T63" fmla="*/ 7818 h 7924"/>
              <a:gd name="T64" fmla="*/ 1996 w 7940"/>
              <a:gd name="T65" fmla="*/ 7513 h 7924"/>
              <a:gd name="T66" fmla="*/ 1966 w 7940"/>
              <a:gd name="T67" fmla="*/ 6629 h 7924"/>
              <a:gd name="T68" fmla="*/ 1524 w 7940"/>
              <a:gd name="T69" fmla="*/ 5959 h 7924"/>
              <a:gd name="T70" fmla="*/ 655 w 7940"/>
              <a:gd name="T71" fmla="*/ 5974 h 7924"/>
              <a:gd name="T72" fmla="*/ 183 w 7940"/>
              <a:gd name="T73" fmla="*/ 5440 h 7924"/>
              <a:gd name="T74" fmla="*/ 167 w 7940"/>
              <a:gd name="T75" fmla="*/ 4739 h 7924"/>
              <a:gd name="T76" fmla="*/ 807 w 7940"/>
              <a:gd name="T77" fmla="*/ 4160 h 7924"/>
              <a:gd name="T78" fmla="*/ 685 w 7940"/>
              <a:gd name="T79" fmla="*/ 3368 h 7924"/>
              <a:gd name="T80" fmla="*/ 106 w 7940"/>
              <a:gd name="T81" fmla="*/ 2697 h 7924"/>
              <a:gd name="T82" fmla="*/ 411 w 7940"/>
              <a:gd name="T83" fmla="*/ 1996 h 7924"/>
              <a:gd name="T84" fmla="*/ 1295 w 7940"/>
              <a:gd name="T85" fmla="*/ 1981 h 7924"/>
              <a:gd name="T86" fmla="*/ 1966 w 7940"/>
              <a:gd name="T87" fmla="*/ 1539 h 7924"/>
              <a:gd name="T88" fmla="*/ 1950 w 7940"/>
              <a:gd name="T89" fmla="*/ 670 h 7924"/>
              <a:gd name="T90" fmla="*/ 2484 w 7940"/>
              <a:gd name="T91" fmla="*/ 183 h 7924"/>
              <a:gd name="T92" fmla="*/ 3932 w 7940"/>
              <a:gd name="T93" fmla="*/ 4724 h 7924"/>
              <a:gd name="T94" fmla="*/ 4876 w 7940"/>
              <a:gd name="T95" fmla="*/ 3733 h 7924"/>
              <a:gd name="T96" fmla="*/ 4617 w 7940"/>
              <a:gd name="T97" fmla="*/ 2514 h 7924"/>
              <a:gd name="T98" fmla="*/ 3916 w 7940"/>
              <a:gd name="T99" fmla="*/ 2209 h 7924"/>
              <a:gd name="T100" fmla="*/ 3733 w 7940"/>
              <a:gd name="T101" fmla="*/ 2240 h 7924"/>
              <a:gd name="T102" fmla="*/ 3322 w 7940"/>
              <a:gd name="T103" fmla="*/ 2514 h 7924"/>
              <a:gd name="T104" fmla="*/ 3109 w 7940"/>
              <a:gd name="T105" fmla="*/ 3352 h 7924"/>
              <a:gd name="T106" fmla="*/ 3185 w 7940"/>
              <a:gd name="T107" fmla="*/ 3977 h 79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7940" h="7924">
                <a:moveTo>
                  <a:pt x="2347" y="2149"/>
                </a:moveTo>
                <a:cubicBezTo>
                  <a:pt x="1341" y="3048"/>
                  <a:pt x="1265" y="4587"/>
                  <a:pt x="2164" y="5578"/>
                </a:cubicBezTo>
                <a:cubicBezTo>
                  <a:pt x="2164" y="5578"/>
                  <a:pt x="2164" y="5578"/>
                  <a:pt x="2179" y="5593"/>
                </a:cubicBezTo>
                <a:cubicBezTo>
                  <a:pt x="2179" y="5395"/>
                  <a:pt x="2209" y="5059"/>
                  <a:pt x="2514" y="4983"/>
                </a:cubicBezTo>
                <a:cubicBezTo>
                  <a:pt x="2971" y="4861"/>
                  <a:pt x="3337" y="4617"/>
                  <a:pt x="3337" y="4617"/>
                </a:cubicBezTo>
                <a:lnTo>
                  <a:pt x="3673" y="5684"/>
                </a:lnTo>
                <a:lnTo>
                  <a:pt x="3718" y="5837"/>
                </a:lnTo>
                <a:lnTo>
                  <a:pt x="3871" y="5410"/>
                </a:lnTo>
                <a:cubicBezTo>
                  <a:pt x="3490" y="4876"/>
                  <a:pt x="3977" y="4907"/>
                  <a:pt x="3977" y="4907"/>
                </a:cubicBezTo>
                <a:cubicBezTo>
                  <a:pt x="3977" y="4907"/>
                  <a:pt x="4465" y="4892"/>
                  <a:pt x="4084" y="5410"/>
                </a:cubicBezTo>
                <a:lnTo>
                  <a:pt x="4236" y="5837"/>
                </a:lnTo>
                <a:lnTo>
                  <a:pt x="4282" y="5699"/>
                </a:lnTo>
                <a:lnTo>
                  <a:pt x="4282" y="5699"/>
                </a:lnTo>
                <a:lnTo>
                  <a:pt x="4343" y="5532"/>
                </a:lnTo>
                <a:lnTo>
                  <a:pt x="4633" y="4633"/>
                </a:lnTo>
                <a:cubicBezTo>
                  <a:pt x="4633" y="4633"/>
                  <a:pt x="4998" y="4892"/>
                  <a:pt x="5456" y="4998"/>
                </a:cubicBezTo>
                <a:cubicBezTo>
                  <a:pt x="5776" y="5075"/>
                  <a:pt x="5806" y="5425"/>
                  <a:pt x="5791" y="5623"/>
                </a:cubicBezTo>
                <a:cubicBezTo>
                  <a:pt x="6629" y="4709"/>
                  <a:pt x="6660" y="3292"/>
                  <a:pt x="5806" y="2347"/>
                </a:cubicBezTo>
                <a:cubicBezTo>
                  <a:pt x="4876" y="1326"/>
                  <a:pt x="3337" y="1249"/>
                  <a:pt x="2347" y="2149"/>
                </a:cubicBezTo>
                <a:close/>
                <a:moveTo>
                  <a:pt x="2484" y="183"/>
                </a:moveTo>
                <a:lnTo>
                  <a:pt x="2834" y="45"/>
                </a:lnTo>
                <a:cubicBezTo>
                  <a:pt x="2971" y="0"/>
                  <a:pt x="3109" y="45"/>
                  <a:pt x="3185" y="167"/>
                </a:cubicBezTo>
                <a:lnTo>
                  <a:pt x="3474" y="655"/>
                </a:lnTo>
                <a:cubicBezTo>
                  <a:pt x="3535" y="762"/>
                  <a:pt x="3642" y="807"/>
                  <a:pt x="3764" y="807"/>
                </a:cubicBezTo>
                <a:cubicBezTo>
                  <a:pt x="3932" y="792"/>
                  <a:pt x="4114" y="792"/>
                  <a:pt x="4282" y="823"/>
                </a:cubicBezTo>
                <a:cubicBezTo>
                  <a:pt x="4404" y="838"/>
                  <a:pt x="4511" y="777"/>
                  <a:pt x="4587" y="685"/>
                </a:cubicBezTo>
                <a:lnTo>
                  <a:pt x="4892" y="213"/>
                </a:lnTo>
                <a:cubicBezTo>
                  <a:pt x="4968" y="91"/>
                  <a:pt x="5120" y="45"/>
                  <a:pt x="5257" y="106"/>
                </a:cubicBezTo>
                <a:lnTo>
                  <a:pt x="5608" y="259"/>
                </a:lnTo>
                <a:lnTo>
                  <a:pt x="5959" y="411"/>
                </a:lnTo>
                <a:cubicBezTo>
                  <a:pt x="6080" y="472"/>
                  <a:pt x="6157" y="609"/>
                  <a:pt x="6126" y="746"/>
                </a:cubicBezTo>
                <a:lnTo>
                  <a:pt x="5989" y="1310"/>
                </a:lnTo>
                <a:cubicBezTo>
                  <a:pt x="5959" y="1417"/>
                  <a:pt x="6004" y="1539"/>
                  <a:pt x="6080" y="1615"/>
                </a:cubicBezTo>
                <a:cubicBezTo>
                  <a:pt x="6202" y="1722"/>
                  <a:pt x="6324" y="1844"/>
                  <a:pt x="6431" y="1981"/>
                </a:cubicBezTo>
                <a:cubicBezTo>
                  <a:pt x="6507" y="2072"/>
                  <a:pt x="6629" y="2118"/>
                  <a:pt x="6736" y="2088"/>
                </a:cubicBezTo>
                <a:lnTo>
                  <a:pt x="7284" y="1966"/>
                </a:lnTo>
                <a:cubicBezTo>
                  <a:pt x="7422" y="1935"/>
                  <a:pt x="7559" y="2011"/>
                  <a:pt x="7620" y="2149"/>
                </a:cubicBezTo>
                <a:lnTo>
                  <a:pt x="7757" y="2499"/>
                </a:lnTo>
                <a:lnTo>
                  <a:pt x="7894" y="2850"/>
                </a:lnTo>
                <a:cubicBezTo>
                  <a:pt x="7940" y="2987"/>
                  <a:pt x="7894" y="3124"/>
                  <a:pt x="7772" y="3200"/>
                </a:cubicBezTo>
                <a:lnTo>
                  <a:pt x="7284" y="3505"/>
                </a:lnTo>
                <a:cubicBezTo>
                  <a:pt x="7178" y="3566"/>
                  <a:pt x="7132" y="3673"/>
                  <a:pt x="7132" y="3794"/>
                </a:cubicBezTo>
                <a:cubicBezTo>
                  <a:pt x="7147" y="3962"/>
                  <a:pt x="7132" y="4130"/>
                  <a:pt x="7117" y="4297"/>
                </a:cubicBezTo>
                <a:cubicBezTo>
                  <a:pt x="7102" y="4419"/>
                  <a:pt x="7162" y="4526"/>
                  <a:pt x="7254" y="4587"/>
                </a:cubicBezTo>
                <a:lnTo>
                  <a:pt x="7726" y="4892"/>
                </a:lnTo>
                <a:cubicBezTo>
                  <a:pt x="7848" y="4968"/>
                  <a:pt x="7894" y="5120"/>
                  <a:pt x="7833" y="5257"/>
                </a:cubicBezTo>
                <a:lnTo>
                  <a:pt x="7681" y="5608"/>
                </a:lnTo>
                <a:lnTo>
                  <a:pt x="7528" y="5959"/>
                </a:lnTo>
                <a:cubicBezTo>
                  <a:pt x="7467" y="6080"/>
                  <a:pt x="7330" y="6157"/>
                  <a:pt x="7193" y="6126"/>
                </a:cubicBezTo>
                <a:lnTo>
                  <a:pt x="6629" y="5989"/>
                </a:lnTo>
                <a:cubicBezTo>
                  <a:pt x="6522" y="5959"/>
                  <a:pt x="6400" y="6004"/>
                  <a:pt x="6324" y="6080"/>
                </a:cubicBezTo>
                <a:cubicBezTo>
                  <a:pt x="6218" y="6202"/>
                  <a:pt x="6096" y="6324"/>
                  <a:pt x="5959" y="6431"/>
                </a:cubicBezTo>
                <a:cubicBezTo>
                  <a:pt x="5867" y="6507"/>
                  <a:pt x="5821" y="6629"/>
                  <a:pt x="5852" y="6736"/>
                </a:cubicBezTo>
                <a:lnTo>
                  <a:pt x="5974" y="7284"/>
                </a:lnTo>
                <a:cubicBezTo>
                  <a:pt x="6004" y="7422"/>
                  <a:pt x="5928" y="7559"/>
                  <a:pt x="5791" y="7620"/>
                </a:cubicBezTo>
                <a:lnTo>
                  <a:pt x="5425" y="7742"/>
                </a:lnTo>
                <a:lnTo>
                  <a:pt x="5075" y="7879"/>
                </a:lnTo>
                <a:cubicBezTo>
                  <a:pt x="4937" y="7924"/>
                  <a:pt x="4800" y="7879"/>
                  <a:pt x="4724" y="7757"/>
                </a:cubicBezTo>
                <a:lnTo>
                  <a:pt x="4435" y="7269"/>
                </a:lnTo>
                <a:cubicBezTo>
                  <a:pt x="4374" y="7162"/>
                  <a:pt x="4267" y="7117"/>
                  <a:pt x="4145" y="7117"/>
                </a:cubicBezTo>
                <a:cubicBezTo>
                  <a:pt x="3993" y="7132"/>
                  <a:pt x="3825" y="7117"/>
                  <a:pt x="3657" y="7102"/>
                </a:cubicBezTo>
                <a:cubicBezTo>
                  <a:pt x="3535" y="7086"/>
                  <a:pt x="3429" y="7147"/>
                  <a:pt x="3368" y="7239"/>
                </a:cubicBezTo>
                <a:lnTo>
                  <a:pt x="3063" y="7711"/>
                </a:lnTo>
                <a:cubicBezTo>
                  <a:pt x="2987" y="7833"/>
                  <a:pt x="2834" y="7879"/>
                  <a:pt x="2697" y="7818"/>
                </a:cubicBezTo>
                <a:lnTo>
                  <a:pt x="2347" y="7665"/>
                </a:lnTo>
                <a:lnTo>
                  <a:pt x="1996" y="7513"/>
                </a:lnTo>
                <a:cubicBezTo>
                  <a:pt x="1874" y="7452"/>
                  <a:pt x="1798" y="7315"/>
                  <a:pt x="1828" y="7178"/>
                </a:cubicBezTo>
                <a:lnTo>
                  <a:pt x="1966" y="6629"/>
                </a:lnTo>
                <a:cubicBezTo>
                  <a:pt x="1996" y="6522"/>
                  <a:pt x="1950" y="6400"/>
                  <a:pt x="1874" y="6324"/>
                </a:cubicBezTo>
                <a:cubicBezTo>
                  <a:pt x="1752" y="6218"/>
                  <a:pt x="1630" y="6096"/>
                  <a:pt x="1524" y="5959"/>
                </a:cubicBezTo>
                <a:cubicBezTo>
                  <a:pt x="1447" y="5867"/>
                  <a:pt x="1326" y="5821"/>
                  <a:pt x="1219" y="5852"/>
                </a:cubicBezTo>
                <a:lnTo>
                  <a:pt x="655" y="5974"/>
                </a:lnTo>
                <a:cubicBezTo>
                  <a:pt x="518" y="6004"/>
                  <a:pt x="381" y="5928"/>
                  <a:pt x="320" y="5791"/>
                </a:cubicBezTo>
                <a:lnTo>
                  <a:pt x="183" y="5440"/>
                </a:lnTo>
                <a:lnTo>
                  <a:pt x="45" y="5090"/>
                </a:lnTo>
                <a:cubicBezTo>
                  <a:pt x="0" y="4953"/>
                  <a:pt x="45" y="4816"/>
                  <a:pt x="167" y="4739"/>
                </a:cubicBezTo>
                <a:lnTo>
                  <a:pt x="655" y="4450"/>
                </a:lnTo>
                <a:cubicBezTo>
                  <a:pt x="762" y="4389"/>
                  <a:pt x="807" y="4282"/>
                  <a:pt x="807" y="4160"/>
                </a:cubicBezTo>
                <a:cubicBezTo>
                  <a:pt x="792" y="3993"/>
                  <a:pt x="807" y="3825"/>
                  <a:pt x="823" y="3657"/>
                </a:cubicBezTo>
                <a:cubicBezTo>
                  <a:pt x="838" y="3535"/>
                  <a:pt x="777" y="3429"/>
                  <a:pt x="685" y="3368"/>
                </a:cubicBezTo>
                <a:lnTo>
                  <a:pt x="213" y="3063"/>
                </a:lnTo>
                <a:cubicBezTo>
                  <a:pt x="91" y="2987"/>
                  <a:pt x="45" y="2834"/>
                  <a:pt x="106" y="2697"/>
                </a:cubicBezTo>
                <a:lnTo>
                  <a:pt x="259" y="2347"/>
                </a:lnTo>
                <a:lnTo>
                  <a:pt x="411" y="1996"/>
                </a:lnTo>
                <a:cubicBezTo>
                  <a:pt x="472" y="1874"/>
                  <a:pt x="609" y="1798"/>
                  <a:pt x="746" y="1844"/>
                </a:cubicBezTo>
                <a:lnTo>
                  <a:pt x="1295" y="1981"/>
                </a:lnTo>
                <a:cubicBezTo>
                  <a:pt x="1402" y="2011"/>
                  <a:pt x="1524" y="1966"/>
                  <a:pt x="1600" y="1889"/>
                </a:cubicBezTo>
                <a:cubicBezTo>
                  <a:pt x="1707" y="1768"/>
                  <a:pt x="1828" y="1646"/>
                  <a:pt x="1966" y="1539"/>
                </a:cubicBezTo>
                <a:cubicBezTo>
                  <a:pt x="2057" y="1463"/>
                  <a:pt x="2103" y="1341"/>
                  <a:pt x="2072" y="1234"/>
                </a:cubicBezTo>
                <a:lnTo>
                  <a:pt x="1950" y="670"/>
                </a:lnTo>
                <a:cubicBezTo>
                  <a:pt x="1920" y="533"/>
                  <a:pt x="1996" y="396"/>
                  <a:pt x="2133" y="335"/>
                </a:cubicBezTo>
                <a:lnTo>
                  <a:pt x="2484" y="183"/>
                </a:lnTo>
                <a:close/>
                <a:moveTo>
                  <a:pt x="3185" y="3977"/>
                </a:moveTo>
                <a:cubicBezTo>
                  <a:pt x="3231" y="4282"/>
                  <a:pt x="3398" y="4678"/>
                  <a:pt x="3932" y="4724"/>
                </a:cubicBezTo>
                <a:cubicBezTo>
                  <a:pt x="4465" y="4709"/>
                  <a:pt x="4617" y="4313"/>
                  <a:pt x="4678" y="4008"/>
                </a:cubicBezTo>
                <a:cubicBezTo>
                  <a:pt x="4724" y="4038"/>
                  <a:pt x="4800" y="4023"/>
                  <a:pt x="4876" y="3733"/>
                </a:cubicBezTo>
                <a:cubicBezTo>
                  <a:pt x="4937" y="3505"/>
                  <a:pt x="4907" y="3429"/>
                  <a:pt x="4846" y="3413"/>
                </a:cubicBezTo>
                <a:cubicBezTo>
                  <a:pt x="5029" y="2545"/>
                  <a:pt x="4617" y="2514"/>
                  <a:pt x="4617" y="2514"/>
                </a:cubicBezTo>
                <a:cubicBezTo>
                  <a:pt x="4617" y="2514"/>
                  <a:pt x="4556" y="2392"/>
                  <a:pt x="4389" y="2301"/>
                </a:cubicBezTo>
                <a:cubicBezTo>
                  <a:pt x="4282" y="2240"/>
                  <a:pt x="4130" y="2179"/>
                  <a:pt x="3916" y="2209"/>
                </a:cubicBezTo>
                <a:cubicBezTo>
                  <a:pt x="3855" y="2209"/>
                  <a:pt x="3794" y="2225"/>
                  <a:pt x="3733" y="2240"/>
                </a:cubicBezTo>
                <a:lnTo>
                  <a:pt x="3733" y="2240"/>
                </a:lnTo>
                <a:cubicBezTo>
                  <a:pt x="3657" y="2270"/>
                  <a:pt x="3596" y="2301"/>
                  <a:pt x="3535" y="2347"/>
                </a:cubicBezTo>
                <a:cubicBezTo>
                  <a:pt x="3459" y="2392"/>
                  <a:pt x="3383" y="2453"/>
                  <a:pt x="3322" y="2514"/>
                </a:cubicBezTo>
                <a:cubicBezTo>
                  <a:pt x="3215" y="2621"/>
                  <a:pt x="3139" y="2743"/>
                  <a:pt x="3093" y="2911"/>
                </a:cubicBezTo>
                <a:cubicBezTo>
                  <a:pt x="3063" y="3048"/>
                  <a:pt x="3063" y="3200"/>
                  <a:pt x="3109" y="3352"/>
                </a:cubicBezTo>
                <a:cubicBezTo>
                  <a:pt x="3032" y="3352"/>
                  <a:pt x="2941" y="3383"/>
                  <a:pt x="3032" y="3688"/>
                </a:cubicBezTo>
                <a:cubicBezTo>
                  <a:pt x="3078" y="3901"/>
                  <a:pt x="3139" y="3962"/>
                  <a:pt x="3185" y="397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26" name="Group 4"/>
          <p:cNvGrpSpPr>
            <a:grpSpLocks noChangeAspect="1"/>
          </p:cNvGrpSpPr>
          <p:nvPr/>
        </p:nvGrpSpPr>
        <p:grpSpPr bwMode="auto">
          <a:xfrm>
            <a:off x="809148" y="4497573"/>
            <a:ext cx="545785" cy="545785"/>
            <a:chOff x="4524" y="2727"/>
            <a:chExt cx="416" cy="416"/>
          </a:xfrm>
          <a:solidFill>
            <a:schemeClr val="bg1"/>
          </a:solidFill>
        </p:grpSpPr>
        <p:sp>
          <p:nvSpPr>
            <p:cNvPr id="27" name="Freeform 6"/>
            <p:cNvSpPr>
              <a:spLocks/>
            </p:cNvSpPr>
            <p:nvPr/>
          </p:nvSpPr>
          <p:spPr bwMode="auto">
            <a:xfrm>
              <a:off x="4767" y="2727"/>
              <a:ext cx="74" cy="73"/>
            </a:xfrm>
            <a:custGeom>
              <a:avLst/>
              <a:gdLst>
                <a:gd name="T0" fmla="*/ 0 w 587"/>
                <a:gd name="T1" fmla="*/ 0 h 585"/>
                <a:gd name="T2" fmla="*/ 17 w 587"/>
                <a:gd name="T3" fmla="*/ 0 h 585"/>
                <a:gd name="T4" fmla="*/ 55 w 587"/>
                <a:gd name="T5" fmla="*/ 3 h 585"/>
                <a:gd name="T6" fmla="*/ 93 w 587"/>
                <a:gd name="T7" fmla="*/ 10 h 585"/>
                <a:gd name="T8" fmla="*/ 129 w 587"/>
                <a:gd name="T9" fmla="*/ 22 h 585"/>
                <a:gd name="T10" fmla="*/ 164 w 587"/>
                <a:gd name="T11" fmla="*/ 39 h 585"/>
                <a:gd name="T12" fmla="*/ 196 w 587"/>
                <a:gd name="T13" fmla="*/ 61 h 585"/>
                <a:gd name="T14" fmla="*/ 225 w 587"/>
                <a:gd name="T15" fmla="*/ 86 h 585"/>
                <a:gd name="T16" fmla="*/ 502 w 587"/>
                <a:gd name="T17" fmla="*/ 361 h 585"/>
                <a:gd name="T18" fmla="*/ 527 w 587"/>
                <a:gd name="T19" fmla="*/ 390 h 585"/>
                <a:gd name="T20" fmla="*/ 548 w 587"/>
                <a:gd name="T21" fmla="*/ 423 h 585"/>
                <a:gd name="T22" fmla="*/ 565 w 587"/>
                <a:gd name="T23" fmla="*/ 456 h 585"/>
                <a:gd name="T24" fmla="*/ 577 w 587"/>
                <a:gd name="T25" fmla="*/ 492 h 585"/>
                <a:gd name="T26" fmla="*/ 584 w 587"/>
                <a:gd name="T27" fmla="*/ 529 h 585"/>
                <a:gd name="T28" fmla="*/ 587 w 587"/>
                <a:gd name="T29" fmla="*/ 568 h 585"/>
                <a:gd name="T30" fmla="*/ 587 w 587"/>
                <a:gd name="T31" fmla="*/ 568 h 585"/>
                <a:gd name="T32" fmla="*/ 587 w 587"/>
                <a:gd name="T33" fmla="*/ 585 h 585"/>
                <a:gd name="T34" fmla="*/ 0 w 587"/>
                <a:gd name="T35" fmla="*/ 585 h 585"/>
                <a:gd name="T36" fmla="*/ 0 w 587"/>
                <a:gd name="T37" fmla="*/ 0 h 5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87" h="585">
                  <a:moveTo>
                    <a:pt x="0" y="0"/>
                  </a:moveTo>
                  <a:lnTo>
                    <a:pt x="17" y="0"/>
                  </a:lnTo>
                  <a:lnTo>
                    <a:pt x="55" y="3"/>
                  </a:lnTo>
                  <a:lnTo>
                    <a:pt x="93" y="10"/>
                  </a:lnTo>
                  <a:lnTo>
                    <a:pt x="129" y="22"/>
                  </a:lnTo>
                  <a:lnTo>
                    <a:pt x="164" y="39"/>
                  </a:lnTo>
                  <a:lnTo>
                    <a:pt x="196" y="61"/>
                  </a:lnTo>
                  <a:lnTo>
                    <a:pt x="225" y="86"/>
                  </a:lnTo>
                  <a:lnTo>
                    <a:pt x="502" y="361"/>
                  </a:lnTo>
                  <a:lnTo>
                    <a:pt x="527" y="390"/>
                  </a:lnTo>
                  <a:lnTo>
                    <a:pt x="548" y="423"/>
                  </a:lnTo>
                  <a:lnTo>
                    <a:pt x="565" y="456"/>
                  </a:lnTo>
                  <a:lnTo>
                    <a:pt x="577" y="492"/>
                  </a:lnTo>
                  <a:lnTo>
                    <a:pt x="584" y="529"/>
                  </a:lnTo>
                  <a:lnTo>
                    <a:pt x="587" y="568"/>
                  </a:lnTo>
                  <a:lnTo>
                    <a:pt x="587" y="568"/>
                  </a:lnTo>
                  <a:lnTo>
                    <a:pt x="587" y="585"/>
                  </a:lnTo>
                  <a:lnTo>
                    <a:pt x="0" y="585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/>
            <p:cNvSpPr>
              <a:spLocks noEditPoints="1"/>
            </p:cNvSpPr>
            <p:nvPr/>
          </p:nvSpPr>
          <p:spPr bwMode="auto">
            <a:xfrm>
              <a:off x="4524" y="2727"/>
              <a:ext cx="317" cy="416"/>
            </a:xfrm>
            <a:custGeom>
              <a:avLst/>
              <a:gdLst>
                <a:gd name="T0" fmla="*/ 1203 w 2534"/>
                <a:gd name="T1" fmla="*/ 2751 h 3328"/>
                <a:gd name="T2" fmla="*/ 1167 w 2534"/>
                <a:gd name="T3" fmla="*/ 2828 h 3328"/>
                <a:gd name="T4" fmla="*/ 1203 w 2534"/>
                <a:gd name="T5" fmla="*/ 2903 h 3328"/>
                <a:gd name="T6" fmla="*/ 1850 w 2534"/>
                <a:gd name="T7" fmla="*/ 2925 h 3328"/>
                <a:gd name="T8" fmla="*/ 1925 w 2534"/>
                <a:gd name="T9" fmla="*/ 2888 h 3328"/>
                <a:gd name="T10" fmla="*/ 1944 w 2534"/>
                <a:gd name="T11" fmla="*/ 2806 h 3328"/>
                <a:gd name="T12" fmla="*/ 1892 w 2534"/>
                <a:gd name="T13" fmla="*/ 2740 h 3328"/>
                <a:gd name="T14" fmla="*/ 487 w 2534"/>
                <a:gd name="T15" fmla="*/ 2145 h 3328"/>
                <a:gd name="T16" fmla="*/ 411 w 2534"/>
                <a:gd name="T17" fmla="*/ 2181 h 3328"/>
                <a:gd name="T18" fmla="*/ 392 w 2534"/>
                <a:gd name="T19" fmla="*/ 2265 h 3328"/>
                <a:gd name="T20" fmla="*/ 445 w 2534"/>
                <a:gd name="T21" fmla="*/ 2330 h 3328"/>
                <a:gd name="T22" fmla="*/ 1481 w 2534"/>
                <a:gd name="T23" fmla="*/ 2338 h 3328"/>
                <a:gd name="T24" fmla="*/ 1547 w 2534"/>
                <a:gd name="T25" fmla="*/ 2285 h 3328"/>
                <a:gd name="T26" fmla="*/ 1547 w 2534"/>
                <a:gd name="T27" fmla="*/ 2200 h 3328"/>
                <a:gd name="T28" fmla="*/ 1481 w 2534"/>
                <a:gd name="T29" fmla="*/ 2148 h 3328"/>
                <a:gd name="T30" fmla="*/ 465 w 2534"/>
                <a:gd name="T31" fmla="*/ 1758 h 3328"/>
                <a:gd name="T32" fmla="*/ 400 w 2534"/>
                <a:gd name="T33" fmla="*/ 1809 h 3328"/>
                <a:gd name="T34" fmla="*/ 400 w 2534"/>
                <a:gd name="T35" fmla="*/ 1895 h 3328"/>
                <a:gd name="T36" fmla="*/ 465 w 2534"/>
                <a:gd name="T37" fmla="*/ 1947 h 3328"/>
                <a:gd name="T38" fmla="*/ 1503 w 2534"/>
                <a:gd name="T39" fmla="*/ 1940 h 3328"/>
                <a:gd name="T40" fmla="*/ 1554 w 2534"/>
                <a:gd name="T41" fmla="*/ 1875 h 3328"/>
                <a:gd name="T42" fmla="*/ 1536 w 2534"/>
                <a:gd name="T43" fmla="*/ 1791 h 3328"/>
                <a:gd name="T44" fmla="*/ 1459 w 2534"/>
                <a:gd name="T45" fmla="*/ 1755 h 3328"/>
                <a:gd name="T46" fmla="*/ 445 w 2534"/>
                <a:gd name="T47" fmla="*/ 1375 h 3328"/>
                <a:gd name="T48" fmla="*/ 392 w 2534"/>
                <a:gd name="T49" fmla="*/ 1440 h 3328"/>
                <a:gd name="T50" fmla="*/ 411 w 2534"/>
                <a:gd name="T51" fmla="*/ 1524 h 3328"/>
                <a:gd name="T52" fmla="*/ 487 w 2534"/>
                <a:gd name="T53" fmla="*/ 1560 h 3328"/>
                <a:gd name="T54" fmla="*/ 1521 w 2534"/>
                <a:gd name="T55" fmla="*/ 1539 h 3328"/>
                <a:gd name="T56" fmla="*/ 1557 w 2534"/>
                <a:gd name="T57" fmla="*/ 1462 h 3328"/>
                <a:gd name="T58" fmla="*/ 1521 w 2534"/>
                <a:gd name="T59" fmla="*/ 1387 h 3328"/>
                <a:gd name="T60" fmla="*/ 487 w 2534"/>
                <a:gd name="T61" fmla="*/ 1365 h 3328"/>
                <a:gd name="T62" fmla="*/ 427 w 2534"/>
                <a:gd name="T63" fmla="*/ 996 h 3328"/>
                <a:gd name="T64" fmla="*/ 390 w 2534"/>
                <a:gd name="T65" fmla="*/ 1072 h 3328"/>
                <a:gd name="T66" fmla="*/ 427 w 2534"/>
                <a:gd name="T67" fmla="*/ 1149 h 3328"/>
                <a:gd name="T68" fmla="*/ 1850 w 2534"/>
                <a:gd name="T69" fmla="*/ 1170 h 3328"/>
                <a:gd name="T70" fmla="*/ 1925 w 2534"/>
                <a:gd name="T71" fmla="*/ 1134 h 3328"/>
                <a:gd name="T72" fmla="*/ 1944 w 2534"/>
                <a:gd name="T73" fmla="*/ 1050 h 3328"/>
                <a:gd name="T74" fmla="*/ 1892 w 2534"/>
                <a:gd name="T75" fmla="*/ 985 h 3328"/>
                <a:gd name="T76" fmla="*/ 292 w 2534"/>
                <a:gd name="T77" fmla="*/ 0 h 3328"/>
                <a:gd name="T78" fmla="*/ 1764 w 2534"/>
                <a:gd name="T79" fmla="*/ 725 h 3328"/>
                <a:gd name="T80" fmla="*/ 1827 w 2534"/>
                <a:gd name="T81" fmla="*/ 778 h 3328"/>
                <a:gd name="T82" fmla="*/ 1875 w 2534"/>
                <a:gd name="T83" fmla="*/ 1860 h 3328"/>
                <a:gd name="T84" fmla="*/ 1781 w 2534"/>
                <a:gd name="T85" fmla="*/ 2012 h 3328"/>
                <a:gd name="T86" fmla="*/ 1676 w 2534"/>
                <a:gd name="T87" fmla="*/ 2388 h 3328"/>
                <a:gd name="T88" fmla="*/ 1720 w 2534"/>
                <a:gd name="T89" fmla="*/ 2510 h 3328"/>
                <a:gd name="T90" fmla="*/ 1822 w 2534"/>
                <a:gd name="T91" fmla="*/ 2592 h 3328"/>
                <a:gd name="T92" fmla="*/ 1966 w 2534"/>
                <a:gd name="T93" fmla="*/ 2609 h 3328"/>
                <a:gd name="T94" fmla="*/ 2393 w 2534"/>
                <a:gd name="T95" fmla="*/ 2443 h 3328"/>
                <a:gd name="T96" fmla="*/ 2531 w 2534"/>
                <a:gd name="T97" fmla="*/ 3075 h 3328"/>
                <a:gd name="T98" fmla="*/ 2473 w 2534"/>
                <a:gd name="T99" fmla="*/ 3214 h 3328"/>
                <a:gd name="T100" fmla="*/ 2354 w 2534"/>
                <a:gd name="T101" fmla="*/ 3305 h 3328"/>
                <a:gd name="T102" fmla="*/ 292 w 2534"/>
                <a:gd name="T103" fmla="*/ 3328 h 3328"/>
                <a:gd name="T104" fmla="*/ 133 w 2534"/>
                <a:gd name="T105" fmla="*/ 3281 h 3328"/>
                <a:gd name="T106" fmla="*/ 27 w 2534"/>
                <a:gd name="T107" fmla="*/ 3159 h 3328"/>
                <a:gd name="T108" fmla="*/ 0 w 2534"/>
                <a:gd name="T109" fmla="*/ 292 h 3328"/>
                <a:gd name="T110" fmla="*/ 47 w 2534"/>
                <a:gd name="T111" fmla="*/ 133 h 3328"/>
                <a:gd name="T112" fmla="*/ 169 w 2534"/>
                <a:gd name="T113" fmla="*/ 27 h 3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34" h="3328">
                  <a:moveTo>
                    <a:pt x="1265" y="2730"/>
                  </a:moveTo>
                  <a:lnTo>
                    <a:pt x="1242" y="2733"/>
                  </a:lnTo>
                  <a:lnTo>
                    <a:pt x="1221" y="2740"/>
                  </a:lnTo>
                  <a:lnTo>
                    <a:pt x="1203" y="2751"/>
                  </a:lnTo>
                  <a:lnTo>
                    <a:pt x="1188" y="2766"/>
                  </a:lnTo>
                  <a:lnTo>
                    <a:pt x="1177" y="2784"/>
                  </a:lnTo>
                  <a:lnTo>
                    <a:pt x="1170" y="2806"/>
                  </a:lnTo>
                  <a:lnTo>
                    <a:pt x="1167" y="2828"/>
                  </a:lnTo>
                  <a:lnTo>
                    <a:pt x="1170" y="2850"/>
                  </a:lnTo>
                  <a:lnTo>
                    <a:pt x="1177" y="2870"/>
                  </a:lnTo>
                  <a:lnTo>
                    <a:pt x="1188" y="2888"/>
                  </a:lnTo>
                  <a:lnTo>
                    <a:pt x="1203" y="2903"/>
                  </a:lnTo>
                  <a:lnTo>
                    <a:pt x="1221" y="2916"/>
                  </a:lnTo>
                  <a:lnTo>
                    <a:pt x="1242" y="2923"/>
                  </a:lnTo>
                  <a:lnTo>
                    <a:pt x="1265" y="2925"/>
                  </a:lnTo>
                  <a:lnTo>
                    <a:pt x="1850" y="2925"/>
                  </a:lnTo>
                  <a:lnTo>
                    <a:pt x="1872" y="2923"/>
                  </a:lnTo>
                  <a:lnTo>
                    <a:pt x="1892" y="2916"/>
                  </a:lnTo>
                  <a:lnTo>
                    <a:pt x="1910" y="2903"/>
                  </a:lnTo>
                  <a:lnTo>
                    <a:pt x="1925" y="2888"/>
                  </a:lnTo>
                  <a:lnTo>
                    <a:pt x="1937" y="2870"/>
                  </a:lnTo>
                  <a:lnTo>
                    <a:pt x="1944" y="2850"/>
                  </a:lnTo>
                  <a:lnTo>
                    <a:pt x="1946" y="2828"/>
                  </a:lnTo>
                  <a:lnTo>
                    <a:pt x="1944" y="2806"/>
                  </a:lnTo>
                  <a:lnTo>
                    <a:pt x="1937" y="2784"/>
                  </a:lnTo>
                  <a:lnTo>
                    <a:pt x="1925" y="2766"/>
                  </a:lnTo>
                  <a:lnTo>
                    <a:pt x="1910" y="2751"/>
                  </a:lnTo>
                  <a:lnTo>
                    <a:pt x="1892" y="2740"/>
                  </a:lnTo>
                  <a:lnTo>
                    <a:pt x="1872" y="2733"/>
                  </a:lnTo>
                  <a:lnTo>
                    <a:pt x="1850" y="2730"/>
                  </a:lnTo>
                  <a:lnTo>
                    <a:pt x="1265" y="2730"/>
                  </a:lnTo>
                  <a:close/>
                  <a:moveTo>
                    <a:pt x="487" y="2145"/>
                  </a:moveTo>
                  <a:lnTo>
                    <a:pt x="465" y="2148"/>
                  </a:lnTo>
                  <a:lnTo>
                    <a:pt x="445" y="2155"/>
                  </a:lnTo>
                  <a:lnTo>
                    <a:pt x="427" y="2166"/>
                  </a:lnTo>
                  <a:lnTo>
                    <a:pt x="411" y="2181"/>
                  </a:lnTo>
                  <a:lnTo>
                    <a:pt x="400" y="2200"/>
                  </a:lnTo>
                  <a:lnTo>
                    <a:pt x="392" y="2220"/>
                  </a:lnTo>
                  <a:lnTo>
                    <a:pt x="390" y="2243"/>
                  </a:lnTo>
                  <a:lnTo>
                    <a:pt x="392" y="2265"/>
                  </a:lnTo>
                  <a:lnTo>
                    <a:pt x="400" y="2285"/>
                  </a:lnTo>
                  <a:lnTo>
                    <a:pt x="411" y="2303"/>
                  </a:lnTo>
                  <a:lnTo>
                    <a:pt x="427" y="2319"/>
                  </a:lnTo>
                  <a:lnTo>
                    <a:pt x="445" y="2330"/>
                  </a:lnTo>
                  <a:lnTo>
                    <a:pt x="465" y="2338"/>
                  </a:lnTo>
                  <a:lnTo>
                    <a:pt x="487" y="2340"/>
                  </a:lnTo>
                  <a:lnTo>
                    <a:pt x="1459" y="2340"/>
                  </a:lnTo>
                  <a:lnTo>
                    <a:pt x="1481" y="2338"/>
                  </a:lnTo>
                  <a:lnTo>
                    <a:pt x="1503" y="2330"/>
                  </a:lnTo>
                  <a:lnTo>
                    <a:pt x="1521" y="2319"/>
                  </a:lnTo>
                  <a:lnTo>
                    <a:pt x="1536" y="2303"/>
                  </a:lnTo>
                  <a:lnTo>
                    <a:pt x="1547" y="2285"/>
                  </a:lnTo>
                  <a:lnTo>
                    <a:pt x="1554" y="2265"/>
                  </a:lnTo>
                  <a:lnTo>
                    <a:pt x="1557" y="2243"/>
                  </a:lnTo>
                  <a:lnTo>
                    <a:pt x="1554" y="2220"/>
                  </a:lnTo>
                  <a:lnTo>
                    <a:pt x="1547" y="2200"/>
                  </a:lnTo>
                  <a:lnTo>
                    <a:pt x="1536" y="2181"/>
                  </a:lnTo>
                  <a:lnTo>
                    <a:pt x="1521" y="2166"/>
                  </a:lnTo>
                  <a:lnTo>
                    <a:pt x="1503" y="2155"/>
                  </a:lnTo>
                  <a:lnTo>
                    <a:pt x="1481" y="2148"/>
                  </a:lnTo>
                  <a:lnTo>
                    <a:pt x="1459" y="2145"/>
                  </a:lnTo>
                  <a:lnTo>
                    <a:pt x="487" y="2145"/>
                  </a:lnTo>
                  <a:close/>
                  <a:moveTo>
                    <a:pt x="487" y="1755"/>
                  </a:moveTo>
                  <a:lnTo>
                    <a:pt x="465" y="1758"/>
                  </a:lnTo>
                  <a:lnTo>
                    <a:pt x="445" y="1765"/>
                  </a:lnTo>
                  <a:lnTo>
                    <a:pt x="427" y="1776"/>
                  </a:lnTo>
                  <a:lnTo>
                    <a:pt x="411" y="1791"/>
                  </a:lnTo>
                  <a:lnTo>
                    <a:pt x="400" y="1809"/>
                  </a:lnTo>
                  <a:lnTo>
                    <a:pt x="392" y="1830"/>
                  </a:lnTo>
                  <a:lnTo>
                    <a:pt x="390" y="1853"/>
                  </a:lnTo>
                  <a:lnTo>
                    <a:pt x="392" y="1875"/>
                  </a:lnTo>
                  <a:lnTo>
                    <a:pt x="400" y="1895"/>
                  </a:lnTo>
                  <a:lnTo>
                    <a:pt x="411" y="1913"/>
                  </a:lnTo>
                  <a:lnTo>
                    <a:pt x="427" y="1928"/>
                  </a:lnTo>
                  <a:lnTo>
                    <a:pt x="445" y="1940"/>
                  </a:lnTo>
                  <a:lnTo>
                    <a:pt x="465" y="1947"/>
                  </a:lnTo>
                  <a:lnTo>
                    <a:pt x="487" y="1950"/>
                  </a:lnTo>
                  <a:lnTo>
                    <a:pt x="1459" y="1950"/>
                  </a:lnTo>
                  <a:lnTo>
                    <a:pt x="1481" y="1947"/>
                  </a:lnTo>
                  <a:lnTo>
                    <a:pt x="1503" y="1940"/>
                  </a:lnTo>
                  <a:lnTo>
                    <a:pt x="1521" y="1928"/>
                  </a:lnTo>
                  <a:lnTo>
                    <a:pt x="1536" y="1913"/>
                  </a:lnTo>
                  <a:lnTo>
                    <a:pt x="1547" y="1895"/>
                  </a:lnTo>
                  <a:lnTo>
                    <a:pt x="1554" y="1875"/>
                  </a:lnTo>
                  <a:lnTo>
                    <a:pt x="1557" y="1853"/>
                  </a:lnTo>
                  <a:lnTo>
                    <a:pt x="1554" y="1830"/>
                  </a:lnTo>
                  <a:lnTo>
                    <a:pt x="1547" y="1809"/>
                  </a:lnTo>
                  <a:lnTo>
                    <a:pt x="1536" y="1791"/>
                  </a:lnTo>
                  <a:lnTo>
                    <a:pt x="1521" y="1776"/>
                  </a:lnTo>
                  <a:lnTo>
                    <a:pt x="1503" y="1765"/>
                  </a:lnTo>
                  <a:lnTo>
                    <a:pt x="1481" y="1758"/>
                  </a:lnTo>
                  <a:lnTo>
                    <a:pt x="1459" y="1755"/>
                  </a:lnTo>
                  <a:lnTo>
                    <a:pt x="487" y="1755"/>
                  </a:lnTo>
                  <a:close/>
                  <a:moveTo>
                    <a:pt x="487" y="1365"/>
                  </a:moveTo>
                  <a:lnTo>
                    <a:pt x="465" y="1368"/>
                  </a:lnTo>
                  <a:lnTo>
                    <a:pt x="445" y="1375"/>
                  </a:lnTo>
                  <a:lnTo>
                    <a:pt x="427" y="1387"/>
                  </a:lnTo>
                  <a:lnTo>
                    <a:pt x="411" y="1402"/>
                  </a:lnTo>
                  <a:lnTo>
                    <a:pt x="400" y="1420"/>
                  </a:lnTo>
                  <a:lnTo>
                    <a:pt x="392" y="1440"/>
                  </a:lnTo>
                  <a:lnTo>
                    <a:pt x="390" y="1462"/>
                  </a:lnTo>
                  <a:lnTo>
                    <a:pt x="392" y="1484"/>
                  </a:lnTo>
                  <a:lnTo>
                    <a:pt x="400" y="1506"/>
                  </a:lnTo>
                  <a:lnTo>
                    <a:pt x="411" y="1524"/>
                  </a:lnTo>
                  <a:lnTo>
                    <a:pt x="427" y="1539"/>
                  </a:lnTo>
                  <a:lnTo>
                    <a:pt x="445" y="1550"/>
                  </a:lnTo>
                  <a:lnTo>
                    <a:pt x="465" y="1557"/>
                  </a:lnTo>
                  <a:lnTo>
                    <a:pt x="487" y="1560"/>
                  </a:lnTo>
                  <a:lnTo>
                    <a:pt x="1459" y="1560"/>
                  </a:lnTo>
                  <a:lnTo>
                    <a:pt x="1481" y="1557"/>
                  </a:lnTo>
                  <a:lnTo>
                    <a:pt x="1503" y="1550"/>
                  </a:lnTo>
                  <a:lnTo>
                    <a:pt x="1521" y="1539"/>
                  </a:lnTo>
                  <a:lnTo>
                    <a:pt x="1536" y="1524"/>
                  </a:lnTo>
                  <a:lnTo>
                    <a:pt x="1547" y="1506"/>
                  </a:lnTo>
                  <a:lnTo>
                    <a:pt x="1554" y="1484"/>
                  </a:lnTo>
                  <a:lnTo>
                    <a:pt x="1557" y="1462"/>
                  </a:lnTo>
                  <a:lnTo>
                    <a:pt x="1554" y="1440"/>
                  </a:lnTo>
                  <a:lnTo>
                    <a:pt x="1547" y="1420"/>
                  </a:lnTo>
                  <a:lnTo>
                    <a:pt x="1536" y="1402"/>
                  </a:lnTo>
                  <a:lnTo>
                    <a:pt x="1521" y="1387"/>
                  </a:lnTo>
                  <a:lnTo>
                    <a:pt x="1503" y="1375"/>
                  </a:lnTo>
                  <a:lnTo>
                    <a:pt x="1481" y="1368"/>
                  </a:lnTo>
                  <a:lnTo>
                    <a:pt x="1459" y="1365"/>
                  </a:lnTo>
                  <a:lnTo>
                    <a:pt x="487" y="1365"/>
                  </a:lnTo>
                  <a:close/>
                  <a:moveTo>
                    <a:pt x="487" y="975"/>
                  </a:moveTo>
                  <a:lnTo>
                    <a:pt x="465" y="977"/>
                  </a:lnTo>
                  <a:lnTo>
                    <a:pt x="445" y="985"/>
                  </a:lnTo>
                  <a:lnTo>
                    <a:pt x="427" y="996"/>
                  </a:lnTo>
                  <a:lnTo>
                    <a:pt x="411" y="1012"/>
                  </a:lnTo>
                  <a:lnTo>
                    <a:pt x="400" y="1030"/>
                  </a:lnTo>
                  <a:lnTo>
                    <a:pt x="392" y="1050"/>
                  </a:lnTo>
                  <a:lnTo>
                    <a:pt x="390" y="1072"/>
                  </a:lnTo>
                  <a:lnTo>
                    <a:pt x="392" y="1095"/>
                  </a:lnTo>
                  <a:lnTo>
                    <a:pt x="400" y="1115"/>
                  </a:lnTo>
                  <a:lnTo>
                    <a:pt x="411" y="1134"/>
                  </a:lnTo>
                  <a:lnTo>
                    <a:pt x="427" y="1149"/>
                  </a:lnTo>
                  <a:lnTo>
                    <a:pt x="445" y="1160"/>
                  </a:lnTo>
                  <a:lnTo>
                    <a:pt x="465" y="1168"/>
                  </a:lnTo>
                  <a:lnTo>
                    <a:pt x="487" y="1170"/>
                  </a:lnTo>
                  <a:lnTo>
                    <a:pt x="1850" y="1170"/>
                  </a:lnTo>
                  <a:lnTo>
                    <a:pt x="1872" y="1168"/>
                  </a:lnTo>
                  <a:lnTo>
                    <a:pt x="1892" y="1160"/>
                  </a:lnTo>
                  <a:lnTo>
                    <a:pt x="1910" y="1149"/>
                  </a:lnTo>
                  <a:lnTo>
                    <a:pt x="1925" y="1134"/>
                  </a:lnTo>
                  <a:lnTo>
                    <a:pt x="1937" y="1115"/>
                  </a:lnTo>
                  <a:lnTo>
                    <a:pt x="1944" y="1095"/>
                  </a:lnTo>
                  <a:lnTo>
                    <a:pt x="1946" y="1072"/>
                  </a:lnTo>
                  <a:lnTo>
                    <a:pt x="1944" y="1050"/>
                  </a:lnTo>
                  <a:lnTo>
                    <a:pt x="1937" y="1030"/>
                  </a:lnTo>
                  <a:lnTo>
                    <a:pt x="1925" y="1012"/>
                  </a:lnTo>
                  <a:lnTo>
                    <a:pt x="1910" y="996"/>
                  </a:lnTo>
                  <a:lnTo>
                    <a:pt x="1892" y="985"/>
                  </a:lnTo>
                  <a:lnTo>
                    <a:pt x="1872" y="977"/>
                  </a:lnTo>
                  <a:lnTo>
                    <a:pt x="1850" y="975"/>
                  </a:lnTo>
                  <a:lnTo>
                    <a:pt x="487" y="975"/>
                  </a:lnTo>
                  <a:close/>
                  <a:moveTo>
                    <a:pt x="292" y="0"/>
                  </a:moveTo>
                  <a:lnTo>
                    <a:pt x="1755" y="0"/>
                  </a:lnTo>
                  <a:lnTo>
                    <a:pt x="1755" y="683"/>
                  </a:lnTo>
                  <a:lnTo>
                    <a:pt x="1758" y="705"/>
                  </a:lnTo>
                  <a:lnTo>
                    <a:pt x="1764" y="725"/>
                  </a:lnTo>
                  <a:lnTo>
                    <a:pt x="1775" y="743"/>
                  </a:lnTo>
                  <a:lnTo>
                    <a:pt x="1790" y="758"/>
                  </a:lnTo>
                  <a:lnTo>
                    <a:pt x="1807" y="770"/>
                  </a:lnTo>
                  <a:lnTo>
                    <a:pt x="1827" y="778"/>
                  </a:lnTo>
                  <a:lnTo>
                    <a:pt x="1850" y="780"/>
                  </a:lnTo>
                  <a:lnTo>
                    <a:pt x="2534" y="780"/>
                  </a:lnTo>
                  <a:lnTo>
                    <a:pt x="2534" y="1202"/>
                  </a:lnTo>
                  <a:lnTo>
                    <a:pt x="1875" y="1860"/>
                  </a:lnTo>
                  <a:lnTo>
                    <a:pt x="1845" y="1894"/>
                  </a:lnTo>
                  <a:lnTo>
                    <a:pt x="1818" y="1930"/>
                  </a:lnTo>
                  <a:lnTo>
                    <a:pt x="1797" y="1971"/>
                  </a:lnTo>
                  <a:lnTo>
                    <a:pt x="1781" y="2012"/>
                  </a:lnTo>
                  <a:lnTo>
                    <a:pt x="1687" y="2291"/>
                  </a:lnTo>
                  <a:lnTo>
                    <a:pt x="1679" y="2323"/>
                  </a:lnTo>
                  <a:lnTo>
                    <a:pt x="1675" y="2356"/>
                  </a:lnTo>
                  <a:lnTo>
                    <a:pt x="1676" y="2388"/>
                  </a:lnTo>
                  <a:lnTo>
                    <a:pt x="1681" y="2420"/>
                  </a:lnTo>
                  <a:lnTo>
                    <a:pt x="1690" y="2452"/>
                  </a:lnTo>
                  <a:lnTo>
                    <a:pt x="1703" y="2482"/>
                  </a:lnTo>
                  <a:lnTo>
                    <a:pt x="1720" y="2510"/>
                  </a:lnTo>
                  <a:lnTo>
                    <a:pt x="1742" y="2536"/>
                  </a:lnTo>
                  <a:lnTo>
                    <a:pt x="1766" y="2559"/>
                  </a:lnTo>
                  <a:lnTo>
                    <a:pt x="1793" y="2577"/>
                  </a:lnTo>
                  <a:lnTo>
                    <a:pt x="1822" y="2592"/>
                  </a:lnTo>
                  <a:lnTo>
                    <a:pt x="1854" y="2603"/>
                  </a:lnTo>
                  <a:lnTo>
                    <a:pt x="1885" y="2610"/>
                  </a:lnTo>
                  <a:lnTo>
                    <a:pt x="1918" y="2612"/>
                  </a:lnTo>
                  <a:lnTo>
                    <a:pt x="1966" y="2609"/>
                  </a:lnTo>
                  <a:lnTo>
                    <a:pt x="2276" y="2506"/>
                  </a:lnTo>
                  <a:lnTo>
                    <a:pt x="2317" y="2489"/>
                  </a:lnTo>
                  <a:lnTo>
                    <a:pt x="2357" y="2468"/>
                  </a:lnTo>
                  <a:lnTo>
                    <a:pt x="2393" y="2443"/>
                  </a:lnTo>
                  <a:lnTo>
                    <a:pt x="2427" y="2412"/>
                  </a:lnTo>
                  <a:lnTo>
                    <a:pt x="2534" y="2307"/>
                  </a:lnTo>
                  <a:lnTo>
                    <a:pt x="2534" y="3036"/>
                  </a:lnTo>
                  <a:lnTo>
                    <a:pt x="2531" y="3075"/>
                  </a:lnTo>
                  <a:lnTo>
                    <a:pt x="2524" y="3113"/>
                  </a:lnTo>
                  <a:lnTo>
                    <a:pt x="2511" y="3149"/>
                  </a:lnTo>
                  <a:lnTo>
                    <a:pt x="2494" y="3183"/>
                  </a:lnTo>
                  <a:lnTo>
                    <a:pt x="2473" y="3214"/>
                  </a:lnTo>
                  <a:lnTo>
                    <a:pt x="2448" y="3242"/>
                  </a:lnTo>
                  <a:lnTo>
                    <a:pt x="2419" y="3266"/>
                  </a:lnTo>
                  <a:lnTo>
                    <a:pt x="2387" y="3288"/>
                  </a:lnTo>
                  <a:lnTo>
                    <a:pt x="2354" y="3305"/>
                  </a:lnTo>
                  <a:lnTo>
                    <a:pt x="2317" y="3318"/>
                  </a:lnTo>
                  <a:lnTo>
                    <a:pt x="2279" y="3325"/>
                  </a:lnTo>
                  <a:lnTo>
                    <a:pt x="2239" y="3328"/>
                  </a:lnTo>
                  <a:lnTo>
                    <a:pt x="292" y="3328"/>
                  </a:lnTo>
                  <a:lnTo>
                    <a:pt x="249" y="3325"/>
                  </a:lnTo>
                  <a:lnTo>
                    <a:pt x="208" y="3316"/>
                  </a:lnTo>
                  <a:lnTo>
                    <a:pt x="169" y="3301"/>
                  </a:lnTo>
                  <a:lnTo>
                    <a:pt x="133" y="3281"/>
                  </a:lnTo>
                  <a:lnTo>
                    <a:pt x="101" y="3256"/>
                  </a:lnTo>
                  <a:lnTo>
                    <a:pt x="72" y="3227"/>
                  </a:lnTo>
                  <a:lnTo>
                    <a:pt x="47" y="3195"/>
                  </a:lnTo>
                  <a:lnTo>
                    <a:pt x="27" y="3159"/>
                  </a:lnTo>
                  <a:lnTo>
                    <a:pt x="12" y="3120"/>
                  </a:lnTo>
                  <a:lnTo>
                    <a:pt x="3" y="3079"/>
                  </a:lnTo>
                  <a:lnTo>
                    <a:pt x="0" y="3036"/>
                  </a:lnTo>
                  <a:lnTo>
                    <a:pt x="0" y="292"/>
                  </a:lnTo>
                  <a:lnTo>
                    <a:pt x="3" y="249"/>
                  </a:lnTo>
                  <a:lnTo>
                    <a:pt x="12" y="208"/>
                  </a:lnTo>
                  <a:lnTo>
                    <a:pt x="27" y="169"/>
                  </a:lnTo>
                  <a:lnTo>
                    <a:pt x="47" y="133"/>
                  </a:lnTo>
                  <a:lnTo>
                    <a:pt x="72" y="101"/>
                  </a:lnTo>
                  <a:lnTo>
                    <a:pt x="101" y="72"/>
                  </a:lnTo>
                  <a:lnTo>
                    <a:pt x="133" y="47"/>
                  </a:lnTo>
                  <a:lnTo>
                    <a:pt x="169" y="27"/>
                  </a:lnTo>
                  <a:lnTo>
                    <a:pt x="208" y="12"/>
                  </a:lnTo>
                  <a:lnTo>
                    <a:pt x="249" y="3"/>
                  </a:lnTo>
                  <a:lnTo>
                    <a:pt x="2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/>
            <p:cNvSpPr>
              <a:spLocks/>
            </p:cNvSpPr>
            <p:nvPr/>
          </p:nvSpPr>
          <p:spPr bwMode="auto">
            <a:xfrm>
              <a:off x="4758" y="2989"/>
              <a:ext cx="40" cy="40"/>
            </a:xfrm>
            <a:custGeom>
              <a:avLst/>
              <a:gdLst>
                <a:gd name="T0" fmla="*/ 87 w 318"/>
                <a:gd name="T1" fmla="*/ 0 h 318"/>
                <a:gd name="T2" fmla="*/ 318 w 318"/>
                <a:gd name="T3" fmla="*/ 231 h 318"/>
                <a:gd name="T4" fmla="*/ 64 w 318"/>
                <a:gd name="T5" fmla="*/ 315 h 318"/>
                <a:gd name="T6" fmla="*/ 48 w 318"/>
                <a:gd name="T7" fmla="*/ 318 h 318"/>
                <a:gd name="T8" fmla="*/ 33 w 318"/>
                <a:gd name="T9" fmla="*/ 315 h 318"/>
                <a:gd name="T10" fmla="*/ 20 w 318"/>
                <a:gd name="T11" fmla="*/ 308 h 318"/>
                <a:gd name="T12" fmla="*/ 10 w 318"/>
                <a:gd name="T13" fmla="*/ 298 h 318"/>
                <a:gd name="T14" fmla="*/ 3 w 318"/>
                <a:gd name="T15" fmla="*/ 285 h 318"/>
                <a:gd name="T16" fmla="*/ 0 w 318"/>
                <a:gd name="T17" fmla="*/ 270 h 318"/>
                <a:gd name="T18" fmla="*/ 3 w 318"/>
                <a:gd name="T19" fmla="*/ 254 h 318"/>
                <a:gd name="T20" fmla="*/ 87 w 318"/>
                <a:gd name="T21" fmla="*/ 0 h 3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18" h="318">
                  <a:moveTo>
                    <a:pt x="87" y="0"/>
                  </a:moveTo>
                  <a:lnTo>
                    <a:pt x="318" y="231"/>
                  </a:lnTo>
                  <a:lnTo>
                    <a:pt x="64" y="315"/>
                  </a:lnTo>
                  <a:lnTo>
                    <a:pt x="48" y="318"/>
                  </a:lnTo>
                  <a:lnTo>
                    <a:pt x="33" y="315"/>
                  </a:lnTo>
                  <a:lnTo>
                    <a:pt x="20" y="308"/>
                  </a:lnTo>
                  <a:lnTo>
                    <a:pt x="10" y="298"/>
                  </a:lnTo>
                  <a:lnTo>
                    <a:pt x="3" y="285"/>
                  </a:lnTo>
                  <a:lnTo>
                    <a:pt x="0" y="270"/>
                  </a:lnTo>
                  <a:lnTo>
                    <a:pt x="3" y="254"/>
                  </a:lnTo>
                  <a:lnTo>
                    <a:pt x="8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/>
            <p:cNvSpPr>
              <a:spLocks/>
            </p:cNvSpPr>
            <p:nvPr/>
          </p:nvSpPr>
          <p:spPr bwMode="auto">
            <a:xfrm>
              <a:off x="4783" y="2889"/>
              <a:ext cx="115" cy="115"/>
            </a:xfrm>
            <a:custGeom>
              <a:avLst/>
              <a:gdLst>
                <a:gd name="T0" fmla="*/ 643 w 919"/>
                <a:gd name="T1" fmla="*/ 0 h 919"/>
                <a:gd name="T2" fmla="*/ 919 w 919"/>
                <a:gd name="T3" fmla="*/ 276 h 919"/>
                <a:gd name="T4" fmla="*/ 876 w 919"/>
                <a:gd name="T5" fmla="*/ 321 h 919"/>
                <a:gd name="T6" fmla="*/ 830 w 919"/>
                <a:gd name="T7" fmla="*/ 365 h 919"/>
                <a:gd name="T8" fmla="*/ 784 w 919"/>
                <a:gd name="T9" fmla="*/ 411 h 919"/>
                <a:gd name="T10" fmla="*/ 737 w 919"/>
                <a:gd name="T11" fmla="*/ 459 h 919"/>
                <a:gd name="T12" fmla="*/ 690 w 919"/>
                <a:gd name="T13" fmla="*/ 506 h 919"/>
                <a:gd name="T14" fmla="*/ 643 w 919"/>
                <a:gd name="T15" fmla="*/ 554 h 919"/>
                <a:gd name="T16" fmla="*/ 595 w 919"/>
                <a:gd name="T17" fmla="*/ 600 h 919"/>
                <a:gd name="T18" fmla="*/ 549 w 919"/>
                <a:gd name="T19" fmla="*/ 646 h 919"/>
                <a:gd name="T20" fmla="*/ 505 w 919"/>
                <a:gd name="T21" fmla="*/ 692 h 919"/>
                <a:gd name="T22" fmla="*/ 460 w 919"/>
                <a:gd name="T23" fmla="*/ 735 h 919"/>
                <a:gd name="T24" fmla="*/ 419 w 919"/>
                <a:gd name="T25" fmla="*/ 777 h 919"/>
                <a:gd name="T26" fmla="*/ 380 w 919"/>
                <a:gd name="T27" fmla="*/ 817 h 919"/>
                <a:gd name="T28" fmla="*/ 342 w 919"/>
                <a:gd name="T29" fmla="*/ 854 h 919"/>
                <a:gd name="T30" fmla="*/ 308 w 919"/>
                <a:gd name="T31" fmla="*/ 887 h 919"/>
                <a:gd name="T32" fmla="*/ 277 w 919"/>
                <a:gd name="T33" fmla="*/ 919 h 919"/>
                <a:gd name="T34" fmla="*/ 0 w 919"/>
                <a:gd name="T35" fmla="*/ 641 h 919"/>
                <a:gd name="T36" fmla="*/ 643 w 919"/>
                <a:gd name="T37" fmla="*/ 0 h 9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19" h="919">
                  <a:moveTo>
                    <a:pt x="643" y="0"/>
                  </a:moveTo>
                  <a:lnTo>
                    <a:pt x="919" y="276"/>
                  </a:lnTo>
                  <a:lnTo>
                    <a:pt x="876" y="321"/>
                  </a:lnTo>
                  <a:lnTo>
                    <a:pt x="830" y="365"/>
                  </a:lnTo>
                  <a:lnTo>
                    <a:pt x="784" y="411"/>
                  </a:lnTo>
                  <a:lnTo>
                    <a:pt x="737" y="459"/>
                  </a:lnTo>
                  <a:lnTo>
                    <a:pt x="690" y="506"/>
                  </a:lnTo>
                  <a:lnTo>
                    <a:pt x="643" y="554"/>
                  </a:lnTo>
                  <a:lnTo>
                    <a:pt x="595" y="600"/>
                  </a:lnTo>
                  <a:lnTo>
                    <a:pt x="549" y="646"/>
                  </a:lnTo>
                  <a:lnTo>
                    <a:pt x="505" y="692"/>
                  </a:lnTo>
                  <a:lnTo>
                    <a:pt x="460" y="735"/>
                  </a:lnTo>
                  <a:lnTo>
                    <a:pt x="419" y="777"/>
                  </a:lnTo>
                  <a:lnTo>
                    <a:pt x="380" y="817"/>
                  </a:lnTo>
                  <a:lnTo>
                    <a:pt x="342" y="854"/>
                  </a:lnTo>
                  <a:lnTo>
                    <a:pt x="308" y="887"/>
                  </a:lnTo>
                  <a:lnTo>
                    <a:pt x="277" y="919"/>
                  </a:lnTo>
                  <a:lnTo>
                    <a:pt x="0" y="641"/>
                  </a:lnTo>
                  <a:lnTo>
                    <a:pt x="64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auto">
            <a:xfrm>
              <a:off x="4880" y="2847"/>
              <a:ext cx="60" cy="59"/>
            </a:xfrm>
            <a:custGeom>
              <a:avLst/>
              <a:gdLst>
                <a:gd name="T0" fmla="*/ 280 w 476"/>
                <a:gd name="T1" fmla="*/ 0 h 472"/>
                <a:gd name="T2" fmla="*/ 312 w 476"/>
                <a:gd name="T3" fmla="*/ 2 h 472"/>
                <a:gd name="T4" fmla="*/ 342 w 476"/>
                <a:gd name="T5" fmla="*/ 9 h 472"/>
                <a:gd name="T6" fmla="*/ 371 w 476"/>
                <a:gd name="T7" fmla="*/ 20 h 472"/>
                <a:gd name="T8" fmla="*/ 396 w 476"/>
                <a:gd name="T9" fmla="*/ 35 h 472"/>
                <a:gd name="T10" fmla="*/ 419 w 476"/>
                <a:gd name="T11" fmla="*/ 54 h 472"/>
                <a:gd name="T12" fmla="*/ 440 w 476"/>
                <a:gd name="T13" fmla="*/ 78 h 472"/>
                <a:gd name="T14" fmla="*/ 456 w 476"/>
                <a:gd name="T15" fmla="*/ 105 h 472"/>
                <a:gd name="T16" fmla="*/ 467 w 476"/>
                <a:gd name="T17" fmla="*/ 133 h 472"/>
                <a:gd name="T18" fmla="*/ 474 w 476"/>
                <a:gd name="T19" fmla="*/ 162 h 472"/>
                <a:gd name="T20" fmla="*/ 476 w 476"/>
                <a:gd name="T21" fmla="*/ 193 h 472"/>
                <a:gd name="T22" fmla="*/ 474 w 476"/>
                <a:gd name="T23" fmla="*/ 222 h 472"/>
                <a:gd name="T24" fmla="*/ 467 w 476"/>
                <a:gd name="T25" fmla="*/ 252 h 472"/>
                <a:gd name="T26" fmla="*/ 456 w 476"/>
                <a:gd name="T27" fmla="*/ 280 h 472"/>
                <a:gd name="T28" fmla="*/ 440 w 476"/>
                <a:gd name="T29" fmla="*/ 307 h 472"/>
                <a:gd name="T30" fmla="*/ 419 w 476"/>
                <a:gd name="T31" fmla="*/ 331 h 472"/>
                <a:gd name="T32" fmla="*/ 413 w 476"/>
                <a:gd name="T33" fmla="*/ 336 h 472"/>
                <a:gd name="T34" fmla="*/ 405 w 476"/>
                <a:gd name="T35" fmla="*/ 344 h 472"/>
                <a:gd name="T36" fmla="*/ 394 w 476"/>
                <a:gd name="T37" fmla="*/ 355 h 472"/>
                <a:gd name="T38" fmla="*/ 381 w 476"/>
                <a:gd name="T39" fmla="*/ 368 h 472"/>
                <a:gd name="T40" fmla="*/ 365 w 476"/>
                <a:gd name="T41" fmla="*/ 385 h 472"/>
                <a:gd name="T42" fmla="*/ 346 w 476"/>
                <a:gd name="T43" fmla="*/ 403 h 472"/>
                <a:gd name="T44" fmla="*/ 325 w 476"/>
                <a:gd name="T45" fmla="*/ 425 h 472"/>
                <a:gd name="T46" fmla="*/ 303 w 476"/>
                <a:gd name="T47" fmla="*/ 448 h 472"/>
                <a:gd name="T48" fmla="*/ 277 w 476"/>
                <a:gd name="T49" fmla="*/ 472 h 472"/>
                <a:gd name="T50" fmla="*/ 0 w 476"/>
                <a:gd name="T51" fmla="*/ 196 h 472"/>
                <a:gd name="T52" fmla="*/ 142 w 476"/>
                <a:gd name="T53" fmla="*/ 54 h 472"/>
                <a:gd name="T54" fmla="*/ 164 w 476"/>
                <a:gd name="T55" fmla="*/ 35 h 472"/>
                <a:gd name="T56" fmla="*/ 191 w 476"/>
                <a:gd name="T57" fmla="*/ 20 h 472"/>
                <a:gd name="T58" fmla="*/ 219 w 476"/>
                <a:gd name="T59" fmla="*/ 9 h 472"/>
                <a:gd name="T60" fmla="*/ 249 w 476"/>
                <a:gd name="T61" fmla="*/ 2 h 472"/>
                <a:gd name="T62" fmla="*/ 280 w 476"/>
                <a:gd name="T63" fmla="*/ 0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76" h="472">
                  <a:moveTo>
                    <a:pt x="280" y="0"/>
                  </a:moveTo>
                  <a:lnTo>
                    <a:pt x="312" y="2"/>
                  </a:lnTo>
                  <a:lnTo>
                    <a:pt x="342" y="9"/>
                  </a:lnTo>
                  <a:lnTo>
                    <a:pt x="371" y="20"/>
                  </a:lnTo>
                  <a:lnTo>
                    <a:pt x="396" y="35"/>
                  </a:lnTo>
                  <a:lnTo>
                    <a:pt x="419" y="54"/>
                  </a:lnTo>
                  <a:lnTo>
                    <a:pt x="440" y="78"/>
                  </a:lnTo>
                  <a:lnTo>
                    <a:pt x="456" y="105"/>
                  </a:lnTo>
                  <a:lnTo>
                    <a:pt x="467" y="133"/>
                  </a:lnTo>
                  <a:lnTo>
                    <a:pt x="474" y="162"/>
                  </a:lnTo>
                  <a:lnTo>
                    <a:pt x="476" y="193"/>
                  </a:lnTo>
                  <a:lnTo>
                    <a:pt x="474" y="222"/>
                  </a:lnTo>
                  <a:lnTo>
                    <a:pt x="467" y="252"/>
                  </a:lnTo>
                  <a:lnTo>
                    <a:pt x="456" y="280"/>
                  </a:lnTo>
                  <a:lnTo>
                    <a:pt x="440" y="307"/>
                  </a:lnTo>
                  <a:lnTo>
                    <a:pt x="419" y="331"/>
                  </a:lnTo>
                  <a:lnTo>
                    <a:pt x="413" y="336"/>
                  </a:lnTo>
                  <a:lnTo>
                    <a:pt x="405" y="344"/>
                  </a:lnTo>
                  <a:lnTo>
                    <a:pt x="394" y="355"/>
                  </a:lnTo>
                  <a:lnTo>
                    <a:pt x="381" y="368"/>
                  </a:lnTo>
                  <a:lnTo>
                    <a:pt x="365" y="385"/>
                  </a:lnTo>
                  <a:lnTo>
                    <a:pt x="346" y="403"/>
                  </a:lnTo>
                  <a:lnTo>
                    <a:pt x="325" y="425"/>
                  </a:lnTo>
                  <a:lnTo>
                    <a:pt x="303" y="448"/>
                  </a:lnTo>
                  <a:lnTo>
                    <a:pt x="277" y="472"/>
                  </a:lnTo>
                  <a:lnTo>
                    <a:pt x="0" y="196"/>
                  </a:lnTo>
                  <a:lnTo>
                    <a:pt x="142" y="54"/>
                  </a:lnTo>
                  <a:lnTo>
                    <a:pt x="164" y="35"/>
                  </a:lnTo>
                  <a:lnTo>
                    <a:pt x="191" y="20"/>
                  </a:lnTo>
                  <a:lnTo>
                    <a:pt x="219" y="9"/>
                  </a:lnTo>
                  <a:lnTo>
                    <a:pt x="249" y="2"/>
                  </a:lnTo>
                  <a:lnTo>
                    <a:pt x="28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/>
            <p:cNvSpPr>
              <a:spLocks noEditPoints="1"/>
            </p:cNvSpPr>
            <p:nvPr/>
          </p:nvSpPr>
          <p:spPr bwMode="auto">
            <a:xfrm>
              <a:off x="4933" y="2888"/>
              <a:ext cx="0" cy="1"/>
            </a:xfrm>
            <a:custGeom>
              <a:avLst/>
              <a:gdLst>
                <a:gd name="T0" fmla="*/ 2 w 2"/>
                <a:gd name="T1" fmla="*/ 1 h 2"/>
                <a:gd name="T2" fmla="*/ 2 w 2"/>
                <a:gd name="T3" fmla="*/ 1 h 2"/>
                <a:gd name="T4" fmla="*/ 0 w 2"/>
                <a:gd name="T5" fmla="*/ 2 h 2"/>
                <a:gd name="T6" fmla="*/ 0 w 2"/>
                <a:gd name="T7" fmla="*/ 2 h 2"/>
                <a:gd name="T8" fmla="*/ 2 w 2"/>
                <a:gd name="T9" fmla="*/ 1 h 2"/>
                <a:gd name="T10" fmla="*/ 2 w 2"/>
                <a:gd name="T11" fmla="*/ 1 h 2"/>
                <a:gd name="T12" fmla="*/ 2 w 2"/>
                <a:gd name="T13" fmla="*/ 0 h 2"/>
                <a:gd name="T14" fmla="*/ 2 w 2"/>
                <a:gd name="T15" fmla="*/ 1 h 2"/>
                <a:gd name="T16" fmla="*/ 2 w 2"/>
                <a:gd name="T17" fmla="*/ 0 h 2"/>
                <a:gd name="T18" fmla="*/ 2 w 2"/>
                <a:gd name="T1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" h="2">
                  <a:moveTo>
                    <a:pt x="2" y="1"/>
                  </a:moveTo>
                  <a:lnTo>
                    <a:pt x="2" y="1"/>
                  </a:lnTo>
                  <a:lnTo>
                    <a:pt x="0" y="2"/>
                  </a:lnTo>
                  <a:lnTo>
                    <a:pt x="0" y="2"/>
                  </a:lnTo>
                  <a:lnTo>
                    <a:pt x="2" y="1"/>
                  </a:lnTo>
                  <a:lnTo>
                    <a:pt x="2" y="1"/>
                  </a:lnTo>
                  <a:close/>
                  <a:moveTo>
                    <a:pt x="2" y="0"/>
                  </a:moveTo>
                  <a:lnTo>
                    <a:pt x="2" y="1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3" name="Group 32"/>
          <p:cNvGrpSpPr/>
          <p:nvPr/>
        </p:nvGrpSpPr>
        <p:grpSpPr>
          <a:xfrm>
            <a:off x="752774" y="5414674"/>
            <a:ext cx="595667" cy="632050"/>
            <a:chOff x="5921889" y="1204743"/>
            <a:chExt cx="2235200" cy="2371725"/>
          </a:xfrm>
          <a:solidFill>
            <a:schemeClr val="bg1"/>
          </a:solidFill>
        </p:grpSpPr>
        <p:sp>
          <p:nvSpPr>
            <p:cNvPr id="34" name="Freeform 13"/>
            <p:cNvSpPr>
              <a:spLocks noEditPoints="1"/>
            </p:cNvSpPr>
            <p:nvPr/>
          </p:nvSpPr>
          <p:spPr bwMode="auto">
            <a:xfrm>
              <a:off x="7004564" y="1850856"/>
              <a:ext cx="633413" cy="520700"/>
            </a:xfrm>
            <a:custGeom>
              <a:avLst/>
              <a:gdLst>
                <a:gd name="T0" fmla="*/ 2239 w 4477"/>
                <a:gd name="T1" fmla="*/ 0 h 3676"/>
                <a:gd name="T2" fmla="*/ 0 w 4477"/>
                <a:gd name="T3" fmla="*/ 1838 h 3676"/>
                <a:gd name="T4" fmla="*/ 2239 w 4477"/>
                <a:gd name="T5" fmla="*/ 3676 h 3676"/>
                <a:gd name="T6" fmla="*/ 4477 w 4477"/>
                <a:gd name="T7" fmla="*/ 1838 h 3676"/>
                <a:gd name="T8" fmla="*/ 2239 w 4477"/>
                <a:gd name="T9" fmla="*/ 0 h 3676"/>
                <a:gd name="T10" fmla="*/ 3643 w 4477"/>
                <a:gd name="T11" fmla="*/ 2037 h 3676"/>
                <a:gd name="T12" fmla="*/ 3501 w 4477"/>
                <a:gd name="T13" fmla="*/ 2633 h 3676"/>
                <a:gd name="T14" fmla="*/ 3015 w 4477"/>
                <a:gd name="T15" fmla="*/ 2511 h 3676"/>
                <a:gd name="T16" fmla="*/ 3166 w 4477"/>
                <a:gd name="T17" fmla="*/ 1922 h 3676"/>
                <a:gd name="T18" fmla="*/ 2920 w 4477"/>
                <a:gd name="T19" fmla="*/ 1571 h 3676"/>
                <a:gd name="T20" fmla="*/ 2555 w 4477"/>
                <a:gd name="T21" fmla="*/ 2065 h 3676"/>
                <a:gd name="T22" fmla="*/ 1747 w 4477"/>
                <a:gd name="T23" fmla="*/ 2743 h 3676"/>
                <a:gd name="T24" fmla="*/ 956 w 4477"/>
                <a:gd name="T25" fmla="*/ 2020 h 3676"/>
                <a:gd name="T26" fmla="*/ 513 w 4477"/>
                <a:gd name="T27" fmla="*/ 2020 h 3676"/>
                <a:gd name="T28" fmla="*/ 513 w 4477"/>
                <a:gd name="T29" fmla="*/ 1616 h 3676"/>
                <a:gd name="T30" fmla="*/ 921 w 4477"/>
                <a:gd name="T31" fmla="*/ 1616 h 3676"/>
                <a:gd name="T32" fmla="*/ 1106 w 4477"/>
                <a:gd name="T33" fmla="*/ 922 h 3676"/>
                <a:gd name="T34" fmla="*/ 1610 w 4477"/>
                <a:gd name="T35" fmla="*/ 1045 h 3676"/>
                <a:gd name="T36" fmla="*/ 1420 w 4477"/>
                <a:gd name="T37" fmla="*/ 1723 h 3676"/>
                <a:gd name="T38" fmla="*/ 1687 w 4477"/>
                <a:gd name="T39" fmla="*/ 2119 h 3676"/>
                <a:gd name="T40" fmla="*/ 2061 w 4477"/>
                <a:gd name="T41" fmla="*/ 1681 h 3676"/>
                <a:gd name="T42" fmla="*/ 2848 w 4477"/>
                <a:gd name="T43" fmla="*/ 946 h 3676"/>
                <a:gd name="T44" fmla="*/ 3613 w 4477"/>
                <a:gd name="T45" fmla="*/ 1637 h 3676"/>
                <a:gd name="T46" fmla="*/ 4021 w 4477"/>
                <a:gd name="T47" fmla="*/ 1637 h 3676"/>
                <a:gd name="T48" fmla="*/ 4021 w 4477"/>
                <a:gd name="T49" fmla="*/ 2037 h 3676"/>
                <a:gd name="T50" fmla="*/ 3643 w 4477"/>
                <a:gd name="T51" fmla="*/ 2037 h 3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4477" h="3676">
                  <a:moveTo>
                    <a:pt x="2239" y="0"/>
                  </a:moveTo>
                  <a:cubicBezTo>
                    <a:pt x="1003" y="0"/>
                    <a:pt x="0" y="823"/>
                    <a:pt x="0" y="1838"/>
                  </a:cubicBezTo>
                  <a:cubicBezTo>
                    <a:pt x="0" y="2853"/>
                    <a:pt x="1003" y="3676"/>
                    <a:pt x="2239" y="3676"/>
                  </a:cubicBezTo>
                  <a:cubicBezTo>
                    <a:pt x="3475" y="3676"/>
                    <a:pt x="4477" y="2853"/>
                    <a:pt x="4477" y="1838"/>
                  </a:cubicBezTo>
                  <a:cubicBezTo>
                    <a:pt x="4477" y="823"/>
                    <a:pt x="3475" y="0"/>
                    <a:pt x="2239" y="0"/>
                  </a:cubicBezTo>
                  <a:close/>
                  <a:moveTo>
                    <a:pt x="3643" y="2037"/>
                  </a:moveTo>
                  <a:cubicBezTo>
                    <a:pt x="3634" y="2306"/>
                    <a:pt x="3569" y="2490"/>
                    <a:pt x="3501" y="2633"/>
                  </a:cubicBezTo>
                  <a:lnTo>
                    <a:pt x="3015" y="2511"/>
                  </a:lnTo>
                  <a:cubicBezTo>
                    <a:pt x="3067" y="2408"/>
                    <a:pt x="3166" y="2217"/>
                    <a:pt x="3166" y="1922"/>
                  </a:cubicBezTo>
                  <a:cubicBezTo>
                    <a:pt x="3166" y="1657"/>
                    <a:pt x="3041" y="1571"/>
                    <a:pt x="2920" y="1571"/>
                  </a:cubicBezTo>
                  <a:cubicBezTo>
                    <a:pt x="2783" y="1571"/>
                    <a:pt x="2688" y="1714"/>
                    <a:pt x="2555" y="2065"/>
                  </a:cubicBezTo>
                  <a:cubicBezTo>
                    <a:pt x="2374" y="2551"/>
                    <a:pt x="2138" y="2743"/>
                    <a:pt x="1747" y="2743"/>
                  </a:cubicBezTo>
                  <a:cubicBezTo>
                    <a:pt x="1365" y="2743"/>
                    <a:pt x="1038" y="2490"/>
                    <a:pt x="956" y="2020"/>
                  </a:cubicBezTo>
                  <a:lnTo>
                    <a:pt x="513" y="2020"/>
                  </a:lnTo>
                  <a:lnTo>
                    <a:pt x="513" y="1616"/>
                  </a:lnTo>
                  <a:lnTo>
                    <a:pt x="921" y="1616"/>
                  </a:lnTo>
                  <a:cubicBezTo>
                    <a:pt x="934" y="1343"/>
                    <a:pt x="1016" y="1077"/>
                    <a:pt x="1106" y="922"/>
                  </a:cubicBezTo>
                  <a:lnTo>
                    <a:pt x="1610" y="1045"/>
                  </a:lnTo>
                  <a:cubicBezTo>
                    <a:pt x="1510" y="1216"/>
                    <a:pt x="1420" y="1457"/>
                    <a:pt x="1420" y="1723"/>
                  </a:cubicBezTo>
                  <a:cubicBezTo>
                    <a:pt x="1420" y="1960"/>
                    <a:pt x="1519" y="2119"/>
                    <a:pt x="1687" y="2119"/>
                  </a:cubicBezTo>
                  <a:cubicBezTo>
                    <a:pt x="1850" y="2119"/>
                    <a:pt x="1953" y="1988"/>
                    <a:pt x="2061" y="1681"/>
                  </a:cubicBezTo>
                  <a:cubicBezTo>
                    <a:pt x="2216" y="1244"/>
                    <a:pt x="2430" y="946"/>
                    <a:pt x="2848" y="946"/>
                  </a:cubicBezTo>
                  <a:cubicBezTo>
                    <a:pt x="3230" y="946"/>
                    <a:pt x="3527" y="1200"/>
                    <a:pt x="3613" y="1637"/>
                  </a:cubicBezTo>
                  <a:lnTo>
                    <a:pt x="4021" y="1637"/>
                  </a:lnTo>
                  <a:lnTo>
                    <a:pt x="4021" y="2037"/>
                  </a:lnTo>
                  <a:lnTo>
                    <a:pt x="3643" y="20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6D6E71"/>
                </a:solidFill>
              </a:endParaRPr>
            </a:p>
          </p:txBody>
        </p:sp>
        <p:sp>
          <p:nvSpPr>
            <p:cNvPr id="35" name="Freeform 14"/>
            <p:cNvSpPr>
              <a:spLocks/>
            </p:cNvSpPr>
            <p:nvPr/>
          </p:nvSpPr>
          <p:spPr bwMode="auto">
            <a:xfrm>
              <a:off x="7826889" y="1620668"/>
              <a:ext cx="330200" cy="314325"/>
            </a:xfrm>
            <a:custGeom>
              <a:avLst/>
              <a:gdLst>
                <a:gd name="T0" fmla="*/ 2256 w 2325"/>
                <a:gd name="T1" fmla="*/ 607 h 2218"/>
                <a:gd name="T2" fmla="*/ 1430 w 2325"/>
                <a:gd name="T3" fmla="*/ 0 h 2218"/>
                <a:gd name="T4" fmla="*/ 1172 w 2325"/>
                <a:gd name="T5" fmla="*/ 39 h 2218"/>
                <a:gd name="T6" fmla="*/ 0 w 2325"/>
                <a:gd name="T7" fmla="*/ 405 h 2218"/>
                <a:gd name="T8" fmla="*/ 0 w 2325"/>
                <a:gd name="T9" fmla="*/ 2218 h 2218"/>
                <a:gd name="T10" fmla="*/ 1688 w 2325"/>
                <a:gd name="T11" fmla="*/ 1691 h 2218"/>
                <a:gd name="T12" fmla="*/ 2197 w 2325"/>
                <a:gd name="T13" fmla="*/ 1266 h 2218"/>
                <a:gd name="T14" fmla="*/ 2256 w 2325"/>
                <a:gd name="T15" fmla="*/ 607 h 2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25" h="2218">
                  <a:moveTo>
                    <a:pt x="2256" y="607"/>
                  </a:moveTo>
                  <a:cubicBezTo>
                    <a:pt x="2142" y="243"/>
                    <a:pt x="1811" y="0"/>
                    <a:pt x="1430" y="0"/>
                  </a:cubicBezTo>
                  <a:cubicBezTo>
                    <a:pt x="1342" y="0"/>
                    <a:pt x="1255" y="13"/>
                    <a:pt x="1172" y="39"/>
                  </a:cubicBezTo>
                  <a:lnTo>
                    <a:pt x="0" y="405"/>
                  </a:lnTo>
                  <a:lnTo>
                    <a:pt x="0" y="2218"/>
                  </a:lnTo>
                  <a:lnTo>
                    <a:pt x="1688" y="1691"/>
                  </a:lnTo>
                  <a:cubicBezTo>
                    <a:pt x="1909" y="1622"/>
                    <a:pt x="2089" y="1471"/>
                    <a:pt x="2197" y="1266"/>
                  </a:cubicBezTo>
                  <a:cubicBezTo>
                    <a:pt x="2304" y="1062"/>
                    <a:pt x="2325" y="828"/>
                    <a:pt x="2256" y="60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6D6E71"/>
                </a:solidFill>
              </a:endParaRPr>
            </a:p>
          </p:txBody>
        </p:sp>
        <p:sp>
          <p:nvSpPr>
            <p:cNvPr id="36" name="Freeform 15"/>
            <p:cNvSpPr>
              <a:spLocks/>
            </p:cNvSpPr>
            <p:nvPr/>
          </p:nvSpPr>
          <p:spPr bwMode="auto">
            <a:xfrm>
              <a:off x="7826889" y="2065168"/>
              <a:ext cx="230188" cy="244475"/>
            </a:xfrm>
            <a:custGeom>
              <a:avLst/>
              <a:gdLst>
                <a:gd name="T0" fmla="*/ 754 w 1619"/>
                <a:gd name="T1" fmla="*/ 0 h 1731"/>
                <a:gd name="T2" fmla="*/ 0 w 1619"/>
                <a:gd name="T3" fmla="*/ 0 h 1731"/>
                <a:gd name="T4" fmla="*/ 0 w 1619"/>
                <a:gd name="T5" fmla="*/ 1731 h 1731"/>
                <a:gd name="T6" fmla="*/ 754 w 1619"/>
                <a:gd name="T7" fmla="*/ 1731 h 1731"/>
                <a:gd name="T8" fmla="*/ 1619 w 1619"/>
                <a:gd name="T9" fmla="*/ 865 h 1731"/>
                <a:gd name="T10" fmla="*/ 754 w 1619"/>
                <a:gd name="T11" fmla="*/ 0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619" h="1731">
                  <a:moveTo>
                    <a:pt x="754" y="0"/>
                  </a:moveTo>
                  <a:lnTo>
                    <a:pt x="0" y="0"/>
                  </a:lnTo>
                  <a:lnTo>
                    <a:pt x="0" y="1731"/>
                  </a:lnTo>
                  <a:lnTo>
                    <a:pt x="754" y="1731"/>
                  </a:lnTo>
                  <a:cubicBezTo>
                    <a:pt x="1231" y="1731"/>
                    <a:pt x="1619" y="1342"/>
                    <a:pt x="1619" y="865"/>
                  </a:cubicBezTo>
                  <a:cubicBezTo>
                    <a:pt x="1619" y="388"/>
                    <a:pt x="1231" y="0"/>
                    <a:pt x="754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6D6E71"/>
                </a:solidFill>
              </a:endParaRPr>
            </a:p>
          </p:txBody>
        </p:sp>
        <p:sp>
          <p:nvSpPr>
            <p:cNvPr id="37" name="Freeform 16"/>
            <p:cNvSpPr>
              <a:spLocks/>
            </p:cNvSpPr>
            <p:nvPr/>
          </p:nvSpPr>
          <p:spPr bwMode="auto">
            <a:xfrm>
              <a:off x="7826889" y="2350918"/>
              <a:ext cx="230188" cy="244475"/>
            </a:xfrm>
            <a:custGeom>
              <a:avLst/>
              <a:gdLst>
                <a:gd name="T0" fmla="*/ 0 w 1619"/>
                <a:gd name="T1" fmla="*/ 374 h 1731"/>
                <a:gd name="T2" fmla="*/ 0 w 1619"/>
                <a:gd name="T3" fmla="*/ 1731 h 1731"/>
                <a:gd name="T4" fmla="*/ 754 w 1619"/>
                <a:gd name="T5" fmla="*/ 1731 h 1731"/>
                <a:gd name="T6" fmla="*/ 1619 w 1619"/>
                <a:gd name="T7" fmla="*/ 866 h 1731"/>
                <a:gd name="T8" fmla="*/ 754 w 1619"/>
                <a:gd name="T9" fmla="*/ 0 h 1731"/>
                <a:gd name="T10" fmla="*/ 0 w 1619"/>
                <a:gd name="T11" fmla="*/ 0 h 1731"/>
                <a:gd name="T12" fmla="*/ 0 w 1619"/>
                <a:gd name="T13" fmla="*/ 374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19" h="1731">
                  <a:moveTo>
                    <a:pt x="0" y="374"/>
                  </a:moveTo>
                  <a:lnTo>
                    <a:pt x="0" y="1731"/>
                  </a:lnTo>
                  <a:lnTo>
                    <a:pt x="754" y="1731"/>
                  </a:lnTo>
                  <a:cubicBezTo>
                    <a:pt x="1231" y="1731"/>
                    <a:pt x="1619" y="1343"/>
                    <a:pt x="1619" y="866"/>
                  </a:cubicBezTo>
                  <a:cubicBezTo>
                    <a:pt x="1619" y="389"/>
                    <a:pt x="1231" y="0"/>
                    <a:pt x="754" y="0"/>
                  </a:cubicBezTo>
                  <a:lnTo>
                    <a:pt x="0" y="0"/>
                  </a:lnTo>
                  <a:lnTo>
                    <a:pt x="0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6D6E71"/>
                </a:solidFill>
              </a:endParaRPr>
            </a:p>
          </p:txBody>
        </p:sp>
        <p:sp>
          <p:nvSpPr>
            <p:cNvPr id="38" name="Freeform 17"/>
            <p:cNvSpPr>
              <a:spLocks/>
            </p:cNvSpPr>
            <p:nvPr/>
          </p:nvSpPr>
          <p:spPr bwMode="auto">
            <a:xfrm>
              <a:off x="7826889" y="2636668"/>
              <a:ext cx="227013" cy="244475"/>
            </a:xfrm>
            <a:custGeom>
              <a:avLst/>
              <a:gdLst>
                <a:gd name="T0" fmla="*/ 733 w 1599"/>
                <a:gd name="T1" fmla="*/ 0 h 1731"/>
                <a:gd name="T2" fmla="*/ 0 w 1599"/>
                <a:gd name="T3" fmla="*/ 0 h 1731"/>
                <a:gd name="T4" fmla="*/ 0 w 1599"/>
                <a:gd name="T5" fmla="*/ 1165 h 1731"/>
                <a:gd name="T6" fmla="*/ 0 w 1599"/>
                <a:gd name="T7" fmla="*/ 1731 h 1731"/>
                <a:gd name="T8" fmla="*/ 733 w 1599"/>
                <a:gd name="T9" fmla="*/ 1731 h 1731"/>
                <a:gd name="T10" fmla="*/ 1599 w 1599"/>
                <a:gd name="T11" fmla="*/ 866 h 1731"/>
                <a:gd name="T12" fmla="*/ 733 w 1599"/>
                <a:gd name="T13" fmla="*/ 0 h 17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99" h="1731">
                  <a:moveTo>
                    <a:pt x="733" y="0"/>
                  </a:moveTo>
                  <a:lnTo>
                    <a:pt x="0" y="0"/>
                  </a:lnTo>
                  <a:lnTo>
                    <a:pt x="0" y="1165"/>
                  </a:lnTo>
                  <a:lnTo>
                    <a:pt x="0" y="1731"/>
                  </a:lnTo>
                  <a:lnTo>
                    <a:pt x="733" y="1731"/>
                  </a:lnTo>
                  <a:cubicBezTo>
                    <a:pt x="1210" y="1731"/>
                    <a:pt x="1599" y="1342"/>
                    <a:pt x="1599" y="866"/>
                  </a:cubicBezTo>
                  <a:cubicBezTo>
                    <a:pt x="1599" y="388"/>
                    <a:pt x="1210" y="0"/>
                    <a:pt x="733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6D6E71"/>
                </a:solidFill>
              </a:endParaRPr>
            </a:p>
          </p:txBody>
        </p:sp>
        <p:sp>
          <p:nvSpPr>
            <p:cNvPr id="39" name="Freeform 18"/>
            <p:cNvSpPr>
              <a:spLocks/>
            </p:cNvSpPr>
            <p:nvPr/>
          </p:nvSpPr>
          <p:spPr bwMode="auto">
            <a:xfrm>
              <a:off x="6728339" y="1204743"/>
              <a:ext cx="920750" cy="784225"/>
            </a:xfrm>
            <a:custGeom>
              <a:avLst/>
              <a:gdLst>
                <a:gd name="T0" fmla="*/ 6509 w 6509"/>
                <a:gd name="T1" fmla="*/ 0 h 5540"/>
                <a:gd name="T2" fmla="*/ 118 w 6509"/>
                <a:gd name="T3" fmla="*/ 0 h 5540"/>
                <a:gd name="T4" fmla="*/ 118 w 6509"/>
                <a:gd name="T5" fmla="*/ 1 h 5540"/>
                <a:gd name="T6" fmla="*/ 0 w 6509"/>
                <a:gd name="T7" fmla="*/ 1 h 5540"/>
                <a:gd name="T8" fmla="*/ 0 w 6509"/>
                <a:gd name="T9" fmla="*/ 5540 h 5540"/>
                <a:gd name="T10" fmla="*/ 401 w 6509"/>
                <a:gd name="T11" fmla="*/ 5356 h 5540"/>
                <a:gd name="T12" fmla="*/ 401 w 6509"/>
                <a:gd name="T13" fmla="*/ 402 h 5540"/>
                <a:gd name="T14" fmla="*/ 6509 w 6509"/>
                <a:gd name="T15" fmla="*/ 402 h 5540"/>
                <a:gd name="T16" fmla="*/ 6509 w 6509"/>
                <a:gd name="T17" fmla="*/ 0 h 55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509" h="5540">
                  <a:moveTo>
                    <a:pt x="6509" y="0"/>
                  </a:moveTo>
                  <a:lnTo>
                    <a:pt x="118" y="0"/>
                  </a:lnTo>
                  <a:lnTo>
                    <a:pt x="118" y="1"/>
                  </a:lnTo>
                  <a:lnTo>
                    <a:pt x="0" y="1"/>
                  </a:lnTo>
                  <a:lnTo>
                    <a:pt x="0" y="5540"/>
                  </a:lnTo>
                  <a:lnTo>
                    <a:pt x="401" y="5356"/>
                  </a:lnTo>
                  <a:lnTo>
                    <a:pt x="401" y="402"/>
                  </a:lnTo>
                  <a:lnTo>
                    <a:pt x="6509" y="402"/>
                  </a:lnTo>
                  <a:lnTo>
                    <a:pt x="650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6D6E71"/>
                </a:solidFill>
              </a:endParaRPr>
            </a:p>
          </p:txBody>
        </p:sp>
        <p:sp>
          <p:nvSpPr>
            <p:cNvPr id="40" name="Freeform 19"/>
            <p:cNvSpPr>
              <a:spLocks/>
            </p:cNvSpPr>
            <p:nvPr/>
          </p:nvSpPr>
          <p:spPr bwMode="auto">
            <a:xfrm>
              <a:off x="6983927" y="1458743"/>
              <a:ext cx="260350" cy="384175"/>
            </a:xfrm>
            <a:custGeom>
              <a:avLst/>
              <a:gdLst>
                <a:gd name="T0" fmla="*/ 388 w 1843"/>
                <a:gd name="T1" fmla="*/ 2715 h 2715"/>
                <a:gd name="T2" fmla="*/ 0 w 1843"/>
                <a:gd name="T3" fmla="*/ 2715 h 2715"/>
                <a:gd name="T4" fmla="*/ 0 w 1843"/>
                <a:gd name="T5" fmla="*/ 0 h 2715"/>
                <a:gd name="T6" fmla="*/ 1843 w 1843"/>
                <a:gd name="T7" fmla="*/ 0 h 2715"/>
                <a:gd name="T8" fmla="*/ 1843 w 1843"/>
                <a:gd name="T9" fmla="*/ 388 h 2715"/>
                <a:gd name="T10" fmla="*/ 388 w 1843"/>
                <a:gd name="T11" fmla="*/ 388 h 2715"/>
                <a:gd name="T12" fmla="*/ 388 w 1843"/>
                <a:gd name="T13" fmla="*/ 2715 h 2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3" h="2715">
                  <a:moveTo>
                    <a:pt x="388" y="2715"/>
                  </a:moveTo>
                  <a:lnTo>
                    <a:pt x="0" y="2715"/>
                  </a:lnTo>
                  <a:lnTo>
                    <a:pt x="0" y="0"/>
                  </a:lnTo>
                  <a:lnTo>
                    <a:pt x="1843" y="0"/>
                  </a:lnTo>
                  <a:lnTo>
                    <a:pt x="1843" y="388"/>
                  </a:lnTo>
                  <a:lnTo>
                    <a:pt x="388" y="388"/>
                  </a:lnTo>
                  <a:lnTo>
                    <a:pt x="388" y="27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6D6E71"/>
                </a:solidFill>
              </a:endParaRPr>
            </a:p>
          </p:txBody>
        </p:sp>
        <p:sp>
          <p:nvSpPr>
            <p:cNvPr id="41" name="Freeform 20"/>
            <p:cNvSpPr>
              <a:spLocks/>
            </p:cNvSpPr>
            <p:nvPr/>
          </p:nvSpPr>
          <p:spPr bwMode="auto">
            <a:xfrm>
              <a:off x="7395089" y="1458743"/>
              <a:ext cx="260350" cy="384175"/>
            </a:xfrm>
            <a:custGeom>
              <a:avLst/>
              <a:gdLst>
                <a:gd name="T0" fmla="*/ 1842 w 1842"/>
                <a:gd name="T1" fmla="*/ 2715 h 2715"/>
                <a:gd name="T2" fmla="*/ 1454 w 1842"/>
                <a:gd name="T3" fmla="*/ 2715 h 2715"/>
                <a:gd name="T4" fmla="*/ 1454 w 1842"/>
                <a:gd name="T5" fmla="*/ 388 h 2715"/>
                <a:gd name="T6" fmla="*/ 0 w 1842"/>
                <a:gd name="T7" fmla="*/ 388 h 2715"/>
                <a:gd name="T8" fmla="*/ 0 w 1842"/>
                <a:gd name="T9" fmla="*/ 0 h 2715"/>
                <a:gd name="T10" fmla="*/ 1842 w 1842"/>
                <a:gd name="T11" fmla="*/ 0 h 2715"/>
                <a:gd name="T12" fmla="*/ 1842 w 1842"/>
                <a:gd name="T13" fmla="*/ 2715 h 27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2" h="2715">
                  <a:moveTo>
                    <a:pt x="1842" y="2715"/>
                  </a:moveTo>
                  <a:lnTo>
                    <a:pt x="1454" y="2715"/>
                  </a:lnTo>
                  <a:lnTo>
                    <a:pt x="1454" y="388"/>
                  </a:lnTo>
                  <a:lnTo>
                    <a:pt x="0" y="388"/>
                  </a:lnTo>
                  <a:lnTo>
                    <a:pt x="0" y="0"/>
                  </a:lnTo>
                  <a:lnTo>
                    <a:pt x="1842" y="0"/>
                  </a:lnTo>
                  <a:lnTo>
                    <a:pt x="1842" y="27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6D6E71"/>
                </a:solidFill>
              </a:endParaRPr>
            </a:p>
          </p:txBody>
        </p:sp>
        <p:sp>
          <p:nvSpPr>
            <p:cNvPr id="42" name="Freeform 21"/>
            <p:cNvSpPr>
              <a:spLocks/>
            </p:cNvSpPr>
            <p:nvPr/>
          </p:nvSpPr>
          <p:spPr bwMode="auto">
            <a:xfrm>
              <a:off x="7395089" y="2709693"/>
              <a:ext cx="260350" cy="279400"/>
            </a:xfrm>
            <a:custGeom>
              <a:avLst/>
              <a:gdLst>
                <a:gd name="T0" fmla="*/ 1842 w 1842"/>
                <a:gd name="T1" fmla="*/ 1971 h 1971"/>
                <a:gd name="T2" fmla="*/ 0 w 1842"/>
                <a:gd name="T3" fmla="*/ 1971 h 1971"/>
                <a:gd name="T4" fmla="*/ 0 w 1842"/>
                <a:gd name="T5" fmla="*/ 1583 h 1971"/>
                <a:gd name="T6" fmla="*/ 1454 w 1842"/>
                <a:gd name="T7" fmla="*/ 1583 h 1971"/>
                <a:gd name="T8" fmla="*/ 1454 w 1842"/>
                <a:gd name="T9" fmla="*/ 0 h 1971"/>
                <a:gd name="T10" fmla="*/ 1842 w 1842"/>
                <a:gd name="T11" fmla="*/ 0 h 1971"/>
                <a:gd name="T12" fmla="*/ 1842 w 1842"/>
                <a:gd name="T13" fmla="*/ 1971 h 1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42" h="1971">
                  <a:moveTo>
                    <a:pt x="1842" y="1971"/>
                  </a:moveTo>
                  <a:lnTo>
                    <a:pt x="0" y="1971"/>
                  </a:lnTo>
                  <a:lnTo>
                    <a:pt x="0" y="1583"/>
                  </a:lnTo>
                  <a:lnTo>
                    <a:pt x="1454" y="1583"/>
                  </a:lnTo>
                  <a:lnTo>
                    <a:pt x="1454" y="0"/>
                  </a:lnTo>
                  <a:lnTo>
                    <a:pt x="1842" y="0"/>
                  </a:lnTo>
                  <a:lnTo>
                    <a:pt x="1842" y="19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6D6E71"/>
                </a:solidFill>
              </a:endParaRPr>
            </a:p>
          </p:txBody>
        </p:sp>
        <p:sp>
          <p:nvSpPr>
            <p:cNvPr id="43" name="Rectangle 22"/>
            <p:cNvSpPr>
              <a:spLocks noChangeArrowheads="1"/>
            </p:cNvSpPr>
            <p:nvPr/>
          </p:nvSpPr>
          <p:spPr bwMode="auto">
            <a:xfrm>
              <a:off x="7134739" y="1619081"/>
              <a:ext cx="328613" cy="555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6D6E71"/>
                </a:solidFill>
              </a:endParaRPr>
            </a:p>
          </p:txBody>
        </p:sp>
        <p:sp>
          <p:nvSpPr>
            <p:cNvPr id="44" name="Rectangle 23"/>
            <p:cNvSpPr>
              <a:spLocks noChangeArrowheads="1"/>
            </p:cNvSpPr>
            <p:nvPr/>
          </p:nvSpPr>
          <p:spPr bwMode="auto">
            <a:xfrm>
              <a:off x="7106164" y="2809706"/>
              <a:ext cx="357188" cy="555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6D6E71"/>
                </a:solidFill>
              </a:endParaRPr>
            </a:p>
          </p:txBody>
        </p:sp>
        <p:sp>
          <p:nvSpPr>
            <p:cNvPr id="45" name="Freeform 24"/>
            <p:cNvSpPr>
              <a:spLocks/>
            </p:cNvSpPr>
            <p:nvPr/>
          </p:nvSpPr>
          <p:spPr bwMode="auto">
            <a:xfrm>
              <a:off x="5921889" y="1328568"/>
              <a:ext cx="1855788" cy="2247900"/>
            </a:xfrm>
            <a:custGeom>
              <a:avLst/>
              <a:gdLst>
                <a:gd name="T0" fmla="*/ 13111 w 13112"/>
                <a:gd name="T1" fmla="*/ 227 h 15889"/>
                <a:gd name="T2" fmla="*/ 13111 w 13112"/>
                <a:gd name="T3" fmla="*/ 0 h 15889"/>
                <a:gd name="T4" fmla="*/ 6720 w 13112"/>
                <a:gd name="T5" fmla="*/ 0 h 15889"/>
                <a:gd name="T6" fmla="*/ 6720 w 13112"/>
                <a:gd name="T7" fmla="*/ 0 h 15889"/>
                <a:gd name="T8" fmla="*/ 6602 w 13112"/>
                <a:gd name="T9" fmla="*/ 0 h 15889"/>
                <a:gd name="T10" fmla="*/ 6602 w 13112"/>
                <a:gd name="T11" fmla="*/ 7438 h 15889"/>
                <a:gd name="T12" fmla="*/ 7004 w 13112"/>
                <a:gd name="T13" fmla="*/ 7438 h 15889"/>
                <a:gd name="T14" fmla="*/ 7004 w 13112"/>
                <a:gd name="T15" fmla="*/ 401 h 15889"/>
                <a:gd name="T16" fmla="*/ 12711 w 13112"/>
                <a:gd name="T17" fmla="*/ 401 h 15889"/>
                <a:gd name="T18" fmla="*/ 12711 w 13112"/>
                <a:gd name="T19" fmla="*/ 12215 h 15889"/>
                <a:gd name="T20" fmla="*/ 8072 w 13112"/>
                <a:gd name="T21" fmla="*/ 12215 h 15889"/>
                <a:gd name="T22" fmla="*/ 6645 w 13112"/>
                <a:gd name="T23" fmla="*/ 14311 h 15889"/>
                <a:gd name="T24" fmla="*/ 6511 w 13112"/>
                <a:gd name="T25" fmla="*/ 14351 h 15889"/>
                <a:gd name="T26" fmla="*/ 6303 w 13112"/>
                <a:gd name="T27" fmla="*/ 14238 h 15889"/>
                <a:gd name="T28" fmla="*/ 6376 w 13112"/>
                <a:gd name="T29" fmla="*/ 13896 h 15889"/>
                <a:gd name="T30" fmla="*/ 7590 w 13112"/>
                <a:gd name="T31" fmla="*/ 12228 h 15889"/>
                <a:gd name="T32" fmla="*/ 7693 w 13112"/>
                <a:gd name="T33" fmla="*/ 11735 h 15889"/>
                <a:gd name="T34" fmla="*/ 9341 w 13112"/>
                <a:gd name="T35" fmla="*/ 11735 h 15889"/>
                <a:gd name="T36" fmla="*/ 9341 w 13112"/>
                <a:gd name="T37" fmla="*/ 11347 h 15889"/>
                <a:gd name="T38" fmla="*/ 7744 w 13112"/>
                <a:gd name="T39" fmla="*/ 11347 h 15889"/>
                <a:gd name="T40" fmla="*/ 7734 w 13112"/>
                <a:gd name="T41" fmla="*/ 10127 h 15889"/>
                <a:gd name="T42" fmla="*/ 7734 w 13112"/>
                <a:gd name="T43" fmla="*/ 10066 h 15889"/>
                <a:gd name="T44" fmla="*/ 10549 w 13112"/>
                <a:gd name="T45" fmla="*/ 10066 h 15889"/>
                <a:gd name="T46" fmla="*/ 11703 w 13112"/>
                <a:gd name="T47" fmla="*/ 9036 h 15889"/>
                <a:gd name="T48" fmla="*/ 10549 w 13112"/>
                <a:gd name="T49" fmla="*/ 7923 h 15889"/>
                <a:gd name="T50" fmla="*/ 6066 w 13112"/>
                <a:gd name="T51" fmla="*/ 7923 h 15889"/>
                <a:gd name="T52" fmla="*/ 6066 w 13112"/>
                <a:gd name="T53" fmla="*/ 6704 h 15889"/>
                <a:gd name="T54" fmla="*/ 6060 w 13112"/>
                <a:gd name="T55" fmla="*/ 6704 h 15889"/>
                <a:gd name="T56" fmla="*/ 6059 w 13112"/>
                <a:gd name="T57" fmla="*/ 5039 h 15889"/>
                <a:gd name="T58" fmla="*/ 4945 w 13112"/>
                <a:gd name="T59" fmla="*/ 5533 h 15889"/>
                <a:gd name="T60" fmla="*/ 3544 w 13112"/>
                <a:gd name="T61" fmla="*/ 7099 h 15889"/>
                <a:gd name="T62" fmla="*/ 0 w 13112"/>
                <a:gd name="T63" fmla="*/ 15889 h 15889"/>
                <a:gd name="T64" fmla="*/ 7032 w 13112"/>
                <a:gd name="T65" fmla="*/ 15889 h 15889"/>
                <a:gd name="T66" fmla="*/ 9642 w 13112"/>
                <a:gd name="T67" fmla="*/ 14186 h 15889"/>
                <a:gd name="T68" fmla="*/ 10591 w 13112"/>
                <a:gd name="T69" fmla="*/ 12615 h 15889"/>
                <a:gd name="T70" fmla="*/ 13111 w 13112"/>
                <a:gd name="T71" fmla="*/ 12618 h 15889"/>
                <a:gd name="T72" fmla="*/ 13112 w 13112"/>
                <a:gd name="T73" fmla="*/ 227 h 15889"/>
                <a:gd name="T74" fmla="*/ 13111 w 13112"/>
                <a:gd name="T75" fmla="*/ 227 h 15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3112" h="15889">
                  <a:moveTo>
                    <a:pt x="13111" y="227"/>
                  </a:moveTo>
                  <a:lnTo>
                    <a:pt x="13111" y="0"/>
                  </a:lnTo>
                  <a:lnTo>
                    <a:pt x="6720" y="0"/>
                  </a:lnTo>
                  <a:lnTo>
                    <a:pt x="6720" y="0"/>
                  </a:lnTo>
                  <a:lnTo>
                    <a:pt x="6602" y="0"/>
                  </a:lnTo>
                  <a:lnTo>
                    <a:pt x="6602" y="7438"/>
                  </a:lnTo>
                  <a:lnTo>
                    <a:pt x="7004" y="7438"/>
                  </a:lnTo>
                  <a:lnTo>
                    <a:pt x="7004" y="401"/>
                  </a:lnTo>
                  <a:lnTo>
                    <a:pt x="12711" y="401"/>
                  </a:lnTo>
                  <a:lnTo>
                    <a:pt x="12711" y="12215"/>
                  </a:lnTo>
                  <a:lnTo>
                    <a:pt x="8072" y="12215"/>
                  </a:lnTo>
                  <a:cubicBezTo>
                    <a:pt x="7870" y="13451"/>
                    <a:pt x="6685" y="14285"/>
                    <a:pt x="6645" y="14311"/>
                  </a:cubicBezTo>
                  <a:cubicBezTo>
                    <a:pt x="6603" y="14338"/>
                    <a:pt x="6557" y="14351"/>
                    <a:pt x="6511" y="14351"/>
                  </a:cubicBezTo>
                  <a:cubicBezTo>
                    <a:pt x="6430" y="14351"/>
                    <a:pt x="6350" y="14311"/>
                    <a:pt x="6303" y="14238"/>
                  </a:cubicBezTo>
                  <a:cubicBezTo>
                    <a:pt x="6229" y="14123"/>
                    <a:pt x="6262" y="13970"/>
                    <a:pt x="6376" y="13896"/>
                  </a:cubicBezTo>
                  <a:cubicBezTo>
                    <a:pt x="6385" y="13890"/>
                    <a:pt x="7316" y="13271"/>
                    <a:pt x="7590" y="12228"/>
                  </a:cubicBezTo>
                  <a:cubicBezTo>
                    <a:pt x="7634" y="12060"/>
                    <a:pt x="7667" y="11894"/>
                    <a:pt x="7693" y="11735"/>
                  </a:cubicBezTo>
                  <a:lnTo>
                    <a:pt x="9341" y="11735"/>
                  </a:lnTo>
                  <a:lnTo>
                    <a:pt x="9341" y="11347"/>
                  </a:lnTo>
                  <a:lnTo>
                    <a:pt x="7744" y="11347"/>
                  </a:lnTo>
                  <a:cubicBezTo>
                    <a:pt x="7810" y="10647"/>
                    <a:pt x="7735" y="10134"/>
                    <a:pt x="7734" y="10127"/>
                  </a:cubicBezTo>
                  <a:cubicBezTo>
                    <a:pt x="7731" y="10106"/>
                    <a:pt x="7732" y="10086"/>
                    <a:pt x="7734" y="10066"/>
                  </a:cubicBezTo>
                  <a:lnTo>
                    <a:pt x="10549" y="10066"/>
                  </a:lnTo>
                  <a:cubicBezTo>
                    <a:pt x="11126" y="10066"/>
                    <a:pt x="11703" y="9718"/>
                    <a:pt x="11703" y="9036"/>
                  </a:cubicBezTo>
                  <a:cubicBezTo>
                    <a:pt x="11703" y="8353"/>
                    <a:pt x="11195" y="7923"/>
                    <a:pt x="10549" y="7923"/>
                  </a:cubicBezTo>
                  <a:lnTo>
                    <a:pt x="6066" y="7923"/>
                  </a:lnTo>
                  <a:lnTo>
                    <a:pt x="6066" y="6704"/>
                  </a:lnTo>
                  <a:lnTo>
                    <a:pt x="6060" y="6704"/>
                  </a:lnTo>
                  <a:lnTo>
                    <a:pt x="6059" y="5039"/>
                  </a:lnTo>
                  <a:cubicBezTo>
                    <a:pt x="5455" y="5301"/>
                    <a:pt x="5035" y="5487"/>
                    <a:pt x="4945" y="5533"/>
                  </a:cubicBezTo>
                  <a:cubicBezTo>
                    <a:pt x="4217" y="5904"/>
                    <a:pt x="3667" y="6755"/>
                    <a:pt x="3544" y="7099"/>
                  </a:cubicBezTo>
                  <a:cubicBezTo>
                    <a:pt x="3393" y="7442"/>
                    <a:pt x="0" y="15889"/>
                    <a:pt x="0" y="15889"/>
                  </a:cubicBezTo>
                  <a:lnTo>
                    <a:pt x="7032" y="15889"/>
                  </a:lnTo>
                  <a:cubicBezTo>
                    <a:pt x="7032" y="15889"/>
                    <a:pt x="8736" y="15175"/>
                    <a:pt x="9642" y="14186"/>
                  </a:cubicBezTo>
                  <a:cubicBezTo>
                    <a:pt x="9946" y="13854"/>
                    <a:pt x="10358" y="13175"/>
                    <a:pt x="10591" y="12615"/>
                  </a:cubicBezTo>
                  <a:lnTo>
                    <a:pt x="13111" y="12618"/>
                  </a:lnTo>
                  <a:lnTo>
                    <a:pt x="13112" y="227"/>
                  </a:lnTo>
                  <a:lnTo>
                    <a:pt x="13111" y="2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rgbClr val="6D6E71"/>
                </a:solidFill>
              </a:endParaRPr>
            </a:p>
          </p:txBody>
        </p:sp>
      </p:grpSp>
      <p:grpSp>
        <p:nvGrpSpPr>
          <p:cNvPr id="46" name="Group 4"/>
          <p:cNvGrpSpPr>
            <a:grpSpLocks noChangeAspect="1"/>
          </p:cNvGrpSpPr>
          <p:nvPr/>
        </p:nvGrpSpPr>
        <p:grpSpPr bwMode="auto">
          <a:xfrm>
            <a:off x="764529" y="1625589"/>
            <a:ext cx="528342" cy="528342"/>
            <a:chOff x="5436" y="2924"/>
            <a:chExt cx="536" cy="536"/>
          </a:xfrm>
          <a:solidFill>
            <a:schemeClr val="bg1"/>
          </a:solidFill>
        </p:grpSpPr>
        <p:sp>
          <p:nvSpPr>
            <p:cNvPr id="47" name="Freeform 6"/>
            <p:cNvSpPr>
              <a:spLocks/>
            </p:cNvSpPr>
            <p:nvPr/>
          </p:nvSpPr>
          <p:spPr bwMode="auto">
            <a:xfrm>
              <a:off x="5436" y="2924"/>
              <a:ext cx="536" cy="536"/>
            </a:xfrm>
            <a:custGeom>
              <a:avLst/>
              <a:gdLst>
                <a:gd name="T0" fmla="*/ 0 w 3752"/>
                <a:gd name="T1" fmla="*/ 0 h 3752"/>
                <a:gd name="T2" fmla="*/ 429 w 3752"/>
                <a:gd name="T3" fmla="*/ 0 h 3752"/>
                <a:gd name="T4" fmla="*/ 429 w 3752"/>
                <a:gd name="T5" fmla="*/ 3323 h 3752"/>
                <a:gd name="T6" fmla="*/ 3752 w 3752"/>
                <a:gd name="T7" fmla="*/ 3323 h 3752"/>
                <a:gd name="T8" fmla="*/ 3752 w 3752"/>
                <a:gd name="T9" fmla="*/ 3752 h 3752"/>
                <a:gd name="T10" fmla="*/ 0 w 3752"/>
                <a:gd name="T11" fmla="*/ 3752 h 3752"/>
                <a:gd name="T12" fmla="*/ 0 w 3752"/>
                <a:gd name="T13" fmla="*/ 0 h 3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52" h="3752">
                  <a:moveTo>
                    <a:pt x="0" y="0"/>
                  </a:moveTo>
                  <a:lnTo>
                    <a:pt x="429" y="0"/>
                  </a:lnTo>
                  <a:lnTo>
                    <a:pt x="429" y="3323"/>
                  </a:lnTo>
                  <a:lnTo>
                    <a:pt x="3752" y="3323"/>
                  </a:lnTo>
                  <a:lnTo>
                    <a:pt x="3752" y="3752"/>
                  </a:lnTo>
                  <a:lnTo>
                    <a:pt x="0" y="375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7"/>
            <p:cNvSpPr>
              <a:spLocks/>
            </p:cNvSpPr>
            <p:nvPr/>
          </p:nvSpPr>
          <p:spPr bwMode="auto">
            <a:xfrm>
              <a:off x="5536" y="3038"/>
              <a:ext cx="383" cy="293"/>
            </a:xfrm>
            <a:custGeom>
              <a:avLst/>
              <a:gdLst>
                <a:gd name="T0" fmla="*/ 272 w 2679"/>
                <a:gd name="T1" fmla="*/ 0 h 2056"/>
                <a:gd name="T2" fmla="*/ 867 w 2679"/>
                <a:gd name="T3" fmla="*/ 771 h 2056"/>
                <a:gd name="T4" fmla="*/ 1666 w 2679"/>
                <a:gd name="T5" fmla="*/ 306 h 2056"/>
                <a:gd name="T6" fmla="*/ 2413 w 2679"/>
                <a:gd name="T7" fmla="*/ 1374 h 2056"/>
                <a:gd name="T8" fmla="*/ 2608 w 2679"/>
                <a:gd name="T9" fmla="*/ 1238 h 2056"/>
                <a:gd name="T10" fmla="*/ 2679 w 2679"/>
                <a:gd name="T11" fmla="*/ 2056 h 2056"/>
                <a:gd name="T12" fmla="*/ 1935 w 2679"/>
                <a:gd name="T13" fmla="*/ 1708 h 2056"/>
                <a:gd name="T14" fmla="*/ 2132 w 2679"/>
                <a:gd name="T15" fmla="*/ 1571 h 2056"/>
                <a:gd name="T16" fmla="*/ 1566 w 2679"/>
                <a:gd name="T17" fmla="*/ 761 h 2056"/>
                <a:gd name="T18" fmla="*/ 778 w 2679"/>
                <a:gd name="T19" fmla="*/ 1218 h 2056"/>
                <a:gd name="T20" fmla="*/ 0 w 2679"/>
                <a:gd name="T21" fmla="*/ 209 h 2056"/>
                <a:gd name="T22" fmla="*/ 272 w 2679"/>
                <a:gd name="T23" fmla="*/ 0 h 20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679" h="2056">
                  <a:moveTo>
                    <a:pt x="272" y="0"/>
                  </a:moveTo>
                  <a:lnTo>
                    <a:pt x="867" y="771"/>
                  </a:lnTo>
                  <a:lnTo>
                    <a:pt x="1666" y="306"/>
                  </a:lnTo>
                  <a:lnTo>
                    <a:pt x="2413" y="1374"/>
                  </a:lnTo>
                  <a:lnTo>
                    <a:pt x="2608" y="1238"/>
                  </a:lnTo>
                  <a:lnTo>
                    <a:pt x="2679" y="2056"/>
                  </a:lnTo>
                  <a:lnTo>
                    <a:pt x="1935" y="1708"/>
                  </a:lnTo>
                  <a:lnTo>
                    <a:pt x="2132" y="1571"/>
                  </a:lnTo>
                  <a:lnTo>
                    <a:pt x="1566" y="761"/>
                  </a:lnTo>
                  <a:lnTo>
                    <a:pt x="778" y="1218"/>
                  </a:lnTo>
                  <a:lnTo>
                    <a:pt x="0" y="209"/>
                  </a:lnTo>
                  <a:lnTo>
                    <a:pt x="27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49" name="Group 4"/>
          <p:cNvGrpSpPr>
            <a:grpSpLocks noChangeAspect="1"/>
          </p:cNvGrpSpPr>
          <p:nvPr/>
        </p:nvGrpSpPr>
        <p:grpSpPr bwMode="auto">
          <a:xfrm>
            <a:off x="802210" y="3554438"/>
            <a:ext cx="501728" cy="511585"/>
            <a:chOff x="508" y="2182"/>
            <a:chExt cx="509" cy="519"/>
          </a:xfrm>
          <a:solidFill>
            <a:schemeClr val="bg1"/>
          </a:solidFill>
        </p:grpSpPr>
        <p:sp>
          <p:nvSpPr>
            <p:cNvPr id="52" name="Freeform 6"/>
            <p:cNvSpPr>
              <a:spLocks/>
            </p:cNvSpPr>
            <p:nvPr/>
          </p:nvSpPr>
          <p:spPr bwMode="auto">
            <a:xfrm>
              <a:off x="562" y="2182"/>
              <a:ext cx="107" cy="106"/>
            </a:xfrm>
            <a:custGeom>
              <a:avLst/>
              <a:gdLst>
                <a:gd name="T0" fmla="*/ 369 w 745"/>
                <a:gd name="T1" fmla="*/ 0 h 743"/>
                <a:gd name="T2" fmla="*/ 376 w 745"/>
                <a:gd name="T3" fmla="*/ 0 h 743"/>
                <a:gd name="T4" fmla="*/ 426 w 745"/>
                <a:gd name="T5" fmla="*/ 4 h 743"/>
                <a:gd name="T6" fmla="*/ 474 w 745"/>
                <a:gd name="T7" fmla="*/ 14 h 743"/>
                <a:gd name="T8" fmla="*/ 520 w 745"/>
                <a:gd name="T9" fmla="*/ 29 h 743"/>
                <a:gd name="T10" fmla="*/ 562 w 745"/>
                <a:gd name="T11" fmla="*/ 52 h 743"/>
                <a:gd name="T12" fmla="*/ 602 w 745"/>
                <a:gd name="T13" fmla="*/ 78 h 743"/>
                <a:gd name="T14" fmla="*/ 637 w 745"/>
                <a:gd name="T15" fmla="*/ 110 h 743"/>
                <a:gd name="T16" fmla="*/ 668 w 745"/>
                <a:gd name="T17" fmla="*/ 146 h 743"/>
                <a:gd name="T18" fmla="*/ 695 w 745"/>
                <a:gd name="T19" fmla="*/ 185 h 743"/>
                <a:gd name="T20" fmla="*/ 716 w 745"/>
                <a:gd name="T21" fmla="*/ 227 h 743"/>
                <a:gd name="T22" fmla="*/ 731 w 745"/>
                <a:gd name="T23" fmla="*/ 274 h 743"/>
                <a:gd name="T24" fmla="*/ 741 w 745"/>
                <a:gd name="T25" fmla="*/ 321 h 743"/>
                <a:gd name="T26" fmla="*/ 745 w 745"/>
                <a:gd name="T27" fmla="*/ 372 h 743"/>
                <a:gd name="T28" fmla="*/ 741 w 745"/>
                <a:gd name="T29" fmla="*/ 422 h 743"/>
                <a:gd name="T30" fmla="*/ 731 w 745"/>
                <a:gd name="T31" fmla="*/ 470 h 743"/>
                <a:gd name="T32" fmla="*/ 716 w 745"/>
                <a:gd name="T33" fmla="*/ 516 h 743"/>
                <a:gd name="T34" fmla="*/ 695 w 745"/>
                <a:gd name="T35" fmla="*/ 559 h 743"/>
                <a:gd name="T36" fmla="*/ 668 w 745"/>
                <a:gd name="T37" fmla="*/ 599 h 743"/>
                <a:gd name="T38" fmla="*/ 637 w 745"/>
                <a:gd name="T39" fmla="*/ 634 h 743"/>
                <a:gd name="T40" fmla="*/ 602 w 745"/>
                <a:gd name="T41" fmla="*/ 665 h 743"/>
                <a:gd name="T42" fmla="*/ 562 w 745"/>
                <a:gd name="T43" fmla="*/ 691 h 743"/>
                <a:gd name="T44" fmla="*/ 520 w 745"/>
                <a:gd name="T45" fmla="*/ 714 h 743"/>
                <a:gd name="T46" fmla="*/ 474 w 745"/>
                <a:gd name="T47" fmla="*/ 730 h 743"/>
                <a:gd name="T48" fmla="*/ 426 w 745"/>
                <a:gd name="T49" fmla="*/ 740 h 743"/>
                <a:gd name="T50" fmla="*/ 376 w 745"/>
                <a:gd name="T51" fmla="*/ 743 h 743"/>
                <a:gd name="T52" fmla="*/ 375 w 745"/>
                <a:gd name="T53" fmla="*/ 743 h 743"/>
                <a:gd name="T54" fmla="*/ 373 w 745"/>
                <a:gd name="T55" fmla="*/ 743 h 743"/>
                <a:gd name="T56" fmla="*/ 370 w 745"/>
                <a:gd name="T57" fmla="*/ 743 h 743"/>
                <a:gd name="T58" fmla="*/ 369 w 745"/>
                <a:gd name="T59" fmla="*/ 743 h 743"/>
                <a:gd name="T60" fmla="*/ 320 w 745"/>
                <a:gd name="T61" fmla="*/ 740 h 743"/>
                <a:gd name="T62" fmla="*/ 271 w 745"/>
                <a:gd name="T63" fmla="*/ 730 h 743"/>
                <a:gd name="T64" fmla="*/ 225 w 745"/>
                <a:gd name="T65" fmla="*/ 714 h 743"/>
                <a:gd name="T66" fmla="*/ 182 w 745"/>
                <a:gd name="T67" fmla="*/ 691 h 743"/>
                <a:gd name="T68" fmla="*/ 143 w 745"/>
                <a:gd name="T69" fmla="*/ 665 h 743"/>
                <a:gd name="T70" fmla="*/ 108 w 745"/>
                <a:gd name="T71" fmla="*/ 634 h 743"/>
                <a:gd name="T72" fmla="*/ 77 w 745"/>
                <a:gd name="T73" fmla="*/ 599 h 743"/>
                <a:gd name="T74" fmla="*/ 51 w 745"/>
                <a:gd name="T75" fmla="*/ 559 h 743"/>
                <a:gd name="T76" fmla="*/ 28 w 745"/>
                <a:gd name="T77" fmla="*/ 516 h 743"/>
                <a:gd name="T78" fmla="*/ 13 w 745"/>
                <a:gd name="T79" fmla="*/ 470 h 743"/>
                <a:gd name="T80" fmla="*/ 3 w 745"/>
                <a:gd name="T81" fmla="*/ 422 h 743"/>
                <a:gd name="T82" fmla="*/ 0 w 745"/>
                <a:gd name="T83" fmla="*/ 372 h 743"/>
                <a:gd name="T84" fmla="*/ 3 w 745"/>
                <a:gd name="T85" fmla="*/ 321 h 743"/>
                <a:gd name="T86" fmla="*/ 13 w 745"/>
                <a:gd name="T87" fmla="*/ 274 h 743"/>
                <a:gd name="T88" fmla="*/ 28 w 745"/>
                <a:gd name="T89" fmla="*/ 227 h 743"/>
                <a:gd name="T90" fmla="*/ 51 w 745"/>
                <a:gd name="T91" fmla="*/ 185 h 743"/>
                <a:gd name="T92" fmla="*/ 77 w 745"/>
                <a:gd name="T93" fmla="*/ 146 h 743"/>
                <a:gd name="T94" fmla="*/ 108 w 745"/>
                <a:gd name="T95" fmla="*/ 110 h 743"/>
                <a:gd name="T96" fmla="*/ 143 w 745"/>
                <a:gd name="T97" fmla="*/ 78 h 743"/>
                <a:gd name="T98" fmla="*/ 182 w 745"/>
                <a:gd name="T99" fmla="*/ 52 h 743"/>
                <a:gd name="T100" fmla="*/ 225 w 745"/>
                <a:gd name="T101" fmla="*/ 29 h 743"/>
                <a:gd name="T102" fmla="*/ 271 w 745"/>
                <a:gd name="T103" fmla="*/ 14 h 743"/>
                <a:gd name="T104" fmla="*/ 320 w 745"/>
                <a:gd name="T105" fmla="*/ 4 h 743"/>
                <a:gd name="T106" fmla="*/ 369 w 745"/>
                <a:gd name="T107" fmla="*/ 0 h 7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745" h="743">
                  <a:moveTo>
                    <a:pt x="369" y="0"/>
                  </a:moveTo>
                  <a:lnTo>
                    <a:pt x="376" y="0"/>
                  </a:lnTo>
                  <a:lnTo>
                    <a:pt x="426" y="4"/>
                  </a:lnTo>
                  <a:lnTo>
                    <a:pt x="474" y="14"/>
                  </a:lnTo>
                  <a:lnTo>
                    <a:pt x="520" y="29"/>
                  </a:lnTo>
                  <a:lnTo>
                    <a:pt x="562" y="52"/>
                  </a:lnTo>
                  <a:lnTo>
                    <a:pt x="602" y="78"/>
                  </a:lnTo>
                  <a:lnTo>
                    <a:pt x="637" y="110"/>
                  </a:lnTo>
                  <a:lnTo>
                    <a:pt x="668" y="146"/>
                  </a:lnTo>
                  <a:lnTo>
                    <a:pt x="695" y="185"/>
                  </a:lnTo>
                  <a:lnTo>
                    <a:pt x="716" y="227"/>
                  </a:lnTo>
                  <a:lnTo>
                    <a:pt x="731" y="274"/>
                  </a:lnTo>
                  <a:lnTo>
                    <a:pt x="741" y="321"/>
                  </a:lnTo>
                  <a:lnTo>
                    <a:pt x="745" y="372"/>
                  </a:lnTo>
                  <a:lnTo>
                    <a:pt x="741" y="422"/>
                  </a:lnTo>
                  <a:lnTo>
                    <a:pt x="731" y="470"/>
                  </a:lnTo>
                  <a:lnTo>
                    <a:pt x="716" y="516"/>
                  </a:lnTo>
                  <a:lnTo>
                    <a:pt x="695" y="559"/>
                  </a:lnTo>
                  <a:lnTo>
                    <a:pt x="668" y="599"/>
                  </a:lnTo>
                  <a:lnTo>
                    <a:pt x="637" y="634"/>
                  </a:lnTo>
                  <a:lnTo>
                    <a:pt x="602" y="665"/>
                  </a:lnTo>
                  <a:lnTo>
                    <a:pt x="562" y="691"/>
                  </a:lnTo>
                  <a:lnTo>
                    <a:pt x="520" y="714"/>
                  </a:lnTo>
                  <a:lnTo>
                    <a:pt x="474" y="730"/>
                  </a:lnTo>
                  <a:lnTo>
                    <a:pt x="426" y="740"/>
                  </a:lnTo>
                  <a:lnTo>
                    <a:pt x="376" y="743"/>
                  </a:lnTo>
                  <a:lnTo>
                    <a:pt x="375" y="743"/>
                  </a:lnTo>
                  <a:lnTo>
                    <a:pt x="373" y="743"/>
                  </a:lnTo>
                  <a:lnTo>
                    <a:pt x="370" y="743"/>
                  </a:lnTo>
                  <a:lnTo>
                    <a:pt x="369" y="743"/>
                  </a:lnTo>
                  <a:lnTo>
                    <a:pt x="320" y="740"/>
                  </a:lnTo>
                  <a:lnTo>
                    <a:pt x="271" y="730"/>
                  </a:lnTo>
                  <a:lnTo>
                    <a:pt x="225" y="714"/>
                  </a:lnTo>
                  <a:lnTo>
                    <a:pt x="182" y="691"/>
                  </a:lnTo>
                  <a:lnTo>
                    <a:pt x="143" y="665"/>
                  </a:lnTo>
                  <a:lnTo>
                    <a:pt x="108" y="634"/>
                  </a:lnTo>
                  <a:lnTo>
                    <a:pt x="77" y="599"/>
                  </a:lnTo>
                  <a:lnTo>
                    <a:pt x="51" y="559"/>
                  </a:lnTo>
                  <a:lnTo>
                    <a:pt x="28" y="516"/>
                  </a:lnTo>
                  <a:lnTo>
                    <a:pt x="13" y="470"/>
                  </a:lnTo>
                  <a:lnTo>
                    <a:pt x="3" y="422"/>
                  </a:lnTo>
                  <a:lnTo>
                    <a:pt x="0" y="372"/>
                  </a:lnTo>
                  <a:lnTo>
                    <a:pt x="3" y="321"/>
                  </a:lnTo>
                  <a:lnTo>
                    <a:pt x="13" y="274"/>
                  </a:lnTo>
                  <a:lnTo>
                    <a:pt x="28" y="227"/>
                  </a:lnTo>
                  <a:lnTo>
                    <a:pt x="51" y="185"/>
                  </a:lnTo>
                  <a:lnTo>
                    <a:pt x="77" y="146"/>
                  </a:lnTo>
                  <a:lnTo>
                    <a:pt x="108" y="110"/>
                  </a:lnTo>
                  <a:lnTo>
                    <a:pt x="143" y="78"/>
                  </a:lnTo>
                  <a:lnTo>
                    <a:pt x="182" y="52"/>
                  </a:lnTo>
                  <a:lnTo>
                    <a:pt x="225" y="29"/>
                  </a:lnTo>
                  <a:lnTo>
                    <a:pt x="271" y="14"/>
                  </a:lnTo>
                  <a:lnTo>
                    <a:pt x="320" y="4"/>
                  </a:lnTo>
                  <a:lnTo>
                    <a:pt x="36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7"/>
            <p:cNvSpPr>
              <a:spLocks/>
            </p:cNvSpPr>
            <p:nvPr/>
          </p:nvSpPr>
          <p:spPr bwMode="auto">
            <a:xfrm>
              <a:off x="862" y="2182"/>
              <a:ext cx="106" cy="106"/>
            </a:xfrm>
            <a:custGeom>
              <a:avLst/>
              <a:gdLst>
                <a:gd name="T0" fmla="*/ 372 w 745"/>
                <a:gd name="T1" fmla="*/ 0 h 745"/>
                <a:gd name="T2" fmla="*/ 423 w 745"/>
                <a:gd name="T3" fmla="*/ 3 h 745"/>
                <a:gd name="T4" fmla="*/ 472 w 745"/>
                <a:gd name="T5" fmla="*/ 13 h 745"/>
                <a:gd name="T6" fmla="*/ 518 w 745"/>
                <a:gd name="T7" fmla="*/ 29 h 745"/>
                <a:gd name="T8" fmla="*/ 560 w 745"/>
                <a:gd name="T9" fmla="*/ 50 h 745"/>
                <a:gd name="T10" fmla="*/ 600 w 745"/>
                <a:gd name="T11" fmla="*/ 77 h 745"/>
                <a:gd name="T12" fmla="*/ 637 w 745"/>
                <a:gd name="T13" fmla="*/ 109 h 745"/>
                <a:gd name="T14" fmla="*/ 668 w 745"/>
                <a:gd name="T15" fmla="*/ 144 h 745"/>
                <a:gd name="T16" fmla="*/ 694 w 745"/>
                <a:gd name="T17" fmla="*/ 184 h 745"/>
                <a:gd name="T18" fmla="*/ 716 w 745"/>
                <a:gd name="T19" fmla="*/ 227 h 745"/>
                <a:gd name="T20" fmla="*/ 732 w 745"/>
                <a:gd name="T21" fmla="*/ 273 h 745"/>
                <a:gd name="T22" fmla="*/ 742 w 745"/>
                <a:gd name="T23" fmla="*/ 321 h 745"/>
                <a:gd name="T24" fmla="*/ 745 w 745"/>
                <a:gd name="T25" fmla="*/ 372 h 745"/>
                <a:gd name="T26" fmla="*/ 742 w 745"/>
                <a:gd name="T27" fmla="*/ 423 h 745"/>
                <a:gd name="T28" fmla="*/ 732 w 745"/>
                <a:gd name="T29" fmla="*/ 470 h 745"/>
                <a:gd name="T30" fmla="*/ 716 w 745"/>
                <a:gd name="T31" fmla="*/ 517 h 745"/>
                <a:gd name="T32" fmla="*/ 694 w 745"/>
                <a:gd name="T33" fmla="*/ 560 h 745"/>
                <a:gd name="T34" fmla="*/ 668 w 745"/>
                <a:gd name="T35" fmla="*/ 600 h 745"/>
                <a:gd name="T36" fmla="*/ 637 w 745"/>
                <a:gd name="T37" fmla="*/ 635 h 745"/>
                <a:gd name="T38" fmla="*/ 600 w 745"/>
                <a:gd name="T39" fmla="*/ 666 h 745"/>
                <a:gd name="T40" fmla="*/ 560 w 745"/>
                <a:gd name="T41" fmla="*/ 694 h 745"/>
                <a:gd name="T42" fmla="*/ 518 w 745"/>
                <a:gd name="T43" fmla="*/ 715 h 745"/>
                <a:gd name="T44" fmla="*/ 472 w 745"/>
                <a:gd name="T45" fmla="*/ 731 h 745"/>
                <a:gd name="T46" fmla="*/ 423 w 745"/>
                <a:gd name="T47" fmla="*/ 740 h 745"/>
                <a:gd name="T48" fmla="*/ 372 w 745"/>
                <a:gd name="T49" fmla="*/ 745 h 745"/>
                <a:gd name="T50" fmla="*/ 322 w 745"/>
                <a:gd name="T51" fmla="*/ 740 h 745"/>
                <a:gd name="T52" fmla="*/ 274 w 745"/>
                <a:gd name="T53" fmla="*/ 731 h 745"/>
                <a:gd name="T54" fmla="*/ 227 w 745"/>
                <a:gd name="T55" fmla="*/ 715 h 745"/>
                <a:gd name="T56" fmla="*/ 184 w 745"/>
                <a:gd name="T57" fmla="*/ 694 h 745"/>
                <a:gd name="T58" fmla="*/ 145 w 745"/>
                <a:gd name="T59" fmla="*/ 666 h 745"/>
                <a:gd name="T60" fmla="*/ 109 w 745"/>
                <a:gd name="T61" fmla="*/ 635 h 745"/>
                <a:gd name="T62" fmla="*/ 78 w 745"/>
                <a:gd name="T63" fmla="*/ 600 h 745"/>
                <a:gd name="T64" fmla="*/ 51 w 745"/>
                <a:gd name="T65" fmla="*/ 560 h 745"/>
                <a:gd name="T66" fmla="*/ 29 w 745"/>
                <a:gd name="T67" fmla="*/ 517 h 745"/>
                <a:gd name="T68" fmla="*/ 13 w 745"/>
                <a:gd name="T69" fmla="*/ 470 h 745"/>
                <a:gd name="T70" fmla="*/ 4 w 745"/>
                <a:gd name="T71" fmla="*/ 423 h 745"/>
                <a:gd name="T72" fmla="*/ 0 w 745"/>
                <a:gd name="T73" fmla="*/ 372 h 745"/>
                <a:gd name="T74" fmla="*/ 4 w 745"/>
                <a:gd name="T75" fmla="*/ 321 h 745"/>
                <a:gd name="T76" fmla="*/ 13 w 745"/>
                <a:gd name="T77" fmla="*/ 273 h 745"/>
                <a:gd name="T78" fmla="*/ 29 w 745"/>
                <a:gd name="T79" fmla="*/ 227 h 745"/>
                <a:gd name="T80" fmla="*/ 51 w 745"/>
                <a:gd name="T81" fmla="*/ 184 h 745"/>
                <a:gd name="T82" fmla="*/ 78 w 745"/>
                <a:gd name="T83" fmla="*/ 144 h 745"/>
                <a:gd name="T84" fmla="*/ 109 w 745"/>
                <a:gd name="T85" fmla="*/ 109 h 745"/>
                <a:gd name="T86" fmla="*/ 145 w 745"/>
                <a:gd name="T87" fmla="*/ 77 h 745"/>
                <a:gd name="T88" fmla="*/ 184 w 745"/>
                <a:gd name="T89" fmla="*/ 50 h 745"/>
                <a:gd name="T90" fmla="*/ 227 w 745"/>
                <a:gd name="T91" fmla="*/ 29 h 745"/>
                <a:gd name="T92" fmla="*/ 274 w 745"/>
                <a:gd name="T93" fmla="*/ 13 h 745"/>
                <a:gd name="T94" fmla="*/ 322 w 745"/>
                <a:gd name="T95" fmla="*/ 3 h 745"/>
                <a:gd name="T96" fmla="*/ 372 w 745"/>
                <a:gd name="T97" fmla="*/ 0 h 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45" h="745">
                  <a:moveTo>
                    <a:pt x="372" y="0"/>
                  </a:moveTo>
                  <a:lnTo>
                    <a:pt x="423" y="3"/>
                  </a:lnTo>
                  <a:lnTo>
                    <a:pt x="472" y="13"/>
                  </a:lnTo>
                  <a:lnTo>
                    <a:pt x="518" y="29"/>
                  </a:lnTo>
                  <a:lnTo>
                    <a:pt x="560" y="50"/>
                  </a:lnTo>
                  <a:lnTo>
                    <a:pt x="600" y="77"/>
                  </a:lnTo>
                  <a:lnTo>
                    <a:pt x="637" y="109"/>
                  </a:lnTo>
                  <a:lnTo>
                    <a:pt x="668" y="144"/>
                  </a:lnTo>
                  <a:lnTo>
                    <a:pt x="694" y="184"/>
                  </a:lnTo>
                  <a:lnTo>
                    <a:pt x="716" y="227"/>
                  </a:lnTo>
                  <a:lnTo>
                    <a:pt x="732" y="273"/>
                  </a:lnTo>
                  <a:lnTo>
                    <a:pt x="742" y="321"/>
                  </a:lnTo>
                  <a:lnTo>
                    <a:pt x="745" y="372"/>
                  </a:lnTo>
                  <a:lnTo>
                    <a:pt x="742" y="423"/>
                  </a:lnTo>
                  <a:lnTo>
                    <a:pt x="732" y="470"/>
                  </a:lnTo>
                  <a:lnTo>
                    <a:pt x="716" y="517"/>
                  </a:lnTo>
                  <a:lnTo>
                    <a:pt x="694" y="560"/>
                  </a:lnTo>
                  <a:lnTo>
                    <a:pt x="668" y="600"/>
                  </a:lnTo>
                  <a:lnTo>
                    <a:pt x="637" y="635"/>
                  </a:lnTo>
                  <a:lnTo>
                    <a:pt x="600" y="666"/>
                  </a:lnTo>
                  <a:lnTo>
                    <a:pt x="560" y="694"/>
                  </a:lnTo>
                  <a:lnTo>
                    <a:pt x="518" y="715"/>
                  </a:lnTo>
                  <a:lnTo>
                    <a:pt x="472" y="731"/>
                  </a:lnTo>
                  <a:lnTo>
                    <a:pt x="423" y="740"/>
                  </a:lnTo>
                  <a:lnTo>
                    <a:pt x="372" y="745"/>
                  </a:lnTo>
                  <a:lnTo>
                    <a:pt x="322" y="740"/>
                  </a:lnTo>
                  <a:lnTo>
                    <a:pt x="274" y="731"/>
                  </a:lnTo>
                  <a:lnTo>
                    <a:pt x="227" y="715"/>
                  </a:lnTo>
                  <a:lnTo>
                    <a:pt x="184" y="694"/>
                  </a:lnTo>
                  <a:lnTo>
                    <a:pt x="145" y="666"/>
                  </a:lnTo>
                  <a:lnTo>
                    <a:pt x="109" y="635"/>
                  </a:lnTo>
                  <a:lnTo>
                    <a:pt x="78" y="600"/>
                  </a:lnTo>
                  <a:lnTo>
                    <a:pt x="51" y="560"/>
                  </a:lnTo>
                  <a:lnTo>
                    <a:pt x="29" y="517"/>
                  </a:lnTo>
                  <a:lnTo>
                    <a:pt x="13" y="470"/>
                  </a:lnTo>
                  <a:lnTo>
                    <a:pt x="4" y="423"/>
                  </a:lnTo>
                  <a:lnTo>
                    <a:pt x="0" y="372"/>
                  </a:lnTo>
                  <a:lnTo>
                    <a:pt x="4" y="321"/>
                  </a:lnTo>
                  <a:lnTo>
                    <a:pt x="13" y="273"/>
                  </a:lnTo>
                  <a:lnTo>
                    <a:pt x="29" y="227"/>
                  </a:lnTo>
                  <a:lnTo>
                    <a:pt x="51" y="184"/>
                  </a:lnTo>
                  <a:lnTo>
                    <a:pt x="78" y="144"/>
                  </a:lnTo>
                  <a:lnTo>
                    <a:pt x="109" y="109"/>
                  </a:lnTo>
                  <a:lnTo>
                    <a:pt x="145" y="77"/>
                  </a:lnTo>
                  <a:lnTo>
                    <a:pt x="184" y="50"/>
                  </a:lnTo>
                  <a:lnTo>
                    <a:pt x="227" y="29"/>
                  </a:lnTo>
                  <a:lnTo>
                    <a:pt x="274" y="13"/>
                  </a:lnTo>
                  <a:lnTo>
                    <a:pt x="322" y="3"/>
                  </a:lnTo>
                  <a:lnTo>
                    <a:pt x="37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8"/>
            <p:cNvSpPr>
              <a:spLocks noEditPoints="1"/>
            </p:cNvSpPr>
            <p:nvPr/>
          </p:nvSpPr>
          <p:spPr bwMode="auto">
            <a:xfrm>
              <a:off x="508" y="2291"/>
              <a:ext cx="509" cy="410"/>
            </a:xfrm>
            <a:custGeom>
              <a:avLst/>
              <a:gdLst>
                <a:gd name="T0" fmla="*/ 2835 w 3564"/>
                <a:gd name="T1" fmla="*/ 1011 h 2867"/>
                <a:gd name="T2" fmla="*/ 2863 w 3564"/>
                <a:gd name="T3" fmla="*/ 928 h 2867"/>
                <a:gd name="T4" fmla="*/ 2823 w 3564"/>
                <a:gd name="T5" fmla="*/ 868 h 2867"/>
                <a:gd name="T6" fmla="*/ 2875 w 3564"/>
                <a:gd name="T7" fmla="*/ 798 h 2867"/>
                <a:gd name="T8" fmla="*/ 2814 w 3564"/>
                <a:gd name="T9" fmla="*/ 729 h 2867"/>
                <a:gd name="T10" fmla="*/ 2884 w 3564"/>
                <a:gd name="T11" fmla="*/ 677 h 2867"/>
                <a:gd name="T12" fmla="*/ 2848 w 3564"/>
                <a:gd name="T13" fmla="*/ 95 h 2867"/>
                <a:gd name="T14" fmla="*/ 3242 w 3564"/>
                <a:gd name="T15" fmla="*/ 183 h 2867"/>
                <a:gd name="T16" fmla="*/ 3517 w 3564"/>
                <a:gd name="T17" fmla="*/ 627 h 2867"/>
                <a:gd name="T18" fmla="*/ 3527 w 3564"/>
                <a:gd name="T19" fmla="*/ 1205 h 2867"/>
                <a:gd name="T20" fmla="*/ 3300 w 3564"/>
                <a:gd name="T21" fmla="*/ 1208 h 2867"/>
                <a:gd name="T22" fmla="*/ 3268 w 3564"/>
                <a:gd name="T23" fmla="*/ 817 h 2867"/>
                <a:gd name="T24" fmla="*/ 3228 w 3564"/>
                <a:gd name="T25" fmla="*/ 1181 h 2867"/>
                <a:gd name="T26" fmla="*/ 3116 w 3564"/>
                <a:gd name="T27" fmla="*/ 2844 h 2867"/>
                <a:gd name="T28" fmla="*/ 2863 w 3564"/>
                <a:gd name="T29" fmla="*/ 2730 h 2867"/>
                <a:gd name="T30" fmla="*/ 2731 w 3564"/>
                <a:gd name="T31" fmla="*/ 2854 h 2867"/>
                <a:gd name="T32" fmla="*/ 2496 w 3564"/>
                <a:gd name="T33" fmla="*/ 2727 h 2867"/>
                <a:gd name="T34" fmla="*/ 2411 w 3564"/>
                <a:gd name="T35" fmla="*/ 871 h 2867"/>
                <a:gd name="T36" fmla="*/ 2267 w 3564"/>
                <a:gd name="T37" fmla="*/ 1257 h 2867"/>
                <a:gd name="T38" fmla="*/ 2121 w 3564"/>
                <a:gd name="T39" fmla="*/ 1582 h 2867"/>
                <a:gd name="T40" fmla="*/ 1991 w 3564"/>
                <a:gd name="T41" fmla="*/ 2046 h 2867"/>
                <a:gd name="T42" fmla="*/ 1992 w 3564"/>
                <a:gd name="T43" fmla="*/ 2337 h 2867"/>
                <a:gd name="T44" fmla="*/ 1992 w 3564"/>
                <a:gd name="T45" fmla="*/ 2731 h 2867"/>
                <a:gd name="T46" fmla="*/ 1890 w 3564"/>
                <a:gd name="T47" fmla="*/ 2867 h 2867"/>
                <a:gd name="T48" fmla="*/ 1783 w 3564"/>
                <a:gd name="T49" fmla="*/ 2162 h 2867"/>
                <a:gd name="T50" fmla="*/ 1710 w 3564"/>
                <a:gd name="T51" fmla="*/ 2856 h 2867"/>
                <a:gd name="T52" fmla="*/ 1562 w 3564"/>
                <a:gd name="T53" fmla="*/ 2760 h 2867"/>
                <a:gd name="T54" fmla="*/ 1563 w 3564"/>
                <a:gd name="T55" fmla="*/ 2430 h 2867"/>
                <a:gd name="T56" fmla="*/ 1563 w 3564"/>
                <a:gd name="T57" fmla="*/ 2062 h 2867"/>
                <a:gd name="T58" fmla="*/ 1493 w 3564"/>
                <a:gd name="T59" fmla="*/ 1595 h 2867"/>
                <a:gd name="T60" fmla="*/ 1285 w 3564"/>
                <a:gd name="T61" fmla="*/ 1352 h 2867"/>
                <a:gd name="T62" fmla="*/ 1211 w 3564"/>
                <a:gd name="T63" fmla="*/ 982 h 2867"/>
                <a:gd name="T64" fmla="*/ 1156 w 3564"/>
                <a:gd name="T65" fmla="*/ 681 h 2867"/>
                <a:gd name="T66" fmla="*/ 1184 w 3564"/>
                <a:gd name="T67" fmla="*/ 1092 h 2867"/>
                <a:gd name="T68" fmla="*/ 1299 w 3564"/>
                <a:gd name="T69" fmla="*/ 1625 h 2867"/>
                <a:gd name="T70" fmla="*/ 1330 w 3564"/>
                <a:gd name="T71" fmla="*/ 1936 h 2867"/>
                <a:gd name="T72" fmla="*/ 1089 w 3564"/>
                <a:gd name="T73" fmla="*/ 2756 h 2867"/>
                <a:gd name="T74" fmla="*/ 850 w 3564"/>
                <a:gd name="T75" fmla="*/ 2844 h 2867"/>
                <a:gd name="T76" fmla="*/ 747 w 3564"/>
                <a:gd name="T77" fmla="*/ 2044 h 2867"/>
                <a:gd name="T78" fmla="*/ 650 w 3564"/>
                <a:gd name="T79" fmla="*/ 2844 h 2867"/>
                <a:gd name="T80" fmla="*/ 415 w 3564"/>
                <a:gd name="T81" fmla="*/ 2756 h 2867"/>
                <a:gd name="T82" fmla="*/ 174 w 3564"/>
                <a:gd name="T83" fmla="*/ 1936 h 2867"/>
                <a:gd name="T84" fmla="*/ 206 w 3564"/>
                <a:gd name="T85" fmla="*/ 1625 h 2867"/>
                <a:gd name="T86" fmla="*/ 321 w 3564"/>
                <a:gd name="T87" fmla="*/ 1092 h 2867"/>
                <a:gd name="T88" fmla="*/ 349 w 3564"/>
                <a:gd name="T89" fmla="*/ 681 h 2867"/>
                <a:gd name="T90" fmla="*/ 294 w 3564"/>
                <a:gd name="T91" fmla="*/ 982 h 2867"/>
                <a:gd name="T92" fmla="*/ 148 w 3564"/>
                <a:gd name="T93" fmla="*/ 1275 h 2867"/>
                <a:gd name="T94" fmla="*/ 0 w 3564"/>
                <a:gd name="T95" fmla="*/ 1046 h 2867"/>
                <a:gd name="T96" fmla="*/ 171 w 3564"/>
                <a:gd name="T97" fmla="*/ 404 h 2867"/>
                <a:gd name="T98" fmla="*/ 487 w 3564"/>
                <a:gd name="T99" fmla="*/ 85 h 2867"/>
                <a:gd name="T100" fmla="*/ 753 w 3564"/>
                <a:gd name="T101" fmla="*/ 95 h 2867"/>
                <a:gd name="T102" fmla="*/ 1017 w 3564"/>
                <a:gd name="T103" fmla="*/ 85 h 2867"/>
                <a:gd name="T104" fmla="*/ 1333 w 3564"/>
                <a:gd name="T105" fmla="*/ 404 h 2867"/>
                <a:gd name="T106" fmla="*/ 1504 w 3564"/>
                <a:gd name="T107" fmla="*/ 1046 h 2867"/>
                <a:gd name="T108" fmla="*/ 1449 w 3564"/>
                <a:gd name="T109" fmla="*/ 1371 h 2867"/>
                <a:gd name="T110" fmla="*/ 1604 w 3564"/>
                <a:gd name="T111" fmla="*/ 1398 h 2867"/>
                <a:gd name="T112" fmla="*/ 1866 w 3564"/>
                <a:gd name="T113" fmla="*/ 1345 h 2867"/>
                <a:gd name="T114" fmla="*/ 2061 w 3564"/>
                <a:gd name="T115" fmla="*/ 1432 h 2867"/>
                <a:gd name="T116" fmla="*/ 2071 w 3564"/>
                <a:gd name="T117" fmla="*/ 1204 h 2867"/>
                <a:gd name="T118" fmla="*/ 2209 w 3564"/>
                <a:gd name="T119" fmla="*/ 560 h 2867"/>
                <a:gd name="T120" fmla="*/ 2599 w 3564"/>
                <a:gd name="T121" fmla="*/ 71 h 2867"/>
                <a:gd name="T122" fmla="*/ 2757 w 3564"/>
                <a:gd name="T123" fmla="*/ 0 h 2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564" h="2867">
                  <a:moveTo>
                    <a:pt x="2848" y="925"/>
                  </a:moveTo>
                  <a:lnTo>
                    <a:pt x="2835" y="928"/>
                  </a:lnTo>
                  <a:lnTo>
                    <a:pt x="2823" y="934"/>
                  </a:lnTo>
                  <a:lnTo>
                    <a:pt x="2814" y="943"/>
                  </a:lnTo>
                  <a:lnTo>
                    <a:pt x="2807" y="955"/>
                  </a:lnTo>
                  <a:lnTo>
                    <a:pt x="2805" y="970"/>
                  </a:lnTo>
                  <a:lnTo>
                    <a:pt x="2807" y="983"/>
                  </a:lnTo>
                  <a:lnTo>
                    <a:pt x="2814" y="995"/>
                  </a:lnTo>
                  <a:lnTo>
                    <a:pt x="2823" y="1004"/>
                  </a:lnTo>
                  <a:lnTo>
                    <a:pt x="2835" y="1011"/>
                  </a:lnTo>
                  <a:lnTo>
                    <a:pt x="2848" y="1013"/>
                  </a:lnTo>
                  <a:lnTo>
                    <a:pt x="2863" y="1011"/>
                  </a:lnTo>
                  <a:lnTo>
                    <a:pt x="2875" y="1004"/>
                  </a:lnTo>
                  <a:lnTo>
                    <a:pt x="2884" y="995"/>
                  </a:lnTo>
                  <a:lnTo>
                    <a:pt x="2890" y="983"/>
                  </a:lnTo>
                  <a:lnTo>
                    <a:pt x="2892" y="970"/>
                  </a:lnTo>
                  <a:lnTo>
                    <a:pt x="2890" y="955"/>
                  </a:lnTo>
                  <a:lnTo>
                    <a:pt x="2884" y="943"/>
                  </a:lnTo>
                  <a:lnTo>
                    <a:pt x="2875" y="934"/>
                  </a:lnTo>
                  <a:lnTo>
                    <a:pt x="2863" y="928"/>
                  </a:lnTo>
                  <a:lnTo>
                    <a:pt x="2848" y="925"/>
                  </a:lnTo>
                  <a:close/>
                  <a:moveTo>
                    <a:pt x="2848" y="789"/>
                  </a:moveTo>
                  <a:lnTo>
                    <a:pt x="2835" y="792"/>
                  </a:lnTo>
                  <a:lnTo>
                    <a:pt x="2823" y="798"/>
                  </a:lnTo>
                  <a:lnTo>
                    <a:pt x="2814" y="807"/>
                  </a:lnTo>
                  <a:lnTo>
                    <a:pt x="2807" y="819"/>
                  </a:lnTo>
                  <a:lnTo>
                    <a:pt x="2805" y="833"/>
                  </a:lnTo>
                  <a:lnTo>
                    <a:pt x="2807" y="847"/>
                  </a:lnTo>
                  <a:lnTo>
                    <a:pt x="2814" y="859"/>
                  </a:lnTo>
                  <a:lnTo>
                    <a:pt x="2823" y="868"/>
                  </a:lnTo>
                  <a:lnTo>
                    <a:pt x="2835" y="875"/>
                  </a:lnTo>
                  <a:lnTo>
                    <a:pt x="2848" y="877"/>
                  </a:lnTo>
                  <a:lnTo>
                    <a:pt x="2863" y="875"/>
                  </a:lnTo>
                  <a:lnTo>
                    <a:pt x="2875" y="868"/>
                  </a:lnTo>
                  <a:lnTo>
                    <a:pt x="2884" y="859"/>
                  </a:lnTo>
                  <a:lnTo>
                    <a:pt x="2890" y="847"/>
                  </a:lnTo>
                  <a:lnTo>
                    <a:pt x="2892" y="833"/>
                  </a:lnTo>
                  <a:lnTo>
                    <a:pt x="2890" y="819"/>
                  </a:lnTo>
                  <a:lnTo>
                    <a:pt x="2884" y="807"/>
                  </a:lnTo>
                  <a:lnTo>
                    <a:pt x="2875" y="798"/>
                  </a:lnTo>
                  <a:lnTo>
                    <a:pt x="2863" y="792"/>
                  </a:lnTo>
                  <a:lnTo>
                    <a:pt x="2848" y="789"/>
                  </a:lnTo>
                  <a:close/>
                  <a:moveTo>
                    <a:pt x="2848" y="659"/>
                  </a:moveTo>
                  <a:lnTo>
                    <a:pt x="2835" y="661"/>
                  </a:lnTo>
                  <a:lnTo>
                    <a:pt x="2823" y="668"/>
                  </a:lnTo>
                  <a:lnTo>
                    <a:pt x="2814" y="677"/>
                  </a:lnTo>
                  <a:lnTo>
                    <a:pt x="2807" y="689"/>
                  </a:lnTo>
                  <a:lnTo>
                    <a:pt x="2805" y="702"/>
                  </a:lnTo>
                  <a:lnTo>
                    <a:pt x="2807" y="717"/>
                  </a:lnTo>
                  <a:lnTo>
                    <a:pt x="2814" y="729"/>
                  </a:lnTo>
                  <a:lnTo>
                    <a:pt x="2823" y="738"/>
                  </a:lnTo>
                  <a:lnTo>
                    <a:pt x="2835" y="744"/>
                  </a:lnTo>
                  <a:lnTo>
                    <a:pt x="2848" y="746"/>
                  </a:lnTo>
                  <a:lnTo>
                    <a:pt x="2863" y="744"/>
                  </a:lnTo>
                  <a:lnTo>
                    <a:pt x="2875" y="738"/>
                  </a:lnTo>
                  <a:lnTo>
                    <a:pt x="2884" y="729"/>
                  </a:lnTo>
                  <a:lnTo>
                    <a:pt x="2890" y="717"/>
                  </a:lnTo>
                  <a:lnTo>
                    <a:pt x="2892" y="702"/>
                  </a:lnTo>
                  <a:lnTo>
                    <a:pt x="2890" y="689"/>
                  </a:lnTo>
                  <a:lnTo>
                    <a:pt x="2884" y="677"/>
                  </a:lnTo>
                  <a:lnTo>
                    <a:pt x="2875" y="668"/>
                  </a:lnTo>
                  <a:lnTo>
                    <a:pt x="2863" y="661"/>
                  </a:lnTo>
                  <a:lnTo>
                    <a:pt x="2848" y="659"/>
                  </a:lnTo>
                  <a:close/>
                  <a:moveTo>
                    <a:pt x="2848" y="146"/>
                  </a:moveTo>
                  <a:lnTo>
                    <a:pt x="2788" y="206"/>
                  </a:lnTo>
                  <a:lnTo>
                    <a:pt x="2856" y="577"/>
                  </a:lnTo>
                  <a:lnTo>
                    <a:pt x="2911" y="205"/>
                  </a:lnTo>
                  <a:lnTo>
                    <a:pt x="2848" y="146"/>
                  </a:lnTo>
                  <a:close/>
                  <a:moveTo>
                    <a:pt x="2758" y="0"/>
                  </a:moveTo>
                  <a:lnTo>
                    <a:pt x="2848" y="95"/>
                  </a:lnTo>
                  <a:lnTo>
                    <a:pt x="2941" y="2"/>
                  </a:lnTo>
                  <a:lnTo>
                    <a:pt x="2979" y="13"/>
                  </a:lnTo>
                  <a:lnTo>
                    <a:pt x="3014" y="27"/>
                  </a:lnTo>
                  <a:lnTo>
                    <a:pt x="3049" y="43"/>
                  </a:lnTo>
                  <a:lnTo>
                    <a:pt x="3080" y="61"/>
                  </a:lnTo>
                  <a:lnTo>
                    <a:pt x="3110" y="81"/>
                  </a:lnTo>
                  <a:lnTo>
                    <a:pt x="3143" y="103"/>
                  </a:lnTo>
                  <a:lnTo>
                    <a:pt x="3176" y="127"/>
                  </a:lnTo>
                  <a:lnTo>
                    <a:pt x="3209" y="154"/>
                  </a:lnTo>
                  <a:lnTo>
                    <a:pt x="3242" y="183"/>
                  </a:lnTo>
                  <a:lnTo>
                    <a:pt x="3275" y="215"/>
                  </a:lnTo>
                  <a:lnTo>
                    <a:pt x="3308" y="249"/>
                  </a:lnTo>
                  <a:lnTo>
                    <a:pt x="3339" y="286"/>
                  </a:lnTo>
                  <a:lnTo>
                    <a:pt x="3370" y="325"/>
                  </a:lnTo>
                  <a:lnTo>
                    <a:pt x="3398" y="368"/>
                  </a:lnTo>
                  <a:lnTo>
                    <a:pt x="3427" y="414"/>
                  </a:lnTo>
                  <a:lnTo>
                    <a:pt x="3453" y="462"/>
                  </a:lnTo>
                  <a:lnTo>
                    <a:pt x="3477" y="514"/>
                  </a:lnTo>
                  <a:lnTo>
                    <a:pt x="3498" y="570"/>
                  </a:lnTo>
                  <a:lnTo>
                    <a:pt x="3517" y="627"/>
                  </a:lnTo>
                  <a:lnTo>
                    <a:pt x="3533" y="689"/>
                  </a:lnTo>
                  <a:lnTo>
                    <a:pt x="3547" y="754"/>
                  </a:lnTo>
                  <a:lnTo>
                    <a:pt x="3557" y="822"/>
                  </a:lnTo>
                  <a:lnTo>
                    <a:pt x="3562" y="893"/>
                  </a:lnTo>
                  <a:lnTo>
                    <a:pt x="3564" y="970"/>
                  </a:lnTo>
                  <a:lnTo>
                    <a:pt x="3562" y="1048"/>
                  </a:lnTo>
                  <a:lnTo>
                    <a:pt x="3557" y="1131"/>
                  </a:lnTo>
                  <a:lnTo>
                    <a:pt x="3551" y="1159"/>
                  </a:lnTo>
                  <a:lnTo>
                    <a:pt x="3541" y="1183"/>
                  </a:lnTo>
                  <a:lnTo>
                    <a:pt x="3527" y="1205"/>
                  </a:lnTo>
                  <a:lnTo>
                    <a:pt x="3509" y="1224"/>
                  </a:lnTo>
                  <a:lnTo>
                    <a:pt x="3488" y="1240"/>
                  </a:lnTo>
                  <a:lnTo>
                    <a:pt x="3465" y="1251"/>
                  </a:lnTo>
                  <a:lnTo>
                    <a:pt x="3439" y="1259"/>
                  </a:lnTo>
                  <a:lnTo>
                    <a:pt x="3413" y="1261"/>
                  </a:lnTo>
                  <a:lnTo>
                    <a:pt x="3398" y="1260"/>
                  </a:lnTo>
                  <a:lnTo>
                    <a:pt x="3370" y="1255"/>
                  </a:lnTo>
                  <a:lnTo>
                    <a:pt x="3343" y="1244"/>
                  </a:lnTo>
                  <a:lnTo>
                    <a:pt x="3320" y="1228"/>
                  </a:lnTo>
                  <a:lnTo>
                    <a:pt x="3300" y="1208"/>
                  </a:lnTo>
                  <a:lnTo>
                    <a:pt x="3285" y="1185"/>
                  </a:lnTo>
                  <a:lnTo>
                    <a:pt x="3274" y="1160"/>
                  </a:lnTo>
                  <a:lnTo>
                    <a:pt x="3269" y="1132"/>
                  </a:lnTo>
                  <a:lnTo>
                    <a:pt x="3269" y="1102"/>
                  </a:lnTo>
                  <a:lnTo>
                    <a:pt x="3274" y="1043"/>
                  </a:lnTo>
                  <a:lnTo>
                    <a:pt x="3277" y="987"/>
                  </a:lnTo>
                  <a:lnTo>
                    <a:pt x="3278" y="938"/>
                  </a:lnTo>
                  <a:lnTo>
                    <a:pt x="3275" y="893"/>
                  </a:lnTo>
                  <a:lnTo>
                    <a:pt x="3272" y="852"/>
                  </a:lnTo>
                  <a:lnTo>
                    <a:pt x="3268" y="817"/>
                  </a:lnTo>
                  <a:lnTo>
                    <a:pt x="3262" y="786"/>
                  </a:lnTo>
                  <a:lnTo>
                    <a:pt x="3256" y="761"/>
                  </a:lnTo>
                  <a:lnTo>
                    <a:pt x="3250" y="739"/>
                  </a:lnTo>
                  <a:lnTo>
                    <a:pt x="3243" y="721"/>
                  </a:lnTo>
                  <a:lnTo>
                    <a:pt x="3238" y="708"/>
                  </a:lnTo>
                  <a:lnTo>
                    <a:pt x="3233" y="698"/>
                  </a:lnTo>
                  <a:lnTo>
                    <a:pt x="3231" y="692"/>
                  </a:lnTo>
                  <a:lnTo>
                    <a:pt x="3230" y="690"/>
                  </a:lnTo>
                  <a:lnTo>
                    <a:pt x="3230" y="1146"/>
                  </a:lnTo>
                  <a:lnTo>
                    <a:pt x="3228" y="1181"/>
                  </a:lnTo>
                  <a:lnTo>
                    <a:pt x="3222" y="1213"/>
                  </a:lnTo>
                  <a:lnTo>
                    <a:pt x="3213" y="1245"/>
                  </a:lnTo>
                  <a:lnTo>
                    <a:pt x="3201" y="1274"/>
                  </a:lnTo>
                  <a:lnTo>
                    <a:pt x="3201" y="2696"/>
                  </a:lnTo>
                  <a:lnTo>
                    <a:pt x="3198" y="2727"/>
                  </a:lnTo>
                  <a:lnTo>
                    <a:pt x="3190" y="2756"/>
                  </a:lnTo>
                  <a:lnTo>
                    <a:pt x="3178" y="2782"/>
                  </a:lnTo>
                  <a:lnTo>
                    <a:pt x="3161" y="2806"/>
                  </a:lnTo>
                  <a:lnTo>
                    <a:pt x="3140" y="2826"/>
                  </a:lnTo>
                  <a:lnTo>
                    <a:pt x="3116" y="2844"/>
                  </a:lnTo>
                  <a:lnTo>
                    <a:pt x="3089" y="2856"/>
                  </a:lnTo>
                  <a:lnTo>
                    <a:pt x="3061" y="2864"/>
                  </a:lnTo>
                  <a:lnTo>
                    <a:pt x="3030" y="2867"/>
                  </a:lnTo>
                  <a:lnTo>
                    <a:pt x="2995" y="2864"/>
                  </a:lnTo>
                  <a:lnTo>
                    <a:pt x="2963" y="2854"/>
                  </a:lnTo>
                  <a:lnTo>
                    <a:pt x="2934" y="2837"/>
                  </a:lnTo>
                  <a:lnTo>
                    <a:pt x="2909" y="2816"/>
                  </a:lnTo>
                  <a:lnTo>
                    <a:pt x="2888" y="2792"/>
                  </a:lnTo>
                  <a:lnTo>
                    <a:pt x="2872" y="2762"/>
                  </a:lnTo>
                  <a:lnTo>
                    <a:pt x="2863" y="2730"/>
                  </a:lnTo>
                  <a:lnTo>
                    <a:pt x="2859" y="2696"/>
                  </a:lnTo>
                  <a:lnTo>
                    <a:pt x="2859" y="1475"/>
                  </a:lnTo>
                  <a:lnTo>
                    <a:pt x="2835" y="1475"/>
                  </a:lnTo>
                  <a:lnTo>
                    <a:pt x="2835" y="2696"/>
                  </a:lnTo>
                  <a:lnTo>
                    <a:pt x="2832" y="2730"/>
                  </a:lnTo>
                  <a:lnTo>
                    <a:pt x="2822" y="2762"/>
                  </a:lnTo>
                  <a:lnTo>
                    <a:pt x="2806" y="2792"/>
                  </a:lnTo>
                  <a:lnTo>
                    <a:pt x="2785" y="2816"/>
                  </a:lnTo>
                  <a:lnTo>
                    <a:pt x="2760" y="2837"/>
                  </a:lnTo>
                  <a:lnTo>
                    <a:pt x="2731" y="2854"/>
                  </a:lnTo>
                  <a:lnTo>
                    <a:pt x="2699" y="2864"/>
                  </a:lnTo>
                  <a:lnTo>
                    <a:pt x="2664" y="2867"/>
                  </a:lnTo>
                  <a:lnTo>
                    <a:pt x="2633" y="2864"/>
                  </a:lnTo>
                  <a:lnTo>
                    <a:pt x="2605" y="2856"/>
                  </a:lnTo>
                  <a:lnTo>
                    <a:pt x="2578" y="2844"/>
                  </a:lnTo>
                  <a:lnTo>
                    <a:pt x="2554" y="2826"/>
                  </a:lnTo>
                  <a:lnTo>
                    <a:pt x="2533" y="2806"/>
                  </a:lnTo>
                  <a:lnTo>
                    <a:pt x="2516" y="2782"/>
                  </a:lnTo>
                  <a:lnTo>
                    <a:pt x="2504" y="2756"/>
                  </a:lnTo>
                  <a:lnTo>
                    <a:pt x="2496" y="2727"/>
                  </a:lnTo>
                  <a:lnTo>
                    <a:pt x="2493" y="2696"/>
                  </a:lnTo>
                  <a:lnTo>
                    <a:pt x="2494" y="1275"/>
                  </a:lnTo>
                  <a:lnTo>
                    <a:pt x="2483" y="1245"/>
                  </a:lnTo>
                  <a:lnTo>
                    <a:pt x="2474" y="1213"/>
                  </a:lnTo>
                  <a:lnTo>
                    <a:pt x="2468" y="1180"/>
                  </a:lnTo>
                  <a:lnTo>
                    <a:pt x="2467" y="1146"/>
                  </a:lnTo>
                  <a:lnTo>
                    <a:pt x="2467" y="689"/>
                  </a:lnTo>
                  <a:lnTo>
                    <a:pt x="2449" y="747"/>
                  </a:lnTo>
                  <a:lnTo>
                    <a:pt x="2430" y="808"/>
                  </a:lnTo>
                  <a:lnTo>
                    <a:pt x="2411" y="871"/>
                  </a:lnTo>
                  <a:lnTo>
                    <a:pt x="2393" y="939"/>
                  </a:lnTo>
                  <a:lnTo>
                    <a:pt x="2374" y="1009"/>
                  </a:lnTo>
                  <a:lnTo>
                    <a:pt x="2357" y="1085"/>
                  </a:lnTo>
                  <a:lnTo>
                    <a:pt x="2338" y="1165"/>
                  </a:lnTo>
                  <a:lnTo>
                    <a:pt x="2331" y="1187"/>
                  </a:lnTo>
                  <a:lnTo>
                    <a:pt x="2321" y="1208"/>
                  </a:lnTo>
                  <a:lnTo>
                    <a:pt x="2308" y="1226"/>
                  </a:lnTo>
                  <a:lnTo>
                    <a:pt x="2292" y="1241"/>
                  </a:lnTo>
                  <a:lnTo>
                    <a:pt x="2280" y="1250"/>
                  </a:lnTo>
                  <a:lnTo>
                    <a:pt x="2267" y="1257"/>
                  </a:lnTo>
                  <a:lnTo>
                    <a:pt x="2270" y="1307"/>
                  </a:lnTo>
                  <a:lnTo>
                    <a:pt x="2269" y="1353"/>
                  </a:lnTo>
                  <a:lnTo>
                    <a:pt x="2265" y="1395"/>
                  </a:lnTo>
                  <a:lnTo>
                    <a:pt x="2256" y="1434"/>
                  </a:lnTo>
                  <a:lnTo>
                    <a:pt x="2243" y="1468"/>
                  </a:lnTo>
                  <a:lnTo>
                    <a:pt x="2225" y="1499"/>
                  </a:lnTo>
                  <a:lnTo>
                    <a:pt x="2204" y="1527"/>
                  </a:lnTo>
                  <a:lnTo>
                    <a:pt x="2180" y="1550"/>
                  </a:lnTo>
                  <a:lnTo>
                    <a:pt x="2151" y="1569"/>
                  </a:lnTo>
                  <a:lnTo>
                    <a:pt x="2121" y="1582"/>
                  </a:lnTo>
                  <a:lnTo>
                    <a:pt x="2091" y="1591"/>
                  </a:lnTo>
                  <a:lnTo>
                    <a:pt x="2061" y="1595"/>
                  </a:lnTo>
                  <a:lnTo>
                    <a:pt x="2031" y="1596"/>
                  </a:lnTo>
                  <a:lnTo>
                    <a:pt x="2007" y="1595"/>
                  </a:lnTo>
                  <a:lnTo>
                    <a:pt x="2007" y="1622"/>
                  </a:lnTo>
                  <a:lnTo>
                    <a:pt x="2007" y="1964"/>
                  </a:lnTo>
                  <a:lnTo>
                    <a:pt x="2006" y="1984"/>
                  </a:lnTo>
                  <a:lnTo>
                    <a:pt x="2002" y="2006"/>
                  </a:lnTo>
                  <a:lnTo>
                    <a:pt x="1997" y="2027"/>
                  </a:lnTo>
                  <a:lnTo>
                    <a:pt x="1991" y="2046"/>
                  </a:lnTo>
                  <a:lnTo>
                    <a:pt x="1991" y="2050"/>
                  </a:lnTo>
                  <a:lnTo>
                    <a:pt x="1991" y="2062"/>
                  </a:lnTo>
                  <a:lnTo>
                    <a:pt x="1991" y="2080"/>
                  </a:lnTo>
                  <a:lnTo>
                    <a:pt x="1991" y="2105"/>
                  </a:lnTo>
                  <a:lnTo>
                    <a:pt x="1991" y="2134"/>
                  </a:lnTo>
                  <a:lnTo>
                    <a:pt x="1991" y="2169"/>
                  </a:lnTo>
                  <a:lnTo>
                    <a:pt x="1992" y="2206"/>
                  </a:lnTo>
                  <a:lnTo>
                    <a:pt x="1992" y="2248"/>
                  </a:lnTo>
                  <a:lnTo>
                    <a:pt x="1992" y="2291"/>
                  </a:lnTo>
                  <a:lnTo>
                    <a:pt x="1992" y="2337"/>
                  </a:lnTo>
                  <a:lnTo>
                    <a:pt x="1992" y="2383"/>
                  </a:lnTo>
                  <a:lnTo>
                    <a:pt x="1992" y="2430"/>
                  </a:lnTo>
                  <a:lnTo>
                    <a:pt x="1992" y="2476"/>
                  </a:lnTo>
                  <a:lnTo>
                    <a:pt x="1992" y="2521"/>
                  </a:lnTo>
                  <a:lnTo>
                    <a:pt x="1992" y="2564"/>
                  </a:lnTo>
                  <a:lnTo>
                    <a:pt x="1992" y="2605"/>
                  </a:lnTo>
                  <a:lnTo>
                    <a:pt x="1992" y="2644"/>
                  </a:lnTo>
                  <a:lnTo>
                    <a:pt x="1992" y="2677"/>
                  </a:lnTo>
                  <a:lnTo>
                    <a:pt x="1992" y="2707"/>
                  </a:lnTo>
                  <a:lnTo>
                    <a:pt x="1992" y="2731"/>
                  </a:lnTo>
                  <a:lnTo>
                    <a:pt x="1992" y="2749"/>
                  </a:lnTo>
                  <a:lnTo>
                    <a:pt x="1992" y="2760"/>
                  </a:lnTo>
                  <a:lnTo>
                    <a:pt x="1992" y="2764"/>
                  </a:lnTo>
                  <a:lnTo>
                    <a:pt x="1989" y="2788"/>
                  </a:lnTo>
                  <a:lnTo>
                    <a:pt x="1981" y="2810"/>
                  </a:lnTo>
                  <a:lnTo>
                    <a:pt x="1970" y="2828"/>
                  </a:lnTo>
                  <a:lnTo>
                    <a:pt x="1954" y="2844"/>
                  </a:lnTo>
                  <a:lnTo>
                    <a:pt x="1935" y="2856"/>
                  </a:lnTo>
                  <a:lnTo>
                    <a:pt x="1913" y="2864"/>
                  </a:lnTo>
                  <a:lnTo>
                    <a:pt x="1890" y="2867"/>
                  </a:lnTo>
                  <a:lnTo>
                    <a:pt x="1866" y="2864"/>
                  </a:lnTo>
                  <a:lnTo>
                    <a:pt x="1844" y="2856"/>
                  </a:lnTo>
                  <a:lnTo>
                    <a:pt x="1825" y="2844"/>
                  </a:lnTo>
                  <a:lnTo>
                    <a:pt x="1809" y="2828"/>
                  </a:lnTo>
                  <a:lnTo>
                    <a:pt x="1797" y="2810"/>
                  </a:lnTo>
                  <a:lnTo>
                    <a:pt x="1789" y="2788"/>
                  </a:lnTo>
                  <a:lnTo>
                    <a:pt x="1787" y="2764"/>
                  </a:lnTo>
                  <a:lnTo>
                    <a:pt x="1787" y="2162"/>
                  </a:lnTo>
                  <a:lnTo>
                    <a:pt x="1783" y="2162"/>
                  </a:lnTo>
                  <a:lnTo>
                    <a:pt x="1783" y="2162"/>
                  </a:lnTo>
                  <a:lnTo>
                    <a:pt x="1778" y="2162"/>
                  </a:lnTo>
                  <a:lnTo>
                    <a:pt x="1772" y="2162"/>
                  </a:lnTo>
                  <a:lnTo>
                    <a:pt x="1772" y="2162"/>
                  </a:lnTo>
                  <a:lnTo>
                    <a:pt x="1768" y="2162"/>
                  </a:lnTo>
                  <a:lnTo>
                    <a:pt x="1768" y="2764"/>
                  </a:lnTo>
                  <a:lnTo>
                    <a:pt x="1766" y="2788"/>
                  </a:lnTo>
                  <a:lnTo>
                    <a:pt x="1758" y="2810"/>
                  </a:lnTo>
                  <a:lnTo>
                    <a:pt x="1746" y="2828"/>
                  </a:lnTo>
                  <a:lnTo>
                    <a:pt x="1730" y="2844"/>
                  </a:lnTo>
                  <a:lnTo>
                    <a:pt x="1710" y="2856"/>
                  </a:lnTo>
                  <a:lnTo>
                    <a:pt x="1689" y="2864"/>
                  </a:lnTo>
                  <a:lnTo>
                    <a:pt x="1665" y="2867"/>
                  </a:lnTo>
                  <a:lnTo>
                    <a:pt x="1642" y="2864"/>
                  </a:lnTo>
                  <a:lnTo>
                    <a:pt x="1621" y="2856"/>
                  </a:lnTo>
                  <a:lnTo>
                    <a:pt x="1601" y="2844"/>
                  </a:lnTo>
                  <a:lnTo>
                    <a:pt x="1585" y="2828"/>
                  </a:lnTo>
                  <a:lnTo>
                    <a:pt x="1573" y="2810"/>
                  </a:lnTo>
                  <a:lnTo>
                    <a:pt x="1565" y="2788"/>
                  </a:lnTo>
                  <a:lnTo>
                    <a:pt x="1562" y="2764"/>
                  </a:lnTo>
                  <a:lnTo>
                    <a:pt x="1562" y="2760"/>
                  </a:lnTo>
                  <a:lnTo>
                    <a:pt x="1562" y="2749"/>
                  </a:lnTo>
                  <a:lnTo>
                    <a:pt x="1562" y="2731"/>
                  </a:lnTo>
                  <a:lnTo>
                    <a:pt x="1562" y="2707"/>
                  </a:lnTo>
                  <a:lnTo>
                    <a:pt x="1562" y="2677"/>
                  </a:lnTo>
                  <a:lnTo>
                    <a:pt x="1562" y="2644"/>
                  </a:lnTo>
                  <a:lnTo>
                    <a:pt x="1562" y="2605"/>
                  </a:lnTo>
                  <a:lnTo>
                    <a:pt x="1562" y="2564"/>
                  </a:lnTo>
                  <a:lnTo>
                    <a:pt x="1563" y="2521"/>
                  </a:lnTo>
                  <a:lnTo>
                    <a:pt x="1563" y="2476"/>
                  </a:lnTo>
                  <a:lnTo>
                    <a:pt x="1563" y="2430"/>
                  </a:lnTo>
                  <a:lnTo>
                    <a:pt x="1563" y="2383"/>
                  </a:lnTo>
                  <a:lnTo>
                    <a:pt x="1563" y="2337"/>
                  </a:lnTo>
                  <a:lnTo>
                    <a:pt x="1563" y="2291"/>
                  </a:lnTo>
                  <a:lnTo>
                    <a:pt x="1563" y="2248"/>
                  </a:lnTo>
                  <a:lnTo>
                    <a:pt x="1563" y="2206"/>
                  </a:lnTo>
                  <a:lnTo>
                    <a:pt x="1563" y="2169"/>
                  </a:lnTo>
                  <a:lnTo>
                    <a:pt x="1563" y="2134"/>
                  </a:lnTo>
                  <a:lnTo>
                    <a:pt x="1563" y="2105"/>
                  </a:lnTo>
                  <a:lnTo>
                    <a:pt x="1563" y="2080"/>
                  </a:lnTo>
                  <a:lnTo>
                    <a:pt x="1563" y="2062"/>
                  </a:lnTo>
                  <a:lnTo>
                    <a:pt x="1563" y="2050"/>
                  </a:lnTo>
                  <a:lnTo>
                    <a:pt x="1563" y="2046"/>
                  </a:lnTo>
                  <a:lnTo>
                    <a:pt x="1557" y="2027"/>
                  </a:lnTo>
                  <a:lnTo>
                    <a:pt x="1552" y="2006"/>
                  </a:lnTo>
                  <a:lnTo>
                    <a:pt x="1549" y="1984"/>
                  </a:lnTo>
                  <a:lnTo>
                    <a:pt x="1547" y="1964"/>
                  </a:lnTo>
                  <a:lnTo>
                    <a:pt x="1547" y="1622"/>
                  </a:lnTo>
                  <a:lnTo>
                    <a:pt x="1547" y="1595"/>
                  </a:lnTo>
                  <a:lnTo>
                    <a:pt x="1523" y="1596"/>
                  </a:lnTo>
                  <a:lnTo>
                    <a:pt x="1493" y="1595"/>
                  </a:lnTo>
                  <a:lnTo>
                    <a:pt x="1463" y="1591"/>
                  </a:lnTo>
                  <a:lnTo>
                    <a:pt x="1433" y="1582"/>
                  </a:lnTo>
                  <a:lnTo>
                    <a:pt x="1404" y="1569"/>
                  </a:lnTo>
                  <a:lnTo>
                    <a:pt x="1376" y="1550"/>
                  </a:lnTo>
                  <a:lnTo>
                    <a:pt x="1350" y="1527"/>
                  </a:lnTo>
                  <a:lnTo>
                    <a:pt x="1329" y="1499"/>
                  </a:lnTo>
                  <a:lnTo>
                    <a:pt x="1312" y="1468"/>
                  </a:lnTo>
                  <a:lnTo>
                    <a:pt x="1299" y="1434"/>
                  </a:lnTo>
                  <a:lnTo>
                    <a:pt x="1291" y="1395"/>
                  </a:lnTo>
                  <a:lnTo>
                    <a:pt x="1285" y="1352"/>
                  </a:lnTo>
                  <a:lnTo>
                    <a:pt x="1284" y="1306"/>
                  </a:lnTo>
                  <a:lnTo>
                    <a:pt x="1287" y="1256"/>
                  </a:lnTo>
                  <a:lnTo>
                    <a:pt x="1266" y="1241"/>
                  </a:lnTo>
                  <a:lnTo>
                    <a:pt x="1249" y="1224"/>
                  </a:lnTo>
                  <a:lnTo>
                    <a:pt x="1233" y="1203"/>
                  </a:lnTo>
                  <a:lnTo>
                    <a:pt x="1222" y="1180"/>
                  </a:lnTo>
                  <a:lnTo>
                    <a:pt x="1215" y="1155"/>
                  </a:lnTo>
                  <a:lnTo>
                    <a:pt x="1213" y="1128"/>
                  </a:lnTo>
                  <a:lnTo>
                    <a:pt x="1213" y="1051"/>
                  </a:lnTo>
                  <a:lnTo>
                    <a:pt x="1211" y="982"/>
                  </a:lnTo>
                  <a:lnTo>
                    <a:pt x="1206" y="917"/>
                  </a:lnTo>
                  <a:lnTo>
                    <a:pt x="1200" y="857"/>
                  </a:lnTo>
                  <a:lnTo>
                    <a:pt x="1191" y="801"/>
                  </a:lnTo>
                  <a:lnTo>
                    <a:pt x="1180" y="750"/>
                  </a:lnTo>
                  <a:lnTo>
                    <a:pt x="1179" y="746"/>
                  </a:lnTo>
                  <a:lnTo>
                    <a:pt x="1177" y="739"/>
                  </a:lnTo>
                  <a:lnTo>
                    <a:pt x="1173" y="726"/>
                  </a:lnTo>
                  <a:lnTo>
                    <a:pt x="1168" y="712"/>
                  </a:lnTo>
                  <a:lnTo>
                    <a:pt x="1162" y="697"/>
                  </a:lnTo>
                  <a:lnTo>
                    <a:pt x="1156" y="681"/>
                  </a:lnTo>
                  <a:lnTo>
                    <a:pt x="1149" y="668"/>
                  </a:lnTo>
                  <a:lnTo>
                    <a:pt x="1141" y="657"/>
                  </a:lnTo>
                  <a:lnTo>
                    <a:pt x="1133" y="651"/>
                  </a:lnTo>
                  <a:lnTo>
                    <a:pt x="1133" y="872"/>
                  </a:lnTo>
                  <a:lnTo>
                    <a:pt x="1139" y="898"/>
                  </a:lnTo>
                  <a:lnTo>
                    <a:pt x="1147" y="928"/>
                  </a:lnTo>
                  <a:lnTo>
                    <a:pt x="1154" y="963"/>
                  </a:lnTo>
                  <a:lnTo>
                    <a:pt x="1163" y="1003"/>
                  </a:lnTo>
                  <a:lnTo>
                    <a:pt x="1173" y="1046"/>
                  </a:lnTo>
                  <a:lnTo>
                    <a:pt x="1184" y="1092"/>
                  </a:lnTo>
                  <a:lnTo>
                    <a:pt x="1195" y="1142"/>
                  </a:lnTo>
                  <a:lnTo>
                    <a:pt x="1206" y="1193"/>
                  </a:lnTo>
                  <a:lnTo>
                    <a:pt x="1219" y="1247"/>
                  </a:lnTo>
                  <a:lnTo>
                    <a:pt x="1231" y="1301"/>
                  </a:lnTo>
                  <a:lnTo>
                    <a:pt x="1243" y="1356"/>
                  </a:lnTo>
                  <a:lnTo>
                    <a:pt x="1254" y="1412"/>
                  </a:lnTo>
                  <a:lnTo>
                    <a:pt x="1266" y="1467"/>
                  </a:lnTo>
                  <a:lnTo>
                    <a:pt x="1277" y="1521"/>
                  </a:lnTo>
                  <a:lnTo>
                    <a:pt x="1288" y="1574"/>
                  </a:lnTo>
                  <a:lnTo>
                    <a:pt x="1299" y="1625"/>
                  </a:lnTo>
                  <a:lnTo>
                    <a:pt x="1308" y="1674"/>
                  </a:lnTo>
                  <a:lnTo>
                    <a:pt x="1317" y="1719"/>
                  </a:lnTo>
                  <a:lnTo>
                    <a:pt x="1325" y="1761"/>
                  </a:lnTo>
                  <a:lnTo>
                    <a:pt x="1333" y="1800"/>
                  </a:lnTo>
                  <a:lnTo>
                    <a:pt x="1337" y="1833"/>
                  </a:lnTo>
                  <a:lnTo>
                    <a:pt x="1342" y="1861"/>
                  </a:lnTo>
                  <a:lnTo>
                    <a:pt x="1344" y="1885"/>
                  </a:lnTo>
                  <a:lnTo>
                    <a:pt x="1345" y="1902"/>
                  </a:lnTo>
                  <a:lnTo>
                    <a:pt x="1342" y="1920"/>
                  </a:lnTo>
                  <a:lnTo>
                    <a:pt x="1330" y="1936"/>
                  </a:lnTo>
                  <a:lnTo>
                    <a:pt x="1313" y="1951"/>
                  </a:lnTo>
                  <a:lnTo>
                    <a:pt x="1290" y="1965"/>
                  </a:lnTo>
                  <a:lnTo>
                    <a:pt x="1261" y="1979"/>
                  </a:lnTo>
                  <a:lnTo>
                    <a:pt x="1226" y="1991"/>
                  </a:lnTo>
                  <a:lnTo>
                    <a:pt x="1188" y="2001"/>
                  </a:lnTo>
                  <a:lnTo>
                    <a:pt x="1145" y="2011"/>
                  </a:lnTo>
                  <a:lnTo>
                    <a:pt x="1098" y="2020"/>
                  </a:lnTo>
                  <a:lnTo>
                    <a:pt x="1098" y="2696"/>
                  </a:lnTo>
                  <a:lnTo>
                    <a:pt x="1096" y="2727"/>
                  </a:lnTo>
                  <a:lnTo>
                    <a:pt x="1089" y="2756"/>
                  </a:lnTo>
                  <a:lnTo>
                    <a:pt x="1077" y="2782"/>
                  </a:lnTo>
                  <a:lnTo>
                    <a:pt x="1061" y="2806"/>
                  </a:lnTo>
                  <a:lnTo>
                    <a:pt x="1043" y="2826"/>
                  </a:lnTo>
                  <a:lnTo>
                    <a:pt x="1021" y="2844"/>
                  </a:lnTo>
                  <a:lnTo>
                    <a:pt x="995" y="2856"/>
                  </a:lnTo>
                  <a:lnTo>
                    <a:pt x="966" y="2864"/>
                  </a:lnTo>
                  <a:lnTo>
                    <a:pt x="936" y="2867"/>
                  </a:lnTo>
                  <a:lnTo>
                    <a:pt x="905" y="2864"/>
                  </a:lnTo>
                  <a:lnTo>
                    <a:pt x="877" y="2856"/>
                  </a:lnTo>
                  <a:lnTo>
                    <a:pt x="850" y="2844"/>
                  </a:lnTo>
                  <a:lnTo>
                    <a:pt x="826" y="2826"/>
                  </a:lnTo>
                  <a:lnTo>
                    <a:pt x="806" y="2806"/>
                  </a:lnTo>
                  <a:lnTo>
                    <a:pt x="789" y="2782"/>
                  </a:lnTo>
                  <a:lnTo>
                    <a:pt x="776" y="2756"/>
                  </a:lnTo>
                  <a:lnTo>
                    <a:pt x="768" y="2727"/>
                  </a:lnTo>
                  <a:lnTo>
                    <a:pt x="766" y="2696"/>
                  </a:lnTo>
                  <a:lnTo>
                    <a:pt x="766" y="2044"/>
                  </a:lnTo>
                  <a:lnTo>
                    <a:pt x="763" y="2044"/>
                  </a:lnTo>
                  <a:lnTo>
                    <a:pt x="756" y="2044"/>
                  </a:lnTo>
                  <a:lnTo>
                    <a:pt x="747" y="2044"/>
                  </a:lnTo>
                  <a:lnTo>
                    <a:pt x="740" y="2044"/>
                  </a:lnTo>
                  <a:lnTo>
                    <a:pt x="738" y="2044"/>
                  </a:lnTo>
                  <a:lnTo>
                    <a:pt x="734" y="2044"/>
                  </a:lnTo>
                  <a:lnTo>
                    <a:pt x="736" y="2696"/>
                  </a:lnTo>
                  <a:lnTo>
                    <a:pt x="733" y="2727"/>
                  </a:lnTo>
                  <a:lnTo>
                    <a:pt x="725" y="2756"/>
                  </a:lnTo>
                  <a:lnTo>
                    <a:pt x="712" y="2782"/>
                  </a:lnTo>
                  <a:lnTo>
                    <a:pt x="695" y="2806"/>
                  </a:lnTo>
                  <a:lnTo>
                    <a:pt x="674" y="2826"/>
                  </a:lnTo>
                  <a:lnTo>
                    <a:pt x="650" y="2844"/>
                  </a:lnTo>
                  <a:lnTo>
                    <a:pt x="623" y="2856"/>
                  </a:lnTo>
                  <a:lnTo>
                    <a:pt x="593" y="2864"/>
                  </a:lnTo>
                  <a:lnTo>
                    <a:pt x="563" y="2867"/>
                  </a:lnTo>
                  <a:lnTo>
                    <a:pt x="532" y="2864"/>
                  </a:lnTo>
                  <a:lnTo>
                    <a:pt x="505" y="2856"/>
                  </a:lnTo>
                  <a:lnTo>
                    <a:pt x="480" y="2844"/>
                  </a:lnTo>
                  <a:lnTo>
                    <a:pt x="459" y="2826"/>
                  </a:lnTo>
                  <a:lnTo>
                    <a:pt x="440" y="2806"/>
                  </a:lnTo>
                  <a:lnTo>
                    <a:pt x="426" y="2782"/>
                  </a:lnTo>
                  <a:lnTo>
                    <a:pt x="415" y="2756"/>
                  </a:lnTo>
                  <a:lnTo>
                    <a:pt x="408" y="2727"/>
                  </a:lnTo>
                  <a:lnTo>
                    <a:pt x="406" y="2696"/>
                  </a:lnTo>
                  <a:lnTo>
                    <a:pt x="406" y="2020"/>
                  </a:lnTo>
                  <a:lnTo>
                    <a:pt x="360" y="2011"/>
                  </a:lnTo>
                  <a:lnTo>
                    <a:pt x="318" y="2001"/>
                  </a:lnTo>
                  <a:lnTo>
                    <a:pt x="279" y="1991"/>
                  </a:lnTo>
                  <a:lnTo>
                    <a:pt x="245" y="1979"/>
                  </a:lnTo>
                  <a:lnTo>
                    <a:pt x="215" y="1965"/>
                  </a:lnTo>
                  <a:lnTo>
                    <a:pt x="191" y="1951"/>
                  </a:lnTo>
                  <a:lnTo>
                    <a:pt x="174" y="1936"/>
                  </a:lnTo>
                  <a:lnTo>
                    <a:pt x="164" y="1920"/>
                  </a:lnTo>
                  <a:lnTo>
                    <a:pt x="159" y="1902"/>
                  </a:lnTo>
                  <a:lnTo>
                    <a:pt x="160" y="1885"/>
                  </a:lnTo>
                  <a:lnTo>
                    <a:pt x="163" y="1861"/>
                  </a:lnTo>
                  <a:lnTo>
                    <a:pt x="167" y="1833"/>
                  </a:lnTo>
                  <a:lnTo>
                    <a:pt x="173" y="1800"/>
                  </a:lnTo>
                  <a:lnTo>
                    <a:pt x="179" y="1761"/>
                  </a:lnTo>
                  <a:lnTo>
                    <a:pt x="187" y="1719"/>
                  </a:lnTo>
                  <a:lnTo>
                    <a:pt x="196" y="1674"/>
                  </a:lnTo>
                  <a:lnTo>
                    <a:pt x="206" y="1625"/>
                  </a:lnTo>
                  <a:lnTo>
                    <a:pt x="216" y="1574"/>
                  </a:lnTo>
                  <a:lnTo>
                    <a:pt x="227" y="1521"/>
                  </a:lnTo>
                  <a:lnTo>
                    <a:pt x="239" y="1467"/>
                  </a:lnTo>
                  <a:lnTo>
                    <a:pt x="250" y="1412"/>
                  </a:lnTo>
                  <a:lnTo>
                    <a:pt x="262" y="1356"/>
                  </a:lnTo>
                  <a:lnTo>
                    <a:pt x="274" y="1301"/>
                  </a:lnTo>
                  <a:lnTo>
                    <a:pt x="287" y="1247"/>
                  </a:lnTo>
                  <a:lnTo>
                    <a:pt x="299" y="1193"/>
                  </a:lnTo>
                  <a:lnTo>
                    <a:pt x="310" y="1142"/>
                  </a:lnTo>
                  <a:lnTo>
                    <a:pt x="321" y="1092"/>
                  </a:lnTo>
                  <a:lnTo>
                    <a:pt x="332" y="1046"/>
                  </a:lnTo>
                  <a:lnTo>
                    <a:pt x="341" y="1003"/>
                  </a:lnTo>
                  <a:lnTo>
                    <a:pt x="351" y="963"/>
                  </a:lnTo>
                  <a:lnTo>
                    <a:pt x="359" y="928"/>
                  </a:lnTo>
                  <a:lnTo>
                    <a:pt x="365" y="898"/>
                  </a:lnTo>
                  <a:lnTo>
                    <a:pt x="371" y="872"/>
                  </a:lnTo>
                  <a:lnTo>
                    <a:pt x="371" y="651"/>
                  </a:lnTo>
                  <a:lnTo>
                    <a:pt x="363" y="657"/>
                  </a:lnTo>
                  <a:lnTo>
                    <a:pt x="356" y="668"/>
                  </a:lnTo>
                  <a:lnTo>
                    <a:pt x="349" y="681"/>
                  </a:lnTo>
                  <a:lnTo>
                    <a:pt x="342" y="697"/>
                  </a:lnTo>
                  <a:lnTo>
                    <a:pt x="336" y="712"/>
                  </a:lnTo>
                  <a:lnTo>
                    <a:pt x="332" y="726"/>
                  </a:lnTo>
                  <a:lnTo>
                    <a:pt x="328" y="739"/>
                  </a:lnTo>
                  <a:lnTo>
                    <a:pt x="325" y="746"/>
                  </a:lnTo>
                  <a:lnTo>
                    <a:pt x="325" y="750"/>
                  </a:lnTo>
                  <a:lnTo>
                    <a:pt x="314" y="801"/>
                  </a:lnTo>
                  <a:lnTo>
                    <a:pt x="305" y="857"/>
                  </a:lnTo>
                  <a:lnTo>
                    <a:pt x="299" y="917"/>
                  </a:lnTo>
                  <a:lnTo>
                    <a:pt x="294" y="982"/>
                  </a:lnTo>
                  <a:lnTo>
                    <a:pt x="291" y="1051"/>
                  </a:lnTo>
                  <a:lnTo>
                    <a:pt x="291" y="1128"/>
                  </a:lnTo>
                  <a:lnTo>
                    <a:pt x="289" y="1157"/>
                  </a:lnTo>
                  <a:lnTo>
                    <a:pt x="281" y="1184"/>
                  </a:lnTo>
                  <a:lnTo>
                    <a:pt x="268" y="1209"/>
                  </a:lnTo>
                  <a:lnTo>
                    <a:pt x="250" y="1230"/>
                  </a:lnTo>
                  <a:lnTo>
                    <a:pt x="229" y="1248"/>
                  </a:lnTo>
                  <a:lnTo>
                    <a:pt x="205" y="1262"/>
                  </a:lnTo>
                  <a:lnTo>
                    <a:pt x="178" y="1271"/>
                  </a:lnTo>
                  <a:lnTo>
                    <a:pt x="148" y="1275"/>
                  </a:lnTo>
                  <a:lnTo>
                    <a:pt x="147" y="1275"/>
                  </a:lnTo>
                  <a:lnTo>
                    <a:pt x="117" y="1271"/>
                  </a:lnTo>
                  <a:lnTo>
                    <a:pt x="91" y="1264"/>
                  </a:lnTo>
                  <a:lnTo>
                    <a:pt x="66" y="1250"/>
                  </a:lnTo>
                  <a:lnTo>
                    <a:pt x="45" y="1233"/>
                  </a:lnTo>
                  <a:lnTo>
                    <a:pt x="28" y="1212"/>
                  </a:lnTo>
                  <a:lnTo>
                    <a:pt x="14" y="1187"/>
                  </a:lnTo>
                  <a:lnTo>
                    <a:pt x="5" y="1161"/>
                  </a:lnTo>
                  <a:lnTo>
                    <a:pt x="2" y="1132"/>
                  </a:lnTo>
                  <a:lnTo>
                    <a:pt x="0" y="1046"/>
                  </a:lnTo>
                  <a:lnTo>
                    <a:pt x="3" y="965"/>
                  </a:lnTo>
                  <a:lnTo>
                    <a:pt x="10" y="888"/>
                  </a:lnTo>
                  <a:lnTo>
                    <a:pt x="20" y="814"/>
                  </a:lnTo>
                  <a:lnTo>
                    <a:pt x="33" y="744"/>
                  </a:lnTo>
                  <a:lnTo>
                    <a:pt x="51" y="679"/>
                  </a:lnTo>
                  <a:lnTo>
                    <a:pt x="70" y="617"/>
                  </a:lnTo>
                  <a:lnTo>
                    <a:pt x="92" y="558"/>
                  </a:lnTo>
                  <a:lnTo>
                    <a:pt x="117" y="503"/>
                  </a:lnTo>
                  <a:lnTo>
                    <a:pt x="144" y="452"/>
                  </a:lnTo>
                  <a:lnTo>
                    <a:pt x="171" y="404"/>
                  </a:lnTo>
                  <a:lnTo>
                    <a:pt x="201" y="358"/>
                  </a:lnTo>
                  <a:lnTo>
                    <a:pt x="232" y="318"/>
                  </a:lnTo>
                  <a:lnTo>
                    <a:pt x="264" y="279"/>
                  </a:lnTo>
                  <a:lnTo>
                    <a:pt x="297" y="242"/>
                  </a:lnTo>
                  <a:lnTo>
                    <a:pt x="330" y="209"/>
                  </a:lnTo>
                  <a:lnTo>
                    <a:pt x="362" y="179"/>
                  </a:lnTo>
                  <a:lnTo>
                    <a:pt x="394" y="153"/>
                  </a:lnTo>
                  <a:lnTo>
                    <a:pt x="426" y="127"/>
                  </a:lnTo>
                  <a:lnTo>
                    <a:pt x="457" y="105"/>
                  </a:lnTo>
                  <a:lnTo>
                    <a:pt x="487" y="85"/>
                  </a:lnTo>
                  <a:lnTo>
                    <a:pt x="516" y="68"/>
                  </a:lnTo>
                  <a:lnTo>
                    <a:pt x="542" y="52"/>
                  </a:lnTo>
                  <a:lnTo>
                    <a:pt x="568" y="40"/>
                  </a:lnTo>
                  <a:lnTo>
                    <a:pt x="590" y="29"/>
                  </a:lnTo>
                  <a:lnTo>
                    <a:pt x="610" y="20"/>
                  </a:lnTo>
                  <a:lnTo>
                    <a:pt x="628" y="13"/>
                  </a:lnTo>
                  <a:lnTo>
                    <a:pt x="642" y="7"/>
                  </a:lnTo>
                  <a:lnTo>
                    <a:pt x="653" y="4"/>
                  </a:lnTo>
                  <a:lnTo>
                    <a:pt x="660" y="2"/>
                  </a:lnTo>
                  <a:lnTo>
                    <a:pt x="753" y="95"/>
                  </a:lnTo>
                  <a:lnTo>
                    <a:pt x="846" y="2"/>
                  </a:lnTo>
                  <a:lnTo>
                    <a:pt x="852" y="4"/>
                  </a:lnTo>
                  <a:lnTo>
                    <a:pt x="863" y="7"/>
                  </a:lnTo>
                  <a:lnTo>
                    <a:pt x="878" y="13"/>
                  </a:lnTo>
                  <a:lnTo>
                    <a:pt x="894" y="20"/>
                  </a:lnTo>
                  <a:lnTo>
                    <a:pt x="914" y="29"/>
                  </a:lnTo>
                  <a:lnTo>
                    <a:pt x="938" y="40"/>
                  </a:lnTo>
                  <a:lnTo>
                    <a:pt x="962" y="52"/>
                  </a:lnTo>
                  <a:lnTo>
                    <a:pt x="988" y="68"/>
                  </a:lnTo>
                  <a:lnTo>
                    <a:pt x="1017" y="85"/>
                  </a:lnTo>
                  <a:lnTo>
                    <a:pt x="1047" y="105"/>
                  </a:lnTo>
                  <a:lnTo>
                    <a:pt x="1078" y="127"/>
                  </a:lnTo>
                  <a:lnTo>
                    <a:pt x="1110" y="153"/>
                  </a:lnTo>
                  <a:lnTo>
                    <a:pt x="1142" y="179"/>
                  </a:lnTo>
                  <a:lnTo>
                    <a:pt x="1176" y="209"/>
                  </a:lnTo>
                  <a:lnTo>
                    <a:pt x="1208" y="242"/>
                  </a:lnTo>
                  <a:lnTo>
                    <a:pt x="1241" y="279"/>
                  </a:lnTo>
                  <a:lnTo>
                    <a:pt x="1272" y="318"/>
                  </a:lnTo>
                  <a:lnTo>
                    <a:pt x="1303" y="358"/>
                  </a:lnTo>
                  <a:lnTo>
                    <a:pt x="1333" y="404"/>
                  </a:lnTo>
                  <a:lnTo>
                    <a:pt x="1361" y="452"/>
                  </a:lnTo>
                  <a:lnTo>
                    <a:pt x="1388" y="503"/>
                  </a:lnTo>
                  <a:lnTo>
                    <a:pt x="1412" y="558"/>
                  </a:lnTo>
                  <a:lnTo>
                    <a:pt x="1435" y="617"/>
                  </a:lnTo>
                  <a:lnTo>
                    <a:pt x="1454" y="679"/>
                  </a:lnTo>
                  <a:lnTo>
                    <a:pt x="1471" y="744"/>
                  </a:lnTo>
                  <a:lnTo>
                    <a:pt x="1485" y="814"/>
                  </a:lnTo>
                  <a:lnTo>
                    <a:pt x="1495" y="888"/>
                  </a:lnTo>
                  <a:lnTo>
                    <a:pt x="1502" y="965"/>
                  </a:lnTo>
                  <a:lnTo>
                    <a:pt x="1504" y="1046"/>
                  </a:lnTo>
                  <a:lnTo>
                    <a:pt x="1503" y="1132"/>
                  </a:lnTo>
                  <a:lnTo>
                    <a:pt x="1500" y="1157"/>
                  </a:lnTo>
                  <a:lnTo>
                    <a:pt x="1493" y="1181"/>
                  </a:lnTo>
                  <a:lnTo>
                    <a:pt x="1483" y="1203"/>
                  </a:lnTo>
                  <a:lnTo>
                    <a:pt x="1469" y="1223"/>
                  </a:lnTo>
                  <a:lnTo>
                    <a:pt x="1452" y="1239"/>
                  </a:lnTo>
                  <a:lnTo>
                    <a:pt x="1448" y="1278"/>
                  </a:lnTo>
                  <a:lnTo>
                    <a:pt x="1446" y="1312"/>
                  </a:lnTo>
                  <a:lnTo>
                    <a:pt x="1446" y="1344"/>
                  </a:lnTo>
                  <a:lnTo>
                    <a:pt x="1449" y="1371"/>
                  </a:lnTo>
                  <a:lnTo>
                    <a:pt x="1456" y="1393"/>
                  </a:lnTo>
                  <a:lnTo>
                    <a:pt x="1463" y="1411"/>
                  </a:lnTo>
                  <a:lnTo>
                    <a:pt x="1474" y="1423"/>
                  </a:lnTo>
                  <a:lnTo>
                    <a:pt x="1493" y="1432"/>
                  </a:lnTo>
                  <a:lnTo>
                    <a:pt x="1513" y="1435"/>
                  </a:lnTo>
                  <a:lnTo>
                    <a:pt x="1533" y="1433"/>
                  </a:lnTo>
                  <a:lnTo>
                    <a:pt x="1552" y="1427"/>
                  </a:lnTo>
                  <a:lnTo>
                    <a:pt x="1571" y="1418"/>
                  </a:lnTo>
                  <a:lnTo>
                    <a:pt x="1588" y="1408"/>
                  </a:lnTo>
                  <a:lnTo>
                    <a:pt x="1604" y="1398"/>
                  </a:lnTo>
                  <a:lnTo>
                    <a:pt x="1616" y="1388"/>
                  </a:lnTo>
                  <a:lnTo>
                    <a:pt x="1626" y="1381"/>
                  </a:lnTo>
                  <a:lnTo>
                    <a:pt x="1656" y="1361"/>
                  </a:lnTo>
                  <a:lnTo>
                    <a:pt x="1689" y="1345"/>
                  </a:lnTo>
                  <a:lnTo>
                    <a:pt x="1722" y="1334"/>
                  </a:lnTo>
                  <a:lnTo>
                    <a:pt x="1723" y="1334"/>
                  </a:lnTo>
                  <a:lnTo>
                    <a:pt x="1778" y="1391"/>
                  </a:lnTo>
                  <a:lnTo>
                    <a:pt x="1832" y="1334"/>
                  </a:lnTo>
                  <a:lnTo>
                    <a:pt x="1832" y="1334"/>
                  </a:lnTo>
                  <a:lnTo>
                    <a:pt x="1866" y="1345"/>
                  </a:lnTo>
                  <a:lnTo>
                    <a:pt x="1898" y="1361"/>
                  </a:lnTo>
                  <a:lnTo>
                    <a:pt x="1928" y="1381"/>
                  </a:lnTo>
                  <a:lnTo>
                    <a:pt x="1938" y="1388"/>
                  </a:lnTo>
                  <a:lnTo>
                    <a:pt x="1951" y="1398"/>
                  </a:lnTo>
                  <a:lnTo>
                    <a:pt x="1967" y="1408"/>
                  </a:lnTo>
                  <a:lnTo>
                    <a:pt x="1984" y="1418"/>
                  </a:lnTo>
                  <a:lnTo>
                    <a:pt x="2002" y="1427"/>
                  </a:lnTo>
                  <a:lnTo>
                    <a:pt x="2022" y="1433"/>
                  </a:lnTo>
                  <a:lnTo>
                    <a:pt x="2042" y="1435"/>
                  </a:lnTo>
                  <a:lnTo>
                    <a:pt x="2061" y="1432"/>
                  </a:lnTo>
                  <a:lnTo>
                    <a:pt x="2080" y="1423"/>
                  </a:lnTo>
                  <a:lnTo>
                    <a:pt x="2091" y="1411"/>
                  </a:lnTo>
                  <a:lnTo>
                    <a:pt x="2100" y="1394"/>
                  </a:lnTo>
                  <a:lnTo>
                    <a:pt x="2105" y="1372"/>
                  </a:lnTo>
                  <a:lnTo>
                    <a:pt x="2109" y="1345"/>
                  </a:lnTo>
                  <a:lnTo>
                    <a:pt x="2109" y="1314"/>
                  </a:lnTo>
                  <a:lnTo>
                    <a:pt x="2108" y="1280"/>
                  </a:lnTo>
                  <a:lnTo>
                    <a:pt x="2103" y="1243"/>
                  </a:lnTo>
                  <a:lnTo>
                    <a:pt x="2084" y="1225"/>
                  </a:lnTo>
                  <a:lnTo>
                    <a:pt x="2071" y="1204"/>
                  </a:lnTo>
                  <a:lnTo>
                    <a:pt x="2060" y="1181"/>
                  </a:lnTo>
                  <a:lnTo>
                    <a:pt x="2053" y="1156"/>
                  </a:lnTo>
                  <a:lnTo>
                    <a:pt x="2052" y="1130"/>
                  </a:lnTo>
                  <a:lnTo>
                    <a:pt x="2056" y="1103"/>
                  </a:lnTo>
                  <a:lnTo>
                    <a:pt x="2080" y="995"/>
                  </a:lnTo>
                  <a:lnTo>
                    <a:pt x="2105" y="894"/>
                  </a:lnTo>
                  <a:lnTo>
                    <a:pt x="2130" y="801"/>
                  </a:lnTo>
                  <a:lnTo>
                    <a:pt x="2155" y="714"/>
                  </a:lnTo>
                  <a:lnTo>
                    <a:pt x="2182" y="634"/>
                  </a:lnTo>
                  <a:lnTo>
                    <a:pt x="2209" y="560"/>
                  </a:lnTo>
                  <a:lnTo>
                    <a:pt x="2238" y="491"/>
                  </a:lnTo>
                  <a:lnTo>
                    <a:pt x="2269" y="428"/>
                  </a:lnTo>
                  <a:lnTo>
                    <a:pt x="2301" y="370"/>
                  </a:lnTo>
                  <a:lnTo>
                    <a:pt x="2336" y="316"/>
                  </a:lnTo>
                  <a:lnTo>
                    <a:pt x="2372" y="267"/>
                  </a:lnTo>
                  <a:lnTo>
                    <a:pt x="2412" y="221"/>
                  </a:lnTo>
                  <a:lnTo>
                    <a:pt x="2454" y="179"/>
                  </a:lnTo>
                  <a:lnTo>
                    <a:pt x="2498" y="141"/>
                  </a:lnTo>
                  <a:lnTo>
                    <a:pt x="2547" y="104"/>
                  </a:lnTo>
                  <a:lnTo>
                    <a:pt x="2599" y="71"/>
                  </a:lnTo>
                  <a:lnTo>
                    <a:pt x="2604" y="68"/>
                  </a:lnTo>
                  <a:lnTo>
                    <a:pt x="2613" y="62"/>
                  </a:lnTo>
                  <a:lnTo>
                    <a:pt x="2628" y="56"/>
                  </a:lnTo>
                  <a:lnTo>
                    <a:pt x="2644" y="47"/>
                  </a:lnTo>
                  <a:lnTo>
                    <a:pt x="2663" y="38"/>
                  </a:lnTo>
                  <a:lnTo>
                    <a:pt x="2683" y="29"/>
                  </a:lnTo>
                  <a:lnTo>
                    <a:pt x="2704" y="20"/>
                  </a:lnTo>
                  <a:lnTo>
                    <a:pt x="2723" y="11"/>
                  </a:lnTo>
                  <a:lnTo>
                    <a:pt x="2742" y="5"/>
                  </a:lnTo>
                  <a:lnTo>
                    <a:pt x="2757" y="0"/>
                  </a:lnTo>
                  <a:lnTo>
                    <a:pt x="275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9"/>
            <p:cNvSpPr>
              <a:spLocks/>
            </p:cNvSpPr>
            <p:nvPr/>
          </p:nvSpPr>
          <p:spPr bwMode="auto">
            <a:xfrm>
              <a:off x="730" y="2416"/>
              <a:ext cx="64" cy="64"/>
            </a:xfrm>
            <a:custGeom>
              <a:avLst/>
              <a:gdLst>
                <a:gd name="T0" fmla="*/ 225 w 448"/>
                <a:gd name="T1" fmla="*/ 0 h 449"/>
                <a:gd name="T2" fmla="*/ 225 w 448"/>
                <a:gd name="T3" fmla="*/ 0 h 449"/>
                <a:gd name="T4" fmla="*/ 231 w 448"/>
                <a:gd name="T5" fmla="*/ 0 h 449"/>
                <a:gd name="T6" fmla="*/ 267 w 448"/>
                <a:gd name="T7" fmla="*/ 5 h 449"/>
                <a:gd name="T8" fmla="*/ 301 w 448"/>
                <a:gd name="T9" fmla="*/ 14 h 449"/>
                <a:gd name="T10" fmla="*/ 332 w 448"/>
                <a:gd name="T11" fmla="*/ 28 h 449"/>
                <a:gd name="T12" fmla="*/ 360 w 448"/>
                <a:gd name="T13" fmla="*/ 47 h 449"/>
                <a:gd name="T14" fmla="*/ 385 w 448"/>
                <a:gd name="T15" fmla="*/ 69 h 449"/>
                <a:gd name="T16" fmla="*/ 407 w 448"/>
                <a:gd name="T17" fmla="*/ 94 h 449"/>
                <a:gd name="T18" fmla="*/ 425 w 448"/>
                <a:gd name="T19" fmla="*/ 123 h 449"/>
                <a:gd name="T20" fmla="*/ 438 w 448"/>
                <a:gd name="T21" fmla="*/ 155 h 449"/>
                <a:gd name="T22" fmla="*/ 446 w 448"/>
                <a:gd name="T23" fmla="*/ 188 h 449"/>
                <a:gd name="T24" fmla="*/ 448 w 448"/>
                <a:gd name="T25" fmla="*/ 225 h 449"/>
                <a:gd name="T26" fmla="*/ 445 w 448"/>
                <a:gd name="T27" fmla="*/ 263 h 449"/>
                <a:gd name="T28" fmla="*/ 435 w 448"/>
                <a:gd name="T29" fmla="*/ 301 h 449"/>
                <a:gd name="T30" fmla="*/ 420 w 448"/>
                <a:gd name="T31" fmla="*/ 335 h 449"/>
                <a:gd name="T32" fmla="*/ 398 w 448"/>
                <a:gd name="T33" fmla="*/ 366 h 449"/>
                <a:gd name="T34" fmla="*/ 372 w 448"/>
                <a:gd name="T35" fmla="*/ 394 h 449"/>
                <a:gd name="T36" fmla="*/ 342 w 448"/>
                <a:gd name="T37" fmla="*/ 416 h 449"/>
                <a:gd name="T38" fmla="*/ 308 w 448"/>
                <a:gd name="T39" fmla="*/ 433 h 449"/>
                <a:gd name="T40" fmla="*/ 271 w 448"/>
                <a:gd name="T41" fmla="*/ 444 h 449"/>
                <a:gd name="T42" fmla="*/ 231 w 448"/>
                <a:gd name="T43" fmla="*/ 449 h 449"/>
                <a:gd name="T44" fmla="*/ 225 w 448"/>
                <a:gd name="T45" fmla="*/ 449 h 449"/>
                <a:gd name="T46" fmla="*/ 225 w 448"/>
                <a:gd name="T47" fmla="*/ 449 h 449"/>
                <a:gd name="T48" fmla="*/ 217 w 448"/>
                <a:gd name="T49" fmla="*/ 449 h 449"/>
                <a:gd name="T50" fmla="*/ 178 w 448"/>
                <a:gd name="T51" fmla="*/ 444 h 449"/>
                <a:gd name="T52" fmla="*/ 141 w 448"/>
                <a:gd name="T53" fmla="*/ 433 h 449"/>
                <a:gd name="T54" fmla="*/ 107 w 448"/>
                <a:gd name="T55" fmla="*/ 416 h 449"/>
                <a:gd name="T56" fmla="*/ 76 w 448"/>
                <a:gd name="T57" fmla="*/ 394 h 449"/>
                <a:gd name="T58" fmla="*/ 51 w 448"/>
                <a:gd name="T59" fmla="*/ 366 h 449"/>
                <a:gd name="T60" fmla="*/ 29 w 448"/>
                <a:gd name="T61" fmla="*/ 335 h 449"/>
                <a:gd name="T62" fmla="*/ 13 w 448"/>
                <a:gd name="T63" fmla="*/ 301 h 449"/>
                <a:gd name="T64" fmla="*/ 3 w 448"/>
                <a:gd name="T65" fmla="*/ 263 h 449"/>
                <a:gd name="T66" fmla="*/ 0 w 448"/>
                <a:gd name="T67" fmla="*/ 225 h 449"/>
                <a:gd name="T68" fmla="*/ 2 w 448"/>
                <a:gd name="T69" fmla="*/ 188 h 449"/>
                <a:gd name="T70" fmla="*/ 11 w 448"/>
                <a:gd name="T71" fmla="*/ 155 h 449"/>
                <a:gd name="T72" fmla="*/ 24 w 448"/>
                <a:gd name="T73" fmla="*/ 123 h 449"/>
                <a:gd name="T74" fmla="*/ 42 w 448"/>
                <a:gd name="T75" fmla="*/ 94 h 449"/>
                <a:gd name="T76" fmla="*/ 63 w 448"/>
                <a:gd name="T77" fmla="*/ 69 h 449"/>
                <a:gd name="T78" fmla="*/ 89 w 448"/>
                <a:gd name="T79" fmla="*/ 47 h 449"/>
                <a:gd name="T80" fmla="*/ 117 w 448"/>
                <a:gd name="T81" fmla="*/ 28 h 449"/>
                <a:gd name="T82" fmla="*/ 148 w 448"/>
                <a:gd name="T83" fmla="*/ 14 h 449"/>
                <a:gd name="T84" fmla="*/ 182 w 448"/>
                <a:gd name="T85" fmla="*/ 5 h 449"/>
                <a:gd name="T86" fmla="*/ 217 w 448"/>
                <a:gd name="T87" fmla="*/ 0 h 449"/>
                <a:gd name="T88" fmla="*/ 225 w 448"/>
                <a:gd name="T89" fmla="*/ 0 h 4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48" h="449">
                  <a:moveTo>
                    <a:pt x="225" y="0"/>
                  </a:moveTo>
                  <a:lnTo>
                    <a:pt x="225" y="0"/>
                  </a:lnTo>
                  <a:lnTo>
                    <a:pt x="231" y="0"/>
                  </a:lnTo>
                  <a:lnTo>
                    <a:pt x="267" y="5"/>
                  </a:lnTo>
                  <a:lnTo>
                    <a:pt x="301" y="14"/>
                  </a:lnTo>
                  <a:lnTo>
                    <a:pt x="332" y="28"/>
                  </a:lnTo>
                  <a:lnTo>
                    <a:pt x="360" y="47"/>
                  </a:lnTo>
                  <a:lnTo>
                    <a:pt x="385" y="69"/>
                  </a:lnTo>
                  <a:lnTo>
                    <a:pt x="407" y="94"/>
                  </a:lnTo>
                  <a:lnTo>
                    <a:pt x="425" y="123"/>
                  </a:lnTo>
                  <a:lnTo>
                    <a:pt x="438" y="155"/>
                  </a:lnTo>
                  <a:lnTo>
                    <a:pt x="446" y="188"/>
                  </a:lnTo>
                  <a:lnTo>
                    <a:pt x="448" y="225"/>
                  </a:lnTo>
                  <a:lnTo>
                    <a:pt x="445" y="263"/>
                  </a:lnTo>
                  <a:lnTo>
                    <a:pt x="435" y="301"/>
                  </a:lnTo>
                  <a:lnTo>
                    <a:pt x="420" y="335"/>
                  </a:lnTo>
                  <a:lnTo>
                    <a:pt x="398" y="366"/>
                  </a:lnTo>
                  <a:lnTo>
                    <a:pt x="372" y="394"/>
                  </a:lnTo>
                  <a:lnTo>
                    <a:pt x="342" y="416"/>
                  </a:lnTo>
                  <a:lnTo>
                    <a:pt x="308" y="433"/>
                  </a:lnTo>
                  <a:lnTo>
                    <a:pt x="271" y="444"/>
                  </a:lnTo>
                  <a:lnTo>
                    <a:pt x="231" y="449"/>
                  </a:lnTo>
                  <a:lnTo>
                    <a:pt x="225" y="449"/>
                  </a:lnTo>
                  <a:lnTo>
                    <a:pt x="225" y="449"/>
                  </a:lnTo>
                  <a:lnTo>
                    <a:pt x="217" y="449"/>
                  </a:lnTo>
                  <a:lnTo>
                    <a:pt x="178" y="444"/>
                  </a:lnTo>
                  <a:lnTo>
                    <a:pt x="141" y="433"/>
                  </a:lnTo>
                  <a:lnTo>
                    <a:pt x="107" y="416"/>
                  </a:lnTo>
                  <a:lnTo>
                    <a:pt x="76" y="394"/>
                  </a:lnTo>
                  <a:lnTo>
                    <a:pt x="51" y="366"/>
                  </a:lnTo>
                  <a:lnTo>
                    <a:pt x="29" y="335"/>
                  </a:lnTo>
                  <a:lnTo>
                    <a:pt x="13" y="301"/>
                  </a:lnTo>
                  <a:lnTo>
                    <a:pt x="3" y="263"/>
                  </a:lnTo>
                  <a:lnTo>
                    <a:pt x="0" y="225"/>
                  </a:lnTo>
                  <a:lnTo>
                    <a:pt x="2" y="188"/>
                  </a:lnTo>
                  <a:lnTo>
                    <a:pt x="11" y="155"/>
                  </a:lnTo>
                  <a:lnTo>
                    <a:pt x="24" y="123"/>
                  </a:lnTo>
                  <a:lnTo>
                    <a:pt x="42" y="94"/>
                  </a:lnTo>
                  <a:lnTo>
                    <a:pt x="63" y="69"/>
                  </a:lnTo>
                  <a:lnTo>
                    <a:pt x="89" y="47"/>
                  </a:lnTo>
                  <a:lnTo>
                    <a:pt x="117" y="28"/>
                  </a:lnTo>
                  <a:lnTo>
                    <a:pt x="148" y="14"/>
                  </a:lnTo>
                  <a:lnTo>
                    <a:pt x="182" y="5"/>
                  </a:lnTo>
                  <a:lnTo>
                    <a:pt x="217" y="0"/>
                  </a:lnTo>
                  <a:lnTo>
                    <a:pt x="225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070322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TORS DURING THE MARRIAGE TO CONSID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8</a:t>
            </a:fld>
            <a:endParaRPr lang="en-US"/>
          </a:p>
        </p:txBody>
      </p:sp>
      <p:sp>
        <p:nvSpPr>
          <p:cNvPr id="5" name="Oval 4"/>
          <p:cNvSpPr/>
          <p:nvPr/>
        </p:nvSpPr>
        <p:spPr>
          <a:xfrm>
            <a:off x="4224139" y="2242604"/>
            <a:ext cx="3743723" cy="3706656"/>
          </a:xfrm>
          <a:prstGeom prst="ellipse">
            <a:avLst/>
          </a:prstGeom>
          <a:noFill/>
          <a:ln w="5715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44" name="Group 43"/>
          <p:cNvGrpSpPr/>
          <p:nvPr/>
        </p:nvGrpSpPr>
        <p:grpSpPr>
          <a:xfrm>
            <a:off x="5686040" y="1774604"/>
            <a:ext cx="819920" cy="819920"/>
            <a:chOff x="5673618" y="1736782"/>
            <a:chExt cx="844764" cy="844764"/>
          </a:xfrm>
        </p:grpSpPr>
        <p:sp>
          <p:nvSpPr>
            <p:cNvPr id="45" name="Oval 44"/>
            <p:cNvSpPr/>
            <p:nvPr/>
          </p:nvSpPr>
          <p:spPr>
            <a:xfrm>
              <a:off x="5673618" y="1736782"/>
              <a:ext cx="844764" cy="844764"/>
            </a:xfrm>
            <a:prstGeom prst="ellipse">
              <a:avLst/>
            </a:prstGeom>
            <a:solidFill>
              <a:srgbClr val="005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6" name="Oval 45"/>
            <p:cNvSpPr/>
            <p:nvPr/>
          </p:nvSpPr>
          <p:spPr>
            <a:xfrm>
              <a:off x="5733143" y="1796307"/>
              <a:ext cx="725714" cy="725714"/>
            </a:xfrm>
            <a:prstGeom prst="ellipse">
              <a:avLst/>
            </a:prstGeom>
            <a:noFill/>
            <a:ln w="9525"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6847676" y="2282606"/>
            <a:ext cx="819920" cy="819920"/>
            <a:chOff x="5673618" y="1736782"/>
            <a:chExt cx="844764" cy="844764"/>
          </a:xfrm>
        </p:grpSpPr>
        <p:sp>
          <p:nvSpPr>
            <p:cNvPr id="48" name="Oval 47"/>
            <p:cNvSpPr/>
            <p:nvPr/>
          </p:nvSpPr>
          <p:spPr>
            <a:xfrm>
              <a:off x="5673618" y="1736782"/>
              <a:ext cx="844764" cy="844764"/>
            </a:xfrm>
            <a:prstGeom prst="ellipse">
              <a:avLst/>
            </a:prstGeom>
            <a:solidFill>
              <a:srgbClr val="005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Oval 48"/>
            <p:cNvSpPr/>
            <p:nvPr/>
          </p:nvSpPr>
          <p:spPr>
            <a:xfrm>
              <a:off x="5733143" y="1796307"/>
              <a:ext cx="725714" cy="725714"/>
            </a:xfrm>
            <a:prstGeom prst="ellipse">
              <a:avLst/>
            </a:prstGeom>
            <a:noFill/>
            <a:ln w="9525"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0" name="Group 49"/>
          <p:cNvGrpSpPr/>
          <p:nvPr/>
        </p:nvGrpSpPr>
        <p:grpSpPr>
          <a:xfrm>
            <a:off x="7485332" y="3398222"/>
            <a:ext cx="819920" cy="819920"/>
            <a:chOff x="5673618" y="1736782"/>
            <a:chExt cx="844764" cy="844764"/>
          </a:xfrm>
        </p:grpSpPr>
        <p:sp>
          <p:nvSpPr>
            <p:cNvPr id="51" name="Oval 50"/>
            <p:cNvSpPr/>
            <p:nvPr/>
          </p:nvSpPr>
          <p:spPr>
            <a:xfrm>
              <a:off x="5673618" y="1736782"/>
              <a:ext cx="844764" cy="844764"/>
            </a:xfrm>
            <a:prstGeom prst="ellipse">
              <a:avLst/>
            </a:prstGeom>
            <a:solidFill>
              <a:srgbClr val="005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2" name="Oval 51"/>
            <p:cNvSpPr/>
            <p:nvPr/>
          </p:nvSpPr>
          <p:spPr>
            <a:xfrm>
              <a:off x="5733143" y="1796307"/>
              <a:ext cx="725714" cy="725714"/>
            </a:xfrm>
            <a:prstGeom prst="ellipse">
              <a:avLst/>
            </a:prstGeom>
            <a:noFill/>
            <a:ln w="9525"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7332197" y="4619559"/>
            <a:ext cx="819920" cy="819920"/>
            <a:chOff x="5673618" y="1736782"/>
            <a:chExt cx="844764" cy="844764"/>
          </a:xfrm>
        </p:grpSpPr>
        <p:sp>
          <p:nvSpPr>
            <p:cNvPr id="54" name="Oval 53"/>
            <p:cNvSpPr/>
            <p:nvPr/>
          </p:nvSpPr>
          <p:spPr>
            <a:xfrm>
              <a:off x="5673618" y="1736782"/>
              <a:ext cx="844764" cy="844764"/>
            </a:xfrm>
            <a:prstGeom prst="ellipse">
              <a:avLst/>
            </a:prstGeom>
            <a:solidFill>
              <a:srgbClr val="005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5" name="Oval 54"/>
            <p:cNvSpPr/>
            <p:nvPr/>
          </p:nvSpPr>
          <p:spPr>
            <a:xfrm>
              <a:off x="5733143" y="1796307"/>
              <a:ext cx="725714" cy="725714"/>
            </a:xfrm>
            <a:prstGeom prst="ellipse">
              <a:avLst/>
            </a:prstGeom>
            <a:noFill/>
            <a:ln w="9525"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6348812" y="5346289"/>
            <a:ext cx="819920" cy="819920"/>
            <a:chOff x="5673618" y="1736782"/>
            <a:chExt cx="844764" cy="844764"/>
          </a:xfrm>
        </p:grpSpPr>
        <p:sp>
          <p:nvSpPr>
            <p:cNvPr id="57" name="Oval 56"/>
            <p:cNvSpPr/>
            <p:nvPr/>
          </p:nvSpPr>
          <p:spPr>
            <a:xfrm>
              <a:off x="5673618" y="1736782"/>
              <a:ext cx="844764" cy="844764"/>
            </a:xfrm>
            <a:prstGeom prst="ellipse">
              <a:avLst/>
            </a:prstGeom>
            <a:solidFill>
              <a:srgbClr val="005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Oval 57"/>
            <p:cNvSpPr/>
            <p:nvPr/>
          </p:nvSpPr>
          <p:spPr>
            <a:xfrm>
              <a:off x="5733143" y="1796307"/>
              <a:ext cx="725714" cy="725714"/>
            </a:xfrm>
            <a:prstGeom prst="ellipse">
              <a:avLst/>
            </a:prstGeom>
            <a:noFill/>
            <a:ln w="9525"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5050590" y="5346289"/>
            <a:ext cx="819920" cy="819920"/>
            <a:chOff x="5673618" y="1736782"/>
            <a:chExt cx="844764" cy="844764"/>
          </a:xfrm>
        </p:grpSpPr>
        <p:sp>
          <p:nvSpPr>
            <p:cNvPr id="60" name="Oval 59"/>
            <p:cNvSpPr/>
            <p:nvPr/>
          </p:nvSpPr>
          <p:spPr>
            <a:xfrm>
              <a:off x="5673618" y="1736782"/>
              <a:ext cx="844764" cy="844764"/>
            </a:xfrm>
            <a:prstGeom prst="ellipse">
              <a:avLst/>
            </a:prstGeom>
            <a:solidFill>
              <a:srgbClr val="005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/>
            <p:cNvSpPr/>
            <p:nvPr/>
          </p:nvSpPr>
          <p:spPr>
            <a:xfrm>
              <a:off x="5733143" y="1796307"/>
              <a:ext cx="725714" cy="725714"/>
            </a:xfrm>
            <a:prstGeom prst="ellipse">
              <a:avLst/>
            </a:prstGeom>
            <a:noFill/>
            <a:ln w="9525"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4067205" y="4619559"/>
            <a:ext cx="819920" cy="819920"/>
            <a:chOff x="5673618" y="1736782"/>
            <a:chExt cx="844764" cy="844764"/>
          </a:xfrm>
        </p:grpSpPr>
        <p:sp>
          <p:nvSpPr>
            <p:cNvPr id="63" name="Oval 62"/>
            <p:cNvSpPr/>
            <p:nvPr/>
          </p:nvSpPr>
          <p:spPr>
            <a:xfrm>
              <a:off x="5673618" y="1736782"/>
              <a:ext cx="844764" cy="844764"/>
            </a:xfrm>
            <a:prstGeom prst="ellipse">
              <a:avLst/>
            </a:prstGeom>
            <a:solidFill>
              <a:srgbClr val="005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4" name="Oval 63"/>
            <p:cNvSpPr/>
            <p:nvPr/>
          </p:nvSpPr>
          <p:spPr>
            <a:xfrm>
              <a:off x="5733143" y="1796307"/>
              <a:ext cx="725714" cy="725714"/>
            </a:xfrm>
            <a:prstGeom prst="ellipse">
              <a:avLst/>
            </a:prstGeom>
            <a:noFill/>
            <a:ln w="9525"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3914070" y="3398222"/>
            <a:ext cx="819920" cy="819920"/>
            <a:chOff x="5673618" y="1736782"/>
            <a:chExt cx="844764" cy="844764"/>
          </a:xfrm>
        </p:grpSpPr>
        <p:sp>
          <p:nvSpPr>
            <p:cNvPr id="66" name="Oval 65"/>
            <p:cNvSpPr/>
            <p:nvPr/>
          </p:nvSpPr>
          <p:spPr>
            <a:xfrm>
              <a:off x="5673618" y="1736782"/>
              <a:ext cx="844764" cy="844764"/>
            </a:xfrm>
            <a:prstGeom prst="ellipse">
              <a:avLst/>
            </a:prstGeom>
            <a:solidFill>
              <a:srgbClr val="005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7" name="Oval 66"/>
            <p:cNvSpPr/>
            <p:nvPr/>
          </p:nvSpPr>
          <p:spPr>
            <a:xfrm>
              <a:off x="5733143" y="1796307"/>
              <a:ext cx="725714" cy="725714"/>
            </a:xfrm>
            <a:prstGeom prst="ellipse">
              <a:avLst/>
            </a:prstGeom>
            <a:noFill/>
            <a:ln w="9525"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4551726" y="2282606"/>
            <a:ext cx="819920" cy="819920"/>
            <a:chOff x="5673618" y="1736782"/>
            <a:chExt cx="844764" cy="844764"/>
          </a:xfrm>
        </p:grpSpPr>
        <p:sp>
          <p:nvSpPr>
            <p:cNvPr id="69" name="Oval 68"/>
            <p:cNvSpPr/>
            <p:nvPr/>
          </p:nvSpPr>
          <p:spPr>
            <a:xfrm>
              <a:off x="5673618" y="1736782"/>
              <a:ext cx="844764" cy="844764"/>
            </a:xfrm>
            <a:prstGeom prst="ellipse">
              <a:avLst/>
            </a:prstGeom>
            <a:solidFill>
              <a:srgbClr val="00569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0" name="Oval 69"/>
            <p:cNvSpPr/>
            <p:nvPr/>
          </p:nvSpPr>
          <p:spPr>
            <a:xfrm>
              <a:off x="5733143" y="1796307"/>
              <a:ext cx="725714" cy="725714"/>
            </a:xfrm>
            <a:prstGeom prst="ellipse">
              <a:avLst/>
            </a:prstGeom>
            <a:noFill/>
            <a:ln w="9525">
              <a:solidFill>
                <a:schemeClr val="bg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72" name="Rectangle 71"/>
          <p:cNvSpPr/>
          <p:nvPr/>
        </p:nvSpPr>
        <p:spPr>
          <a:xfrm>
            <a:off x="5766422" y="1337305"/>
            <a:ext cx="712054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Age </a:t>
            </a:r>
          </a:p>
        </p:txBody>
      </p:sp>
      <p:sp>
        <p:nvSpPr>
          <p:cNvPr id="73" name="Rectangle 72"/>
          <p:cNvSpPr/>
          <p:nvPr/>
        </p:nvSpPr>
        <p:spPr>
          <a:xfrm>
            <a:off x="7832535" y="2492511"/>
            <a:ext cx="99738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Health </a:t>
            </a:r>
          </a:p>
        </p:txBody>
      </p:sp>
      <p:sp>
        <p:nvSpPr>
          <p:cNvPr id="74" name="Rectangle 73"/>
          <p:cNvSpPr/>
          <p:nvPr/>
        </p:nvSpPr>
        <p:spPr>
          <a:xfrm>
            <a:off x="8458800" y="3608127"/>
            <a:ext cx="148149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Occupation</a:t>
            </a:r>
          </a:p>
        </p:txBody>
      </p:sp>
      <p:sp>
        <p:nvSpPr>
          <p:cNvPr id="75" name="Rectangle 74"/>
          <p:cNvSpPr/>
          <p:nvPr/>
        </p:nvSpPr>
        <p:spPr>
          <a:xfrm>
            <a:off x="8268329" y="4829464"/>
            <a:ext cx="78579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Skills</a:t>
            </a:r>
          </a:p>
        </p:txBody>
      </p:sp>
      <p:sp>
        <p:nvSpPr>
          <p:cNvPr id="76" name="Rectangle 75"/>
          <p:cNvSpPr/>
          <p:nvPr/>
        </p:nvSpPr>
        <p:spPr>
          <a:xfrm>
            <a:off x="7262154" y="5682694"/>
            <a:ext cx="160973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Employment</a:t>
            </a:r>
          </a:p>
        </p:txBody>
      </p:sp>
      <p:sp>
        <p:nvSpPr>
          <p:cNvPr id="77" name="Rectangle 76"/>
          <p:cNvSpPr/>
          <p:nvPr/>
        </p:nvSpPr>
        <p:spPr>
          <a:xfrm>
            <a:off x="4103982" y="5682694"/>
            <a:ext cx="854721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sz="2000" dirty="0"/>
              <a:t>Debts</a:t>
            </a:r>
          </a:p>
        </p:txBody>
      </p:sp>
      <p:sp>
        <p:nvSpPr>
          <p:cNvPr id="78" name="Rectangle 77"/>
          <p:cNvSpPr/>
          <p:nvPr/>
        </p:nvSpPr>
        <p:spPr>
          <a:xfrm>
            <a:off x="1479322" y="4829464"/>
            <a:ext cx="245131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dirty="0"/>
              <a:t>Conduct and Needs</a:t>
            </a:r>
          </a:p>
        </p:txBody>
      </p:sp>
      <p:sp>
        <p:nvSpPr>
          <p:cNvPr id="79" name="Rectangle 78"/>
          <p:cNvSpPr/>
          <p:nvPr/>
        </p:nvSpPr>
        <p:spPr>
          <a:xfrm>
            <a:off x="1387648" y="3454239"/>
            <a:ext cx="248699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000" dirty="0"/>
              <a:t>Amount &amp; sources of income</a:t>
            </a:r>
          </a:p>
        </p:txBody>
      </p:sp>
      <p:sp>
        <p:nvSpPr>
          <p:cNvPr id="80" name="Rectangle 79"/>
          <p:cNvSpPr/>
          <p:nvPr/>
        </p:nvSpPr>
        <p:spPr>
          <a:xfrm>
            <a:off x="658990" y="2338623"/>
            <a:ext cx="383496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000" dirty="0"/>
              <a:t>Service as personal representative Occupation</a:t>
            </a:r>
          </a:p>
        </p:txBody>
      </p:sp>
      <p:grpSp>
        <p:nvGrpSpPr>
          <p:cNvPr id="41" name="Group 4"/>
          <p:cNvGrpSpPr>
            <a:grpSpLocks noChangeAspect="1"/>
          </p:cNvGrpSpPr>
          <p:nvPr/>
        </p:nvGrpSpPr>
        <p:grpSpPr bwMode="auto">
          <a:xfrm>
            <a:off x="5849470" y="1955964"/>
            <a:ext cx="493060" cy="457200"/>
            <a:chOff x="72" y="2266"/>
            <a:chExt cx="1045" cy="969"/>
          </a:xfrm>
          <a:solidFill>
            <a:schemeClr val="bg1"/>
          </a:solidFill>
        </p:grpSpPr>
        <p:sp>
          <p:nvSpPr>
            <p:cNvPr id="42" name="Freeform 6"/>
            <p:cNvSpPr>
              <a:spLocks/>
            </p:cNvSpPr>
            <p:nvPr/>
          </p:nvSpPr>
          <p:spPr bwMode="auto">
            <a:xfrm>
              <a:off x="72" y="2266"/>
              <a:ext cx="1045" cy="969"/>
            </a:xfrm>
            <a:custGeom>
              <a:avLst/>
              <a:gdLst>
                <a:gd name="T0" fmla="*/ 2181 w 4180"/>
                <a:gd name="T1" fmla="*/ 15 h 3873"/>
                <a:gd name="T2" fmla="*/ 2526 w 4180"/>
                <a:gd name="T3" fmla="*/ 91 h 3873"/>
                <a:gd name="T4" fmla="*/ 2846 w 4180"/>
                <a:gd name="T5" fmla="*/ 225 h 3873"/>
                <a:gd name="T6" fmla="*/ 3133 w 4180"/>
                <a:gd name="T7" fmla="*/ 411 h 3873"/>
                <a:gd name="T8" fmla="*/ 3383 w 4180"/>
                <a:gd name="T9" fmla="*/ 644 h 3873"/>
                <a:gd name="T10" fmla="*/ 3589 w 4180"/>
                <a:gd name="T11" fmla="*/ 917 h 3873"/>
                <a:gd name="T12" fmla="*/ 3438 w 4180"/>
                <a:gd name="T13" fmla="*/ 1243 h 3873"/>
                <a:gd name="T14" fmla="*/ 3271 w 4180"/>
                <a:gd name="T15" fmla="*/ 963 h 3873"/>
                <a:gd name="T16" fmla="*/ 3053 w 4180"/>
                <a:gd name="T17" fmla="*/ 720 h 3873"/>
                <a:gd name="T18" fmla="*/ 2794 w 4180"/>
                <a:gd name="T19" fmla="*/ 524 h 3873"/>
                <a:gd name="T20" fmla="*/ 2496 w 4180"/>
                <a:gd name="T21" fmla="*/ 383 h 3873"/>
                <a:gd name="T22" fmla="*/ 2170 w 4180"/>
                <a:gd name="T23" fmla="*/ 303 h 3873"/>
                <a:gd name="T24" fmla="*/ 1828 w 4180"/>
                <a:gd name="T25" fmla="*/ 291 h 3873"/>
                <a:gd name="T26" fmla="*/ 1502 w 4180"/>
                <a:gd name="T27" fmla="*/ 347 h 3873"/>
                <a:gd name="T28" fmla="*/ 1200 w 4180"/>
                <a:gd name="T29" fmla="*/ 462 h 3873"/>
                <a:gd name="T30" fmla="*/ 930 w 4180"/>
                <a:gd name="T31" fmla="*/ 631 h 3873"/>
                <a:gd name="T32" fmla="*/ 700 w 4180"/>
                <a:gd name="T33" fmla="*/ 848 h 3873"/>
                <a:gd name="T34" fmla="*/ 513 w 4180"/>
                <a:gd name="T35" fmla="*/ 1105 h 3873"/>
                <a:gd name="T36" fmla="*/ 379 w 4180"/>
                <a:gd name="T37" fmla="*/ 1396 h 3873"/>
                <a:gd name="T38" fmla="*/ 303 w 4180"/>
                <a:gd name="T39" fmla="*/ 1714 h 3873"/>
                <a:gd name="T40" fmla="*/ 291 w 4180"/>
                <a:gd name="T41" fmla="*/ 2050 h 3873"/>
                <a:gd name="T42" fmla="*/ 346 w 4180"/>
                <a:gd name="T43" fmla="*/ 2375 h 3873"/>
                <a:gd name="T44" fmla="*/ 462 w 4180"/>
                <a:gd name="T45" fmla="*/ 2675 h 3873"/>
                <a:gd name="T46" fmla="*/ 633 w 4180"/>
                <a:gd name="T47" fmla="*/ 2945 h 3873"/>
                <a:gd name="T48" fmla="*/ 849 w 4180"/>
                <a:gd name="T49" fmla="*/ 3175 h 3873"/>
                <a:gd name="T50" fmla="*/ 1106 w 4180"/>
                <a:gd name="T51" fmla="*/ 3361 h 3873"/>
                <a:gd name="T52" fmla="*/ 1397 w 4180"/>
                <a:gd name="T53" fmla="*/ 3496 h 3873"/>
                <a:gd name="T54" fmla="*/ 1716 w 4180"/>
                <a:gd name="T55" fmla="*/ 3572 h 3873"/>
                <a:gd name="T56" fmla="*/ 2055 w 4180"/>
                <a:gd name="T57" fmla="*/ 3582 h 3873"/>
                <a:gd name="T58" fmla="*/ 2388 w 4180"/>
                <a:gd name="T59" fmla="*/ 3525 h 3873"/>
                <a:gd name="T60" fmla="*/ 2693 w 4180"/>
                <a:gd name="T61" fmla="*/ 3405 h 3873"/>
                <a:gd name="T62" fmla="*/ 2965 w 4180"/>
                <a:gd name="T63" fmla="*/ 3229 h 3873"/>
                <a:gd name="T64" fmla="*/ 3197 w 4180"/>
                <a:gd name="T65" fmla="*/ 3004 h 3873"/>
                <a:gd name="T66" fmla="*/ 3383 w 4180"/>
                <a:gd name="T67" fmla="*/ 2739 h 3873"/>
                <a:gd name="T68" fmla="*/ 3513 w 4180"/>
                <a:gd name="T69" fmla="*/ 2439 h 3873"/>
                <a:gd name="T70" fmla="*/ 4180 w 4180"/>
                <a:gd name="T71" fmla="*/ 2439 h 3873"/>
                <a:gd name="T72" fmla="*/ 3779 w 4180"/>
                <a:gd name="T73" fmla="*/ 2551 h 3873"/>
                <a:gd name="T74" fmla="*/ 3641 w 4180"/>
                <a:gd name="T75" fmla="*/ 2866 h 3873"/>
                <a:gd name="T76" fmla="*/ 3452 w 4180"/>
                <a:gd name="T77" fmla="*/ 3148 h 3873"/>
                <a:gd name="T78" fmla="*/ 3216 w 4180"/>
                <a:gd name="T79" fmla="*/ 3393 h 3873"/>
                <a:gd name="T80" fmla="*/ 2941 w 4180"/>
                <a:gd name="T81" fmla="*/ 3595 h 3873"/>
                <a:gd name="T82" fmla="*/ 2633 w 4180"/>
                <a:gd name="T83" fmla="*/ 3745 h 3873"/>
                <a:gd name="T84" fmla="*/ 2297 w 4180"/>
                <a:gd name="T85" fmla="*/ 3840 h 3873"/>
                <a:gd name="T86" fmla="*/ 1940 w 4180"/>
                <a:gd name="T87" fmla="*/ 3873 h 3873"/>
                <a:gd name="T88" fmla="*/ 1579 w 4180"/>
                <a:gd name="T89" fmla="*/ 3840 h 3873"/>
                <a:gd name="T90" fmla="*/ 1240 w 4180"/>
                <a:gd name="T91" fmla="*/ 3743 h 3873"/>
                <a:gd name="T92" fmla="*/ 929 w 4180"/>
                <a:gd name="T93" fmla="*/ 3589 h 3873"/>
                <a:gd name="T94" fmla="*/ 653 w 4180"/>
                <a:gd name="T95" fmla="*/ 3384 h 3873"/>
                <a:gd name="T96" fmla="*/ 416 w 4180"/>
                <a:gd name="T97" fmla="*/ 3135 h 3873"/>
                <a:gd name="T98" fmla="*/ 228 w 4180"/>
                <a:gd name="T99" fmla="*/ 2847 h 3873"/>
                <a:gd name="T100" fmla="*/ 92 w 4180"/>
                <a:gd name="T101" fmla="*/ 2527 h 3873"/>
                <a:gd name="T102" fmla="*/ 15 w 4180"/>
                <a:gd name="T103" fmla="*/ 2180 h 3873"/>
                <a:gd name="T104" fmla="*/ 4 w 4180"/>
                <a:gd name="T105" fmla="*/ 1815 h 3873"/>
                <a:gd name="T106" fmla="*/ 60 w 4180"/>
                <a:gd name="T107" fmla="*/ 1461 h 3873"/>
                <a:gd name="T108" fmla="*/ 176 w 4180"/>
                <a:gd name="T109" fmla="*/ 1130 h 3873"/>
                <a:gd name="T110" fmla="*/ 349 w 4180"/>
                <a:gd name="T111" fmla="*/ 831 h 3873"/>
                <a:gd name="T112" fmla="*/ 569 w 4180"/>
                <a:gd name="T113" fmla="*/ 568 h 3873"/>
                <a:gd name="T114" fmla="*/ 832 w 4180"/>
                <a:gd name="T115" fmla="*/ 348 h 3873"/>
                <a:gd name="T116" fmla="*/ 1133 w 4180"/>
                <a:gd name="T117" fmla="*/ 176 h 3873"/>
                <a:gd name="T118" fmla="*/ 1464 w 4180"/>
                <a:gd name="T119" fmla="*/ 59 h 3873"/>
                <a:gd name="T120" fmla="*/ 1817 w 4180"/>
                <a:gd name="T121" fmla="*/ 3 h 3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4180" h="3873">
                  <a:moveTo>
                    <a:pt x="1940" y="0"/>
                  </a:moveTo>
                  <a:lnTo>
                    <a:pt x="2062" y="3"/>
                  </a:lnTo>
                  <a:lnTo>
                    <a:pt x="2181" y="15"/>
                  </a:lnTo>
                  <a:lnTo>
                    <a:pt x="2300" y="34"/>
                  </a:lnTo>
                  <a:lnTo>
                    <a:pt x="2414" y="58"/>
                  </a:lnTo>
                  <a:lnTo>
                    <a:pt x="2526" y="91"/>
                  </a:lnTo>
                  <a:lnTo>
                    <a:pt x="2637" y="129"/>
                  </a:lnTo>
                  <a:lnTo>
                    <a:pt x="2743" y="174"/>
                  </a:lnTo>
                  <a:lnTo>
                    <a:pt x="2846" y="225"/>
                  </a:lnTo>
                  <a:lnTo>
                    <a:pt x="2946" y="282"/>
                  </a:lnTo>
                  <a:lnTo>
                    <a:pt x="3042" y="343"/>
                  </a:lnTo>
                  <a:lnTo>
                    <a:pt x="3133" y="411"/>
                  </a:lnTo>
                  <a:lnTo>
                    <a:pt x="3221" y="484"/>
                  </a:lnTo>
                  <a:lnTo>
                    <a:pt x="3304" y="561"/>
                  </a:lnTo>
                  <a:lnTo>
                    <a:pt x="3383" y="644"/>
                  </a:lnTo>
                  <a:lnTo>
                    <a:pt x="3457" y="730"/>
                  </a:lnTo>
                  <a:lnTo>
                    <a:pt x="3525" y="822"/>
                  </a:lnTo>
                  <a:lnTo>
                    <a:pt x="3589" y="917"/>
                  </a:lnTo>
                  <a:lnTo>
                    <a:pt x="3646" y="1015"/>
                  </a:lnTo>
                  <a:lnTo>
                    <a:pt x="3481" y="1345"/>
                  </a:lnTo>
                  <a:lnTo>
                    <a:pt x="3438" y="1243"/>
                  </a:lnTo>
                  <a:lnTo>
                    <a:pt x="3388" y="1146"/>
                  </a:lnTo>
                  <a:lnTo>
                    <a:pt x="3333" y="1052"/>
                  </a:lnTo>
                  <a:lnTo>
                    <a:pt x="3271" y="963"/>
                  </a:lnTo>
                  <a:lnTo>
                    <a:pt x="3203" y="876"/>
                  </a:lnTo>
                  <a:lnTo>
                    <a:pt x="3131" y="796"/>
                  </a:lnTo>
                  <a:lnTo>
                    <a:pt x="3053" y="720"/>
                  </a:lnTo>
                  <a:lnTo>
                    <a:pt x="2972" y="650"/>
                  </a:lnTo>
                  <a:lnTo>
                    <a:pt x="2884" y="584"/>
                  </a:lnTo>
                  <a:lnTo>
                    <a:pt x="2794" y="524"/>
                  </a:lnTo>
                  <a:lnTo>
                    <a:pt x="2698" y="471"/>
                  </a:lnTo>
                  <a:lnTo>
                    <a:pt x="2599" y="424"/>
                  </a:lnTo>
                  <a:lnTo>
                    <a:pt x="2496" y="383"/>
                  </a:lnTo>
                  <a:lnTo>
                    <a:pt x="2390" y="349"/>
                  </a:lnTo>
                  <a:lnTo>
                    <a:pt x="2282" y="322"/>
                  </a:lnTo>
                  <a:lnTo>
                    <a:pt x="2170" y="303"/>
                  </a:lnTo>
                  <a:lnTo>
                    <a:pt x="2057" y="291"/>
                  </a:lnTo>
                  <a:lnTo>
                    <a:pt x="1940" y="287"/>
                  </a:lnTo>
                  <a:lnTo>
                    <a:pt x="1828" y="291"/>
                  </a:lnTo>
                  <a:lnTo>
                    <a:pt x="1716" y="302"/>
                  </a:lnTo>
                  <a:lnTo>
                    <a:pt x="1607" y="321"/>
                  </a:lnTo>
                  <a:lnTo>
                    <a:pt x="1502" y="347"/>
                  </a:lnTo>
                  <a:lnTo>
                    <a:pt x="1397" y="378"/>
                  </a:lnTo>
                  <a:lnTo>
                    <a:pt x="1297" y="416"/>
                  </a:lnTo>
                  <a:lnTo>
                    <a:pt x="1200" y="462"/>
                  </a:lnTo>
                  <a:lnTo>
                    <a:pt x="1106" y="513"/>
                  </a:lnTo>
                  <a:lnTo>
                    <a:pt x="1017" y="569"/>
                  </a:lnTo>
                  <a:lnTo>
                    <a:pt x="930" y="631"/>
                  </a:lnTo>
                  <a:lnTo>
                    <a:pt x="849" y="698"/>
                  </a:lnTo>
                  <a:lnTo>
                    <a:pt x="773" y="771"/>
                  </a:lnTo>
                  <a:lnTo>
                    <a:pt x="700" y="848"/>
                  </a:lnTo>
                  <a:lnTo>
                    <a:pt x="633" y="930"/>
                  </a:lnTo>
                  <a:lnTo>
                    <a:pt x="570" y="1015"/>
                  </a:lnTo>
                  <a:lnTo>
                    <a:pt x="513" y="1105"/>
                  </a:lnTo>
                  <a:lnTo>
                    <a:pt x="462" y="1198"/>
                  </a:lnTo>
                  <a:lnTo>
                    <a:pt x="417" y="1296"/>
                  </a:lnTo>
                  <a:lnTo>
                    <a:pt x="379" y="1396"/>
                  </a:lnTo>
                  <a:lnTo>
                    <a:pt x="346" y="1499"/>
                  </a:lnTo>
                  <a:lnTo>
                    <a:pt x="321" y="1604"/>
                  </a:lnTo>
                  <a:lnTo>
                    <a:pt x="303" y="1714"/>
                  </a:lnTo>
                  <a:lnTo>
                    <a:pt x="291" y="1824"/>
                  </a:lnTo>
                  <a:lnTo>
                    <a:pt x="288" y="1937"/>
                  </a:lnTo>
                  <a:lnTo>
                    <a:pt x="291" y="2050"/>
                  </a:lnTo>
                  <a:lnTo>
                    <a:pt x="303" y="2161"/>
                  </a:lnTo>
                  <a:lnTo>
                    <a:pt x="321" y="2269"/>
                  </a:lnTo>
                  <a:lnTo>
                    <a:pt x="346" y="2375"/>
                  </a:lnTo>
                  <a:lnTo>
                    <a:pt x="379" y="2478"/>
                  </a:lnTo>
                  <a:lnTo>
                    <a:pt x="417" y="2579"/>
                  </a:lnTo>
                  <a:lnTo>
                    <a:pt x="462" y="2675"/>
                  </a:lnTo>
                  <a:lnTo>
                    <a:pt x="513" y="2769"/>
                  </a:lnTo>
                  <a:lnTo>
                    <a:pt x="570" y="2858"/>
                  </a:lnTo>
                  <a:lnTo>
                    <a:pt x="633" y="2945"/>
                  </a:lnTo>
                  <a:lnTo>
                    <a:pt x="700" y="3026"/>
                  </a:lnTo>
                  <a:lnTo>
                    <a:pt x="773" y="3103"/>
                  </a:lnTo>
                  <a:lnTo>
                    <a:pt x="849" y="3175"/>
                  </a:lnTo>
                  <a:lnTo>
                    <a:pt x="930" y="3242"/>
                  </a:lnTo>
                  <a:lnTo>
                    <a:pt x="1017" y="3304"/>
                  </a:lnTo>
                  <a:lnTo>
                    <a:pt x="1106" y="3361"/>
                  </a:lnTo>
                  <a:lnTo>
                    <a:pt x="1200" y="3412"/>
                  </a:lnTo>
                  <a:lnTo>
                    <a:pt x="1297" y="3457"/>
                  </a:lnTo>
                  <a:lnTo>
                    <a:pt x="1397" y="3496"/>
                  </a:lnTo>
                  <a:lnTo>
                    <a:pt x="1502" y="3528"/>
                  </a:lnTo>
                  <a:lnTo>
                    <a:pt x="1607" y="3553"/>
                  </a:lnTo>
                  <a:lnTo>
                    <a:pt x="1716" y="3572"/>
                  </a:lnTo>
                  <a:lnTo>
                    <a:pt x="1828" y="3582"/>
                  </a:lnTo>
                  <a:lnTo>
                    <a:pt x="1940" y="3586"/>
                  </a:lnTo>
                  <a:lnTo>
                    <a:pt x="2055" y="3582"/>
                  </a:lnTo>
                  <a:lnTo>
                    <a:pt x="2169" y="3571"/>
                  </a:lnTo>
                  <a:lnTo>
                    <a:pt x="2279" y="3552"/>
                  </a:lnTo>
                  <a:lnTo>
                    <a:pt x="2388" y="3525"/>
                  </a:lnTo>
                  <a:lnTo>
                    <a:pt x="2492" y="3492"/>
                  </a:lnTo>
                  <a:lnTo>
                    <a:pt x="2594" y="3452"/>
                  </a:lnTo>
                  <a:lnTo>
                    <a:pt x="2693" y="3405"/>
                  </a:lnTo>
                  <a:lnTo>
                    <a:pt x="2787" y="3352"/>
                  </a:lnTo>
                  <a:lnTo>
                    <a:pt x="2879" y="3294"/>
                  </a:lnTo>
                  <a:lnTo>
                    <a:pt x="2965" y="3229"/>
                  </a:lnTo>
                  <a:lnTo>
                    <a:pt x="3048" y="3159"/>
                  </a:lnTo>
                  <a:lnTo>
                    <a:pt x="3125" y="3084"/>
                  </a:lnTo>
                  <a:lnTo>
                    <a:pt x="3197" y="3004"/>
                  </a:lnTo>
                  <a:lnTo>
                    <a:pt x="3265" y="2921"/>
                  </a:lnTo>
                  <a:lnTo>
                    <a:pt x="3327" y="2832"/>
                  </a:lnTo>
                  <a:lnTo>
                    <a:pt x="3383" y="2739"/>
                  </a:lnTo>
                  <a:lnTo>
                    <a:pt x="3433" y="2642"/>
                  </a:lnTo>
                  <a:lnTo>
                    <a:pt x="3476" y="2542"/>
                  </a:lnTo>
                  <a:lnTo>
                    <a:pt x="3513" y="2439"/>
                  </a:lnTo>
                  <a:lnTo>
                    <a:pt x="3174" y="2439"/>
                  </a:lnTo>
                  <a:lnTo>
                    <a:pt x="3677" y="1435"/>
                  </a:lnTo>
                  <a:lnTo>
                    <a:pt x="4180" y="2439"/>
                  </a:lnTo>
                  <a:lnTo>
                    <a:pt x="4180" y="2439"/>
                  </a:lnTo>
                  <a:lnTo>
                    <a:pt x="3813" y="2439"/>
                  </a:lnTo>
                  <a:lnTo>
                    <a:pt x="3779" y="2551"/>
                  </a:lnTo>
                  <a:lnTo>
                    <a:pt x="3739" y="2659"/>
                  </a:lnTo>
                  <a:lnTo>
                    <a:pt x="3693" y="2763"/>
                  </a:lnTo>
                  <a:lnTo>
                    <a:pt x="3641" y="2866"/>
                  </a:lnTo>
                  <a:lnTo>
                    <a:pt x="3583" y="2964"/>
                  </a:lnTo>
                  <a:lnTo>
                    <a:pt x="3520" y="3058"/>
                  </a:lnTo>
                  <a:lnTo>
                    <a:pt x="3452" y="3148"/>
                  </a:lnTo>
                  <a:lnTo>
                    <a:pt x="3378" y="3234"/>
                  </a:lnTo>
                  <a:lnTo>
                    <a:pt x="3299" y="3317"/>
                  </a:lnTo>
                  <a:lnTo>
                    <a:pt x="3216" y="3393"/>
                  </a:lnTo>
                  <a:lnTo>
                    <a:pt x="3128" y="3466"/>
                  </a:lnTo>
                  <a:lnTo>
                    <a:pt x="3037" y="3533"/>
                  </a:lnTo>
                  <a:lnTo>
                    <a:pt x="2941" y="3595"/>
                  </a:lnTo>
                  <a:lnTo>
                    <a:pt x="2842" y="3651"/>
                  </a:lnTo>
                  <a:lnTo>
                    <a:pt x="2740" y="3701"/>
                  </a:lnTo>
                  <a:lnTo>
                    <a:pt x="2633" y="3745"/>
                  </a:lnTo>
                  <a:lnTo>
                    <a:pt x="2525" y="3784"/>
                  </a:lnTo>
                  <a:lnTo>
                    <a:pt x="2412" y="3816"/>
                  </a:lnTo>
                  <a:lnTo>
                    <a:pt x="2297" y="3840"/>
                  </a:lnTo>
                  <a:lnTo>
                    <a:pt x="2180" y="3859"/>
                  </a:lnTo>
                  <a:lnTo>
                    <a:pt x="2062" y="3870"/>
                  </a:lnTo>
                  <a:lnTo>
                    <a:pt x="1940" y="3873"/>
                  </a:lnTo>
                  <a:lnTo>
                    <a:pt x="1817" y="3870"/>
                  </a:lnTo>
                  <a:lnTo>
                    <a:pt x="1697" y="3858"/>
                  </a:lnTo>
                  <a:lnTo>
                    <a:pt x="1579" y="3840"/>
                  </a:lnTo>
                  <a:lnTo>
                    <a:pt x="1464" y="3815"/>
                  </a:lnTo>
                  <a:lnTo>
                    <a:pt x="1350" y="3782"/>
                  </a:lnTo>
                  <a:lnTo>
                    <a:pt x="1240" y="3743"/>
                  </a:lnTo>
                  <a:lnTo>
                    <a:pt x="1133" y="3698"/>
                  </a:lnTo>
                  <a:lnTo>
                    <a:pt x="1028" y="3646"/>
                  </a:lnTo>
                  <a:lnTo>
                    <a:pt x="929" y="3589"/>
                  </a:lnTo>
                  <a:lnTo>
                    <a:pt x="832" y="3527"/>
                  </a:lnTo>
                  <a:lnTo>
                    <a:pt x="741" y="3458"/>
                  </a:lnTo>
                  <a:lnTo>
                    <a:pt x="653" y="3384"/>
                  </a:lnTo>
                  <a:lnTo>
                    <a:pt x="569" y="3305"/>
                  </a:lnTo>
                  <a:lnTo>
                    <a:pt x="490" y="3223"/>
                  </a:lnTo>
                  <a:lnTo>
                    <a:pt x="416" y="3135"/>
                  </a:lnTo>
                  <a:lnTo>
                    <a:pt x="349" y="3042"/>
                  </a:lnTo>
                  <a:lnTo>
                    <a:pt x="285" y="2946"/>
                  </a:lnTo>
                  <a:lnTo>
                    <a:pt x="228" y="2847"/>
                  </a:lnTo>
                  <a:lnTo>
                    <a:pt x="176" y="2743"/>
                  </a:lnTo>
                  <a:lnTo>
                    <a:pt x="131" y="2636"/>
                  </a:lnTo>
                  <a:lnTo>
                    <a:pt x="92" y="2527"/>
                  </a:lnTo>
                  <a:lnTo>
                    <a:pt x="60" y="2414"/>
                  </a:lnTo>
                  <a:lnTo>
                    <a:pt x="34" y="2298"/>
                  </a:lnTo>
                  <a:lnTo>
                    <a:pt x="15" y="2180"/>
                  </a:lnTo>
                  <a:lnTo>
                    <a:pt x="4" y="2059"/>
                  </a:lnTo>
                  <a:lnTo>
                    <a:pt x="0" y="1937"/>
                  </a:lnTo>
                  <a:lnTo>
                    <a:pt x="4" y="1815"/>
                  </a:lnTo>
                  <a:lnTo>
                    <a:pt x="15" y="1694"/>
                  </a:lnTo>
                  <a:lnTo>
                    <a:pt x="34" y="1576"/>
                  </a:lnTo>
                  <a:lnTo>
                    <a:pt x="60" y="1461"/>
                  </a:lnTo>
                  <a:lnTo>
                    <a:pt x="92" y="1348"/>
                  </a:lnTo>
                  <a:lnTo>
                    <a:pt x="131" y="1237"/>
                  </a:lnTo>
                  <a:lnTo>
                    <a:pt x="176" y="1130"/>
                  </a:lnTo>
                  <a:lnTo>
                    <a:pt x="228" y="1027"/>
                  </a:lnTo>
                  <a:lnTo>
                    <a:pt x="285" y="927"/>
                  </a:lnTo>
                  <a:lnTo>
                    <a:pt x="349" y="831"/>
                  </a:lnTo>
                  <a:lnTo>
                    <a:pt x="416" y="739"/>
                  </a:lnTo>
                  <a:lnTo>
                    <a:pt x="490" y="651"/>
                  </a:lnTo>
                  <a:lnTo>
                    <a:pt x="569" y="568"/>
                  </a:lnTo>
                  <a:lnTo>
                    <a:pt x="653" y="490"/>
                  </a:lnTo>
                  <a:lnTo>
                    <a:pt x="741" y="416"/>
                  </a:lnTo>
                  <a:lnTo>
                    <a:pt x="832" y="348"/>
                  </a:lnTo>
                  <a:lnTo>
                    <a:pt x="929" y="284"/>
                  </a:lnTo>
                  <a:lnTo>
                    <a:pt x="1028" y="227"/>
                  </a:lnTo>
                  <a:lnTo>
                    <a:pt x="1133" y="176"/>
                  </a:lnTo>
                  <a:lnTo>
                    <a:pt x="1240" y="131"/>
                  </a:lnTo>
                  <a:lnTo>
                    <a:pt x="1350" y="91"/>
                  </a:lnTo>
                  <a:lnTo>
                    <a:pt x="1464" y="59"/>
                  </a:lnTo>
                  <a:lnTo>
                    <a:pt x="1579" y="34"/>
                  </a:lnTo>
                  <a:lnTo>
                    <a:pt x="1697" y="15"/>
                  </a:lnTo>
                  <a:lnTo>
                    <a:pt x="1817" y="3"/>
                  </a:lnTo>
                  <a:lnTo>
                    <a:pt x="194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7"/>
            <p:cNvSpPr>
              <a:spLocks noEditPoints="1"/>
            </p:cNvSpPr>
            <p:nvPr/>
          </p:nvSpPr>
          <p:spPr bwMode="auto">
            <a:xfrm>
              <a:off x="300" y="2654"/>
              <a:ext cx="176" cy="193"/>
            </a:xfrm>
            <a:custGeom>
              <a:avLst/>
              <a:gdLst>
                <a:gd name="T0" fmla="*/ 344 w 706"/>
                <a:gd name="T1" fmla="*/ 130 h 772"/>
                <a:gd name="T2" fmla="*/ 332 w 706"/>
                <a:gd name="T3" fmla="*/ 179 h 772"/>
                <a:gd name="T4" fmla="*/ 321 w 706"/>
                <a:gd name="T5" fmla="*/ 231 h 772"/>
                <a:gd name="T6" fmla="*/ 308 w 706"/>
                <a:gd name="T7" fmla="*/ 279 h 772"/>
                <a:gd name="T8" fmla="*/ 262 w 706"/>
                <a:gd name="T9" fmla="*/ 443 h 772"/>
                <a:gd name="T10" fmla="*/ 434 w 706"/>
                <a:gd name="T11" fmla="*/ 443 h 772"/>
                <a:gd name="T12" fmla="*/ 386 w 706"/>
                <a:gd name="T13" fmla="*/ 279 h 772"/>
                <a:gd name="T14" fmla="*/ 372 w 706"/>
                <a:gd name="T15" fmla="*/ 230 h 772"/>
                <a:gd name="T16" fmla="*/ 358 w 706"/>
                <a:gd name="T17" fmla="*/ 179 h 772"/>
                <a:gd name="T18" fmla="*/ 346 w 706"/>
                <a:gd name="T19" fmla="*/ 130 h 772"/>
                <a:gd name="T20" fmla="*/ 344 w 706"/>
                <a:gd name="T21" fmla="*/ 130 h 772"/>
                <a:gd name="T22" fmla="*/ 237 w 706"/>
                <a:gd name="T23" fmla="*/ 0 h 772"/>
                <a:gd name="T24" fmla="*/ 467 w 706"/>
                <a:gd name="T25" fmla="*/ 0 h 772"/>
                <a:gd name="T26" fmla="*/ 706 w 706"/>
                <a:gd name="T27" fmla="*/ 772 h 772"/>
                <a:gd name="T28" fmla="*/ 518 w 706"/>
                <a:gd name="T29" fmla="*/ 772 h 772"/>
                <a:gd name="T30" fmla="*/ 458 w 706"/>
                <a:gd name="T31" fmla="*/ 574 h 772"/>
                <a:gd name="T32" fmla="*/ 237 w 706"/>
                <a:gd name="T33" fmla="*/ 574 h 772"/>
                <a:gd name="T34" fmla="*/ 182 w 706"/>
                <a:gd name="T35" fmla="*/ 772 h 772"/>
                <a:gd name="T36" fmla="*/ 0 w 706"/>
                <a:gd name="T37" fmla="*/ 772 h 772"/>
                <a:gd name="T38" fmla="*/ 237 w 706"/>
                <a:gd name="T39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6" h="772">
                  <a:moveTo>
                    <a:pt x="344" y="130"/>
                  </a:moveTo>
                  <a:lnTo>
                    <a:pt x="332" y="179"/>
                  </a:lnTo>
                  <a:lnTo>
                    <a:pt x="321" y="231"/>
                  </a:lnTo>
                  <a:lnTo>
                    <a:pt x="308" y="279"/>
                  </a:lnTo>
                  <a:lnTo>
                    <a:pt x="262" y="443"/>
                  </a:lnTo>
                  <a:lnTo>
                    <a:pt x="434" y="443"/>
                  </a:lnTo>
                  <a:lnTo>
                    <a:pt x="386" y="279"/>
                  </a:lnTo>
                  <a:lnTo>
                    <a:pt x="372" y="230"/>
                  </a:lnTo>
                  <a:lnTo>
                    <a:pt x="358" y="179"/>
                  </a:lnTo>
                  <a:lnTo>
                    <a:pt x="346" y="130"/>
                  </a:lnTo>
                  <a:lnTo>
                    <a:pt x="344" y="130"/>
                  </a:lnTo>
                  <a:close/>
                  <a:moveTo>
                    <a:pt x="237" y="0"/>
                  </a:moveTo>
                  <a:lnTo>
                    <a:pt x="467" y="0"/>
                  </a:lnTo>
                  <a:lnTo>
                    <a:pt x="706" y="772"/>
                  </a:lnTo>
                  <a:lnTo>
                    <a:pt x="518" y="772"/>
                  </a:lnTo>
                  <a:lnTo>
                    <a:pt x="458" y="574"/>
                  </a:lnTo>
                  <a:lnTo>
                    <a:pt x="237" y="574"/>
                  </a:lnTo>
                  <a:lnTo>
                    <a:pt x="182" y="772"/>
                  </a:lnTo>
                  <a:lnTo>
                    <a:pt x="0" y="772"/>
                  </a:lnTo>
                  <a:lnTo>
                    <a:pt x="237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8"/>
            <p:cNvSpPr>
              <a:spLocks/>
            </p:cNvSpPr>
            <p:nvPr/>
          </p:nvSpPr>
          <p:spPr bwMode="auto">
            <a:xfrm>
              <a:off x="486" y="2652"/>
              <a:ext cx="171" cy="197"/>
            </a:xfrm>
            <a:custGeom>
              <a:avLst/>
              <a:gdLst>
                <a:gd name="T0" fmla="*/ 500 w 683"/>
                <a:gd name="T1" fmla="*/ 3 h 789"/>
                <a:gd name="T2" fmla="*/ 594 w 683"/>
                <a:gd name="T3" fmla="*/ 17 h 789"/>
                <a:gd name="T4" fmla="*/ 658 w 683"/>
                <a:gd name="T5" fmla="*/ 38 h 789"/>
                <a:gd name="T6" fmla="*/ 598 w 683"/>
                <a:gd name="T7" fmla="*/ 169 h 789"/>
                <a:gd name="T8" fmla="*/ 547 w 683"/>
                <a:gd name="T9" fmla="*/ 155 h 789"/>
                <a:gd name="T10" fmla="*/ 481 w 683"/>
                <a:gd name="T11" fmla="*/ 146 h 789"/>
                <a:gd name="T12" fmla="*/ 402 w 683"/>
                <a:gd name="T13" fmla="*/ 147 h 789"/>
                <a:gd name="T14" fmla="*/ 331 w 683"/>
                <a:gd name="T15" fmla="*/ 164 h 789"/>
                <a:gd name="T16" fmla="*/ 271 w 683"/>
                <a:gd name="T17" fmla="*/ 196 h 789"/>
                <a:gd name="T18" fmla="*/ 224 w 683"/>
                <a:gd name="T19" fmla="*/ 245 h 789"/>
                <a:gd name="T20" fmla="*/ 195 w 683"/>
                <a:gd name="T21" fmla="*/ 311 h 789"/>
                <a:gd name="T22" fmla="*/ 184 w 683"/>
                <a:gd name="T23" fmla="*/ 395 h 789"/>
                <a:gd name="T24" fmla="*/ 196 w 683"/>
                <a:gd name="T25" fmla="*/ 483 h 789"/>
                <a:gd name="T26" fmla="*/ 229 w 683"/>
                <a:gd name="T27" fmla="*/ 553 h 789"/>
                <a:gd name="T28" fmla="*/ 280 w 683"/>
                <a:gd name="T29" fmla="*/ 605 h 789"/>
                <a:gd name="T30" fmla="*/ 347 w 683"/>
                <a:gd name="T31" fmla="*/ 637 h 789"/>
                <a:gd name="T32" fmla="*/ 427 w 683"/>
                <a:gd name="T33" fmla="*/ 648 h 789"/>
                <a:gd name="T34" fmla="*/ 481 w 683"/>
                <a:gd name="T35" fmla="*/ 645 h 789"/>
                <a:gd name="T36" fmla="*/ 514 w 683"/>
                <a:gd name="T37" fmla="*/ 637 h 789"/>
                <a:gd name="T38" fmla="*/ 394 w 683"/>
                <a:gd name="T39" fmla="*/ 475 h 789"/>
                <a:gd name="T40" fmla="*/ 683 w 683"/>
                <a:gd name="T41" fmla="*/ 338 h 789"/>
                <a:gd name="T42" fmla="*/ 651 w 683"/>
                <a:gd name="T43" fmla="*/ 755 h 789"/>
                <a:gd name="T44" fmla="*/ 571 w 683"/>
                <a:gd name="T45" fmla="*/ 774 h 789"/>
                <a:gd name="T46" fmla="*/ 475 w 683"/>
                <a:gd name="T47" fmla="*/ 788 h 789"/>
                <a:gd name="T48" fmla="*/ 366 w 683"/>
                <a:gd name="T49" fmla="*/ 788 h 789"/>
                <a:gd name="T50" fmla="*/ 263 w 683"/>
                <a:gd name="T51" fmla="*/ 770 h 789"/>
                <a:gd name="T52" fmla="*/ 178 w 683"/>
                <a:gd name="T53" fmla="*/ 736 h 789"/>
                <a:gd name="T54" fmla="*/ 109 w 683"/>
                <a:gd name="T55" fmla="*/ 685 h 789"/>
                <a:gd name="T56" fmla="*/ 56 w 683"/>
                <a:gd name="T57" fmla="*/ 620 h 789"/>
                <a:gd name="T58" fmla="*/ 20 w 683"/>
                <a:gd name="T59" fmla="*/ 541 h 789"/>
                <a:gd name="T60" fmla="*/ 2 w 683"/>
                <a:gd name="T61" fmla="*/ 451 h 789"/>
                <a:gd name="T62" fmla="*/ 4 w 683"/>
                <a:gd name="T63" fmla="*/ 351 h 789"/>
                <a:gd name="T64" fmla="*/ 25 w 683"/>
                <a:gd name="T65" fmla="*/ 254 h 789"/>
                <a:gd name="T66" fmla="*/ 67 w 683"/>
                <a:gd name="T67" fmla="*/ 173 h 789"/>
                <a:gd name="T68" fmla="*/ 127 w 683"/>
                <a:gd name="T69" fmla="*/ 105 h 789"/>
                <a:gd name="T70" fmla="*/ 202 w 683"/>
                <a:gd name="T71" fmla="*/ 55 h 789"/>
                <a:gd name="T72" fmla="*/ 290 w 683"/>
                <a:gd name="T73" fmla="*/ 20 h 789"/>
                <a:gd name="T74" fmla="*/ 389 w 683"/>
                <a:gd name="T75" fmla="*/ 3 h 7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83" h="789">
                  <a:moveTo>
                    <a:pt x="443" y="0"/>
                  </a:moveTo>
                  <a:lnTo>
                    <a:pt x="500" y="3"/>
                  </a:lnTo>
                  <a:lnTo>
                    <a:pt x="551" y="8"/>
                  </a:lnTo>
                  <a:lnTo>
                    <a:pt x="594" y="17"/>
                  </a:lnTo>
                  <a:lnTo>
                    <a:pt x="630" y="27"/>
                  </a:lnTo>
                  <a:lnTo>
                    <a:pt x="658" y="38"/>
                  </a:lnTo>
                  <a:lnTo>
                    <a:pt x="621" y="178"/>
                  </a:lnTo>
                  <a:lnTo>
                    <a:pt x="598" y="169"/>
                  </a:lnTo>
                  <a:lnTo>
                    <a:pt x="574" y="161"/>
                  </a:lnTo>
                  <a:lnTo>
                    <a:pt x="547" y="155"/>
                  </a:lnTo>
                  <a:lnTo>
                    <a:pt x="515" y="150"/>
                  </a:lnTo>
                  <a:lnTo>
                    <a:pt x="481" y="146"/>
                  </a:lnTo>
                  <a:lnTo>
                    <a:pt x="440" y="145"/>
                  </a:lnTo>
                  <a:lnTo>
                    <a:pt x="402" y="147"/>
                  </a:lnTo>
                  <a:lnTo>
                    <a:pt x="365" y="152"/>
                  </a:lnTo>
                  <a:lnTo>
                    <a:pt x="331" y="164"/>
                  </a:lnTo>
                  <a:lnTo>
                    <a:pt x="299" y="178"/>
                  </a:lnTo>
                  <a:lnTo>
                    <a:pt x="271" y="196"/>
                  </a:lnTo>
                  <a:lnTo>
                    <a:pt x="245" y="219"/>
                  </a:lnTo>
                  <a:lnTo>
                    <a:pt x="224" y="245"/>
                  </a:lnTo>
                  <a:lnTo>
                    <a:pt x="207" y="277"/>
                  </a:lnTo>
                  <a:lnTo>
                    <a:pt x="195" y="311"/>
                  </a:lnTo>
                  <a:lnTo>
                    <a:pt x="187" y="351"/>
                  </a:lnTo>
                  <a:lnTo>
                    <a:pt x="184" y="395"/>
                  </a:lnTo>
                  <a:lnTo>
                    <a:pt x="187" y="441"/>
                  </a:lnTo>
                  <a:lnTo>
                    <a:pt x="196" y="483"/>
                  </a:lnTo>
                  <a:lnTo>
                    <a:pt x="210" y="520"/>
                  </a:lnTo>
                  <a:lnTo>
                    <a:pt x="229" y="553"/>
                  </a:lnTo>
                  <a:lnTo>
                    <a:pt x="252" y="581"/>
                  </a:lnTo>
                  <a:lnTo>
                    <a:pt x="280" y="605"/>
                  </a:lnTo>
                  <a:lnTo>
                    <a:pt x="312" y="624"/>
                  </a:lnTo>
                  <a:lnTo>
                    <a:pt x="347" y="637"/>
                  </a:lnTo>
                  <a:lnTo>
                    <a:pt x="385" y="645"/>
                  </a:lnTo>
                  <a:lnTo>
                    <a:pt x="427" y="648"/>
                  </a:lnTo>
                  <a:lnTo>
                    <a:pt x="457" y="648"/>
                  </a:lnTo>
                  <a:lnTo>
                    <a:pt x="481" y="645"/>
                  </a:lnTo>
                  <a:lnTo>
                    <a:pt x="500" y="642"/>
                  </a:lnTo>
                  <a:lnTo>
                    <a:pt x="514" y="637"/>
                  </a:lnTo>
                  <a:lnTo>
                    <a:pt x="514" y="475"/>
                  </a:lnTo>
                  <a:lnTo>
                    <a:pt x="394" y="475"/>
                  </a:lnTo>
                  <a:lnTo>
                    <a:pt x="394" y="338"/>
                  </a:lnTo>
                  <a:lnTo>
                    <a:pt x="683" y="338"/>
                  </a:lnTo>
                  <a:lnTo>
                    <a:pt x="683" y="746"/>
                  </a:lnTo>
                  <a:lnTo>
                    <a:pt x="651" y="755"/>
                  </a:lnTo>
                  <a:lnTo>
                    <a:pt x="615" y="765"/>
                  </a:lnTo>
                  <a:lnTo>
                    <a:pt x="571" y="774"/>
                  </a:lnTo>
                  <a:lnTo>
                    <a:pt x="524" y="783"/>
                  </a:lnTo>
                  <a:lnTo>
                    <a:pt x="475" y="788"/>
                  </a:lnTo>
                  <a:lnTo>
                    <a:pt x="425" y="789"/>
                  </a:lnTo>
                  <a:lnTo>
                    <a:pt x="366" y="788"/>
                  </a:lnTo>
                  <a:lnTo>
                    <a:pt x="313" y="780"/>
                  </a:lnTo>
                  <a:lnTo>
                    <a:pt x="263" y="770"/>
                  </a:lnTo>
                  <a:lnTo>
                    <a:pt x="219" y="755"/>
                  </a:lnTo>
                  <a:lnTo>
                    <a:pt x="178" y="736"/>
                  </a:lnTo>
                  <a:lnTo>
                    <a:pt x="142" y="713"/>
                  </a:lnTo>
                  <a:lnTo>
                    <a:pt x="109" y="685"/>
                  </a:lnTo>
                  <a:lnTo>
                    <a:pt x="81" y="654"/>
                  </a:lnTo>
                  <a:lnTo>
                    <a:pt x="56" y="620"/>
                  </a:lnTo>
                  <a:lnTo>
                    <a:pt x="37" y="582"/>
                  </a:lnTo>
                  <a:lnTo>
                    <a:pt x="20" y="541"/>
                  </a:lnTo>
                  <a:lnTo>
                    <a:pt x="9" y="498"/>
                  </a:lnTo>
                  <a:lnTo>
                    <a:pt x="2" y="451"/>
                  </a:lnTo>
                  <a:lnTo>
                    <a:pt x="0" y="404"/>
                  </a:lnTo>
                  <a:lnTo>
                    <a:pt x="4" y="351"/>
                  </a:lnTo>
                  <a:lnTo>
                    <a:pt x="11" y="301"/>
                  </a:lnTo>
                  <a:lnTo>
                    <a:pt x="25" y="254"/>
                  </a:lnTo>
                  <a:lnTo>
                    <a:pt x="44" y="211"/>
                  </a:lnTo>
                  <a:lnTo>
                    <a:pt x="67" y="173"/>
                  </a:lnTo>
                  <a:lnTo>
                    <a:pt x="95" y="137"/>
                  </a:lnTo>
                  <a:lnTo>
                    <a:pt x="127" y="105"/>
                  </a:lnTo>
                  <a:lnTo>
                    <a:pt x="163" y="78"/>
                  </a:lnTo>
                  <a:lnTo>
                    <a:pt x="202" y="55"/>
                  </a:lnTo>
                  <a:lnTo>
                    <a:pt x="244" y="36"/>
                  </a:lnTo>
                  <a:lnTo>
                    <a:pt x="290" y="20"/>
                  </a:lnTo>
                  <a:lnTo>
                    <a:pt x="338" y="9"/>
                  </a:lnTo>
                  <a:lnTo>
                    <a:pt x="389" y="3"/>
                  </a:lnTo>
                  <a:lnTo>
                    <a:pt x="44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9"/>
            <p:cNvSpPr>
              <a:spLocks/>
            </p:cNvSpPr>
            <p:nvPr/>
          </p:nvSpPr>
          <p:spPr bwMode="auto">
            <a:xfrm>
              <a:off x="691" y="2654"/>
              <a:ext cx="124" cy="193"/>
            </a:xfrm>
            <a:custGeom>
              <a:avLst/>
              <a:gdLst>
                <a:gd name="T0" fmla="*/ 0 w 496"/>
                <a:gd name="T1" fmla="*/ 0 h 772"/>
                <a:gd name="T2" fmla="*/ 479 w 496"/>
                <a:gd name="T3" fmla="*/ 0 h 772"/>
                <a:gd name="T4" fmla="*/ 479 w 496"/>
                <a:gd name="T5" fmla="*/ 142 h 772"/>
                <a:gd name="T6" fmla="*/ 177 w 496"/>
                <a:gd name="T7" fmla="*/ 142 h 772"/>
                <a:gd name="T8" fmla="*/ 177 w 496"/>
                <a:gd name="T9" fmla="*/ 304 h 772"/>
                <a:gd name="T10" fmla="*/ 462 w 496"/>
                <a:gd name="T11" fmla="*/ 304 h 772"/>
                <a:gd name="T12" fmla="*/ 462 w 496"/>
                <a:gd name="T13" fmla="*/ 446 h 772"/>
                <a:gd name="T14" fmla="*/ 177 w 496"/>
                <a:gd name="T15" fmla="*/ 446 h 772"/>
                <a:gd name="T16" fmla="*/ 177 w 496"/>
                <a:gd name="T17" fmla="*/ 629 h 772"/>
                <a:gd name="T18" fmla="*/ 496 w 496"/>
                <a:gd name="T19" fmla="*/ 629 h 772"/>
                <a:gd name="T20" fmla="*/ 496 w 496"/>
                <a:gd name="T21" fmla="*/ 772 h 772"/>
                <a:gd name="T22" fmla="*/ 0 w 496"/>
                <a:gd name="T23" fmla="*/ 772 h 772"/>
                <a:gd name="T24" fmla="*/ 0 w 496"/>
                <a:gd name="T25" fmla="*/ 0 h 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6" h="772">
                  <a:moveTo>
                    <a:pt x="0" y="0"/>
                  </a:moveTo>
                  <a:lnTo>
                    <a:pt x="479" y="0"/>
                  </a:lnTo>
                  <a:lnTo>
                    <a:pt x="479" y="142"/>
                  </a:lnTo>
                  <a:lnTo>
                    <a:pt x="177" y="142"/>
                  </a:lnTo>
                  <a:lnTo>
                    <a:pt x="177" y="304"/>
                  </a:lnTo>
                  <a:lnTo>
                    <a:pt x="462" y="304"/>
                  </a:lnTo>
                  <a:lnTo>
                    <a:pt x="462" y="446"/>
                  </a:lnTo>
                  <a:lnTo>
                    <a:pt x="177" y="446"/>
                  </a:lnTo>
                  <a:lnTo>
                    <a:pt x="177" y="629"/>
                  </a:lnTo>
                  <a:lnTo>
                    <a:pt x="496" y="629"/>
                  </a:lnTo>
                  <a:lnTo>
                    <a:pt x="496" y="772"/>
                  </a:lnTo>
                  <a:lnTo>
                    <a:pt x="0" y="772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2" name="Group 54"/>
          <p:cNvGrpSpPr>
            <a:grpSpLocks noChangeAspect="1"/>
          </p:cNvGrpSpPr>
          <p:nvPr/>
        </p:nvGrpSpPr>
        <p:grpSpPr bwMode="auto">
          <a:xfrm>
            <a:off x="7028039" y="2492787"/>
            <a:ext cx="459195" cy="399559"/>
            <a:chOff x="3092" y="2025"/>
            <a:chExt cx="385" cy="335"/>
          </a:xfrm>
          <a:solidFill>
            <a:schemeClr val="bg1"/>
          </a:solidFill>
        </p:grpSpPr>
        <p:sp>
          <p:nvSpPr>
            <p:cNvPr id="83" name="Freeform 56"/>
            <p:cNvSpPr>
              <a:spLocks noEditPoints="1"/>
            </p:cNvSpPr>
            <p:nvPr/>
          </p:nvSpPr>
          <p:spPr bwMode="auto">
            <a:xfrm>
              <a:off x="3310" y="2194"/>
              <a:ext cx="167" cy="166"/>
            </a:xfrm>
            <a:custGeom>
              <a:avLst/>
              <a:gdLst>
                <a:gd name="T0" fmla="*/ 642 w 1507"/>
                <a:gd name="T1" fmla="*/ 635 h 1493"/>
                <a:gd name="T2" fmla="*/ 393 w 1507"/>
                <a:gd name="T3" fmla="*/ 857 h 1493"/>
                <a:gd name="T4" fmla="*/ 642 w 1507"/>
                <a:gd name="T5" fmla="*/ 1103 h 1493"/>
                <a:gd name="T6" fmla="*/ 865 w 1507"/>
                <a:gd name="T7" fmla="*/ 857 h 1493"/>
                <a:gd name="T8" fmla="*/ 1114 w 1507"/>
                <a:gd name="T9" fmla="*/ 635 h 1493"/>
                <a:gd name="T10" fmla="*/ 865 w 1507"/>
                <a:gd name="T11" fmla="*/ 389 h 1493"/>
                <a:gd name="T12" fmla="*/ 753 w 1507"/>
                <a:gd name="T13" fmla="*/ 0 h 1493"/>
                <a:gd name="T14" fmla="*/ 889 w 1507"/>
                <a:gd name="T15" fmla="*/ 12 h 1493"/>
                <a:gd name="T16" fmla="*/ 1017 w 1507"/>
                <a:gd name="T17" fmla="*/ 46 h 1493"/>
                <a:gd name="T18" fmla="*/ 1134 w 1507"/>
                <a:gd name="T19" fmla="*/ 102 h 1493"/>
                <a:gd name="T20" fmla="*/ 1239 w 1507"/>
                <a:gd name="T21" fmla="*/ 175 h 1493"/>
                <a:gd name="T22" fmla="*/ 1330 w 1507"/>
                <a:gd name="T23" fmla="*/ 265 h 1493"/>
                <a:gd name="T24" fmla="*/ 1404 w 1507"/>
                <a:gd name="T25" fmla="*/ 369 h 1493"/>
                <a:gd name="T26" fmla="*/ 1461 w 1507"/>
                <a:gd name="T27" fmla="*/ 486 h 1493"/>
                <a:gd name="T28" fmla="*/ 1495 w 1507"/>
                <a:gd name="T29" fmla="*/ 612 h 1493"/>
                <a:gd name="T30" fmla="*/ 1507 w 1507"/>
                <a:gd name="T31" fmla="*/ 747 h 1493"/>
                <a:gd name="T32" fmla="*/ 1495 w 1507"/>
                <a:gd name="T33" fmla="*/ 880 h 1493"/>
                <a:gd name="T34" fmla="*/ 1461 w 1507"/>
                <a:gd name="T35" fmla="*/ 1007 h 1493"/>
                <a:gd name="T36" fmla="*/ 1404 w 1507"/>
                <a:gd name="T37" fmla="*/ 1123 h 1493"/>
                <a:gd name="T38" fmla="*/ 1330 w 1507"/>
                <a:gd name="T39" fmla="*/ 1228 h 1493"/>
                <a:gd name="T40" fmla="*/ 1239 w 1507"/>
                <a:gd name="T41" fmla="*/ 1318 h 1493"/>
                <a:gd name="T42" fmla="*/ 1134 w 1507"/>
                <a:gd name="T43" fmla="*/ 1392 h 1493"/>
                <a:gd name="T44" fmla="*/ 1017 w 1507"/>
                <a:gd name="T45" fmla="*/ 1446 h 1493"/>
                <a:gd name="T46" fmla="*/ 889 w 1507"/>
                <a:gd name="T47" fmla="*/ 1481 h 1493"/>
                <a:gd name="T48" fmla="*/ 753 w 1507"/>
                <a:gd name="T49" fmla="*/ 1493 h 1493"/>
                <a:gd name="T50" fmla="*/ 618 w 1507"/>
                <a:gd name="T51" fmla="*/ 1481 h 1493"/>
                <a:gd name="T52" fmla="*/ 491 w 1507"/>
                <a:gd name="T53" fmla="*/ 1446 h 1493"/>
                <a:gd name="T54" fmla="*/ 373 w 1507"/>
                <a:gd name="T55" fmla="*/ 1392 h 1493"/>
                <a:gd name="T56" fmla="*/ 268 w 1507"/>
                <a:gd name="T57" fmla="*/ 1318 h 1493"/>
                <a:gd name="T58" fmla="*/ 177 w 1507"/>
                <a:gd name="T59" fmla="*/ 1228 h 1493"/>
                <a:gd name="T60" fmla="*/ 103 w 1507"/>
                <a:gd name="T61" fmla="*/ 1123 h 1493"/>
                <a:gd name="T62" fmla="*/ 47 w 1507"/>
                <a:gd name="T63" fmla="*/ 1007 h 1493"/>
                <a:gd name="T64" fmla="*/ 12 w 1507"/>
                <a:gd name="T65" fmla="*/ 880 h 1493"/>
                <a:gd name="T66" fmla="*/ 0 w 1507"/>
                <a:gd name="T67" fmla="*/ 747 h 1493"/>
                <a:gd name="T68" fmla="*/ 12 w 1507"/>
                <a:gd name="T69" fmla="*/ 612 h 1493"/>
                <a:gd name="T70" fmla="*/ 47 w 1507"/>
                <a:gd name="T71" fmla="*/ 486 h 1493"/>
                <a:gd name="T72" fmla="*/ 103 w 1507"/>
                <a:gd name="T73" fmla="*/ 369 h 1493"/>
                <a:gd name="T74" fmla="*/ 177 w 1507"/>
                <a:gd name="T75" fmla="*/ 265 h 1493"/>
                <a:gd name="T76" fmla="*/ 268 w 1507"/>
                <a:gd name="T77" fmla="*/ 175 h 1493"/>
                <a:gd name="T78" fmla="*/ 373 w 1507"/>
                <a:gd name="T79" fmla="*/ 102 h 1493"/>
                <a:gd name="T80" fmla="*/ 491 w 1507"/>
                <a:gd name="T81" fmla="*/ 46 h 1493"/>
                <a:gd name="T82" fmla="*/ 618 w 1507"/>
                <a:gd name="T83" fmla="*/ 12 h 1493"/>
                <a:gd name="T84" fmla="*/ 753 w 1507"/>
                <a:gd name="T85" fmla="*/ 0 h 1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507" h="1493">
                  <a:moveTo>
                    <a:pt x="642" y="389"/>
                  </a:moveTo>
                  <a:lnTo>
                    <a:pt x="642" y="635"/>
                  </a:lnTo>
                  <a:lnTo>
                    <a:pt x="393" y="635"/>
                  </a:lnTo>
                  <a:lnTo>
                    <a:pt x="393" y="857"/>
                  </a:lnTo>
                  <a:lnTo>
                    <a:pt x="642" y="857"/>
                  </a:lnTo>
                  <a:lnTo>
                    <a:pt x="642" y="1103"/>
                  </a:lnTo>
                  <a:lnTo>
                    <a:pt x="865" y="1103"/>
                  </a:lnTo>
                  <a:lnTo>
                    <a:pt x="865" y="857"/>
                  </a:lnTo>
                  <a:lnTo>
                    <a:pt x="1114" y="857"/>
                  </a:lnTo>
                  <a:lnTo>
                    <a:pt x="1114" y="635"/>
                  </a:lnTo>
                  <a:lnTo>
                    <a:pt x="865" y="635"/>
                  </a:lnTo>
                  <a:lnTo>
                    <a:pt x="865" y="389"/>
                  </a:lnTo>
                  <a:lnTo>
                    <a:pt x="642" y="389"/>
                  </a:lnTo>
                  <a:close/>
                  <a:moveTo>
                    <a:pt x="753" y="0"/>
                  </a:moveTo>
                  <a:lnTo>
                    <a:pt x="822" y="2"/>
                  </a:lnTo>
                  <a:lnTo>
                    <a:pt x="889" y="12"/>
                  </a:lnTo>
                  <a:lnTo>
                    <a:pt x="954" y="27"/>
                  </a:lnTo>
                  <a:lnTo>
                    <a:pt x="1017" y="46"/>
                  </a:lnTo>
                  <a:lnTo>
                    <a:pt x="1077" y="72"/>
                  </a:lnTo>
                  <a:lnTo>
                    <a:pt x="1134" y="102"/>
                  </a:lnTo>
                  <a:lnTo>
                    <a:pt x="1188" y="136"/>
                  </a:lnTo>
                  <a:lnTo>
                    <a:pt x="1239" y="175"/>
                  </a:lnTo>
                  <a:lnTo>
                    <a:pt x="1287" y="218"/>
                  </a:lnTo>
                  <a:lnTo>
                    <a:pt x="1330" y="265"/>
                  </a:lnTo>
                  <a:lnTo>
                    <a:pt x="1370" y="316"/>
                  </a:lnTo>
                  <a:lnTo>
                    <a:pt x="1404" y="369"/>
                  </a:lnTo>
                  <a:lnTo>
                    <a:pt x="1435" y="426"/>
                  </a:lnTo>
                  <a:lnTo>
                    <a:pt x="1461" y="486"/>
                  </a:lnTo>
                  <a:lnTo>
                    <a:pt x="1480" y="548"/>
                  </a:lnTo>
                  <a:lnTo>
                    <a:pt x="1495" y="612"/>
                  </a:lnTo>
                  <a:lnTo>
                    <a:pt x="1504" y="678"/>
                  </a:lnTo>
                  <a:lnTo>
                    <a:pt x="1507" y="747"/>
                  </a:lnTo>
                  <a:lnTo>
                    <a:pt x="1504" y="814"/>
                  </a:lnTo>
                  <a:lnTo>
                    <a:pt x="1495" y="880"/>
                  </a:lnTo>
                  <a:lnTo>
                    <a:pt x="1480" y="944"/>
                  </a:lnTo>
                  <a:lnTo>
                    <a:pt x="1461" y="1007"/>
                  </a:lnTo>
                  <a:lnTo>
                    <a:pt x="1435" y="1066"/>
                  </a:lnTo>
                  <a:lnTo>
                    <a:pt x="1404" y="1123"/>
                  </a:lnTo>
                  <a:lnTo>
                    <a:pt x="1370" y="1177"/>
                  </a:lnTo>
                  <a:lnTo>
                    <a:pt x="1330" y="1228"/>
                  </a:lnTo>
                  <a:lnTo>
                    <a:pt x="1287" y="1274"/>
                  </a:lnTo>
                  <a:lnTo>
                    <a:pt x="1239" y="1318"/>
                  </a:lnTo>
                  <a:lnTo>
                    <a:pt x="1188" y="1356"/>
                  </a:lnTo>
                  <a:lnTo>
                    <a:pt x="1134" y="1392"/>
                  </a:lnTo>
                  <a:lnTo>
                    <a:pt x="1077" y="1422"/>
                  </a:lnTo>
                  <a:lnTo>
                    <a:pt x="1017" y="1446"/>
                  </a:lnTo>
                  <a:lnTo>
                    <a:pt x="954" y="1466"/>
                  </a:lnTo>
                  <a:lnTo>
                    <a:pt x="889" y="1481"/>
                  </a:lnTo>
                  <a:lnTo>
                    <a:pt x="822" y="1490"/>
                  </a:lnTo>
                  <a:lnTo>
                    <a:pt x="753" y="1493"/>
                  </a:lnTo>
                  <a:lnTo>
                    <a:pt x="685" y="1490"/>
                  </a:lnTo>
                  <a:lnTo>
                    <a:pt x="618" y="1481"/>
                  </a:lnTo>
                  <a:lnTo>
                    <a:pt x="553" y="1466"/>
                  </a:lnTo>
                  <a:lnTo>
                    <a:pt x="491" y="1446"/>
                  </a:lnTo>
                  <a:lnTo>
                    <a:pt x="430" y="1422"/>
                  </a:lnTo>
                  <a:lnTo>
                    <a:pt x="373" y="1392"/>
                  </a:lnTo>
                  <a:lnTo>
                    <a:pt x="319" y="1356"/>
                  </a:lnTo>
                  <a:lnTo>
                    <a:pt x="268" y="1318"/>
                  </a:lnTo>
                  <a:lnTo>
                    <a:pt x="221" y="1274"/>
                  </a:lnTo>
                  <a:lnTo>
                    <a:pt x="177" y="1228"/>
                  </a:lnTo>
                  <a:lnTo>
                    <a:pt x="138" y="1177"/>
                  </a:lnTo>
                  <a:lnTo>
                    <a:pt x="103" y="1123"/>
                  </a:lnTo>
                  <a:lnTo>
                    <a:pt x="73" y="1066"/>
                  </a:lnTo>
                  <a:lnTo>
                    <a:pt x="47" y="1007"/>
                  </a:lnTo>
                  <a:lnTo>
                    <a:pt x="26" y="944"/>
                  </a:lnTo>
                  <a:lnTo>
                    <a:pt x="12" y="880"/>
                  </a:lnTo>
                  <a:lnTo>
                    <a:pt x="3" y="814"/>
                  </a:lnTo>
                  <a:lnTo>
                    <a:pt x="0" y="747"/>
                  </a:lnTo>
                  <a:lnTo>
                    <a:pt x="3" y="678"/>
                  </a:lnTo>
                  <a:lnTo>
                    <a:pt x="12" y="612"/>
                  </a:lnTo>
                  <a:lnTo>
                    <a:pt x="26" y="548"/>
                  </a:lnTo>
                  <a:lnTo>
                    <a:pt x="47" y="486"/>
                  </a:lnTo>
                  <a:lnTo>
                    <a:pt x="73" y="426"/>
                  </a:lnTo>
                  <a:lnTo>
                    <a:pt x="103" y="369"/>
                  </a:lnTo>
                  <a:lnTo>
                    <a:pt x="138" y="316"/>
                  </a:lnTo>
                  <a:lnTo>
                    <a:pt x="177" y="265"/>
                  </a:lnTo>
                  <a:lnTo>
                    <a:pt x="221" y="218"/>
                  </a:lnTo>
                  <a:lnTo>
                    <a:pt x="268" y="175"/>
                  </a:lnTo>
                  <a:lnTo>
                    <a:pt x="319" y="136"/>
                  </a:lnTo>
                  <a:lnTo>
                    <a:pt x="373" y="102"/>
                  </a:lnTo>
                  <a:lnTo>
                    <a:pt x="430" y="72"/>
                  </a:lnTo>
                  <a:lnTo>
                    <a:pt x="491" y="46"/>
                  </a:lnTo>
                  <a:lnTo>
                    <a:pt x="553" y="27"/>
                  </a:lnTo>
                  <a:lnTo>
                    <a:pt x="618" y="12"/>
                  </a:lnTo>
                  <a:lnTo>
                    <a:pt x="685" y="2"/>
                  </a:lnTo>
                  <a:lnTo>
                    <a:pt x="75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57"/>
            <p:cNvSpPr>
              <a:spLocks/>
            </p:cNvSpPr>
            <p:nvPr/>
          </p:nvSpPr>
          <p:spPr bwMode="auto">
            <a:xfrm>
              <a:off x="3092" y="2025"/>
              <a:ext cx="374" cy="320"/>
            </a:xfrm>
            <a:custGeom>
              <a:avLst/>
              <a:gdLst>
                <a:gd name="T0" fmla="*/ 1018 w 3362"/>
                <a:gd name="T1" fmla="*/ 13 h 2884"/>
                <a:gd name="T2" fmla="*/ 1215 w 3362"/>
                <a:gd name="T3" fmla="*/ 76 h 2884"/>
                <a:gd name="T4" fmla="*/ 1391 w 3362"/>
                <a:gd name="T5" fmla="*/ 187 h 2884"/>
                <a:gd name="T6" fmla="*/ 1538 w 3362"/>
                <a:gd name="T7" fmla="*/ 339 h 2884"/>
                <a:gd name="T8" fmla="*/ 1652 w 3362"/>
                <a:gd name="T9" fmla="*/ 525 h 2884"/>
                <a:gd name="T10" fmla="*/ 1744 w 3362"/>
                <a:gd name="T11" fmla="*/ 460 h 2884"/>
                <a:gd name="T12" fmla="*/ 1869 w 3362"/>
                <a:gd name="T13" fmla="*/ 284 h 2884"/>
                <a:gd name="T14" fmla="*/ 2027 w 3362"/>
                <a:gd name="T15" fmla="*/ 145 h 2884"/>
                <a:gd name="T16" fmla="*/ 2211 w 3362"/>
                <a:gd name="T17" fmla="*/ 49 h 2884"/>
                <a:gd name="T18" fmla="*/ 2414 w 3362"/>
                <a:gd name="T19" fmla="*/ 3 h 2884"/>
                <a:gd name="T20" fmla="*/ 2627 w 3362"/>
                <a:gd name="T21" fmla="*/ 13 h 2884"/>
                <a:gd name="T22" fmla="*/ 2826 w 3362"/>
                <a:gd name="T23" fmla="*/ 78 h 2884"/>
                <a:gd name="T24" fmla="*/ 3002 w 3362"/>
                <a:gd name="T25" fmla="*/ 191 h 2884"/>
                <a:gd name="T26" fmla="*/ 3150 w 3362"/>
                <a:gd name="T27" fmla="*/ 346 h 2884"/>
                <a:gd name="T28" fmla="*/ 3264 w 3362"/>
                <a:gd name="T29" fmla="*/ 536 h 2884"/>
                <a:gd name="T30" fmla="*/ 3336 w 3362"/>
                <a:gd name="T31" fmla="*/ 753 h 2884"/>
                <a:gd name="T32" fmla="*/ 3362 w 3362"/>
                <a:gd name="T33" fmla="*/ 990 h 2884"/>
                <a:gd name="T34" fmla="*/ 3333 w 3362"/>
                <a:gd name="T35" fmla="*/ 1250 h 2884"/>
                <a:gd name="T36" fmla="*/ 3254 w 3362"/>
                <a:gd name="T37" fmla="*/ 1494 h 2884"/>
                <a:gd name="T38" fmla="*/ 3106 w 3362"/>
                <a:gd name="T39" fmla="*/ 1505 h 2884"/>
                <a:gd name="T40" fmla="*/ 2919 w 3362"/>
                <a:gd name="T41" fmla="*/ 1436 h 2884"/>
                <a:gd name="T42" fmla="*/ 2715 w 3362"/>
                <a:gd name="T43" fmla="*/ 1412 h 2884"/>
                <a:gd name="T44" fmla="*/ 2497 w 3362"/>
                <a:gd name="T45" fmla="*/ 1440 h 2884"/>
                <a:gd name="T46" fmla="*/ 2299 w 3362"/>
                <a:gd name="T47" fmla="*/ 1518 h 2884"/>
                <a:gd name="T48" fmla="*/ 2129 w 3362"/>
                <a:gd name="T49" fmla="*/ 1639 h 2884"/>
                <a:gd name="T50" fmla="*/ 1993 w 3362"/>
                <a:gd name="T51" fmla="*/ 1797 h 2884"/>
                <a:gd name="T52" fmla="*/ 1899 w 3362"/>
                <a:gd name="T53" fmla="*/ 1985 h 2884"/>
                <a:gd name="T54" fmla="*/ 1853 w 3362"/>
                <a:gd name="T55" fmla="*/ 2196 h 2884"/>
                <a:gd name="T56" fmla="*/ 1862 w 3362"/>
                <a:gd name="T57" fmla="*/ 2412 h 2884"/>
                <a:gd name="T58" fmla="*/ 1922 w 3362"/>
                <a:gd name="T59" fmla="*/ 2611 h 2884"/>
                <a:gd name="T60" fmla="*/ 1942 w 3362"/>
                <a:gd name="T61" fmla="*/ 2757 h 2884"/>
                <a:gd name="T62" fmla="*/ 1823 w 3362"/>
                <a:gd name="T63" fmla="*/ 2820 h 2884"/>
                <a:gd name="T64" fmla="*/ 1739 w 3362"/>
                <a:gd name="T65" fmla="*/ 2863 h 2884"/>
                <a:gd name="T66" fmla="*/ 1698 w 3362"/>
                <a:gd name="T67" fmla="*/ 2882 h 2884"/>
                <a:gd name="T68" fmla="*/ 1684 w 3362"/>
                <a:gd name="T69" fmla="*/ 2879 h 2884"/>
                <a:gd name="T70" fmla="*/ 1629 w 3362"/>
                <a:gd name="T71" fmla="*/ 2853 h 2884"/>
                <a:gd name="T72" fmla="*/ 1535 w 3362"/>
                <a:gd name="T73" fmla="*/ 2805 h 2884"/>
                <a:gd name="T74" fmla="*/ 1407 w 3362"/>
                <a:gd name="T75" fmla="*/ 2737 h 2884"/>
                <a:gd name="T76" fmla="*/ 1256 w 3362"/>
                <a:gd name="T77" fmla="*/ 2648 h 2884"/>
                <a:gd name="T78" fmla="*/ 1086 w 3362"/>
                <a:gd name="T79" fmla="*/ 2540 h 2884"/>
                <a:gd name="T80" fmla="*/ 908 w 3362"/>
                <a:gd name="T81" fmla="*/ 2414 h 2884"/>
                <a:gd name="T82" fmla="*/ 727 w 3362"/>
                <a:gd name="T83" fmla="*/ 2270 h 2884"/>
                <a:gd name="T84" fmla="*/ 551 w 3362"/>
                <a:gd name="T85" fmla="*/ 2108 h 2884"/>
                <a:gd name="T86" fmla="*/ 387 w 3362"/>
                <a:gd name="T87" fmla="*/ 1931 h 2884"/>
                <a:gd name="T88" fmla="*/ 243 w 3362"/>
                <a:gd name="T89" fmla="*/ 1737 h 2884"/>
                <a:gd name="T90" fmla="*/ 125 w 3362"/>
                <a:gd name="T91" fmla="*/ 1529 h 2884"/>
                <a:gd name="T92" fmla="*/ 43 w 3362"/>
                <a:gd name="T93" fmla="*/ 1307 h 2884"/>
                <a:gd name="T94" fmla="*/ 3 w 3362"/>
                <a:gd name="T95" fmla="*/ 1072 h 2884"/>
                <a:gd name="T96" fmla="*/ 12 w 3362"/>
                <a:gd name="T97" fmla="*/ 830 h 2884"/>
                <a:gd name="T98" fmla="*/ 69 w 3362"/>
                <a:gd name="T99" fmla="*/ 605 h 2884"/>
                <a:gd name="T100" fmla="*/ 170 w 3362"/>
                <a:gd name="T101" fmla="*/ 405 h 2884"/>
                <a:gd name="T102" fmla="*/ 307 w 3362"/>
                <a:gd name="T103" fmla="*/ 238 h 2884"/>
                <a:gd name="T104" fmla="*/ 474 w 3362"/>
                <a:gd name="T105" fmla="*/ 111 h 2884"/>
                <a:gd name="T106" fmla="*/ 666 w 3362"/>
                <a:gd name="T107" fmla="*/ 29 h 2884"/>
                <a:gd name="T108" fmla="*/ 878 w 3362"/>
                <a:gd name="T109" fmla="*/ 0 h 28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362" h="2884">
                  <a:moveTo>
                    <a:pt x="878" y="0"/>
                  </a:moveTo>
                  <a:lnTo>
                    <a:pt x="948" y="3"/>
                  </a:lnTo>
                  <a:lnTo>
                    <a:pt x="1018" y="13"/>
                  </a:lnTo>
                  <a:lnTo>
                    <a:pt x="1086" y="29"/>
                  </a:lnTo>
                  <a:lnTo>
                    <a:pt x="1152" y="49"/>
                  </a:lnTo>
                  <a:lnTo>
                    <a:pt x="1215" y="76"/>
                  </a:lnTo>
                  <a:lnTo>
                    <a:pt x="1277" y="108"/>
                  </a:lnTo>
                  <a:lnTo>
                    <a:pt x="1335" y="145"/>
                  </a:lnTo>
                  <a:lnTo>
                    <a:pt x="1391" y="187"/>
                  </a:lnTo>
                  <a:lnTo>
                    <a:pt x="1443" y="233"/>
                  </a:lnTo>
                  <a:lnTo>
                    <a:pt x="1493" y="284"/>
                  </a:lnTo>
                  <a:lnTo>
                    <a:pt x="1538" y="339"/>
                  </a:lnTo>
                  <a:lnTo>
                    <a:pt x="1580" y="398"/>
                  </a:lnTo>
                  <a:lnTo>
                    <a:pt x="1618" y="460"/>
                  </a:lnTo>
                  <a:lnTo>
                    <a:pt x="1652" y="525"/>
                  </a:lnTo>
                  <a:lnTo>
                    <a:pt x="1682" y="592"/>
                  </a:lnTo>
                  <a:lnTo>
                    <a:pt x="1711" y="525"/>
                  </a:lnTo>
                  <a:lnTo>
                    <a:pt x="1744" y="460"/>
                  </a:lnTo>
                  <a:lnTo>
                    <a:pt x="1782" y="398"/>
                  </a:lnTo>
                  <a:lnTo>
                    <a:pt x="1824" y="339"/>
                  </a:lnTo>
                  <a:lnTo>
                    <a:pt x="1869" y="284"/>
                  </a:lnTo>
                  <a:lnTo>
                    <a:pt x="1919" y="233"/>
                  </a:lnTo>
                  <a:lnTo>
                    <a:pt x="1972" y="187"/>
                  </a:lnTo>
                  <a:lnTo>
                    <a:pt x="2027" y="145"/>
                  </a:lnTo>
                  <a:lnTo>
                    <a:pt x="2085" y="108"/>
                  </a:lnTo>
                  <a:lnTo>
                    <a:pt x="2147" y="76"/>
                  </a:lnTo>
                  <a:lnTo>
                    <a:pt x="2211" y="49"/>
                  </a:lnTo>
                  <a:lnTo>
                    <a:pt x="2276" y="29"/>
                  </a:lnTo>
                  <a:lnTo>
                    <a:pt x="2344" y="13"/>
                  </a:lnTo>
                  <a:lnTo>
                    <a:pt x="2414" y="3"/>
                  </a:lnTo>
                  <a:lnTo>
                    <a:pt x="2484" y="0"/>
                  </a:lnTo>
                  <a:lnTo>
                    <a:pt x="2556" y="3"/>
                  </a:lnTo>
                  <a:lnTo>
                    <a:pt x="2627" y="13"/>
                  </a:lnTo>
                  <a:lnTo>
                    <a:pt x="2696" y="29"/>
                  </a:lnTo>
                  <a:lnTo>
                    <a:pt x="2762" y="50"/>
                  </a:lnTo>
                  <a:lnTo>
                    <a:pt x="2826" y="78"/>
                  </a:lnTo>
                  <a:lnTo>
                    <a:pt x="2888" y="111"/>
                  </a:lnTo>
                  <a:lnTo>
                    <a:pt x="2946" y="149"/>
                  </a:lnTo>
                  <a:lnTo>
                    <a:pt x="3002" y="191"/>
                  </a:lnTo>
                  <a:lnTo>
                    <a:pt x="3055" y="238"/>
                  </a:lnTo>
                  <a:lnTo>
                    <a:pt x="3105" y="290"/>
                  </a:lnTo>
                  <a:lnTo>
                    <a:pt x="3150" y="346"/>
                  </a:lnTo>
                  <a:lnTo>
                    <a:pt x="3192" y="405"/>
                  </a:lnTo>
                  <a:lnTo>
                    <a:pt x="3230" y="468"/>
                  </a:lnTo>
                  <a:lnTo>
                    <a:pt x="3264" y="536"/>
                  </a:lnTo>
                  <a:lnTo>
                    <a:pt x="3293" y="605"/>
                  </a:lnTo>
                  <a:lnTo>
                    <a:pt x="3318" y="678"/>
                  </a:lnTo>
                  <a:lnTo>
                    <a:pt x="3336" y="753"/>
                  </a:lnTo>
                  <a:lnTo>
                    <a:pt x="3350" y="830"/>
                  </a:lnTo>
                  <a:lnTo>
                    <a:pt x="3359" y="909"/>
                  </a:lnTo>
                  <a:lnTo>
                    <a:pt x="3362" y="990"/>
                  </a:lnTo>
                  <a:lnTo>
                    <a:pt x="3359" y="1079"/>
                  </a:lnTo>
                  <a:lnTo>
                    <a:pt x="3349" y="1166"/>
                  </a:lnTo>
                  <a:lnTo>
                    <a:pt x="3333" y="1250"/>
                  </a:lnTo>
                  <a:lnTo>
                    <a:pt x="3312" y="1334"/>
                  </a:lnTo>
                  <a:lnTo>
                    <a:pt x="3285" y="1415"/>
                  </a:lnTo>
                  <a:lnTo>
                    <a:pt x="3254" y="1494"/>
                  </a:lnTo>
                  <a:lnTo>
                    <a:pt x="3217" y="1572"/>
                  </a:lnTo>
                  <a:lnTo>
                    <a:pt x="3163" y="1537"/>
                  </a:lnTo>
                  <a:lnTo>
                    <a:pt x="3106" y="1505"/>
                  </a:lnTo>
                  <a:lnTo>
                    <a:pt x="3046" y="1477"/>
                  </a:lnTo>
                  <a:lnTo>
                    <a:pt x="2984" y="1455"/>
                  </a:lnTo>
                  <a:lnTo>
                    <a:pt x="2919" y="1436"/>
                  </a:lnTo>
                  <a:lnTo>
                    <a:pt x="2853" y="1422"/>
                  </a:lnTo>
                  <a:lnTo>
                    <a:pt x="2785" y="1415"/>
                  </a:lnTo>
                  <a:lnTo>
                    <a:pt x="2715" y="1412"/>
                  </a:lnTo>
                  <a:lnTo>
                    <a:pt x="2641" y="1415"/>
                  </a:lnTo>
                  <a:lnTo>
                    <a:pt x="2568" y="1425"/>
                  </a:lnTo>
                  <a:lnTo>
                    <a:pt x="2497" y="1440"/>
                  </a:lnTo>
                  <a:lnTo>
                    <a:pt x="2429" y="1460"/>
                  </a:lnTo>
                  <a:lnTo>
                    <a:pt x="2363" y="1487"/>
                  </a:lnTo>
                  <a:lnTo>
                    <a:pt x="2299" y="1518"/>
                  </a:lnTo>
                  <a:lnTo>
                    <a:pt x="2239" y="1553"/>
                  </a:lnTo>
                  <a:lnTo>
                    <a:pt x="2183" y="1594"/>
                  </a:lnTo>
                  <a:lnTo>
                    <a:pt x="2129" y="1639"/>
                  </a:lnTo>
                  <a:lnTo>
                    <a:pt x="2079" y="1688"/>
                  </a:lnTo>
                  <a:lnTo>
                    <a:pt x="2034" y="1741"/>
                  </a:lnTo>
                  <a:lnTo>
                    <a:pt x="1993" y="1797"/>
                  </a:lnTo>
                  <a:lnTo>
                    <a:pt x="1957" y="1857"/>
                  </a:lnTo>
                  <a:lnTo>
                    <a:pt x="1926" y="1920"/>
                  </a:lnTo>
                  <a:lnTo>
                    <a:pt x="1899" y="1985"/>
                  </a:lnTo>
                  <a:lnTo>
                    <a:pt x="1878" y="2052"/>
                  </a:lnTo>
                  <a:lnTo>
                    <a:pt x="1863" y="2123"/>
                  </a:lnTo>
                  <a:lnTo>
                    <a:pt x="1853" y="2196"/>
                  </a:lnTo>
                  <a:lnTo>
                    <a:pt x="1850" y="2270"/>
                  </a:lnTo>
                  <a:lnTo>
                    <a:pt x="1853" y="2341"/>
                  </a:lnTo>
                  <a:lnTo>
                    <a:pt x="1862" y="2412"/>
                  </a:lnTo>
                  <a:lnTo>
                    <a:pt x="1877" y="2480"/>
                  </a:lnTo>
                  <a:lnTo>
                    <a:pt x="1898" y="2547"/>
                  </a:lnTo>
                  <a:lnTo>
                    <a:pt x="1922" y="2611"/>
                  </a:lnTo>
                  <a:lnTo>
                    <a:pt x="1953" y="2673"/>
                  </a:lnTo>
                  <a:lnTo>
                    <a:pt x="1987" y="2731"/>
                  </a:lnTo>
                  <a:lnTo>
                    <a:pt x="1942" y="2757"/>
                  </a:lnTo>
                  <a:lnTo>
                    <a:pt x="1899" y="2781"/>
                  </a:lnTo>
                  <a:lnTo>
                    <a:pt x="1859" y="2802"/>
                  </a:lnTo>
                  <a:lnTo>
                    <a:pt x="1823" y="2820"/>
                  </a:lnTo>
                  <a:lnTo>
                    <a:pt x="1791" y="2838"/>
                  </a:lnTo>
                  <a:lnTo>
                    <a:pt x="1763" y="2851"/>
                  </a:lnTo>
                  <a:lnTo>
                    <a:pt x="1739" y="2863"/>
                  </a:lnTo>
                  <a:lnTo>
                    <a:pt x="1720" y="2872"/>
                  </a:lnTo>
                  <a:lnTo>
                    <a:pt x="1706" y="2878"/>
                  </a:lnTo>
                  <a:lnTo>
                    <a:pt x="1698" y="2882"/>
                  </a:lnTo>
                  <a:lnTo>
                    <a:pt x="1696" y="2884"/>
                  </a:lnTo>
                  <a:lnTo>
                    <a:pt x="1692" y="2882"/>
                  </a:lnTo>
                  <a:lnTo>
                    <a:pt x="1684" y="2879"/>
                  </a:lnTo>
                  <a:lnTo>
                    <a:pt x="1671" y="2873"/>
                  </a:lnTo>
                  <a:lnTo>
                    <a:pt x="1652" y="2864"/>
                  </a:lnTo>
                  <a:lnTo>
                    <a:pt x="1629" y="2853"/>
                  </a:lnTo>
                  <a:lnTo>
                    <a:pt x="1602" y="2840"/>
                  </a:lnTo>
                  <a:lnTo>
                    <a:pt x="1569" y="2824"/>
                  </a:lnTo>
                  <a:lnTo>
                    <a:pt x="1535" y="2805"/>
                  </a:lnTo>
                  <a:lnTo>
                    <a:pt x="1495" y="2784"/>
                  </a:lnTo>
                  <a:lnTo>
                    <a:pt x="1453" y="2762"/>
                  </a:lnTo>
                  <a:lnTo>
                    <a:pt x="1407" y="2737"/>
                  </a:lnTo>
                  <a:lnTo>
                    <a:pt x="1359" y="2709"/>
                  </a:lnTo>
                  <a:lnTo>
                    <a:pt x="1309" y="2679"/>
                  </a:lnTo>
                  <a:lnTo>
                    <a:pt x="1256" y="2648"/>
                  </a:lnTo>
                  <a:lnTo>
                    <a:pt x="1201" y="2614"/>
                  </a:lnTo>
                  <a:lnTo>
                    <a:pt x="1145" y="2578"/>
                  </a:lnTo>
                  <a:lnTo>
                    <a:pt x="1086" y="2540"/>
                  </a:lnTo>
                  <a:lnTo>
                    <a:pt x="1028" y="2500"/>
                  </a:lnTo>
                  <a:lnTo>
                    <a:pt x="969" y="2458"/>
                  </a:lnTo>
                  <a:lnTo>
                    <a:pt x="908" y="2414"/>
                  </a:lnTo>
                  <a:lnTo>
                    <a:pt x="848" y="2367"/>
                  </a:lnTo>
                  <a:lnTo>
                    <a:pt x="787" y="2319"/>
                  </a:lnTo>
                  <a:lnTo>
                    <a:pt x="727" y="2270"/>
                  </a:lnTo>
                  <a:lnTo>
                    <a:pt x="667" y="2217"/>
                  </a:lnTo>
                  <a:lnTo>
                    <a:pt x="608" y="2164"/>
                  </a:lnTo>
                  <a:lnTo>
                    <a:pt x="551" y="2108"/>
                  </a:lnTo>
                  <a:lnTo>
                    <a:pt x="495" y="2050"/>
                  </a:lnTo>
                  <a:lnTo>
                    <a:pt x="440" y="1992"/>
                  </a:lnTo>
                  <a:lnTo>
                    <a:pt x="387" y="1931"/>
                  </a:lnTo>
                  <a:lnTo>
                    <a:pt x="336" y="1867"/>
                  </a:lnTo>
                  <a:lnTo>
                    <a:pt x="288" y="1803"/>
                  </a:lnTo>
                  <a:lnTo>
                    <a:pt x="243" y="1737"/>
                  </a:lnTo>
                  <a:lnTo>
                    <a:pt x="200" y="1670"/>
                  </a:lnTo>
                  <a:lnTo>
                    <a:pt x="161" y="1600"/>
                  </a:lnTo>
                  <a:lnTo>
                    <a:pt x="125" y="1529"/>
                  </a:lnTo>
                  <a:lnTo>
                    <a:pt x="94" y="1457"/>
                  </a:lnTo>
                  <a:lnTo>
                    <a:pt x="66" y="1383"/>
                  </a:lnTo>
                  <a:lnTo>
                    <a:pt x="43" y="1307"/>
                  </a:lnTo>
                  <a:lnTo>
                    <a:pt x="25" y="1230"/>
                  </a:lnTo>
                  <a:lnTo>
                    <a:pt x="11" y="1152"/>
                  </a:lnTo>
                  <a:lnTo>
                    <a:pt x="3" y="1072"/>
                  </a:lnTo>
                  <a:lnTo>
                    <a:pt x="0" y="990"/>
                  </a:lnTo>
                  <a:lnTo>
                    <a:pt x="3" y="909"/>
                  </a:lnTo>
                  <a:lnTo>
                    <a:pt x="12" y="830"/>
                  </a:lnTo>
                  <a:lnTo>
                    <a:pt x="26" y="753"/>
                  </a:lnTo>
                  <a:lnTo>
                    <a:pt x="44" y="678"/>
                  </a:lnTo>
                  <a:lnTo>
                    <a:pt x="69" y="605"/>
                  </a:lnTo>
                  <a:lnTo>
                    <a:pt x="98" y="536"/>
                  </a:lnTo>
                  <a:lnTo>
                    <a:pt x="132" y="468"/>
                  </a:lnTo>
                  <a:lnTo>
                    <a:pt x="170" y="405"/>
                  </a:lnTo>
                  <a:lnTo>
                    <a:pt x="212" y="346"/>
                  </a:lnTo>
                  <a:lnTo>
                    <a:pt x="257" y="290"/>
                  </a:lnTo>
                  <a:lnTo>
                    <a:pt x="307" y="238"/>
                  </a:lnTo>
                  <a:lnTo>
                    <a:pt x="360" y="191"/>
                  </a:lnTo>
                  <a:lnTo>
                    <a:pt x="416" y="149"/>
                  </a:lnTo>
                  <a:lnTo>
                    <a:pt x="474" y="111"/>
                  </a:lnTo>
                  <a:lnTo>
                    <a:pt x="536" y="78"/>
                  </a:lnTo>
                  <a:lnTo>
                    <a:pt x="600" y="50"/>
                  </a:lnTo>
                  <a:lnTo>
                    <a:pt x="666" y="29"/>
                  </a:lnTo>
                  <a:lnTo>
                    <a:pt x="735" y="13"/>
                  </a:lnTo>
                  <a:lnTo>
                    <a:pt x="806" y="3"/>
                  </a:lnTo>
                  <a:lnTo>
                    <a:pt x="87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5" name="Group 25"/>
          <p:cNvGrpSpPr>
            <a:grpSpLocks noChangeAspect="1"/>
          </p:cNvGrpSpPr>
          <p:nvPr/>
        </p:nvGrpSpPr>
        <p:grpSpPr bwMode="auto">
          <a:xfrm>
            <a:off x="6606440" y="5548172"/>
            <a:ext cx="304664" cy="416154"/>
            <a:chOff x="6269" y="2565"/>
            <a:chExt cx="787" cy="1075"/>
          </a:xfrm>
          <a:solidFill>
            <a:schemeClr val="bg1"/>
          </a:solidFill>
        </p:grpSpPr>
        <p:sp>
          <p:nvSpPr>
            <p:cNvPr id="86" name="Freeform 27"/>
            <p:cNvSpPr>
              <a:spLocks/>
            </p:cNvSpPr>
            <p:nvPr/>
          </p:nvSpPr>
          <p:spPr bwMode="auto">
            <a:xfrm>
              <a:off x="6620" y="2795"/>
              <a:ext cx="436" cy="845"/>
            </a:xfrm>
            <a:custGeom>
              <a:avLst/>
              <a:gdLst>
                <a:gd name="T0" fmla="*/ 1438 w 1745"/>
                <a:gd name="T1" fmla="*/ 4 h 3383"/>
                <a:gd name="T2" fmla="*/ 1581 w 1745"/>
                <a:gd name="T3" fmla="*/ 57 h 3383"/>
                <a:gd name="T4" fmla="*/ 1686 w 1745"/>
                <a:gd name="T5" fmla="*/ 163 h 3383"/>
                <a:gd name="T6" fmla="*/ 1741 w 1745"/>
                <a:gd name="T7" fmla="*/ 307 h 3383"/>
                <a:gd name="T8" fmla="*/ 1745 w 1745"/>
                <a:gd name="T9" fmla="*/ 550 h 3383"/>
                <a:gd name="T10" fmla="*/ 1745 w 1745"/>
                <a:gd name="T11" fmla="*/ 860 h 3383"/>
                <a:gd name="T12" fmla="*/ 1745 w 1745"/>
                <a:gd name="T13" fmla="*/ 1191 h 3383"/>
                <a:gd name="T14" fmla="*/ 1745 w 1745"/>
                <a:gd name="T15" fmla="*/ 1530 h 3383"/>
                <a:gd name="T16" fmla="*/ 1744 w 1745"/>
                <a:gd name="T17" fmla="*/ 1868 h 3383"/>
                <a:gd name="T18" fmla="*/ 1744 w 1745"/>
                <a:gd name="T19" fmla="*/ 2189 h 3383"/>
                <a:gd name="T20" fmla="*/ 1744 w 1745"/>
                <a:gd name="T21" fmla="*/ 2484 h 3383"/>
                <a:gd name="T22" fmla="*/ 1744 w 1745"/>
                <a:gd name="T23" fmla="*/ 2741 h 3383"/>
                <a:gd name="T24" fmla="*/ 1744 w 1745"/>
                <a:gd name="T25" fmla="*/ 2948 h 3383"/>
                <a:gd name="T26" fmla="*/ 1744 w 1745"/>
                <a:gd name="T27" fmla="*/ 3092 h 3383"/>
                <a:gd name="T28" fmla="*/ 1744 w 1745"/>
                <a:gd name="T29" fmla="*/ 3161 h 3383"/>
                <a:gd name="T30" fmla="*/ 1729 w 1745"/>
                <a:gd name="T31" fmla="*/ 3242 h 3383"/>
                <a:gd name="T32" fmla="*/ 1667 w 1745"/>
                <a:gd name="T33" fmla="*/ 3331 h 3383"/>
                <a:gd name="T34" fmla="*/ 1568 w 1745"/>
                <a:gd name="T35" fmla="*/ 3379 h 3383"/>
                <a:gd name="T36" fmla="*/ 1454 w 1745"/>
                <a:gd name="T37" fmla="*/ 3368 h 3383"/>
                <a:gd name="T38" fmla="*/ 1364 w 1745"/>
                <a:gd name="T39" fmla="*/ 3305 h 3383"/>
                <a:gd name="T40" fmla="*/ 1317 w 1745"/>
                <a:gd name="T41" fmla="*/ 3206 h 3383"/>
                <a:gd name="T42" fmla="*/ 1171 w 1745"/>
                <a:gd name="T43" fmla="*/ 1884 h 3383"/>
                <a:gd name="T44" fmla="*/ 1183 w 1745"/>
                <a:gd name="T45" fmla="*/ 3257 h 3383"/>
                <a:gd name="T46" fmla="*/ 1186 w 1745"/>
                <a:gd name="T47" fmla="*/ 3356 h 3383"/>
                <a:gd name="T48" fmla="*/ 1086 w 1745"/>
                <a:gd name="T49" fmla="*/ 3383 h 3383"/>
                <a:gd name="T50" fmla="*/ 978 w 1745"/>
                <a:gd name="T51" fmla="*/ 3352 h 3383"/>
                <a:gd name="T52" fmla="*/ 901 w 1745"/>
                <a:gd name="T53" fmla="*/ 3275 h 3383"/>
                <a:gd name="T54" fmla="*/ 871 w 1745"/>
                <a:gd name="T55" fmla="*/ 3167 h 3383"/>
                <a:gd name="T56" fmla="*/ 961 w 1745"/>
                <a:gd name="T57" fmla="*/ 1024 h 3383"/>
                <a:gd name="T58" fmla="*/ 1017 w 1745"/>
                <a:gd name="T59" fmla="*/ 982 h 3383"/>
                <a:gd name="T60" fmla="*/ 1569 w 1745"/>
                <a:gd name="T61" fmla="*/ 326 h 3383"/>
                <a:gd name="T62" fmla="*/ 945 w 1745"/>
                <a:gd name="T63" fmla="*/ 902 h 3383"/>
                <a:gd name="T64" fmla="*/ 249 w 1745"/>
                <a:gd name="T65" fmla="*/ 1211 h 3383"/>
                <a:gd name="T66" fmla="*/ 150 w 1745"/>
                <a:gd name="T67" fmla="*/ 1223 h 3383"/>
                <a:gd name="T68" fmla="*/ 70 w 1745"/>
                <a:gd name="T69" fmla="*/ 1187 h 3383"/>
                <a:gd name="T70" fmla="*/ 14 w 1745"/>
                <a:gd name="T71" fmla="*/ 1115 h 3383"/>
                <a:gd name="T72" fmla="*/ 1 w 1745"/>
                <a:gd name="T73" fmla="*/ 1022 h 3383"/>
                <a:gd name="T74" fmla="*/ 35 w 1745"/>
                <a:gd name="T75" fmla="*/ 938 h 3383"/>
                <a:gd name="T76" fmla="*/ 110 w 1745"/>
                <a:gd name="T77" fmla="*/ 881 h 3383"/>
                <a:gd name="T78" fmla="*/ 1327 w 1745"/>
                <a:gd name="T79" fmla="*/ 63 h 3383"/>
                <a:gd name="T80" fmla="*/ 871 w 1745"/>
                <a:gd name="T81" fmla="*/ 361 h 3383"/>
                <a:gd name="T82" fmla="*/ 905 w 1745"/>
                <a:gd name="T83" fmla="*/ 208 h 3383"/>
                <a:gd name="T84" fmla="*/ 995 w 1745"/>
                <a:gd name="T85" fmla="*/ 88 h 3383"/>
                <a:gd name="T86" fmla="*/ 1126 w 1745"/>
                <a:gd name="T87" fmla="*/ 14 h 3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745" h="3383">
                  <a:moveTo>
                    <a:pt x="1231" y="0"/>
                  </a:moveTo>
                  <a:lnTo>
                    <a:pt x="1385" y="0"/>
                  </a:lnTo>
                  <a:lnTo>
                    <a:pt x="1438" y="4"/>
                  </a:lnTo>
                  <a:lnTo>
                    <a:pt x="1489" y="14"/>
                  </a:lnTo>
                  <a:lnTo>
                    <a:pt x="1536" y="33"/>
                  </a:lnTo>
                  <a:lnTo>
                    <a:pt x="1581" y="57"/>
                  </a:lnTo>
                  <a:lnTo>
                    <a:pt x="1621" y="88"/>
                  </a:lnTo>
                  <a:lnTo>
                    <a:pt x="1656" y="124"/>
                  </a:lnTo>
                  <a:lnTo>
                    <a:pt x="1686" y="163"/>
                  </a:lnTo>
                  <a:lnTo>
                    <a:pt x="1711" y="208"/>
                  </a:lnTo>
                  <a:lnTo>
                    <a:pt x="1729" y="256"/>
                  </a:lnTo>
                  <a:lnTo>
                    <a:pt x="1741" y="307"/>
                  </a:lnTo>
                  <a:lnTo>
                    <a:pt x="1745" y="361"/>
                  </a:lnTo>
                  <a:lnTo>
                    <a:pt x="1745" y="454"/>
                  </a:lnTo>
                  <a:lnTo>
                    <a:pt x="1745" y="550"/>
                  </a:lnTo>
                  <a:lnTo>
                    <a:pt x="1745" y="650"/>
                  </a:lnTo>
                  <a:lnTo>
                    <a:pt x="1745" y="754"/>
                  </a:lnTo>
                  <a:lnTo>
                    <a:pt x="1745" y="860"/>
                  </a:lnTo>
                  <a:lnTo>
                    <a:pt x="1745" y="969"/>
                  </a:lnTo>
                  <a:lnTo>
                    <a:pt x="1745" y="1080"/>
                  </a:lnTo>
                  <a:lnTo>
                    <a:pt x="1745" y="1191"/>
                  </a:lnTo>
                  <a:lnTo>
                    <a:pt x="1745" y="1304"/>
                  </a:lnTo>
                  <a:lnTo>
                    <a:pt x="1745" y="1418"/>
                  </a:lnTo>
                  <a:lnTo>
                    <a:pt x="1745" y="1530"/>
                  </a:lnTo>
                  <a:lnTo>
                    <a:pt x="1745" y="1644"/>
                  </a:lnTo>
                  <a:lnTo>
                    <a:pt x="1744" y="1757"/>
                  </a:lnTo>
                  <a:lnTo>
                    <a:pt x="1744" y="1868"/>
                  </a:lnTo>
                  <a:lnTo>
                    <a:pt x="1744" y="1977"/>
                  </a:lnTo>
                  <a:lnTo>
                    <a:pt x="1744" y="2084"/>
                  </a:lnTo>
                  <a:lnTo>
                    <a:pt x="1744" y="2189"/>
                  </a:lnTo>
                  <a:lnTo>
                    <a:pt x="1744" y="2291"/>
                  </a:lnTo>
                  <a:lnTo>
                    <a:pt x="1744" y="2390"/>
                  </a:lnTo>
                  <a:lnTo>
                    <a:pt x="1744" y="2484"/>
                  </a:lnTo>
                  <a:lnTo>
                    <a:pt x="1744" y="2575"/>
                  </a:lnTo>
                  <a:lnTo>
                    <a:pt x="1744" y="2660"/>
                  </a:lnTo>
                  <a:lnTo>
                    <a:pt x="1744" y="2741"/>
                  </a:lnTo>
                  <a:lnTo>
                    <a:pt x="1744" y="2816"/>
                  </a:lnTo>
                  <a:lnTo>
                    <a:pt x="1744" y="2885"/>
                  </a:lnTo>
                  <a:lnTo>
                    <a:pt x="1744" y="2948"/>
                  </a:lnTo>
                  <a:lnTo>
                    <a:pt x="1744" y="3003"/>
                  </a:lnTo>
                  <a:lnTo>
                    <a:pt x="1744" y="3051"/>
                  </a:lnTo>
                  <a:lnTo>
                    <a:pt x="1744" y="3092"/>
                  </a:lnTo>
                  <a:lnTo>
                    <a:pt x="1744" y="3123"/>
                  </a:lnTo>
                  <a:lnTo>
                    <a:pt x="1744" y="3147"/>
                  </a:lnTo>
                  <a:lnTo>
                    <a:pt x="1744" y="3161"/>
                  </a:lnTo>
                  <a:lnTo>
                    <a:pt x="1744" y="3167"/>
                  </a:lnTo>
                  <a:lnTo>
                    <a:pt x="1740" y="3206"/>
                  </a:lnTo>
                  <a:lnTo>
                    <a:pt x="1729" y="3242"/>
                  </a:lnTo>
                  <a:lnTo>
                    <a:pt x="1714" y="3275"/>
                  </a:lnTo>
                  <a:lnTo>
                    <a:pt x="1693" y="3305"/>
                  </a:lnTo>
                  <a:lnTo>
                    <a:pt x="1667" y="3331"/>
                  </a:lnTo>
                  <a:lnTo>
                    <a:pt x="1637" y="3352"/>
                  </a:lnTo>
                  <a:lnTo>
                    <a:pt x="1604" y="3368"/>
                  </a:lnTo>
                  <a:lnTo>
                    <a:pt x="1568" y="3379"/>
                  </a:lnTo>
                  <a:lnTo>
                    <a:pt x="1528" y="3383"/>
                  </a:lnTo>
                  <a:lnTo>
                    <a:pt x="1491" y="3379"/>
                  </a:lnTo>
                  <a:lnTo>
                    <a:pt x="1454" y="3368"/>
                  </a:lnTo>
                  <a:lnTo>
                    <a:pt x="1420" y="3352"/>
                  </a:lnTo>
                  <a:lnTo>
                    <a:pt x="1390" y="3331"/>
                  </a:lnTo>
                  <a:lnTo>
                    <a:pt x="1364" y="3305"/>
                  </a:lnTo>
                  <a:lnTo>
                    <a:pt x="1343" y="3275"/>
                  </a:lnTo>
                  <a:lnTo>
                    <a:pt x="1327" y="3242"/>
                  </a:lnTo>
                  <a:lnTo>
                    <a:pt x="1317" y="3206"/>
                  </a:lnTo>
                  <a:lnTo>
                    <a:pt x="1314" y="3167"/>
                  </a:lnTo>
                  <a:lnTo>
                    <a:pt x="1314" y="1884"/>
                  </a:lnTo>
                  <a:lnTo>
                    <a:pt x="1171" y="1884"/>
                  </a:lnTo>
                  <a:lnTo>
                    <a:pt x="1171" y="3167"/>
                  </a:lnTo>
                  <a:lnTo>
                    <a:pt x="1173" y="3212"/>
                  </a:lnTo>
                  <a:lnTo>
                    <a:pt x="1183" y="3257"/>
                  </a:lnTo>
                  <a:lnTo>
                    <a:pt x="1197" y="3297"/>
                  </a:lnTo>
                  <a:lnTo>
                    <a:pt x="1215" y="3337"/>
                  </a:lnTo>
                  <a:lnTo>
                    <a:pt x="1186" y="3356"/>
                  </a:lnTo>
                  <a:lnTo>
                    <a:pt x="1155" y="3371"/>
                  </a:lnTo>
                  <a:lnTo>
                    <a:pt x="1121" y="3379"/>
                  </a:lnTo>
                  <a:lnTo>
                    <a:pt x="1086" y="3383"/>
                  </a:lnTo>
                  <a:lnTo>
                    <a:pt x="1047" y="3379"/>
                  </a:lnTo>
                  <a:lnTo>
                    <a:pt x="1010" y="3368"/>
                  </a:lnTo>
                  <a:lnTo>
                    <a:pt x="978" y="3352"/>
                  </a:lnTo>
                  <a:lnTo>
                    <a:pt x="948" y="3331"/>
                  </a:lnTo>
                  <a:lnTo>
                    <a:pt x="921" y="3305"/>
                  </a:lnTo>
                  <a:lnTo>
                    <a:pt x="901" y="3275"/>
                  </a:lnTo>
                  <a:lnTo>
                    <a:pt x="885" y="3242"/>
                  </a:lnTo>
                  <a:lnTo>
                    <a:pt x="874" y="3206"/>
                  </a:lnTo>
                  <a:lnTo>
                    <a:pt x="871" y="3167"/>
                  </a:lnTo>
                  <a:lnTo>
                    <a:pt x="871" y="1063"/>
                  </a:lnTo>
                  <a:lnTo>
                    <a:pt x="936" y="1034"/>
                  </a:lnTo>
                  <a:lnTo>
                    <a:pt x="961" y="1024"/>
                  </a:lnTo>
                  <a:lnTo>
                    <a:pt x="982" y="1013"/>
                  </a:lnTo>
                  <a:lnTo>
                    <a:pt x="1000" y="999"/>
                  </a:lnTo>
                  <a:lnTo>
                    <a:pt x="1017" y="982"/>
                  </a:lnTo>
                  <a:lnTo>
                    <a:pt x="1568" y="328"/>
                  </a:lnTo>
                  <a:lnTo>
                    <a:pt x="1569" y="327"/>
                  </a:lnTo>
                  <a:lnTo>
                    <a:pt x="1569" y="326"/>
                  </a:lnTo>
                  <a:lnTo>
                    <a:pt x="1569" y="327"/>
                  </a:lnTo>
                  <a:lnTo>
                    <a:pt x="1568" y="327"/>
                  </a:lnTo>
                  <a:lnTo>
                    <a:pt x="945" y="902"/>
                  </a:lnTo>
                  <a:lnTo>
                    <a:pt x="920" y="921"/>
                  </a:lnTo>
                  <a:lnTo>
                    <a:pt x="894" y="936"/>
                  </a:lnTo>
                  <a:lnTo>
                    <a:pt x="249" y="1211"/>
                  </a:lnTo>
                  <a:lnTo>
                    <a:pt x="215" y="1221"/>
                  </a:lnTo>
                  <a:lnTo>
                    <a:pt x="180" y="1225"/>
                  </a:lnTo>
                  <a:lnTo>
                    <a:pt x="150" y="1223"/>
                  </a:lnTo>
                  <a:lnTo>
                    <a:pt x="121" y="1215"/>
                  </a:lnTo>
                  <a:lnTo>
                    <a:pt x="94" y="1203"/>
                  </a:lnTo>
                  <a:lnTo>
                    <a:pt x="70" y="1187"/>
                  </a:lnTo>
                  <a:lnTo>
                    <a:pt x="48" y="1168"/>
                  </a:lnTo>
                  <a:lnTo>
                    <a:pt x="30" y="1143"/>
                  </a:lnTo>
                  <a:lnTo>
                    <a:pt x="14" y="1115"/>
                  </a:lnTo>
                  <a:lnTo>
                    <a:pt x="5" y="1085"/>
                  </a:lnTo>
                  <a:lnTo>
                    <a:pt x="0" y="1054"/>
                  </a:lnTo>
                  <a:lnTo>
                    <a:pt x="1" y="1022"/>
                  </a:lnTo>
                  <a:lnTo>
                    <a:pt x="8" y="992"/>
                  </a:lnTo>
                  <a:lnTo>
                    <a:pt x="20" y="965"/>
                  </a:lnTo>
                  <a:lnTo>
                    <a:pt x="35" y="938"/>
                  </a:lnTo>
                  <a:lnTo>
                    <a:pt x="56" y="915"/>
                  </a:lnTo>
                  <a:lnTo>
                    <a:pt x="81" y="895"/>
                  </a:lnTo>
                  <a:lnTo>
                    <a:pt x="110" y="881"/>
                  </a:lnTo>
                  <a:lnTo>
                    <a:pt x="726" y="618"/>
                  </a:lnTo>
                  <a:lnTo>
                    <a:pt x="1326" y="64"/>
                  </a:lnTo>
                  <a:lnTo>
                    <a:pt x="1327" y="63"/>
                  </a:lnTo>
                  <a:lnTo>
                    <a:pt x="1326" y="64"/>
                  </a:lnTo>
                  <a:lnTo>
                    <a:pt x="871" y="387"/>
                  </a:lnTo>
                  <a:lnTo>
                    <a:pt x="871" y="361"/>
                  </a:lnTo>
                  <a:lnTo>
                    <a:pt x="874" y="307"/>
                  </a:lnTo>
                  <a:lnTo>
                    <a:pt x="886" y="256"/>
                  </a:lnTo>
                  <a:lnTo>
                    <a:pt x="905" y="208"/>
                  </a:lnTo>
                  <a:lnTo>
                    <a:pt x="929" y="163"/>
                  </a:lnTo>
                  <a:lnTo>
                    <a:pt x="959" y="124"/>
                  </a:lnTo>
                  <a:lnTo>
                    <a:pt x="995" y="88"/>
                  </a:lnTo>
                  <a:lnTo>
                    <a:pt x="1035" y="57"/>
                  </a:lnTo>
                  <a:lnTo>
                    <a:pt x="1079" y="33"/>
                  </a:lnTo>
                  <a:lnTo>
                    <a:pt x="1126" y="14"/>
                  </a:lnTo>
                  <a:lnTo>
                    <a:pt x="1177" y="4"/>
                  </a:lnTo>
                  <a:lnTo>
                    <a:pt x="123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28"/>
            <p:cNvSpPr>
              <a:spLocks/>
            </p:cNvSpPr>
            <p:nvPr/>
          </p:nvSpPr>
          <p:spPr bwMode="auto">
            <a:xfrm>
              <a:off x="6842" y="2565"/>
              <a:ext cx="209" cy="209"/>
            </a:xfrm>
            <a:custGeom>
              <a:avLst/>
              <a:gdLst>
                <a:gd name="T0" fmla="*/ 418 w 837"/>
                <a:gd name="T1" fmla="*/ 0 h 839"/>
                <a:gd name="T2" fmla="*/ 475 w 837"/>
                <a:gd name="T3" fmla="*/ 3 h 839"/>
                <a:gd name="T4" fmla="*/ 529 w 837"/>
                <a:gd name="T5" fmla="*/ 15 h 839"/>
                <a:gd name="T6" fmla="*/ 581 w 837"/>
                <a:gd name="T7" fmla="*/ 32 h 839"/>
                <a:gd name="T8" fmla="*/ 629 w 837"/>
                <a:gd name="T9" fmla="*/ 57 h 839"/>
                <a:gd name="T10" fmla="*/ 674 w 837"/>
                <a:gd name="T11" fmla="*/ 87 h 839"/>
                <a:gd name="T12" fmla="*/ 714 w 837"/>
                <a:gd name="T13" fmla="*/ 123 h 839"/>
                <a:gd name="T14" fmla="*/ 749 w 837"/>
                <a:gd name="T15" fmla="*/ 163 h 839"/>
                <a:gd name="T16" fmla="*/ 779 w 837"/>
                <a:gd name="T17" fmla="*/ 208 h 839"/>
                <a:gd name="T18" fmla="*/ 803 w 837"/>
                <a:gd name="T19" fmla="*/ 256 h 839"/>
                <a:gd name="T20" fmla="*/ 821 w 837"/>
                <a:gd name="T21" fmla="*/ 307 h 839"/>
                <a:gd name="T22" fmla="*/ 833 w 837"/>
                <a:gd name="T23" fmla="*/ 362 h 839"/>
                <a:gd name="T24" fmla="*/ 837 w 837"/>
                <a:gd name="T25" fmla="*/ 420 h 839"/>
                <a:gd name="T26" fmla="*/ 833 w 837"/>
                <a:gd name="T27" fmla="*/ 476 h 839"/>
                <a:gd name="T28" fmla="*/ 821 w 837"/>
                <a:gd name="T29" fmla="*/ 531 h 839"/>
                <a:gd name="T30" fmla="*/ 803 w 837"/>
                <a:gd name="T31" fmla="*/ 582 h 839"/>
                <a:gd name="T32" fmla="*/ 779 w 837"/>
                <a:gd name="T33" fmla="*/ 631 h 839"/>
                <a:gd name="T34" fmla="*/ 749 w 837"/>
                <a:gd name="T35" fmla="*/ 675 h 839"/>
                <a:gd name="T36" fmla="*/ 714 w 837"/>
                <a:gd name="T37" fmla="*/ 716 h 839"/>
                <a:gd name="T38" fmla="*/ 674 w 837"/>
                <a:gd name="T39" fmla="*/ 751 h 839"/>
                <a:gd name="T40" fmla="*/ 629 w 837"/>
                <a:gd name="T41" fmla="*/ 781 h 839"/>
                <a:gd name="T42" fmla="*/ 581 w 837"/>
                <a:gd name="T43" fmla="*/ 806 h 839"/>
                <a:gd name="T44" fmla="*/ 529 w 837"/>
                <a:gd name="T45" fmla="*/ 824 h 839"/>
                <a:gd name="T46" fmla="*/ 475 w 837"/>
                <a:gd name="T47" fmla="*/ 835 h 839"/>
                <a:gd name="T48" fmla="*/ 418 w 837"/>
                <a:gd name="T49" fmla="*/ 839 h 839"/>
                <a:gd name="T50" fmla="*/ 362 w 837"/>
                <a:gd name="T51" fmla="*/ 835 h 839"/>
                <a:gd name="T52" fmla="*/ 307 w 837"/>
                <a:gd name="T53" fmla="*/ 824 h 839"/>
                <a:gd name="T54" fmla="*/ 255 w 837"/>
                <a:gd name="T55" fmla="*/ 806 h 839"/>
                <a:gd name="T56" fmla="*/ 206 w 837"/>
                <a:gd name="T57" fmla="*/ 781 h 839"/>
                <a:gd name="T58" fmla="*/ 162 w 837"/>
                <a:gd name="T59" fmla="*/ 751 h 839"/>
                <a:gd name="T60" fmla="*/ 122 w 837"/>
                <a:gd name="T61" fmla="*/ 716 h 839"/>
                <a:gd name="T62" fmla="*/ 86 w 837"/>
                <a:gd name="T63" fmla="*/ 675 h 839"/>
                <a:gd name="T64" fmla="*/ 56 w 837"/>
                <a:gd name="T65" fmla="*/ 631 h 839"/>
                <a:gd name="T66" fmla="*/ 33 w 837"/>
                <a:gd name="T67" fmla="*/ 582 h 839"/>
                <a:gd name="T68" fmla="*/ 15 w 837"/>
                <a:gd name="T69" fmla="*/ 531 h 839"/>
                <a:gd name="T70" fmla="*/ 4 w 837"/>
                <a:gd name="T71" fmla="*/ 476 h 839"/>
                <a:gd name="T72" fmla="*/ 0 w 837"/>
                <a:gd name="T73" fmla="*/ 420 h 839"/>
                <a:gd name="T74" fmla="*/ 4 w 837"/>
                <a:gd name="T75" fmla="*/ 362 h 839"/>
                <a:gd name="T76" fmla="*/ 15 w 837"/>
                <a:gd name="T77" fmla="*/ 307 h 839"/>
                <a:gd name="T78" fmla="*/ 33 w 837"/>
                <a:gd name="T79" fmla="*/ 256 h 839"/>
                <a:gd name="T80" fmla="*/ 56 w 837"/>
                <a:gd name="T81" fmla="*/ 208 h 839"/>
                <a:gd name="T82" fmla="*/ 86 w 837"/>
                <a:gd name="T83" fmla="*/ 163 h 839"/>
                <a:gd name="T84" fmla="*/ 122 w 837"/>
                <a:gd name="T85" fmla="*/ 123 h 839"/>
                <a:gd name="T86" fmla="*/ 162 w 837"/>
                <a:gd name="T87" fmla="*/ 87 h 839"/>
                <a:gd name="T88" fmla="*/ 206 w 837"/>
                <a:gd name="T89" fmla="*/ 57 h 839"/>
                <a:gd name="T90" fmla="*/ 255 w 837"/>
                <a:gd name="T91" fmla="*/ 32 h 839"/>
                <a:gd name="T92" fmla="*/ 307 w 837"/>
                <a:gd name="T93" fmla="*/ 15 h 839"/>
                <a:gd name="T94" fmla="*/ 362 w 837"/>
                <a:gd name="T95" fmla="*/ 3 h 839"/>
                <a:gd name="T96" fmla="*/ 418 w 837"/>
                <a:gd name="T97" fmla="*/ 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37" h="839">
                  <a:moveTo>
                    <a:pt x="418" y="0"/>
                  </a:moveTo>
                  <a:lnTo>
                    <a:pt x="475" y="3"/>
                  </a:lnTo>
                  <a:lnTo>
                    <a:pt x="529" y="15"/>
                  </a:lnTo>
                  <a:lnTo>
                    <a:pt x="581" y="32"/>
                  </a:lnTo>
                  <a:lnTo>
                    <a:pt x="629" y="57"/>
                  </a:lnTo>
                  <a:lnTo>
                    <a:pt x="674" y="87"/>
                  </a:lnTo>
                  <a:lnTo>
                    <a:pt x="714" y="123"/>
                  </a:lnTo>
                  <a:lnTo>
                    <a:pt x="749" y="163"/>
                  </a:lnTo>
                  <a:lnTo>
                    <a:pt x="779" y="208"/>
                  </a:lnTo>
                  <a:lnTo>
                    <a:pt x="803" y="256"/>
                  </a:lnTo>
                  <a:lnTo>
                    <a:pt x="821" y="307"/>
                  </a:lnTo>
                  <a:lnTo>
                    <a:pt x="833" y="362"/>
                  </a:lnTo>
                  <a:lnTo>
                    <a:pt x="837" y="420"/>
                  </a:lnTo>
                  <a:lnTo>
                    <a:pt x="833" y="476"/>
                  </a:lnTo>
                  <a:lnTo>
                    <a:pt x="821" y="531"/>
                  </a:lnTo>
                  <a:lnTo>
                    <a:pt x="803" y="582"/>
                  </a:lnTo>
                  <a:lnTo>
                    <a:pt x="779" y="631"/>
                  </a:lnTo>
                  <a:lnTo>
                    <a:pt x="749" y="675"/>
                  </a:lnTo>
                  <a:lnTo>
                    <a:pt x="714" y="716"/>
                  </a:lnTo>
                  <a:lnTo>
                    <a:pt x="674" y="751"/>
                  </a:lnTo>
                  <a:lnTo>
                    <a:pt x="629" y="781"/>
                  </a:lnTo>
                  <a:lnTo>
                    <a:pt x="581" y="806"/>
                  </a:lnTo>
                  <a:lnTo>
                    <a:pt x="529" y="824"/>
                  </a:lnTo>
                  <a:lnTo>
                    <a:pt x="475" y="835"/>
                  </a:lnTo>
                  <a:lnTo>
                    <a:pt x="418" y="839"/>
                  </a:lnTo>
                  <a:lnTo>
                    <a:pt x="362" y="835"/>
                  </a:lnTo>
                  <a:lnTo>
                    <a:pt x="307" y="824"/>
                  </a:lnTo>
                  <a:lnTo>
                    <a:pt x="255" y="806"/>
                  </a:lnTo>
                  <a:lnTo>
                    <a:pt x="206" y="781"/>
                  </a:lnTo>
                  <a:lnTo>
                    <a:pt x="162" y="751"/>
                  </a:lnTo>
                  <a:lnTo>
                    <a:pt x="122" y="716"/>
                  </a:lnTo>
                  <a:lnTo>
                    <a:pt x="86" y="675"/>
                  </a:lnTo>
                  <a:lnTo>
                    <a:pt x="56" y="631"/>
                  </a:lnTo>
                  <a:lnTo>
                    <a:pt x="33" y="582"/>
                  </a:lnTo>
                  <a:lnTo>
                    <a:pt x="15" y="531"/>
                  </a:lnTo>
                  <a:lnTo>
                    <a:pt x="4" y="476"/>
                  </a:lnTo>
                  <a:lnTo>
                    <a:pt x="0" y="420"/>
                  </a:lnTo>
                  <a:lnTo>
                    <a:pt x="4" y="362"/>
                  </a:lnTo>
                  <a:lnTo>
                    <a:pt x="15" y="307"/>
                  </a:lnTo>
                  <a:lnTo>
                    <a:pt x="33" y="256"/>
                  </a:lnTo>
                  <a:lnTo>
                    <a:pt x="56" y="208"/>
                  </a:lnTo>
                  <a:lnTo>
                    <a:pt x="86" y="163"/>
                  </a:lnTo>
                  <a:lnTo>
                    <a:pt x="122" y="123"/>
                  </a:lnTo>
                  <a:lnTo>
                    <a:pt x="162" y="87"/>
                  </a:lnTo>
                  <a:lnTo>
                    <a:pt x="206" y="57"/>
                  </a:lnTo>
                  <a:lnTo>
                    <a:pt x="255" y="32"/>
                  </a:lnTo>
                  <a:lnTo>
                    <a:pt x="307" y="15"/>
                  </a:lnTo>
                  <a:lnTo>
                    <a:pt x="362" y="3"/>
                  </a:lnTo>
                  <a:lnTo>
                    <a:pt x="4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8" name="Freeform 29"/>
            <p:cNvSpPr>
              <a:spLocks/>
            </p:cNvSpPr>
            <p:nvPr/>
          </p:nvSpPr>
          <p:spPr bwMode="auto">
            <a:xfrm>
              <a:off x="6274" y="2565"/>
              <a:ext cx="209" cy="209"/>
            </a:xfrm>
            <a:custGeom>
              <a:avLst/>
              <a:gdLst>
                <a:gd name="T0" fmla="*/ 418 w 837"/>
                <a:gd name="T1" fmla="*/ 0 h 839"/>
                <a:gd name="T2" fmla="*/ 475 w 837"/>
                <a:gd name="T3" fmla="*/ 3 h 839"/>
                <a:gd name="T4" fmla="*/ 529 w 837"/>
                <a:gd name="T5" fmla="*/ 15 h 839"/>
                <a:gd name="T6" fmla="*/ 581 w 837"/>
                <a:gd name="T7" fmla="*/ 32 h 839"/>
                <a:gd name="T8" fmla="*/ 629 w 837"/>
                <a:gd name="T9" fmla="*/ 57 h 839"/>
                <a:gd name="T10" fmla="*/ 674 w 837"/>
                <a:gd name="T11" fmla="*/ 87 h 839"/>
                <a:gd name="T12" fmla="*/ 714 w 837"/>
                <a:gd name="T13" fmla="*/ 123 h 839"/>
                <a:gd name="T14" fmla="*/ 749 w 837"/>
                <a:gd name="T15" fmla="*/ 163 h 839"/>
                <a:gd name="T16" fmla="*/ 779 w 837"/>
                <a:gd name="T17" fmla="*/ 208 h 839"/>
                <a:gd name="T18" fmla="*/ 803 w 837"/>
                <a:gd name="T19" fmla="*/ 256 h 839"/>
                <a:gd name="T20" fmla="*/ 821 w 837"/>
                <a:gd name="T21" fmla="*/ 307 h 839"/>
                <a:gd name="T22" fmla="*/ 833 w 837"/>
                <a:gd name="T23" fmla="*/ 362 h 839"/>
                <a:gd name="T24" fmla="*/ 837 w 837"/>
                <a:gd name="T25" fmla="*/ 420 h 839"/>
                <a:gd name="T26" fmla="*/ 833 w 837"/>
                <a:gd name="T27" fmla="*/ 476 h 839"/>
                <a:gd name="T28" fmla="*/ 821 w 837"/>
                <a:gd name="T29" fmla="*/ 531 h 839"/>
                <a:gd name="T30" fmla="*/ 803 w 837"/>
                <a:gd name="T31" fmla="*/ 582 h 839"/>
                <a:gd name="T32" fmla="*/ 779 w 837"/>
                <a:gd name="T33" fmla="*/ 631 h 839"/>
                <a:gd name="T34" fmla="*/ 749 w 837"/>
                <a:gd name="T35" fmla="*/ 675 h 839"/>
                <a:gd name="T36" fmla="*/ 714 w 837"/>
                <a:gd name="T37" fmla="*/ 716 h 839"/>
                <a:gd name="T38" fmla="*/ 674 w 837"/>
                <a:gd name="T39" fmla="*/ 751 h 839"/>
                <a:gd name="T40" fmla="*/ 629 w 837"/>
                <a:gd name="T41" fmla="*/ 781 h 839"/>
                <a:gd name="T42" fmla="*/ 581 w 837"/>
                <a:gd name="T43" fmla="*/ 806 h 839"/>
                <a:gd name="T44" fmla="*/ 529 w 837"/>
                <a:gd name="T45" fmla="*/ 824 h 839"/>
                <a:gd name="T46" fmla="*/ 475 w 837"/>
                <a:gd name="T47" fmla="*/ 835 h 839"/>
                <a:gd name="T48" fmla="*/ 418 w 837"/>
                <a:gd name="T49" fmla="*/ 839 h 839"/>
                <a:gd name="T50" fmla="*/ 362 w 837"/>
                <a:gd name="T51" fmla="*/ 835 h 839"/>
                <a:gd name="T52" fmla="*/ 307 w 837"/>
                <a:gd name="T53" fmla="*/ 824 h 839"/>
                <a:gd name="T54" fmla="*/ 255 w 837"/>
                <a:gd name="T55" fmla="*/ 806 h 839"/>
                <a:gd name="T56" fmla="*/ 206 w 837"/>
                <a:gd name="T57" fmla="*/ 781 h 839"/>
                <a:gd name="T58" fmla="*/ 162 w 837"/>
                <a:gd name="T59" fmla="*/ 751 h 839"/>
                <a:gd name="T60" fmla="*/ 121 w 837"/>
                <a:gd name="T61" fmla="*/ 716 h 839"/>
                <a:gd name="T62" fmla="*/ 86 w 837"/>
                <a:gd name="T63" fmla="*/ 675 h 839"/>
                <a:gd name="T64" fmla="*/ 56 w 837"/>
                <a:gd name="T65" fmla="*/ 631 h 839"/>
                <a:gd name="T66" fmla="*/ 33 w 837"/>
                <a:gd name="T67" fmla="*/ 582 h 839"/>
                <a:gd name="T68" fmla="*/ 14 w 837"/>
                <a:gd name="T69" fmla="*/ 531 h 839"/>
                <a:gd name="T70" fmla="*/ 3 w 837"/>
                <a:gd name="T71" fmla="*/ 476 h 839"/>
                <a:gd name="T72" fmla="*/ 0 w 837"/>
                <a:gd name="T73" fmla="*/ 420 h 839"/>
                <a:gd name="T74" fmla="*/ 3 w 837"/>
                <a:gd name="T75" fmla="*/ 362 h 839"/>
                <a:gd name="T76" fmla="*/ 14 w 837"/>
                <a:gd name="T77" fmla="*/ 307 h 839"/>
                <a:gd name="T78" fmla="*/ 33 w 837"/>
                <a:gd name="T79" fmla="*/ 256 h 839"/>
                <a:gd name="T80" fmla="*/ 56 w 837"/>
                <a:gd name="T81" fmla="*/ 208 h 839"/>
                <a:gd name="T82" fmla="*/ 86 w 837"/>
                <a:gd name="T83" fmla="*/ 163 h 839"/>
                <a:gd name="T84" fmla="*/ 121 w 837"/>
                <a:gd name="T85" fmla="*/ 123 h 839"/>
                <a:gd name="T86" fmla="*/ 162 w 837"/>
                <a:gd name="T87" fmla="*/ 87 h 839"/>
                <a:gd name="T88" fmla="*/ 206 w 837"/>
                <a:gd name="T89" fmla="*/ 57 h 839"/>
                <a:gd name="T90" fmla="*/ 255 w 837"/>
                <a:gd name="T91" fmla="*/ 32 h 839"/>
                <a:gd name="T92" fmla="*/ 307 w 837"/>
                <a:gd name="T93" fmla="*/ 15 h 839"/>
                <a:gd name="T94" fmla="*/ 362 w 837"/>
                <a:gd name="T95" fmla="*/ 3 h 839"/>
                <a:gd name="T96" fmla="*/ 418 w 837"/>
                <a:gd name="T97" fmla="*/ 0 h 8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837" h="839">
                  <a:moveTo>
                    <a:pt x="418" y="0"/>
                  </a:moveTo>
                  <a:lnTo>
                    <a:pt x="475" y="3"/>
                  </a:lnTo>
                  <a:lnTo>
                    <a:pt x="529" y="15"/>
                  </a:lnTo>
                  <a:lnTo>
                    <a:pt x="581" y="32"/>
                  </a:lnTo>
                  <a:lnTo>
                    <a:pt x="629" y="57"/>
                  </a:lnTo>
                  <a:lnTo>
                    <a:pt x="674" y="87"/>
                  </a:lnTo>
                  <a:lnTo>
                    <a:pt x="714" y="123"/>
                  </a:lnTo>
                  <a:lnTo>
                    <a:pt x="749" y="163"/>
                  </a:lnTo>
                  <a:lnTo>
                    <a:pt x="779" y="208"/>
                  </a:lnTo>
                  <a:lnTo>
                    <a:pt x="803" y="256"/>
                  </a:lnTo>
                  <a:lnTo>
                    <a:pt x="821" y="307"/>
                  </a:lnTo>
                  <a:lnTo>
                    <a:pt x="833" y="362"/>
                  </a:lnTo>
                  <a:lnTo>
                    <a:pt x="837" y="420"/>
                  </a:lnTo>
                  <a:lnTo>
                    <a:pt x="833" y="476"/>
                  </a:lnTo>
                  <a:lnTo>
                    <a:pt x="821" y="531"/>
                  </a:lnTo>
                  <a:lnTo>
                    <a:pt x="803" y="582"/>
                  </a:lnTo>
                  <a:lnTo>
                    <a:pt x="779" y="631"/>
                  </a:lnTo>
                  <a:lnTo>
                    <a:pt x="749" y="675"/>
                  </a:lnTo>
                  <a:lnTo>
                    <a:pt x="714" y="716"/>
                  </a:lnTo>
                  <a:lnTo>
                    <a:pt x="674" y="751"/>
                  </a:lnTo>
                  <a:lnTo>
                    <a:pt x="629" y="781"/>
                  </a:lnTo>
                  <a:lnTo>
                    <a:pt x="581" y="806"/>
                  </a:lnTo>
                  <a:lnTo>
                    <a:pt x="529" y="824"/>
                  </a:lnTo>
                  <a:lnTo>
                    <a:pt x="475" y="835"/>
                  </a:lnTo>
                  <a:lnTo>
                    <a:pt x="418" y="839"/>
                  </a:lnTo>
                  <a:lnTo>
                    <a:pt x="362" y="835"/>
                  </a:lnTo>
                  <a:lnTo>
                    <a:pt x="307" y="824"/>
                  </a:lnTo>
                  <a:lnTo>
                    <a:pt x="255" y="806"/>
                  </a:lnTo>
                  <a:lnTo>
                    <a:pt x="206" y="781"/>
                  </a:lnTo>
                  <a:lnTo>
                    <a:pt x="162" y="751"/>
                  </a:lnTo>
                  <a:lnTo>
                    <a:pt x="121" y="716"/>
                  </a:lnTo>
                  <a:lnTo>
                    <a:pt x="86" y="675"/>
                  </a:lnTo>
                  <a:lnTo>
                    <a:pt x="56" y="631"/>
                  </a:lnTo>
                  <a:lnTo>
                    <a:pt x="33" y="582"/>
                  </a:lnTo>
                  <a:lnTo>
                    <a:pt x="14" y="531"/>
                  </a:lnTo>
                  <a:lnTo>
                    <a:pt x="3" y="476"/>
                  </a:lnTo>
                  <a:lnTo>
                    <a:pt x="0" y="420"/>
                  </a:lnTo>
                  <a:lnTo>
                    <a:pt x="3" y="362"/>
                  </a:lnTo>
                  <a:lnTo>
                    <a:pt x="14" y="307"/>
                  </a:lnTo>
                  <a:lnTo>
                    <a:pt x="33" y="256"/>
                  </a:lnTo>
                  <a:lnTo>
                    <a:pt x="56" y="208"/>
                  </a:lnTo>
                  <a:lnTo>
                    <a:pt x="86" y="163"/>
                  </a:lnTo>
                  <a:lnTo>
                    <a:pt x="121" y="123"/>
                  </a:lnTo>
                  <a:lnTo>
                    <a:pt x="162" y="87"/>
                  </a:lnTo>
                  <a:lnTo>
                    <a:pt x="206" y="57"/>
                  </a:lnTo>
                  <a:lnTo>
                    <a:pt x="255" y="32"/>
                  </a:lnTo>
                  <a:lnTo>
                    <a:pt x="307" y="15"/>
                  </a:lnTo>
                  <a:lnTo>
                    <a:pt x="362" y="3"/>
                  </a:lnTo>
                  <a:lnTo>
                    <a:pt x="4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9" name="Freeform 30"/>
            <p:cNvSpPr>
              <a:spLocks/>
            </p:cNvSpPr>
            <p:nvPr/>
          </p:nvSpPr>
          <p:spPr bwMode="auto">
            <a:xfrm>
              <a:off x="6269" y="2795"/>
              <a:ext cx="348" cy="845"/>
            </a:xfrm>
            <a:custGeom>
              <a:avLst/>
              <a:gdLst>
                <a:gd name="T0" fmla="*/ 514 w 1395"/>
                <a:gd name="T1" fmla="*/ 0 h 3383"/>
                <a:gd name="T2" fmla="*/ 618 w 1395"/>
                <a:gd name="T3" fmla="*/ 14 h 3383"/>
                <a:gd name="T4" fmla="*/ 710 w 1395"/>
                <a:gd name="T5" fmla="*/ 57 h 3383"/>
                <a:gd name="T6" fmla="*/ 785 w 1395"/>
                <a:gd name="T7" fmla="*/ 124 h 3383"/>
                <a:gd name="T8" fmla="*/ 840 w 1395"/>
                <a:gd name="T9" fmla="*/ 208 h 3383"/>
                <a:gd name="T10" fmla="*/ 870 w 1395"/>
                <a:gd name="T11" fmla="*/ 307 h 3383"/>
                <a:gd name="T12" fmla="*/ 874 w 1395"/>
                <a:gd name="T13" fmla="*/ 428 h 3383"/>
                <a:gd name="T14" fmla="*/ 963 w 1395"/>
                <a:gd name="T15" fmla="*/ 589 h 3383"/>
                <a:gd name="T16" fmla="*/ 1364 w 1395"/>
                <a:gd name="T17" fmla="*/ 863 h 3383"/>
                <a:gd name="T18" fmla="*/ 1319 w 1395"/>
                <a:gd name="T19" fmla="*/ 938 h 3383"/>
                <a:gd name="T20" fmla="*/ 1298 w 1395"/>
                <a:gd name="T21" fmla="*/ 1024 h 3383"/>
                <a:gd name="T22" fmla="*/ 1305 w 1395"/>
                <a:gd name="T23" fmla="*/ 1114 h 3383"/>
                <a:gd name="T24" fmla="*/ 1337 w 1395"/>
                <a:gd name="T25" fmla="*/ 1191 h 3383"/>
                <a:gd name="T26" fmla="*/ 768 w 1395"/>
                <a:gd name="T27" fmla="*/ 891 h 3383"/>
                <a:gd name="T28" fmla="*/ 730 w 1395"/>
                <a:gd name="T29" fmla="*/ 864 h 3383"/>
                <a:gd name="T30" fmla="*/ 678 w 1395"/>
                <a:gd name="T31" fmla="*/ 919 h 3383"/>
                <a:gd name="T32" fmla="*/ 686 w 1395"/>
                <a:gd name="T33" fmla="*/ 925 h 3383"/>
                <a:gd name="T34" fmla="*/ 874 w 1395"/>
                <a:gd name="T35" fmla="*/ 1060 h 3383"/>
                <a:gd name="T36" fmla="*/ 870 w 1395"/>
                <a:gd name="T37" fmla="*/ 3206 h 3383"/>
                <a:gd name="T38" fmla="*/ 844 w 1395"/>
                <a:gd name="T39" fmla="*/ 3275 h 3383"/>
                <a:gd name="T40" fmla="*/ 797 w 1395"/>
                <a:gd name="T41" fmla="*/ 3331 h 3383"/>
                <a:gd name="T42" fmla="*/ 734 w 1395"/>
                <a:gd name="T43" fmla="*/ 3368 h 3383"/>
                <a:gd name="T44" fmla="*/ 659 w 1395"/>
                <a:gd name="T45" fmla="*/ 3383 h 3383"/>
                <a:gd name="T46" fmla="*/ 589 w 1395"/>
                <a:gd name="T47" fmla="*/ 3371 h 3383"/>
                <a:gd name="T48" fmla="*/ 529 w 1395"/>
                <a:gd name="T49" fmla="*/ 3337 h 3383"/>
                <a:gd name="T50" fmla="*/ 562 w 1395"/>
                <a:gd name="T51" fmla="*/ 3257 h 3383"/>
                <a:gd name="T52" fmla="*/ 574 w 1395"/>
                <a:gd name="T53" fmla="*/ 3167 h 3383"/>
                <a:gd name="T54" fmla="*/ 432 w 1395"/>
                <a:gd name="T55" fmla="*/ 1884 h 3383"/>
                <a:gd name="T56" fmla="*/ 428 w 1395"/>
                <a:gd name="T57" fmla="*/ 3206 h 3383"/>
                <a:gd name="T58" fmla="*/ 402 w 1395"/>
                <a:gd name="T59" fmla="*/ 3275 h 3383"/>
                <a:gd name="T60" fmla="*/ 355 w 1395"/>
                <a:gd name="T61" fmla="*/ 3331 h 3383"/>
                <a:gd name="T62" fmla="*/ 291 w 1395"/>
                <a:gd name="T63" fmla="*/ 3368 h 3383"/>
                <a:gd name="T64" fmla="*/ 216 w 1395"/>
                <a:gd name="T65" fmla="*/ 3383 h 3383"/>
                <a:gd name="T66" fmla="*/ 142 w 1395"/>
                <a:gd name="T67" fmla="*/ 3368 h 3383"/>
                <a:gd name="T68" fmla="*/ 78 w 1395"/>
                <a:gd name="T69" fmla="*/ 3331 h 3383"/>
                <a:gd name="T70" fmla="*/ 31 w 1395"/>
                <a:gd name="T71" fmla="*/ 3275 h 3383"/>
                <a:gd name="T72" fmla="*/ 5 w 1395"/>
                <a:gd name="T73" fmla="*/ 3206 h 3383"/>
                <a:gd name="T74" fmla="*/ 2 w 1395"/>
                <a:gd name="T75" fmla="*/ 3161 h 3383"/>
                <a:gd name="T76" fmla="*/ 2 w 1395"/>
                <a:gd name="T77" fmla="*/ 3122 h 3383"/>
                <a:gd name="T78" fmla="*/ 2 w 1395"/>
                <a:gd name="T79" fmla="*/ 3046 h 3383"/>
                <a:gd name="T80" fmla="*/ 1 w 1395"/>
                <a:gd name="T81" fmla="*/ 2937 h 3383"/>
                <a:gd name="T82" fmla="*/ 1 w 1395"/>
                <a:gd name="T83" fmla="*/ 2801 h 3383"/>
                <a:gd name="T84" fmla="*/ 1 w 1395"/>
                <a:gd name="T85" fmla="*/ 2639 h 3383"/>
                <a:gd name="T86" fmla="*/ 1 w 1395"/>
                <a:gd name="T87" fmla="*/ 2456 h 3383"/>
                <a:gd name="T88" fmla="*/ 1 w 1395"/>
                <a:gd name="T89" fmla="*/ 2255 h 3383"/>
                <a:gd name="T90" fmla="*/ 1 w 1395"/>
                <a:gd name="T91" fmla="*/ 2041 h 3383"/>
                <a:gd name="T92" fmla="*/ 1 w 1395"/>
                <a:gd name="T93" fmla="*/ 1816 h 3383"/>
                <a:gd name="T94" fmla="*/ 1 w 1395"/>
                <a:gd name="T95" fmla="*/ 1584 h 3383"/>
                <a:gd name="T96" fmla="*/ 1 w 1395"/>
                <a:gd name="T97" fmla="*/ 1350 h 3383"/>
                <a:gd name="T98" fmla="*/ 0 w 1395"/>
                <a:gd name="T99" fmla="*/ 1116 h 3383"/>
                <a:gd name="T100" fmla="*/ 0 w 1395"/>
                <a:gd name="T101" fmla="*/ 887 h 3383"/>
                <a:gd name="T102" fmla="*/ 0 w 1395"/>
                <a:gd name="T103" fmla="*/ 667 h 3383"/>
                <a:gd name="T104" fmla="*/ 0 w 1395"/>
                <a:gd name="T105" fmla="*/ 459 h 3383"/>
                <a:gd name="T106" fmla="*/ 3 w 1395"/>
                <a:gd name="T107" fmla="*/ 307 h 3383"/>
                <a:gd name="T108" fmla="*/ 33 w 1395"/>
                <a:gd name="T109" fmla="*/ 208 h 3383"/>
                <a:gd name="T110" fmla="*/ 88 w 1395"/>
                <a:gd name="T111" fmla="*/ 124 h 3383"/>
                <a:gd name="T112" fmla="*/ 164 w 1395"/>
                <a:gd name="T113" fmla="*/ 57 h 3383"/>
                <a:gd name="T114" fmla="*/ 257 w 1395"/>
                <a:gd name="T115" fmla="*/ 14 h 3383"/>
                <a:gd name="T116" fmla="*/ 360 w 1395"/>
                <a:gd name="T117" fmla="*/ 0 h 3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395" h="3383">
                  <a:moveTo>
                    <a:pt x="360" y="0"/>
                  </a:moveTo>
                  <a:lnTo>
                    <a:pt x="514" y="0"/>
                  </a:lnTo>
                  <a:lnTo>
                    <a:pt x="567" y="4"/>
                  </a:lnTo>
                  <a:lnTo>
                    <a:pt x="618" y="14"/>
                  </a:lnTo>
                  <a:lnTo>
                    <a:pt x="665" y="33"/>
                  </a:lnTo>
                  <a:lnTo>
                    <a:pt x="710" y="57"/>
                  </a:lnTo>
                  <a:lnTo>
                    <a:pt x="750" y="88"/>
                  </a:lnTo>
                  <a:lnTo>
                    <a:pt x="785" y="124"/>
                  </a:lnTo>
                  <a:lnTo>
                    <a:pt x="817" y="163"/>
                  </a:lnTo>
                  <a:lnTo>
                    <a:pt x="840" y="208"/>
                  </a:lnTo>
                  <a:lnTo>
                    <a:pt x="858" y="256"/>
                  </a:lnTo>
                  <a:lnTo>
                    <a:pt x="870" y="307"/>
                  </a:lnTo>
                  <a:lnTo>
                    <a:pt x="874" y="361"/>
                  </a:lnTo>
                  <a:lnTo>
                    <a:pt x="874" y="428"/>
                  </a:lnTo>
                  <a:lnTo>
                    <a:pt x="485" y="127"/>
                  </a:lnTo>
                  <a:lnTo>
                    <a:pt x="963" y="589"/>
                  </a:lnTo>
                  <a:lnTo>
                    <a:pt x="1395" y="831"/>
                  </a:lnTo>
                  <a:lnTo>
                    <a:pt x="1364" y="863"/>
                  </a:lnTo>
                  <a:lnTo>
                    <a:pt x="1339" y="899"/>
                  </a:lnTo>
                  <a:lnTo>
                    <a:pt x="1319" y="938"/>
                  </a:lnTo>
                  <a:lnTo>
                    <a:pt x="1305" y="980"/>
                  </a:lnTo>
                  <a:lnTo>
                    <a:pt x="1298" y="1024"/>
                  </a:lnTo>
                  <a:lnTo>
                    <a:pt x="1298" y="1068"/>
                  </a:lnTo>
                  <a:lnTo>
                    <a:pt x="1305" y="1114"/>
                  </a:lnTo>
                  <a:lnTo>
                    <a:pt x="1320" y="1158"/>
                  </a:lnTo>
                  <a:lnTo>
                    <a:pt x="1337" y="1191"/>
                  </a:lnTo>
                  <a:lnTo>
                    <a:pt x="1358" y="1221"/>
                  </a:lnTo>
                  <a:lnTo>
                    <a:pt x="768" y="891"/>
                  </a:lnTo>
                  <a:lnTo>
                    <a:pt x="749" y="878"/>
                  </a:lnTo>
                  <a:lnTo>
                    <a:pt x="730" y="864"/>
                  </a:lnTo>
                  <a:lnTo>
                    <a:pt x="237" y="386"/>
                  </a:lnTo>
                  <a:lnTo>
                    <a:pt x="678" y="919"/>
                  </a:lnTo>
                  <a:lnTo>
                    <a:pt x="682" y="921"/>
                  </a:lnTo>
                  <a:lnTo>
                    <a:pt x="686" y="925"/>
                  </a:lnTo>
                  <a:lnTo>
                    <a:pt x="732" y="958"/>
                  </a:lnTo>
                  <a:lnTo>
                    <a:pt x="874" y="1060"/>
                  </a:lnTo>
                  <a:lnTo>
                    <a:pt x="874" y="3167"/>
                  </a:lnTo>
                  <a:lnTo>
                    <a:pt x="870" y="3206"/>
                  </a:lnTo>
                  <a:lnTo>
                    <a:pt x="861" y="3242"/>
                  </a:lnTo>
                  <a:lnTo>
                    <a:pt x="844" y="3275"/>
                  </a:lnTo>
                  <a:lnTo>
                    <a:pt x="823" y="3305"/>
                  </a:lnTo>
                  <a:lnTo>
                    <a:pt x="797" y="3331"/>
                  </a:lnTo>
                  <a:lnTo>
                    <a:pt x="767" y="3352"/>
                  </a:lnTo>
                  <a:lnTo>
                    <a:pt x="734" y="3368"/>
                  </a:lnTo>
                  <a:lnTo>
                    <a:pt x="698" y="3379"/>
                  </a:lnTo>
                  <a:lnTo>
                    <a:pt x="659" y="3383"/>
                  </a:lnTo>
                  <a:lnTo>
                    <a:pt x="623" y="3379"/>
                  </a:lnTo>
                  <a:lnTo>
                    <a:pt x="589" y="3371"/>
                  </a:lnTo>
                  <a:lnTo>
                    <a:pt x="558" y="3356"/>
                  </a:lnTo>
                  <a:lnTo>
                    <a:pt x="529" y="3337"/>
                  </a:lnTo>
                  <a:lnTo>
                    <a:pt x="548" y="3297"/>
                  </a:lnTo>
                  <a:lnTo>
                    <a:pt x="562" y="3257"/>
                  </a:lnTo>
                  <a:lnTo>
                    <a:pt x="571" y="3212"/>
                  </a:lnTo>
                  <a:lnTo>
                    <a:pt x="574" y="3167"/>
                  </a:lnTo>
                  <a:lnTo>
                    <a:pt x="574" y="1884"/>
                  </a:lnTo>
                  <a:lnTo>
                    <a:pt x="432" y="1884"/>
                  </a:lnTo>
                  <a:lnTo>
                    <a:pt x="432" y="3167"/>
                  </a:lnTo>
                  <a:lnTo>
                    <a:pt x="428" y="3206"/>
                  </a:lnTo>
                  <a:lnTo>
                    <a:pt x="417" y="3242"/>
                  </a:lnTo>
                  <a:lnTo>
                    <a:pt x="402" y="3275"/>
                  </a:lnTo>
                  <a:lnTo>
                    <a:pt x="381" y="3305"/>
                  </a:lnTo>
                  <a:lnTo>
                    <a:pt x="355" y="3331"/>
                  </a:lnTo>
                  <a:lnTo>
                    <a:pt x="325" y="3352"/>
                  </a:lnTo>
                  <a:lnTo>
                    <a:pt x="291" y="3368"/>
                  </a:lnTo>
                  <a:lnTo>
                    <a:pt x="255" y="3379"/>
                  </a:lnTo>
                  <a:lnTo>
                    <a:pt x="216" y="3383"/>
                  </a:lnTo>
                  <a:lnTo>
                    <a:pt x="178" y="3379"/>
                  </a:lnTo>
                  <a:lnTo>
                    <a:pt x="142" y="3368"/>
                  </a:lnTo>
                  <a:lnTo>
                    <a:pt x="108" y="3352"/>
                  </a:lnTo>
                  <a:lnTo>
                    <a:pt x="78" y="3331"/>
                  </a:lnTo>
                  <a:lnTo>
                    <a:pt x="52" y="3305"/>
                  </a:lnTo>
                  <a:lnTo>
                    <a:pt x="31" y="3275"/>
                  </a:lnTo>
                  <a:lnTo>
                    <a:pt x="15" y="3242"/>
                  </a:lnTo>
                  <a:lnTo>
                    <a:pt x="5" y="3206"/>
                  </a:lnTo>
                  <a:lnTo>
                    <a:pt x="2" y="3167"/>
                  </a:lnTo>
                  <a:lnTo>
                    <a:pt x="2" y="3161"/>
                  </a:lnTo>
                  <a:lnTo>
                    <a:pt x="2" y="3147"/>
                  </a:lnTo>
                  <a:lnTo>
                    <a:pt x="2" y="3122"/>
                  </a:lnTo>
                  <a:lnTo>
                    <a:pt x="2" y="3088"/>
                  </a:lnTo>
                  <a:lnTo>
                    <a:pt x="2" y="3046"/>
                  </a:lnTo>
                  <a:lnTo>
                    <a:pt x="1" y="2996"/>
                  </a:lnTo>
                  <a:lnTo>
                    <a:pt x="1" y="2937"/>
                  </a:lnTo>
                  <a:lnTo>
                    <a:pt x="1" y="2873"/>
                  </a:lnTo>
                  <a:lnTo>
                    <a:pt x="1" y="2801"/>
                  </a:lnTo>
                  <a:lnTo>
                    <a:pt x="1" y="2723"/>
                  </a:lnTo>
                  <a:lnTo>
                    <a:pt x="1" y="2639"/>
                  </a:lnTo>
                  <a:lnTo>
                    <a:pt x="1" y="2550"/>
                  </a:lnTo>
                  <a:lnTo>
                    <a:pt x="1" y="2456"/>
                  </a:lnTo>
                  <a:lnTo>
                    <a:pt x="1" y="2358"/>
                  </a:lnTo>
                  <a:lnTo>
                    <a:pt x="1" y="2255"/>
                  </a:lnTo>
                  <a:lnTo>
                    <a:pt x="1" y="2149"/>
                  </a:lnTo>
                  <a:lnTo>
                    <a:pt x="1" y="2041"/>
                  </a:lnTo>
                  <a:lnTo>
                    <a:pt x="1" y="1928"/>
                  </a:lnTo>
                  <a:lnTo>
                    <a:pt x="1" y="1816"/>
                  </a:lnTo>
                  <a:lnTo>
                    <a:pt x="1" y="1700"/>
                  </a:lnTo>
                  <a:lnTo>
                    <a:pt x="1" y="1584"/>
                  </a:lnTo>
                  <a:lnTo>
                    <a:pt x="1" y="1467"/>
                  </a:lnTo>
                  <a:lnTo>
                    <a:pt x="1" y="1350"/>
                  </a:lnTo>
                  <a:lnTo>
                    <a:pt x="1" y="1232"/>
                  </a:lnTo>
                  <a:lnTo>
                    <a:pt x="0" y="1116"/>
                  </a:lnTo>
                  <a:lnTo>
                    <a:pt x="0" y="1001"/>
                  </a:lnTo>
                  <a:lnTo>
                    <a:pt x="0" y="887"/>
                  </a:lnTo>
                  <a:lnTo>
                    <a:pt x="0" y="776"/>
                  </a:lnTo>
                  <a:lnTo>
                    <a:pt x="0" y="667"/>
                  </a:lnTo>
                  <a:lnTo>
                    <a:pt x="0" y="561"/>
                  </a:lnTo>
                  <a:lnTo>
                    <a:pt x="0" y="459"/>
                  </a:lnTo>
                  <a:lnTo>
                    <a:pt x="0" y="361"/>
                  </a:lnTo>
                  <a:lnTo>
                    <a:pt x="3" y="307"/>
                  </a:lnTo>
                  <a:lnTo>
                    <a:pt x="15" y="256"/>
                  </a:lnTo>
                  <a:lnTo>
                    <a:pt x="33" y="208"/>
                  </a:lnTo>
                  <a:lnTo>
                    <a:pt x="58" y="163"/>
                  </a:lnTo>
                  <a:lnTo>
                    <a:pt x="88" y="124"/>
                  </a:lnTo>
                  <a:lnTo>
                    <a:pt x="124" y="88"/>
                  </a:lnTo>
                  <a:lnTo>
                    <a:pt x="164" y="57"/>
                  </a:lnTo>
                  <a:lnTo>
                    <a:pt x="208" y="33"/>
                  </a:lnTo>
                  <a:lnTo>
                    <a:pt x="257" y="14"/>
                  </a:lnTo>
                  <a:lnTo>
                    <a:pt x="308" y="4"/>
                  </a:lnTo>
                  <a:lnTo>
                    <a:pt x="36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0" name="Group 12"/>
          <p:cNvGrpSpPr>
            <a:grpSpLocks noChangeAspect="1"/>
          </p:cNvGrpSpPr>
          <p:nvPr/>
        </p:nvGrpSpPr>
        <p:grpSpPr bwMode="auto">
          <a:xfrm>
            <a:off x="7689307" y="3564241"/>
            <a:ext cx="411970" cy="487883"/>
            <a:chOff x="6406" y="1166"/>
            <a:chExt cx="890" cy="1054"/>
          </a:xfrm>
          <a:solidFill>
            <a:schemeClr val="bg1"/>
          </a:solidFill>
        </p:grpSpPr>
        <p:sp>
          <p:nvSpPr>
            <p:cNvPr id="91" name="Freeform 14"/>
            <p:cNvSpPr>
              <a:spLocks/>
            </p:cNvSpPr>
            <p:nvPr/>
          </p:nvSpPr>
          <p:spPr bwMode="auto">
            <a:xfrm>
              <a:off x="6616" y="1166"/>
              <a:ext cx="470" cy="625"/>
            </a:xfrm>
            <a:custGeom>
              <a:avLst/>
              <a:gdLst>
                <a:gd name="T0" fmla="*/ 1066 w 1882"/>
                <a:gd name="T1" fmla="*/ 7 h 2504"/>
                <a:gd name="T2" fmla="*/ 1216 w 1882"/>
                <a:gd name="T3" fmla="*/ 43 h 2504"/>
                <a:gd name="T4" fmla="*/ 1338 w 1882"/>
                <a:gd name="T5" fmla="*/ 101 h 2504"/>
                <a:gd name="T6" fmla="*/ 1448 w 1882"/>
                <a:gd name="T7" fmla="*/ 176 h 2504"/>
                <a:gd name="T8" fmla="*/ 1518 w 1882"/>
                <a:gd name="T9" fmla="*/ 247 h 2504"/>
                <a:gd name="T10" fmla="*/ 1553 w 1882"/>
                <a:gd name="T11" fmla="*/ 294 h 2504"/>
                <a:gd name="T12" fmla="*/ 1561 w 1882"/>
                <a:gd name="T13" fmla="*/ 306 h 2504"/>
                <a:gd name="T14" fmla="*/ 1580 w 1882"/>
                <a:gd name="T15" fmla="*/ 310 h 2504"/>
                <a:gd name="T16" fmla="*/ 1618 w 1882"/>
                <a:gd name="T17" fmla="*/ 323 h 2504"/>
                <a:gd name="T18" fmla="*/ 1667 w 1882"/>
                <a:gd name="T19" fmla="*/ 351 h 2504"/>
                <a:gd name="T20" fmla="*/ 1719 w 1882"/>
                <a:gd name="T21" fmla="*/ 401 h 2504"/>
                <a:gd name="T22" fmla="*/ 1767 w 1882"/>
                <a:gd name="T23" fmla="*/ 477 h 2504"/>
                <a:gd name="T24" fmla="*/ 1806 w 1882"/>
                <a:gd name="T25" fmla="*/ 584 h 2504"/>
                <a:gd name="T26" fmla="*/ 1826 w 1882"/>
                <a:gd name="T27" fmla="*/ 732 h 2504"/>
                <a:gd name="T28" fmla="*/ 1821 w 1882"/>
                <a:gd name="T29" fmla="*/ 922 h 2504"/>
                <a:gd name="T30" fmla="*/ 1789 w 1882"/>
                <a:gd name="T31" fmla="*/ 1134 h 2504"/>
                <a:gd name="T32" fmla="*/ 1798 w 1882"/>
                <a:gd name="T33" fmla="*/ 1194 h 2504"/>
                <a:gd name="T34" fmla="*/ 1838 w 1882"/>
                <a:gd name="T35" fmla="*/ 1207 h 2504"/>
                <a:gd name="T36" fmla="*/ 1868 w 1882"/>
                <a:gd name="T37" fmla="*/ 1244 h 2504"/>
                <a:gd name="T38" fmla="*/ 1882 w 1882"/>
                <a:gd name="T39" fmla="*/ 1314 h 2504"/>
                <a:gd name="T40" fmla="*/ 1873 w 1882"/>
                <a:gd name="T41" fmla="*/ 1420 h 2504"/>
                <a:gd name="T42" fmla="*/ 1832 w 1882"/>
                <a:gd name="T43" fmla="*/ 1575 h 2504"/>
                <a:gd name="T44" fmla="*/ 1780 w 1882"/>
                <a:gd name="T45" fmla="*/ 1703 h 2504"/>
                <a:gd name="T46" fmla="*/ 1734 w 1882"/>
                <a:gd name="T47" fmla="*/ 1769 h 2504"/>
                <a:gd name="T48" fmla="*/ 1693 w 1882"/>
                <a:gd name="T49" fmla="*/ 1790 h 2504"/>
                <a:gd name="T50" fmla="*/ 1645 w 1882"/>
                <a:gd name="T51" fmla="*/ 1955 h 2504"/>
                <a:gd name="T52" fmla="*/ 1558 w 1882"/>
                <a:gd name="T53" fmla="*/ 2125 h 2504"/>
                <a:gd name="T54" fmla="*/ 1431 w 1882"/>
                <a:gd name="T55" fmla="*/ 2281 h 2504"/>
                <a:gd name="T56" fmla="*/ 1269 w 1882"/>
                <a:gd name="T57" fmla="*/ 2409 h 2504"/>
                <a:gd name="T58" fmla="*/ 1076 w 1882"/>
                <a:gd name="T59" fmla="*/ 2488 h 2504"/>
                <a:gd name="T60" fmla="*/ 872 w 1882"/>
                <a:gd name="T61" fmla="*/ 2500 h 2504"/>
                <a:gd name="T62" fmla="*/ 673 w 1882"/>
                <a:gd name="T63" fmla="*/ 2442 h 2504"/>
                <a:gd name="T64" fmla="*/ 498 w 1882"/>
                <a:gd name="T65" fmla="*/ 2329 h 2504"/>
                <a:gd name="T66" fmla="*/ 361 w 1882"/>
                <a:gd name="T67" fmla="*/ 2181 h 2504"/>
                <a:gd name="T68" fmla="*/ 261 w 1882"/>
                <a:gd name="T69" fmla="*/ 2013 h 2504"/>
                <a:gd name="T70" fmla="*/ 202 w 1882"/>
                <a:gd name="T71" fmla="*/ 1844 h 2504"/>
                <a:gd name="T72" fmla="*/ 164 w 1882"/>
                <a:gd name="T73" fmla="*/ 1780 h 2504"/>
                <a:gd name="T74" fmla="*/ 118 w 1882"/>
                <a:gd name="T75" fmla="*/ 1731 h 2504"/>
                <a:gd name="T76" fmla="*/ 68 w 1882"/>
                <a:gd name="T77" fmla="*/ 1626 h 2504"/>
                <a:gd name="T78" fmla="*/ 19 w 1882"/>
                <a:gd name="T79" fmla="*/ 1466 h 2504"/>
                <a:gd name="T80" fmla="*/ 1 w 1882"/>
                <a:gd name="T81" fmla="*/ 1344 h 2504"/>
                <a:gd name="T82" fmla="*/ 8 w 1882"/>
                <a:gd name="T83" fmla="*/ 1265 h 2504"/>
                <a:gd name="T84" fmla="*/ 33 w 1882"/>
                <a:gd name="T85" fmla="*/ 1217 h 2504"/>
                <a:gd name="T86" fmla="*/ 71 w 1882"/>
                <a:gd name="T87" fmla="*/ 1197 h 2504"/>
                <a:gd name="T88" fmla="*/ 112 w 1882"/>
                <a:gd name="T89" fmla="*/ 1194 h 2504"/>
                <a:gd name="T90" fmla="*/ 69 w 1882"/>
                <a:gd name="T91" fmla="*/ 1011 h 2504"/>
                <a:gd name="T92" fmla="*/ 59 w 1882"/>
                <a:gd name="T93" fmla="*/ 819 h 2504"/>
                <a:gd name="T94" fmla="*/ 98 w 1882"/>
                <a:gd name="T95" fmla="*/ 631 h 2504"/>
                <a:gd name="T96" fmla="*/ 184 w 1882"/>
                <a:gd name="T97" fmla="*/ 454 h 2504"/>
                <a:gd name="T98" fmla="*/ 299 w 1882"/>
                <a:gd name="T99" fmla="*/ 310 h 2504"/>
                <a:gd name="T100" fmla="*/ 450 w 1882"/>
                <a:gd name="T101" fmla="*/ 178 h 2504"/>
                <a:gd name="T102" fmla="*/ 600 w 1882"/>
                <a:gd name="T103" fmla="*/ 83 h 2504"/>
                <a:gd name="T104" fmla="*/ 762 w 1882"/>
                <a:gd name="T105" fmla="*/ 22 h 2504"/>
                <a:gd name="T106" fmla="*/ 948 w 1882"/>
                <a:gd name="T107" fmla="*/ 0 h 2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882" h="2504">
                  <a:moveTo>
                    <a:pt x="948" y="0"/>
                  </a:moveTo>
                  <a:lnTo>
                    <a:pt x="1008" y="2"/>
                  </a:lnTo>
                  <a:lnTo>
                    <a:pt x="1066" y="7"/>
                  </a:lnTo>
                  <a:lnTo>
                    <a:pt x="1119" y="16"/>
                  </a:lnTo>
                  <a:lnTo>
                    <a:pt x="1169" y="29"/>
                  </a:lnTo>
                  <a:lnTo>
                    <a:pt x="1216" y="43"/>
                  </a:lnTo>
                  <a:lnTo>
                    <a:pt x="1260" y="61"/>
                  </a:lnTo>
                  <a:lnTo>
                    <a:pt x="1301" y="80"/>
                  </a:lnTo>
                  <a:lnTo>
                    <a:pt x="1338" y="101"/>
                  </a:lnTo>
                  <a:lnTo>
                    <a:pt x="1379" y="125"/>
                  </a:lnTo>
                  <a:lnTo>
                    <a:pt x="1415" y="151"/>
                  </a:lnTo>
                  <a:lnTo>
                    <a:pt x="1448" y="176"/>
                  </a:lnTo>
                  <a:lnTo>
                    <a:pt x="1475" y="201"/>
                  </a:lnTo>
                  <a:lnTo>
                    <a:pt x="1499" y="225"/>
                  </a:lnTo>
                  <a:lnTo>
                    <a:pt x="1518" y="247"/>
                  </a:lnTo>
                  <a:lnTo>
                    <a:pt x="1534" y="266"/>
                  </a:lnTo>
                  <a:lnTo>
                    <a:pt x="1545" y="283"/>
                  </a:lnTo>
                  <a:lnTo>
                    <a:pt x="1553" y="294"/>
                  </a:lnTo>
                  <a:lnTo>
                    <a:pt x="1558" y="302"/>
                  </a:lnTo>
                  <a:lnTo>
                    <a:pt x="1559" y="306"/>
                  </a:lnTo>
                  <a:lnTo>
                    <a:pt x="1561" y="306"/>
                  </a:lnTo>
                  <a:lnTo>
                    <a:pt x="1564" y="306"/>
                  </a:lnTo>
                  <a:lnTo>
                    <a:pt x="1572" y="307"/>
                  </a:lnTo>
                  <a:lnTo>
                    <a:pt x="1580" y="310"/>
                  </a:lnTo>
                  <a:lnTo>
                    <a:pt x="1591" y="312"/>
                  </a:lnTo>
                  <a:lnTo>
                    <a:pt x="1604" y="316"/>
                  </a:lnTo>
                  <a:lnTo>
                    <a:pt x="1618" y="323"/>
                  </a:lnTo>
                  <a:lnTo>
                    <a:pt x="1634" y="330"/>
                  </a:lnTo>
                  <a:lnTo>
                    <a:pt x="1649" y="339"/>
                  </a:lnTo>
                  <a:lnTo>
                    <a:pt x="1667" y="351"/>
                  </a:lnTo>
                  <a:lnTo>
                    <a:pt x="1684" y="365"/>
                  </a:lnTo>
                  <a:lnTo>
                    <a:pt x="1702" y="382"/>
                  </a:lnTo>
                  <a:lnTo>
                    <a:pt x="1719" y="401"/>
                  </a:lnTo>
                  <a:lnTo>
                    <a:pt x="1735" y="423"/>
                  </a:lnTo>
                  <a:lnTo>
                    <a:pt x="1752" y="448"/>
                  </a:lnTo>
                  <a:lnTo>
                    <a:pt x="1767" y="477"/>
                  </a:lnTo>
                  <a:lnTo>
                    <a:pt x="1782" y="509"/>
                  </a:lnTo>
                  <a:lnTo>
                    <a:pt x="1794" y="545"/>
                  </a:lnTo>
                  <a:lnTo>
                    <a:pt x="1806" y="584"/>
                  </a:lnTo>
                  <a:lnTo>
                    <a:pt x="1815" y="629"/>
                  </a:lnTo>
                  <a:lnTo>
                    <a:pt x="1821" y="678"/>
                  </a:lnTo>
                  <a:lnTo>
                    <a:pt x="1826" y="732"/>
                  </a:lnTo>
                  <a:lnTo>
                    <a:pt x="1828" y="790"/>
                  </a:lnTo>
                  <a:lnTo>
                    <a:pt x="1826" y="853"/>
                  </a:lnTo>
                  <a:lnTo>
                    <a:pt x="1821" y="922"/>
                  </a:lnTo>
                  <a:lnTo>
                    <a:pt x="1814" y="995"/>
                  </a:lnTo>
                  <a:lnTo>
                    <a:pt x="1802" y="1076"/>
                  </a:lnTo>
                  <a:lnTo>
                    <a:pt x="1789" y="1134"/>
                  </a:lnTo>
                  <a:lnTo>
                    <a:pt x="1771" y="1194"/>
                  </a:lnTo>
                  <a:lnTo>
                    <a:pt x="1784" y="1193"/>
                  </a:lnTo>
                  <a:lnTo>
                    <a:pt x="1798" y="1194"/>
                  </a:lnTo>
                  <a:lnTo>
                    <a:pt x="1812" y="1197"/>
                  </a:lnTo>
                  <a:lnTo>
                    <a:pt x="1825" y="1201"/>
                  </a:lnTo>
                  <a:lnTo>
                    <a:pt x="1838" y="1207"/>
                  </a:lnTo>
                  <a:lnTo>
                    <a:pt x="1850" y="1217"/>
                  </a:lnTo>
                  <a:lnTo>
                    <a:pt x="1860" y="1229"/>
                  </a:lnTo>
                  <a:lnTo>
                    <a:pt x="1868" y="1244"/>
                  </a:lnTo>
                  <a:lnTo>
                    <a:pt x="1875" y="1264"/>
                  </a:lnTo>
                  <a:lnTo>
                    <a:pt x="1879" y="1287"/>
                  </a:lnTo>
                  <a:lnTo>
                    <a:pt x="1882" y="1314"/>
                  </a:lnTo>
                  <a:lnTo>
                    <a:pt x="1882" y="1344"/>
                  </a:lnTo>
                  <a:lnTo>
                    <a:pt x="1878" y="1379"/>
                  </a:lnTo>
                  <a:lnTo>
                    <a:pt x="1873" y="1420"/>
                  </a:lnTo>
                  <a:lnTo>
                    <a:pt x="1862" y="1466"/>
                  </a:lnTo>
                  <a:lnTo>
                    <a:pt x="1850" y="1516"/>
                  </a:lnTo>
                  <a:lnTo>
                    <a:pt x="1832" y="1575"/>
                  </a:lnTo>
                  <a:lnTo>
                    <a:pt x="1814" y="1626"/>
                  </a:lnTo>
                  <a:lnTo>
                    <a:pt x="1797" y="1668"/>
                  </a:lnTo>
                  <a:lnTo>
                    <a:pt x="1780" y="1703"/>
                  </a:lnTo>
                  <a:lnTo>
                    <a:pt x="1765" y="1731"/>
                  </a:lnTo>
                  <a:lnTo>
                    <a:pt x="1749" y="1753"/>
                  </a:lnTo>
                  <a:lnTo>
                    <a:pt x="1734" y="1769"/>
                  </a:lnTo>
                  <a:lnTo>
                    <a:pt x="1720" y="1780"/>
                  </a:lnTo>
                  <a:lnTo>
                    <a:pt x="1706" y="1786"/>
                  </a:lnTo>
                  <a:lnTo>
                    <a:pt x="1693" y="1790"/>
                  </a:lnTo>
                  <a:lnTo>
                    <a:pt x="1681" y="1844"/>
                  </a:lnTo>
                  <a:lnTo>
                    <a:pt x="1666" y="1899"/>
                  </a:lnTo>
                  <a:lnTo>
                    <a:pt x="1645" y="1955"/>
                  </a:lnTo>
                  <a:lnTo>
                    <a:pt x="1621" y="2013"/>
                  </a:lnTo>
                  <a:lnTo>
                    <a:pt x="1591" y="2070"/>
                  </a:lnTo>
                  <a:lnTo>
                    <a:pt x="1558" y="2125"/>
                  </a:lnTo>
                  <a:lnTo>
                    <a:pt x="1519" y="2180"/>
                  </a:lnTo>
                  <a:lnTo>
                    <a:pt x="1477" y="2231"/>
                  </a:lnTo>
                  <a:lnTo>
                    <a:pt x="1431" y="2281"/>
                  </a:lnTo>
                  <a:lnTo>
                    <a:pt x="1381" y="2328"/>
                  </a:lnTo>
                  <a:lnTo>
                    <a:pt x="1327" y="2370"/>
                  </a:lnTo>
                  <a:lnTo>
                    <a:pt x="1269" y="2409"/>
                  </a:lnTo>
                  <a:lnTo>
                    <a:pt x="1207" y="2441"/>
                  </a:lnTo>
                  <a:lnTo>
                    <a:pt x="1142" y="2468"/>
                  </a:lnTo>
                  <a:lnTo>
                    <a:pt x="1076" y="2488"/>
                  </a:lnTo>
                  <a:lnTo>
                    <a:pt x="1008" y="2500"/>
                  </a:lnTo>
                  <a:lnTo>
                    <a:pt x="940" y="2504"/>
                  </a:lnTo>
                  <a:lnTo>
                    <a:pt x="872" y="2500"/>
                  </a:lnTo>
                  <a:lnTo>
                    <a:pt x="805" y="2488"/>
                  </a:lnTo>
                  <a:lnTo>
                    <a:pt x="740" y="2469"/>
                  </a:lnTo>
                  <a:lnTo>
                    <a:pt x="673" y="2442"/>
                  </a:lnTo>
                  <a:lnTo>
                    <a:pt x="611" y="2409"/>
                  </a:lnTo>
                  <a:lnTo>
                    <a:pt x="552" y="2371"/>
                  </a:lnTo>
                  <a:lnTo>
                    <a:pt x="498" y="2329"/>
                  </a:lnTo>
                  <a:lnTo>
                    <a:pt x="448" y="2283"/>
                  </a:lnTo>
                  <a:lnTo>
                    <a:pt x="402" y="2233"/>
                  </a:lnTo>
                  <a:lnTo>
                    <a:pt x="361" y="2181"/>
                  </a:lnTo>
                  <a:lnTo>
                    <a:pt x="322" y="2126"/>
                  </a:lnTo>
                  <a:lnTo>
                    <a:pt x="289" y="2071"/>
                  </a:lnTo>
                  <a:lnTo>
                    <a:pt x="261" y="2013"/>
                  </a:lnTo>
                  <a:lnTo>
                    <a:pt x="236" y="1957"/>
                  </a:lnTo>
                  <a:lnTo>
                    <a:pt x="216" y="1900"/>
                  </a:lnTo>
                  <a:lnTo>
                    <a:pt x="202" y="1844"/>
                  </a:lnTo>
                  <a:lnTo>
                    <a:pt x="190" y="1790"/>
                  </a:lnTo>
                  <a:lnTo>
                    <a:pt x="177" y="1786"/>
                  </a:lnTo>
                  <a:lnTo>
                    <a:pt x="164" y="1780"/>
                  </a:lnTo>
                  <a:lnTo>
                    <a:pt x="149" y="1769"/>
                  </a:lnTo>
                  <a:lnTo>
                    <a:pt x="135" y="1753"/>
                  </a:lnTo>
                  <a:lnTo>
                    <a:pt x="118" y="1731"/>
                  </a:lnTo>
                  <a:lnTo>
                    <a:pt x="103" y="1703"/>
                  </a:lnTo>
                  <a:lnTo>
                    <a:pt x="86" y="1668"/>
                  </a:lnTo>
                  <a:lnTo>
                    <a:pt x="68" y="1626"/>
                  </a:lnTo>
                  <a:lnTo>
                    <a:pt x="51" y="1577"/>
                  </a:lnTo>
                  <a:lnTo>
                    <a:pt x="33" y="1518"/>
                  </a:lnTo>
                  <a:lnTo>
                    <a:pt x="19" y="1466"/>
                  </a:lnTo>
                  <a:lnTo>
                    <a:pt x="10" y="1421"/>
                  </a:lnTo>
                  <a:lnTo>
                    <a:pt x="4" y="1380"/>
                  </a:lnTo>
                  <a:lnTo>
                    <a:pt x="1" y="1344"/>
                  </a:lnTo>
                  <a:lnTo>
                    <a:pt x="0" y="1314"/>
                  </a:lnTo>
                  <a:lnTo>
                    <a:pt x="3" y="1288"/>
                  </a:lnTo>
                  <a:lnTo>
                    <a:pt x="8" y="1265"/>
                  </a:lnTo>
                  <a:lnTo>
                    <a:pt x="14" y="1246"/>
                  </a:lnTo>
                  <a:lnTo>
                    <a:pt x="23" y="1230"/>
                  </a:lnTo>
                  <a:lnTo>
                    <a:pt x="33" y="1217"/>
                  </a:lnTo>
                  <a:lnTo>
                    <a:pt x="45" y="1208"/>
                  </a:lnTo>
                  <a:lnTo>
                    <a:pt x="58" y="1202"/>
                  </a:lnTo>
                  <a:lnTo>
                    <a:pt x="71" y="1197"/>
                  </a:lnTo>
                  <a:lnTo>
                    <a:pt x="84" y="1194"/>
                  </a:lnTo>
                  <a:lnTo>
                    <a:pt x="98" y="1194"/>
                  </a:lnTo>
                  <a:lnTo>
                    <a:pt x="112" y="1194"/>
                  </a:lnTo>
                  <a:lnTo>
                    <a:pt x="94" y="1135"/>
                  </a:lnTo>
                  <a:lnTo>
                    <a:pt x="81" y="1076"/>
                  </a:lnTo>
                  <a:lnTo>
                    <a:pt x="69" y="1011"/>
                  </a:lnTo>
                  <a:lnTo>
                    <a:pt x="62" y="945"/>
                  </a:lnTo>
                  <a:lnTo>
                    <a:pt x="58" y="881"/>
                  </a:lnTo>
                  <a:lnTo>
                    <a:pt x="59" y="819"/>
                  </a:lnTo>
                  <a:lnTo>
                    <a:pt x="66" y="758"/>
                  </a:lnTo>
                  <a:lnTo>
                    <a:pt x="78" y="697"/>
                  </a:lnTo>
                  <a:lnTo>
                    <a:pt x="98" y="631"/>
                  </a:lnTo>
                  <a:lnTo>
                    <a:pt x="122" y="568"/>
                  </a:lnTo>
                  <a:lnTo>
                    <a:pt x="150" y="509"/>
                  </a:lnTo>
                  <a:lnTo>
                    <a:pt x="184" y="454"/>
                  </a:lnTo>
                  <a:lnTo>
                    <a:pt x="220" y="402"/>
                  </a:lnTo>
                  <a:lnTo>
                    <a:pt x="259" y="355"/>
                  </a:lnTo>
                  <a:lnTo>
                    <a:pt x="299" y="310"/>
                  </a:lnTo>
                  <a:lnTo>
                    <a:pt x="347" y="262"/>
                  </a:lnTo>
                  <a:lnTo>
                    <a:pt x="397" y="217"/>
                  </a:lnTo>
                  <a:lnTo>
                    <a:pt x="450" y="178"/>
                  </a:lnTo>
                  <a:lnTo>
                    <a:pt x="505" y="140"/>
                  </a:lnTo>
                  <a:lnTo>
                    <a:pt x="551" y="110"/>
                  </a:lnTo>
                  <a:lnTo>
                    <a:pt x="600" y="83"/>
                  </a:lnTo>
                  <a:lnTo>
                    <a:pt x="650" y="58"/>
                  </a:lnTo>
                  <a:lnTo>
                    <a:pt x="704" y="38"/>
                  </a:lnTo>
                  <a:lnTo>
                    <a:pt x="762" y="22"/>
                  </a:lnTo>
                  <a:lnTo>
                    <a:pt x="822" y="9"/>
                  </a:lnTo>
                  <a:lnTo>
                    <a:pt x="885" y="4"/>
                  </a:lnTo>
                  <a:lnTo>
                    <a:pt x="94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2" name="Freeform 15"/>
            <p:cNvSpPr>
              <a:spLocks/>
            </p:cNvSpPr>
            <p:nvPr/>
          </p:nvSpPr>
          <p:spPr bwMode="auto">
            <a:xfrm>
              <a:off x="6406" y="1765"/>
              <a:ext cx="890" cy="455"/>
            </a:xfrm>
            <a:custGeom>
              <a:avLst/>
              <a:gdLst>
                <a:gd name="T0" fmla="*/ 1486 w 3561"/>
                <a:gd name="T1" fmla="*/ 1062 h 1820"/>
                <a:gd name="T2" fmla="*/ 1616 w 3561"/>
                <a:gd name="T3" fmla="*/ 679 h 1820"/>
                <a:gd name="T4" fmla="*/ 1545 w 3561"/>
                <a:gd name="T5" fmla="*/ 518 h 1820"/>
                <a:gd name="T6" fmla="*/ 1543 w 3561"/>
                <a:gd name="T7" fmla="*/ 407 h 1820"/>
                <a:gd name="T8" fmla="*/ 1585 w 3561"/>
                <a:gd name="T9" fmla="*/ 335 h 1820"/>
                <a:gd name="T10" fmla="*/ 1651 w 3561"/>
                <a:gd name="T11" fmla="*/ 297 h 1820"/>
                <a:gd name="T12" fmla="*/ 1720 w 3561"/>
                <a:gd name="T13" fmla="*/ 279 h 1820"/>
                <a:gd name="T14" fmla="*/ 1770 w 3561"/>
                <a:gd name="T15" fmla="*/ 275 h 1820"/>
                <a:gd name="T16" fmla="*/ 1792 w 3561"/>
                <a:gd name="T17" fmla="*/ 275 h 1820"/>
                <a:gd name="T18" fmla="*/ 1842 w 3561"/>
                <a:gd name="T19" fmla="*/ 279 h 1820"/>
                <a:gd name="T20" fmla="*/ 1912 w 3561"/>
                <a:gd name="T21" fmla="*/ 297 h 1820"/>
                <a:gd name="T22" fmla="*/ 1977 w 3561"/>
                <a:gd name="T23" fmla="*/ 335 h 1820"/>
                <a:gd name="T24" fmla="*/ 2019 w 3561"/>
                <a:gd name="T25" fmla="*/ 407 h 1820"/>
                <a:gd name="T26" fmla="*/ 2017 w 3561"/>
                <a:gd name="T27" fmla="*/ 518 h 1820"/>
                <a:gd name="T28" fmla="*/ 1946 w 3561"/>
                <a:gd name="T29" fmla="*/ 679 h 1820"/>
                <a:gd name="T30" fmla="*/ 2076 w 3561"/>
                <a:gd name="T31" fmla="*/ 1062 h 1820"/>
                <a:gd name="T32" fmla="*/ 2416 w 3561"/>
                <a:gd name="T33" fmla="*/ 2 h 1820"/>
                <a:gd name="T34" fmla="*/ 2483 w 3561"/>
                <a:gd name="T35" fmla="*/ 45 h 1820"/>
                <a:gd name="T36" fmla="*/ 2627 w 3561"/>
                <a:gd name="T37" fmla="*/ 130 h 1820"/>
                <a:gd name="T38" fmla="*/ 2832 w 3561"/>
                <a:gd name="T39" fmla="*/ 231 h 1820"/>
                <a:gd name="T40" fmla="*/ 3084 w 3561"/>
                <a:gd name="T41" fmla="*/ 329 h 1820"/>
                <a:gd name="T42" fmla="*/ 3317 w 3561"/>
                <a:gd name="T43" fmla="*/ 405 h 1820"/>
                <a:gd name="T44" fmla="*/ 3452 w 3561"/>
                <a:gd name="T45" fmla="*/ 523 h 1820"/>
                <a:gd name="T46" fmla="*/ 3526 w 3561"/>
                <a:gd name="T47" fmla="*/ 679 h 1820"/>
                <a:gd name="T48" fmla="*/ 3557 w 3561"/>
                <a:gd name="T49" fmla="*/ 846 h 1820"/>
                <a:gd name="T50" fmla="*/ 3561 w 3561"/>
                <a:gd name="T51" fmla="*/ 995 h 1820"/>
                <a:gd name="T52" fmla="*/ 3556 w 3561"/>
                <a:gd name="T53" fmla="*/ 1063 h 1820"/>
                <a:gd name="T54" fmla="*/ 3545 w 3561"/>
                <a:gd name="T55" fmla="*/ 1189 h 1820"/>
                <a:gd name="T56" fmla="*/ 3529 w 3561"/>
                <a:gd name="T57" fmla="*/ 1338 h 1820"/>
                <a:gd name="T58" fmla="*/ 3509 w 3561"/>
                <a:gd name="T59" fmla="*/ 1406 h 1820"/>
                <a:gd name="T60" fmla="*/ 3419 w 3561"/>
                <a:gd name="T61" fmla="*/ 1456 h 1820"/>
                <a:gd name="T62" fmla="*/ 3243 w 3561"/>
                <a:gd name="T63" fmla="*/ 1538 h 1820"/>
                <a:gd name="T64" fmla="*/ 2988 w 3561"/>
                <a:gd name="T65" fmla="*/ 1634 h 1820"/>
                <a:gd name="T66" fmla="*/ 2655 w 3561"/>
                <a:gd name="T67" fmla="*/ 1725 h 1820"/>
                <a:gd name="T68" fmla="*/ 2252 w 3561"/>
                <a:gd name="T69" fmla="*/ 1795 h 1820"/>
                <a:gd name="T70" fmla="*/ 1781 w 3561"/>
                <a:gd name="T71" fmla="*/ 1820 h 1820"/>
                <a:gd name="T72" fmla="*/ 1310 w 3561"/>
                <a:gd name="T73" fmla="*/ 1793 h 1820"/>
                <a:gd name="T74" fmla="*/ 907 w 3561"/>
                <a:gd name="T75" fmla="*/ 1725 h 1820"/>
                <a:gd name="T76" fmla="*/ 574 w 3561"/>
                <a:gd name="T77" fmla="*/ 1634 h 1820"/>
                <a:gd name="T78" fmla="*/ 319 w 3561"/>
                <a:gd name="T79" fmla="*/ 1538 h 1820"/>
                <a:gd name="T80" fmla="*/ 143 w 3561"/>
                <a:gd name="T81" fmla="*/ 1456 h 1820"/>
                <a:gd name="T82" fmla="*/ 53 w 3561"/>
                <a:gd name="T83" fmla="*/ 1406 h 1820"/>
                <a:gd name="T84" fmla="*/ 34 w 3561"/>
                <a:gd name="T85" fmla="*/ 1338 h 1820"/>
                <a:gd name="T86" fmla="*/ 17 w 3561"/>
                <a:gd name="T87" fmla="*/ 1189 h 1820"/>
                <a:gd name="T88" fmla="*/ 7 w 3561"/>
                <a:gd name="T89" fmla="*/ 1063 h 1820"/>
                <a:gd name="T90" fmla="*/ 2 w 3561"/>
                <a:gd name="T91" fmla="*/ 995 h 1820"/>
                <a:gd name="T92" fmla="*/ 4 w 3561"/>
                <a:gd name="T93" fmla="*/ 846 h 1820"/>
                <a:gd name="T94" fmla="*/ 35 w 3561"/>
                <a:gd name="T95" fmla="*/ 679 h 1820"/>
                <a:gd name="T96" fmla="*/ 109 w 3561"/>
                <a:gd name="T97" fmla="*/ 523 h 1820"/>
                <a:gd name="T98" fmla="*/ 244 w 3561"/>
                <a:gd name="T99" fmla="*/ 405 h 1820"/>
                <a:gd name="T100" fmla="*/ 477 w 3561"/>
                <a:gd name="T101" fmla="*/ 329 h 1820"/>
                <a:gd name="T102" fmla="*/ 729 w 3561"/>
                <a:gd name="T103" fmla="*/ 231 h 1820"/>
                <a:gd name="T104" fmla="*/ 934 w 3561"/>
                <a:gd name="T105" fmla="*/ 130 h 1820"/>
                <a:gd name="T106" fmla="*/ 1078 w 3561"/>
                <a:gd name="T107" fmla="*/ 45 h 1820"/>
                <a:gd name="T108" fmla="*/ 1146 w 3561"/>
                <a:gd name="T109" fmla="*/ 2 h 18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561" h="1820">
                  <a:moveTo>
                    <a:pt x="1149" y="0"/>
                  </a:moveTo>
                  <a:lnTo>
                    <a:pt x="1432" y="895"/>
                  </a:lnTo>
                  <a:lnTo>
                    <a:pt x="1486" y="1064"/>
                  </a:lnTo>
                  <a:lnTo>
                    <a:pt x="1486" y="1062"/>
                  </a:lnTo>
                  <a:lnTo>
                    <a:pt x="1533" y="1204"/>
                  </a:lnTo>
                  <a:lnTo>
                    <a:pt x="1683" y="781"/>
                  </a:lnTo>
                  <a:lnTo>
                    <a:pt x="1646" y="728"/>
                  </a:lnTo>
                  <a:lnTo>
                    <a:pt x="1616" y="679"/>
                  </a:lnTo>
                  <a:lnTo>
                    <a:pt x="1590" y="633"/>
                  </a:lnTo>
                  <a:lnTo>
                    <a:pt x="1571" y="592"/>
                  </a:lnTo>
                  <a:lnTo>
                    <a:pt x="1556" y="553"/>
                  </a:lnTo>
                  <a:lnTo>
                    <a:pt x="1545" y="518"/>
                  </a:lnTo>
                  <a:lnTo>
                    <a:pt x="1539" y="485"/>
                  </a:lnTo>
                  <a:lnTo>
                    <a:pt x="1538" y="457"/>
                  </a:lnTo>
                  <a:lnTo>
                    <a:pt x="1538" y="430"/>
                  </a:lnTo>
                  <a:lnTo>
                    <a:pt x="1543" y="407"/>
                  </a:lnTo>
                  <a:lnTo>
                    <a:pt x="1549" y="385"/>
                  </a:lnTo>
                  <a:lnTo>
                    <a:pt x="1560" y="366"/>
                  </a:lnTo>
                  <a:lnTo>
                    <a:pt x="1571" y="351"/>
                  </a:lnTo>
                  <a:lnTo>
                    <a:pt x="1585" y="335"/>
                  </a:lnTo>
                  <a:lnTo>
                    <a:pt x="1601" y="324"/>
                  </a:lnTo>
                  <a:lnTo>
                    <a:pt x="1616" y="312"/>
                  </a:lnTo>
                  <a:lnTo>
                    <a:pt x="1634" y="303"/>
                  </a:lnTo>
                  <a:lnTo>
                    <a:pt x="1651" y="297"/>
                  </a:lnTo>
                  <a:lnTo>
                    <a:pt x="1669" y="290"/>
                  </a:lnTo>
                  <a:lnTo>
                    <a:pt x="1687" y="285"/>
                  </a:lnTo>
                  <a:lnTo>
                    <a:pt x="1703" y="281"/>
                  </a:lnTo>
                  <a:lnTo>
                    <a:pt x="1720" y="279"/>
                  </a:lnTo>
                  <a:lnTo>
                    <a:pt x="1736" y="278"/>
                  </a:lnTo>
                  <a:lnTo>
                    <a:pt x="1748" y="276"/>
                  </a:lnTo>
                  <a:lnTo>
                    <a:pt x="1760" y="275"/>
                  </a:lnTo>
                  <a:lnTo>
                    <a:pt x="1770" y="275"/>
                  </a:lnTo>
                  <a:lnTo>
                    <a:pt x="1777" y="275"/>
                  </a:lnTo>
                  <a:lnTo>
                    <a:pt x="1781" y="275"/>
                  </a:lnTo>
                  <a:lnTo>
                    <a:pt x="1786" y="275"/>
                  </a:lnTo>
                  <a:lnTo>
                    <a:pt x="1792" y="275"/>
                  </a:lnTo>
                  <a:lnTo>
                    <a:pt x="1802" y="275"/>
                  </a:lnTo>
                  <a:lnTo>
                    <a:pt x="1814" y="276"/>
                  </a:lnTo>
                  <a:lnTo>
                    <a:pt x="1827" y="278"/>
                  </a:lnTo>
                  <a:lnTo>
                    <a:pt x="1842" y="279"/>
                  </a:lnTo>
                  <a:lnTo>
                    <a:pt x="1859" y="281"/>
                  </a:lnTo>
                  <a:lnTo>
                    <a:pt x="1876" y="285"/>
                  </a:lnTo>
                  <a:lnTo>
                    <a:pt x="1894" y="290"/>
                  </a:lnTo>
                  <a:lnTo>
                    <a:pt x="1912" y="297"/>
                  </a:lnTo>
                  <a:lnTo>
                    <a:pt x="1928" y="303"/>
                  </a:lnTo>
                  <a:lnTo>
                    <a:pt x="1946" y="312"/>
                  </a:lnTo>
                  <a:lnTo>
                    <a:pt x="1962" y="324"/>
                  </a:lnTo>
                  <a:lnTo>
                    <a:pt x="1977" y="335"/>
                  </a:lnTo>
                  <a:lnTo>
                    <a:pt x="1991" y="351"/>
                  </a:lnTo>
                  <a:lnTo>
                    <a:pt x="2003" y="366"/>
                  </a:lnTo>
                  <a:lnTo>
                    <a:pt x="2013" y="385"/>
                  </a:lnTo>
                  <a:lnTo>
                    <a:pt x="2019" y="407"/>
                  </a:lnTo>
                  <a:lnTo>
                    <a:pt x="2025" y="430"/>
                  </a:lnTo>
                  <a:lnTo>
                    <a:pt x="2025" y="457"/>
                  </a:lnTo>
                  <a:lnTo>
                    <a:pt x="2023" y="485"/>
                  </a:lnTo>
                  <a:lnTo>
                    <a:pt x="2017" y="518"/>
                  </a:lnTo>
                  <a:lnTo>
                    <a:pt x="2007" y="553"/>
                  </a:lnTo>
                  <a:lnTo>
                    <a:pt x="1991" y="592"/>
                  </a:lnTo>
                  <a:lnTo>
                    <a:pt x="1972" y="633"/>
                  </a:lnTo>
                  <a:lnTo>
                    <a:pt x="1946" y="679"/>
                  </a:lnTo>
                  <a:lnTo>
                    <a:pt x="1917" y="728"/>
                  </a:lnTo>
                  <a:lnTo>
                    <a:pt x="1879" y="781"/>
                  </a:lnTo>
                  <a:lnTo>
                    <a:pt x="2030" y="1204"/>
                  </a:lnTo>
                  <a:lnTo>
                    <a:pt x="2076" y="1062"/>
                  </a:lnTo>
                  <a:lnTo>
                    <a:pt x="2076" y="1064"/>
                  </a:lnTo>
                  <a:lnTo>
                    <a:pt x="2130" y="895"/>
                  </a:lnTo>
                  <a:lnTo>
                    <a:pt x="2412" y="0"/>
                  </a:lnTo>
                  <a:lnTo>
                    <a:pt x="2416" y="2"/>
                  </a:lnTo>
                  <a:lnTo>
                    <a:pt x="2425" y="8"/>
                  </a:lnTo>
                  <a:lnTo>
                    <a:pt x="2439" y="17"/>
                  </a:lnTo>
                  <a:lnTo>
                    <a:pt x="2459" y="30"/>
                  </a:lnTo>
                  <a:lnTo>
                    <a:pt x="2483" y="45"/>
                  </a:lnTo>
                  <a:lnTo>
                    <a:pt x="2513" y="64"/>
                  </a:lnTo>
                  <a:lnTo>
                    <a:pt x="2547" y="84"/>
                  </a:lnTo>
                  <a:lnTo>
                    <a:pt x="2585" y="106"/>
                  </a:lnTo>
                  <a:lnTo>
                    <a:pt x="2627" y="130"/>
                  </a:lnTo>
                  <a:lnTo>
                    <a:pt x="2673" y="154"/>
                  </a:lnTo>
                  <a:lnTo>
                    <a:pt x="2723" y="180"/>
                  </a:lnTo>
                  <a:lnTo>
                    <a:pt x="2777" y="206"/>
                  </a:lnTo>
                  <a:lnTo>
                    <a:pt x="2832" y="231"/>
                  </a:lnTo>
                  <a:lnTo>
                    <a:pt x="2893" y="257"/>
                  </a:lnTo>
                  <a:lnTo>
                    <a:pt x="2954" y="281"/>
                  </a:lnTo>
                  <a:lnTo>
                    <a:pt x="3019" y="306"/>
                  </a:lnTo>
                  <a:lnTo>
                    <a:pt x="3084" y="329"/>
                  </a:lnTo>
                  <a:lnTo>
                    <a:pt x="3152" y="349"/>
                  </a:lnTo>
                  <a:lnTo>
                    <a:pt x="3222" y="369"/>
                  </a:lnTo>
                  <a:lnTo>
                    <a:pt x="3272" y="384"/>
                  </a:lnTo>
                  <a:lnTo>
                    <a:pt x="3317" y="405"/>
                  </a:lnTo>
                  <a:lnTo>
                    <a:pt x="3358" y="429"/>
                  </a:lnTo>
                  <a:lnTo>
                    <a:pt x="3392" y="457"/>
                  </a:lnTo>
                  <a:lnTo>
                    <a:pt x="3425" y="489"/>
                  </a:lnTo>
                  <a:lnTo>
                    <a:pt x="3452" y="523"/>
                  </a:lnTo>
                  <a:lnTo>
                    <a:pt x="3476" y="560"/>
                  </a:lnTo>
                  <a:lnTo>
                    <a:pt x="3495" y="598"/>
                  </a:lnTo>
                  <a:lnTo>
                    <a:pt x="3513" y="638"/>
                  </a:lnTo>
                  <a:lnTo>
                    <a:pt x="3526" y="679"/>
                  </a:lnTo>
                  <a:lnTo>
                    <a:pt x="3538" y="722"/>
                  </a:lnTo>
                  <a:lnTo>
                    <a:pt x="3547" y="763"/>
                  </a:lnTo>
                  <a:lnTo>
                    <a:pt x="3553" y="805"/>
                  </a:lnTo>
                  <a:lnTo>
                    <a:pt x="3557" y="846"/>
                  </a:lnTo>
                  <a:lnTo>
                    <a:pt x="3559" y="886"/>
                  </a:lnTo>
                  <a:lnTo>
                    <a:pt x="3561" y="924"/>
                  </a:lnTo>
                  <a:lnTo>
                    <a:pt x="3561" y="962"/>
                  </a:lnTo>
                  <a:lnTo>
                    <a:pt x="3561" y="995"/>
                  </a:lnTo>
                  <a:lnTo>
                    <a:pt x="3558" y="1027"/>
                  </a:lnTo>
                  <a:lnTo>
                    <a:pt x="3558" y="1031"/>
                  </a:lnTo>
                  <a:lnTo>
                    <a:pt x="3557" y="1044"/>
                  </a:lnTo>
                  <a:lnTo>
                    <a:pt x="3556" y="1063"/>
                  </a:lnTo>
                  <a:lnTo>
                    <a:pt x="3554" y="1089"/>
                  </a:lnTo>
                  <a:lnTo>
                    <a:pt x="3552" y="1118"/>
                  </a:lnTo>
                  <a:lnTo>
                    <a:pt x="3548" y="1153"/>
                  </a:lnTo>
                  <a:lnTo>
                    <a:pt x="3545" y="1189"/>
                  </a:lnTo>
                  <a:lnTo>
                    <a:pt x="3541" y="1226"/>
                  </a:lnTo>
                  <a:lnTo>
                    <a:pt x="3538" y="1265"/>
                  </a:lnTo>
                  <a:lnTo>
                    <a:pt x="3534" y="1302"/>
                  </a:lnTo>
                  <a:lnTo>
                    <a:pt x="3529" y="1338"/>
                  </a:lnTo>
                  <a:lnTo>
                    <a:pt x="3525" y="1370"/>
                  </a:lnTo>
                  <a:lnTo>
                    <a:pt x="3520" y="1398"/>
                  </a:lnTo>
                  <a:lnTo>
                    <a:pt x="3517" y="1401"/>
                  </a:lnTo>
                  <a:lnTo>
                    <a:pt x="3509" y="1406"/>
                  </a:lnTo>
                  <a:lnTo>
                    <a:pt x="3495" y="1414"/>
                  </a:lnTo>
                  <a:lnTo>
                    <a:pt x="3475" y="1425"/>
                  </a:lnTo>
                  <a:lnTo>
                    <a:pt x="3449" y="1439"/>
                  </a:lnTo>
                  <a:lnTo>
                    <a:pt x="3419" y="1456"/>
                  </a:lnTo>
                  <a:lnTo>
                    <a:pt x="3383" y="1474"/>
                  </a:lnTo>
                  <a:lnTo>
                    <a:pt x="3342" y="1494"/>
                  </a:lnTo>
                  <a:lnTo>
                    <a:pt x="3295" y="1515"/>
                  </a:lnTo>
                  <a:lnTo>
                    <a:pt x="3243" y="1538"/>
                  </a:lnTo>
                  <a:lnTo>
                    <a:pt x="3187" y="1561"/>
                  </a:lnTo>
                  <a:lnTo>
                    <a:pt x="3125" y="1586"/>
                  </a:lnTo>
                  <a:lnTo>
                    <a:pt x="3059" y="1610"/>
                  </a:lnTo>
                  <a:lnTo>
                    <a:pt x="2988" y="1634"/>
                  </a:lnTo>
                  <a:lnTo>
                    <a:pt x="2912" y="1659"/>
                  </a:lnTo>
                  <a:lnTo>
                    <a:pt x="2831" y="1682"/>
                  </a:lnTo>
                  <a:lnTo>
                    <a:pt x="2745" y="1704"/>
                  </a:lnTo>
                  <a:lnTo>
                    <a:pt x="2655" y="1725"/>
                  </a:lnTo>
                  <a:lnTo>
                    <a:pt x="2561" y="1746"/>
                  </a:lnTo>
                  <a:lnTo>
                    <a:pt x="2463" y="1764"/>
                  </a:lnTo>
                  <a:lnTo>
                    <a:pt x="2360" y="1781"/>
                  </a:lnTo>
                  <a:lnTo>
                    <a:pt x="2252" y="1795"/>
                  </a:lnTo>
                  <a:lnTo>
                    <a:pt x="2140" y="1805"/>
                  </a:lnTo>
                  <a:lnTo>
                    <a:pt x="2025" y="1814"/>
                  </a:lnTo>
                  <a:lnTo>
                    <a:pt x="1905" y="1819"/>
                  </a:lnTo>
                  <a:lnTo>
                    <a:pt x="1781" y="1820"/>
                  </a:lnTo>
                  <a:lnTo>
                    <a:pt x="1657" y="1819"/>
                  </a:lnTo>
                  <a:lnTo>
                    <a:pt x="1538" y="1814"/>
                  </a:lnTo>
                  <a:lnTo>
                    <a:pt x="1422" y="1805"/>
                  </a:lnTo>
                  <a:lnTo>
                    <a:pt x="1310" y="1793"/>
                  </a:lnTo>
                  <a:lnTo>
                    <a:pt x="1203" y="1779"/>
                  </a:lnTo>
                  <a:lnTo>
                    <a:pt x="1100" y="1764"/>
                  </a:lnTo>
                  <a:lnTo>
                    <a:pt x="1001" y="1745"/>
                  </a:lnTo>
                  <a:lnTo>
                    <a:pt x="907" y="1725"/>
                  </a:lnTo>
                  <a:lnTo>
                    <a:pt x="817" y="1704"/>
                  </a:lnTo>
                  <a:lnTo>
                    <a:pt x="731" y="1682"/>
                  </a:lnTo>
                  <a:lnTo>
                    <a:pt x="650" y="1657"/>
                  </a:lnTo>
                  <a:lnTo>
                    <a:pt x="574" y="1634"/>
                  </a:lnTo>
                  <a:lnTo>
                    <a:pt x="504" y="1610"/>
                  </a:lnTo>
                  <a:lnTo>
                    <a:pt x="437" y="1586"/>
                  </a:lnTo>
                  <a:lnTo>
                    <a:pt x="375" y="1561"/>
                  </a:lnTo>
                  <a:lnTo>
                    <a:pt x="319" y="1538"/>
                  </a:lnTo>
                  <a:lnTo>
                    <a:pt x="267" y="1515"/>
                  </a:lnTo>
                  <a:lnTo>
                    <a:pt x="220" y="1493"/>
                  </a:lnTo>
                  <a:lnTo>
                    <a:pt x="179" y="1474"/>
                  </a:lnTo>
                  <a:lnTo>
                    <a:pt x="143" y="1456"/>
                  </a:lnTo>
                  <a:lnTo>
                    <a:pt x="112" y="1439"/>
                  </a:lnTo>
                  <a:lnTo>
                    <a:pt x="88" y="1425"/>
                  </a:lnTo>
                  <a:lnTo>
                    <a:pt x="67" y="1414"/>
                  </a:lnTo>
                  <a:lnTo>
                    <a:pt x="53" y="1406"/>
                  </a:lnTo>
                  <a:lnTo>
                    <a:pt x="45" y="1401"/>
                  </a:lnTo>
                  <a:lnTo>
                    <a:pt x="41" y="1398"/>
                  </a:lnTo>
                  <a:lnTo>
                    <a:pt x="38" y="1370"/>
                  </a:lnTo>
                  <a:lnTo>
                    <a:pt x="34" y="1338"/>
                  </a:lnTo>
                  <a:lnTo>
                    <a:pt x="29" y="1302"/>
                  </a:lnTo>
                  <a:lnTo>
                    <a:pt x="25" y="1265"/>
                  </a:lnTo>
                  <a:lnTo>
                    <a:pt x="21" y="1226"/>
                  </a:lnTo>
                  <a:lnTo>
                    <a:pt x="17" y="1189"/>
                  </a:lnTo>
                  <a:lnTo>
                    <a:pt x="14" y="1153"/>
                  </a:lnTo>
                  <a:lnTo>
                    <a:pt x="11" y="1118"/>
                  </a:lnTo>
                  <a:lnTo>
                    <a:pt x="8" y="1089"/>
                  </a:lnTo>
                  <a:lnTo>
                    <a:pt x="7" y="1063"/>
                  </a:lnTo>
                  <a:lnTo>
                    <a:pt x="5" y="1044"/>
                  </a:lnTo>
                  <a:lnTo>
                    <a:pt x="4" y="1031"/>
                  </a:lnTo>
                  <a:lnTo>
                    <a:pt x="4" y="1027"/>
                  </a:lnTo>
                  <a:lnTo>
                    <a:pt x="2" y="995"/>
                  </a:lnTo>
                  <a:lnTo>
                    <a:pt x="0" y="962"/>
                  </a:lnTo>
                  <a:lnTo>
                    <a:pt x="0" y="924"/>
                  </a:lnTo>
                  <a:lnTo>
                    <a:pt x="2" y="886"/>
                  </a:lnTo>
                  <a:lnTo>
                    <a:pt x="4" y="846"/>
                  </a:lnTo>
                  <a:lnTo>
                    <a:pt x="9" y="805"/>
                  </a:lnTo>
                  <a:lnTo>
                    <a:pt x="16" y="763"/>
                  </a:lnTo>
                  <a:lnTo>
                    <a:pt x="23" y="722"/>
                  </a:lnTo>
                  <a:lnTo>
                    <a:pt x="35" y="679"/>
                  </a:lnTo>
                  <a:lnTo>
                    <a:pt x="49" y="638"/>
                  </a:lnTo>
                  <a:lnTo>
                    <a:pt x="66" y="598"/>
                  </a:lnTo>
                  <a:lnTo>
                    <a:pt x="86" y="560"/>
                  </a:lnTo>
                  <a:lnTo>
                    <a:pt x="109" y="523"/>
                  </a:lnTo>
                  <a:lnTo>
                    <a:pt x="136" y="489"/>
                  </a:lnTo>
                  <a:lnTo>
                    <a:pt x="169" y="457"/>
                  </a:lnTo>
                  <a:lnTo>
                    <a:pt x="205" y="429"/>
                  </a:lnTo>
                  <a:lnTo>
                    <a:pt x="244" y="405"/>
                  </a:lnTo>
                  <a:lnTo>
                    <a:pt x="289" y="384"/>
                  </a:lnTo>
                  <a:lnTo>
                    <a:pt x="339" y="369"/>
                  </a:lnTo>
                  <a:lnTo>
                    <a:pt x="409" y="349"/>
                  </a:lnTo>
                  <a:lnTo>
                    <a:pt x="477" y="329"/>
                  </a:lnTo>
                  <a:lnTo>
                    <a:pt x="544" y="306"/>
                  </a:lnTo>
                  <a:lnTo>
                    <a:pt x="608" y="281"/>
                  </a:lnTo>
                  <a:lnTo>
                    <a:pt x="669" y="257"/>
                  </a:lnTo>
                  <a:lnTo>
                    <a:pt x="729" y="231"/>
                  </a:lnTo>
                  <a:lnTo>
                    <a:pt x="785" y="206"/>
                  </a:lnTo>
                  <a:lnTo>
                    <a:pt x="838" y="180"/>
                  </a:lnTo>
                  <a:lnTo>
                    <a:pt x="888" y="154"/>
                  </a:lnTo>
                  <a:lnTo>
                    <a:pt x="934" y="130"/>
                  </a:lnTo>
                  <a:lnTo>
                    <a:pt x="976" y="106"/>
                  </a:lnTo>
                  <a:lnTo>
                    <a:pt x="1015" y="84"/>
                  </a:lnTo>
                  <a:lnTo>
                    <a:pt x="1048" y="64"/>
                  </a:lnTo>
                  <a:lnTo>
                    <a:pt x="1078" y="45"/>
                  </a:lnTo>
                  <a:lnTo>
                    <a:pt x="1102" y="30"/>
                  </a:lnTo>
                  <a:lnTo>
                    <a:pt x="1123" y="17"/>
                  </a:lnTo>
                  <a:lnTo>
                    <a:pt x="1137" y="8"/>
                  </a:lnTo>
                  <a:lnTo>
                    <a:pt x="1146" y="2"/>
                  </a:lnTo>
                  <a:lnTo>
                    <a:pt x="114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3" name="Group 33"/>
          <p:cNvGrpSpPr>
            <a:grpSpLocks noChangeAspect="1"/>
          </p:cNvGrpSpPr>
          <p:nvPr/>
        </p:nvGrpSpPr>
        <p:grpSpPr bwMode="auto">
          <a:xfrm>
            <a:off x="5247092" y="5548607"/>
            <a:ext cx="426917" cy="415284"/>
            <a:chOff x="1461" y="1310"/>
            <a:chExt cx="844" cy="821"/>
          </a:xfrm>
          <a:solidFill>
            <a:schemeClr val="bg1"/>
          </a:solidFill>
        </p:grpSpPr>
        <p:sp>
          <p:nvSpPr>
            <p:cNvPr id="94" name="Freeform 35"/>
            <p:cNvSpPr>
              <a:spLocks/>
            </p:cNvSpPr>
            <p:nvPr/>
          </p:nvSpPr>
          <p:spPr bwMode="auto">
            <a:xfrm>
              <a:off x="1769" y="1339"/>
              <a:ext cx="536" cy="447"/>
            </a:xfrm>
            <a:custGeom>
              <a:avLst/>
              <a:gdLst>
                <a:gd name="T0" fmla="*/ 78 w 2145"/>
                <a:gd name="T1" fmla="*/ 0 h 1786"/>
                <a:gd name="T2" fmla="*/ 2067 w 2145"/>
                <a:gd name="T3" fmla="*/ 0 h 1786"/>
                <a:gd name="T4" fmla="*/ 2088 w 2145"/>
                <a:gd name="T5" fmla="*/ 3 h 1786"/>
                <a:gd name="T6" fmla="*/ 2106 w 2145"/>
                <a:gd name="T7" fmla="*/ 11 h 1786"/>
                <a:gd name="T8" fmla="*/ 2121 w 2145"/>
                <a:gd name="T9" fmla="*/ 23 h 1786"/>
                <a:gd name="T10" fmla="*/ 2134 w 2145"/>
                <a:gd name="T11" fmla="*/ 39 h 1786"/>
                <a:gd name="T12" fmla="*/ 2142 w 2145"/>
                <a:gd name="T13" fmla="*/ 57 h 1786"/>
                <a:gd name="T14" fmla="*/ 2145 w 2145"/>
                <a:gd name="T15" fmla="*/ 78 h 1786"/>
                <a:gd name="T16" fmla="*/ 2145 w 2145"/>
                <a:gd name="T17" fmla="*/ 1708 h 1786"/>
                <a:gd name="T18" fmla="*/ 2142 w 2145"/>
                <a:gd name="T19" fmla="*/ 1728 h 1786"/>
                <a:gd name="T20" fmla="*/ 2134 w 2145"/>
                <a:gd name="T21" fmla="*/ 1747 h 1786"/>
                <a:gd name="T22" fmla="*/ 2121 w 2145"/>
                <a:gd name="T23" fmla="*/ 1763 h 1786"/>
                <a:gd name="T24" fmla="*/ 2106 w 2145"/>
                <a:gd name="T25" fmla="*/ 1774 h 1786"/>
                <a:gd name="T26" fmla="*/ 2088 w 2145"/>
                <a:gd name="T27" fmla="*/ 1782 h 1786"/>
                <a:gd name="T28" fmla="*/ 2067 w 2145"/>
                <a:gd name="T29" fmla="*/ 1786 h 1786"/>
                <a:gd name="T30" fmla="*/ 276 w 2145"/>
                <a:gd name="T31" fmla="*/ 1786 h 1786"/>
                <a:gd name="T32" fmla="*/ 276 w 2145"/>
                <a:gd name="T33" fmla="*/ 1630 h 1786"/>
                <a:gd name="T34" fmla="*/ 276 w 2145"/>
                <a:gd name="T35" fmla="*/ 1630 h 1786"/>
                <a:gd name="T36" fmla="*/ 1989 w 2145"/>
                <a:gd name="T37" fmla="*/ 1630 h 1786"/>
                <a:gd name="T38" fmla="*/ 1989 w 2145"/>
                <a:gd name="T39" fmla="*/ 157 h 1786"/>
                <a:gd name="T40" fmla="*/ 156 w 2145"/>
                <a:gd name="T41" fmla="*/ 157 h 1786"/>
                <a:gd name="T42" fmla="*/ 156 w 2145"/>
                <a:gd name="T43" fmla="*/ 452 h 1786"/>
                <a:gd name="T44" fmla="*/ 122 w 2145"/>
                <a:gd name="T45" fmla="*/ 417 h 1786"/>
                <a:gd name="T46" fmla="*/ 84 w 2145"/>
                <a:gd name="T47" fmla="*/ 385 h 1786"/>
                <a:gd name="T48" fmla="*/ 44 w 2145"/>
                <a:gd name="T49" fmla="*/ 358 h 1786"/>
                <a:gd name="T50" fmla="*/ 0 w 2145"/>
                <a:gd name="T51" fmla="*/ 335 h 1786"/>
                <a:gd name="T52" fmla="*/ 0 w 2145"/>
                <a:gd name="T53" fmla="*/ 78 h 1786"/>
                <a:gd name="T54" fmla="*/ 3 w 2145"/>
                <a:gd name="T55" fmla="*/ 57 h 1786"/>
                <a:gd name="T56" fmla="*/ 10 w 2145"/>
                <a:gd name="T57" fmla="*/ 39 h 1786"/>
                <a:gd name="T58" fmla="*/ 23 w 2145"/>
                <a:gd name="T59" fmla="*/ 23 h 1786"/>
                <a:gd name="T60" fmla="*/ 39 w 2145"/>
                <a:gd name="T61" fmla="*/ 11 h 1786"/>
                <a:gd name="T62" fmla="*/ 58 w 2145"/>
                <a:gd name="T63" fmla="*/ 3 h 1786"/>
                <a:gd name="T64" fmla="*/ 78 w 2145"/>
                <a:gd name="T65" fmla="*/ 0 h 1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145" h="1786">
                  <a:moveTo>
                    <a:pt x="78" y="0"/>
                  </a:moveTo>
                  <a:lnTo>
                    <a:pt x="2067" y="0"/>
                  </a:lnTo>
                  <a:lnTo>
                    <a:pt x="2088" y="3"/>
                  </a:lnTo>
                  <a:lnTo>
                    <a:pt x="2106" y="11"/>
                  </a:lnTo>
                  <a:lnTo>
                    <a:pt x="2121" y="23"/>
                  </a:lnTo>
                  <a:lnTo>
                    <a:pt x="2134" y="39"/>
                  </a:lnTo>
                  <a:lnTo>
                    <a:pt x="2142" y="57"/>
                  </a:lnTo>
                  <a:lnTo>
                    <a:pt x="2145" y="78"/>
                  </a:lnTo>
                  <a:lnTo>
                    <a:pt x="2145" y="1708"/>
                  </a:lnTo>
                  <a:lnTo>
                    <a:pt x="2142" y="1728"/>
                  </a:lnTo>
                  <a:lnTo>
                    <a:pt x="2134" y="1747"/>
                  </a:lnTo>
                  <a:lnTo>
                    <a:pt x="2121" y="1763"/>
                  </a:lnTo>
                  <a:lnTo>
                    <a:pt x="2106" y="1774"/>
                  </a:lnTo>
                  <a:lnTo>
                    <a:pt x="2088" y="1782"/>
                  </a:lnTo>
                  <a:lnTo>
                    <a:pt x="2067" y="1786"/>
                  </a:lnTo>
                  <a:lnTo>
                    <a:pt x="276" y="1786"/>
                  </a:lnTo>
                  <a:lnTo>
                    <a:pt x="276" y="1630"/>
                  </a:lnTo>
                  <a:lnTo>
                    <a:pt x="276" y="1630"/>
                  </a:lnTo>
                  <a:lnTo>
                    <a:pt x="1989" y="1630"/>
                  </a:lnTo>
                  <a:lnTo>
                    <a:pt x="1989" y="157"/>
                  </a:lnTo>
                  <a:lnTo>
                    <a:pt x="156" y="157"/>
                  </a:lnTo>
                  <a:lnTo>
                    <a:pt x="156" y="452"/>
                  </a:lnTo>
                  <a:lnTo>
                    <a:pt x="122" y="417"/>
                  </a:lnTo>
                  <a:lnTo>
                    <a:pt x="84" y="385"/>
                  </a:lnTo>
                  <a:lnTo>
                    <a:pt x="44" y="358"/>
                  </a:lnTo>
                  <a:lnTo>
                    <a:pt x="0" y="335"/>
                  </a:lnTo>
                  <a:lnTo>
                    <a:pt x="0" y="78"/>
                  </a:lnTo>
                  <a:lnTo>
                    <a:pt x="3" y="57"/>
                  </a:lnTo>
                  <a:lnTo>
                    <a:pt x="10" y="39"/>
                  </a:lnTo>
                  <a:lnTo>
                    <a:pt x="23" y="23"/>
                  </a:lnTo>
                  <a:lnTo>
                    <a:pt x="39" y="11"/>
                  </a:lnTo>
                  <a:lnTo>
                    <a:pt x="58" y="3"/>
                  </a:lnTo>
                  <a:lnTo>
                    <a:pt x="7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5" name="Freeform 36"/>
            <p:cNvSpPr>
              <a:spLocks/>
            </p:cNvSpPr>
            <p:nvPr/>
          </p:nvSpPr>
          <p:spPr bwMode="auto">
            <a:xfrm>
              <a:off x="1461" y="1448"/>
              <a:ext cx="341" cy="683"/>
            </a:xfrm>
            <a:custGeom>
              <a:avLst/>
              <a:gdLst>
                <a:gd name="T0" fmla="*/ 427 w 1365"/>
                <a:gd name="T1" fmla="*/ 57 h 2733"/>
                <a:gd name="T2" fmla="*/ 509 w 1365"/>
                <a:gd name="T3" fmla="*/ 130 h 2733"/>
                <a:gd name="T4" fmla="*/ 545 w 1365"/>
                <a:gd name="T5" fmla="*/ 226 h 2733"/>
                <a:gd name="T6" fmla="*/ 588 w 1365"/>
                <a:gd name="T7" fmla="*/ 340 h 2733"/>
                <a:gd name="T8" fmla="*/ 619 w 1365"/>
                <a:gd name="T9" fmla="*/ 424 h 2733"/>
                <a:gd name="T10" fmla="*/ 590 w 1365"/>
                <a:gd name="T11" fmla="*/ 224 h 2733"/>
                <a:gd name="T12" fmla="*/ 684 w 1365"/>
                <a:gd name="T13" fmla="*/ 145 h 2733"/>
                <a:gd name="T14" fmla="*/ 777 w 1365"/>
                <a:gd name="T15" fmla="*/ 224 h 2733"/>
                <a:gd name="T16" fmla="*/ 744 w 1365"/>
                <a:gd name="T17" fmla="*/ 421 h 2733"/>
                <a:gd name="T18" fmla="*/ 779 w 1365"/>
                <a:gd name="T19" fmla="*/ 328 h 2733"/>
                <a:gd name="T20" fmla="*/ 826 w 1365"/>
                <a:gd name="T21" fmla="*/ 210 h 2733"/>
                <a:gd name="T22" fmla="*/ 860 w 1365"/>
                <a:gd name="T23" fmla="*/ 117 h 2733"/>
                <a:gd name="T24" fmla="*/ 971 w 1365"/>
                <a:gd name="T25" fmla="*/ 31 h 2733"/>
                <a:gd name="T26" fmla="*/ 1127 w 1365"/>
                <a:gd name="T27" fmla="*/ 11 h 2733"/>
                <a:gd name="T28" fmla="*/ 1267 w 1365"/>
                <a:gd name="T29" fmla="*/ 93 h 2733"/>
                <a:gd name="T30" fmla="*/ 1349 w 1365"/>
                <a:gd name="T31" fmla="*/ 232 h 2733"/>
                <a:gd name="T32" fmla="*/ 1362 w 1365"/>
                <a:gd name="T33" fmla="*/ 1328 h 2733"/>
                <a:gd name="T34" fmla="*/ 1307 w 1365"/>
                <a:gd name="T35" fmla="*/ 1413 h 2733"/>
                <a:gd name="T36" fmla="*/ 1231 w 1365"/>
                <a:gd name="T37" fmla="*/ 1436 h 2733"/>
                <a:gd name="T38" fmla="*/ 1137 w 1365"/>
                <a:gd name="T39" fmla="*/ 1398 h 2733"/>
                <a:gd name="T40" fmla="*/ 1097 w 1365"/>
                <a:gd name="T41" fmla="*/ 1302 h 2733"/>
                <a:gd name="T42" fmla="*/ 1084 w 1365"/>
                <a:gd name="T43" fmla="*/ 296 h 2733"/>
                <a:gd name="T44" fmla="*/ 1044 w 1365"/>
                <a:gd name="T45" fmla="*/ 296 h 2733"/>
                <a:gd name="T46" fmla="*/ 1036 w 1365"/>
                <a:gd name="T47" fmla="*/ 468 h 2733"/>
                <a:gd name="T48" fmla="*/ 1036 w 1365"/>
                <a:gd name="T49" fmla="*/ 707 h 2733"/>
                <a:gd name="T50" fmla="*/ 1037 w 1365"/>
                <a:gd name="T51" fmla="*/ 880 h 2733"/>
                <a:gd name="T52" fmla="*/ 1037 w 1365"/>
                <a:gd name="T53" fmla="*/ 1001 h 2733"/>
                <a:gd name="T54" fmla="*/ 1037 w 1365"/>
                <a:gd name="T55" fmla="*/ 1095 h 2733"/>
                <a:gd name="T56" fmla="*/ 1038 w 1365"/>
                <a:gd name="T57" fmla="*/ 1177 h 2733"/>
                <a:gd name="T58" fmla="*/ 1038 w 1365"/>
                <a:gd name="T59" fmla="*/ 1271 h 2733"/>
                <a:gd name="T60" fmla="*/ 1038 w 1365"/>
                <a:gd name="T61" fmla="*/ 1392 h 2733"/>
                <a:gd name="T62" fmla="*/ 1039 w 1365"/>
                <a:gd name="T63" fmla="*/ 1564 h 2733"/>
                <a:gd name="T64" fmla="*/ 1039 w 1365"/>
                <a:gd name="T65" fmla="*/ 1805 h 2733"/>
                <a:gd name="T66" fmla="*/ 1039 w 1365"/>
                <a:gd name="T67" fmla="*/ 2135 h 2733"/>
                <a:gd name="T68" fmla="*/ 1039 w 1365"/>
                <a:gd name="T69" fmla="*/ 2572 h 2733"/>
                <a:gd name="T70" fmla="*/ 1001 w 1365"/>
                <a:gd name="T71" fmla="*/ 2675 h 2733"/>
                <a:gd name="T72" fmla="*/ 906 w 1365"/>
                <a:gd name="T73" fmla="*/ 2731 h 2733"/>
                <a:gd name="T74" fmla="*/ 797 w 1365"/>
                <a:gd name="T75" fmla="*/ 2711 h 2733"/>
                <a:gd name="T76" fmla="*/ 727 w 1365"/>
                <a:gd name="T77" fmla="*/ 2628 h 2733"/>
                <a:gd name="T78" fmla="*/ 647 w 1365"/>
                <a:gd name="T79" fmla="*/ 1286 h 2733"/>
                <a:gd name="T80" fmla="*/ 625 w 1365"/>
                <a:gd name="T81" fmla="*/ 2653 h 2733"/>
                <a:gd name="T82" fmla="*/ 543 w 1365"/>
                <a:gd name="T83" fmla="*/ 2722 h 2733"/>
                <a:gd name="T84" fmla="*/ 430 w 1365"/>
                <a:gd name="T85" fmla="*/ 2722 h 2733"/>
                <a:gd name="T86" fmla="*/ 347 w 1365"/>
                <a:gd name="T87" fmla="*/ 2653 h 2733"/>
                <a:gd name="T88" fmla="*/ 325 w 1365"/>
                <a:gd name="T89" fmla="*/ 317 h 2733"/>
                <a:gd name="T90" fmla="*/ 299 w 1365"/>
                <a:gd name="T91" fmla="*/ 292 h 2733"/>
                <a:gd name="T92" fmla="*/ 273 w 1365"/>
                <a:gd name="T93" fmla="*/ 317 h 2733"/>
                <a:gd name="T94" fmla="*/ 245 w 1365"/>
                <a:gd name="T95" fmla="*/ 1377 h 2733"/>
                <a:gd name="T96" fmla="*/ 161 w 1365"/>
                <a:gd name="T97" fmla="*/ 1433 h 2733"/>
                <a:gd name="T98" fmla="*/ 81 w 1365"/>
                <a:gd name="T99" fmla="*/ 1425 h 2733"/>
                <a:gd name="T100" fmla="*/ 10 w 1365"/>
                <a:gd name="T101" fmla="*/ 1354 h 2733"/>
                <a:gd name="T102" fmla="*/ 8 w 1365"/>
                <a:gd name="T103" fmla="*/ 273 h 2733"/>
                <a:gd name="T104" fmla="*/ 72 w 1365"/>
                <a:gd name="T105" fmla="*/ 123 h 2733"/>
                <a:gd name="T106" fmla="*/ 200 w 1365"/>
                <a:gd name="T107" fmla="*/ 25 h 27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65" h="2733">
                  <a:moveTo>
                    <a:pt x="323" y="0"/>
                  </a:moveTo>
                  <a:lnTo>
                    <a:pt x="368" y="0"/>
                  </a:lnTo>
                  <a:lnTo>
                    <a:pt x="396" y="31"/>
                  </a:lnTo>
                  <a:lnTo>
                    <a:pt x="427" y="57"/>
                  </a:lnTo>
                  <a:lnTo>
                    <a:pt x="462" y="81"/>
                  </a:lnTo>
                  <a:lnTo>
                    <a:pt x="499" y="101"/>
                  </a:lnTo>
                  <a:lnTo>
                    <a:pt x="503" y="114"/>
                  </a:lnTo>
                  <a:lnTo>
                    <a:pt x="509" y="130"/>
                  </a:lnTo>
                  <a:lnTo>
                    <a:pt x="516" y="149"/>
                  </a:lnTo>
                  <a:lnTo>
                    <a:pt x="525" y="173"/>
                  </a:lnTo>
                  <a:lnTo>
                    <a:pt x="535" y="199"/>
                  </a:lnTo>
                  <a:lnTo>
                    <a:pt x="545" y="226"/>
                  </a:lnTo>
                  <a:lnTo>
                    <a:pt x="556" y="255"/>
                  </a:lnTo>
                  <a:lnTo>
                    <a:pt x="566" y="284"/>
                  </a:lnTo>
                  <a:lnTo>
                    <a:pt x="578" y="312"/>
                  </a:lnTo>
                  <a:lnTo>
                    <a:pt x="588" y="340"/>
                  </a:lnTo>
                  <a:lnTo>
                    <a:pt x="597" y="366"/>
                  </a:lnTo>
                  <a:lnTo>
                    <a:pt x="605" y="388"/>
                  </a:lnTo>
                  <a:lnTo>
                    <a:pt x="614" y="408"/>
                  </a:lnTo>
                  <a:lnTo>
                    <a:pt x="619" y="424"/>
                  </a:lnTo>
                  <a:lnTo>
                    <a:pt x="624" y="434"/>
                  </a:lnTo>
                  <a:lnTo>
                    <a:pt x="589" y="250"/>
                  </a:lnTo>
                  <a:lnTo>
                    <a:pt x="588" y="237"/>
                  </a:lnTo>
                  <a:lnTo>
                    <a:pt x="590" y="224"/>
                  </a:lnTo>
                  <a:lnTo>
                    <a:pt x="595" y="212"/>
                  </a:lnTo>
                  <a:lnTo>
                    <a:pt x="633" y="142"/>
                  </a:lnTo>
                  <a:lnTo>
                    <a:pt x="659" y="144"/>
                  </a:lnTo>
                  <a:lnTo>
                    <a:pt x="684" y="145"/>
                  </a:lnTo>
                  <a:lnTo>
                    <a:pt x="709" y="144"/>
                  </a:lnTo>
                  <a:lnTo>
                    <a:pt x="734" y="142"/>
                  </a:lnTo>
                  <a:lnTo>
                    <a:pt x="772" y="212"/>
                  </a:lnTo>
                  <a:lnTo>
                    <a:pt x="777" y="224"/>
                  </a:lnTo>
                  <a:lnTo>
                    <a:pt x="779" y="237"/>
                  </a:lnTo>
                  <a:lnTo>
                    <a:pt x="778" y="250"/>
                  </a:lnTo>
                  <a:lnTo>
                    <a:pt x="738" y="434"/>
                  </a:lnTo>
                  <a:lnTo>
                    <a:pt x="744" y="421"/>
                  </a:lnTo>
                  <a:lnTo>
                    <a:pt x="751" y="403"/>
                  </a:lnTo>
                  <a:lnTo>
                    <a:pt x="759" y="381"/>
                  </a:lnTo>
                  <a:lnTo>
                    <a:pt x="769" y="356"/>
                  </a:lnTo>
                  <a:lnTo>
                    <a:pt x="779" y="328"/>
                  </a:lnTo>
                  <a:lnTo>
                    <a:pt x="791" y="299"/>
                  </a:lnTo>
                  <a:lnTo>
                    <a:pt x="802" y="268"/>
                  </a:lnTo>
                  <a:lnTo>
                    <a:pt x="814" y="239"/>
                  </a:lnTo>
                  <a:lnTo>
                    <a:pt x="826" y="210"/>
                  </a:lnTo>
                  <a:lnTo>
                    <a:pt x="836" y="182"/>
                  </a:lnTo>
                  <a:lnTo>
                    <a:pt x="845" y="157"/>
                  </a:lnTo>
                  <a:lnTo>
                    <a:pt x="854" y="134"/>
                  </a:lnTo>
                  <a:lnTo>
                    <a:pt x="860" y="117"/>
                  </a:lnTo>
                  <a:lnTo>
                    <a:pt x="865" y="103"/>
                  </a:lnTo>
                  <a:lnTo>
                    <a:pt x="903" y="83"/>
                  </a:lnTo>
                  <a:lnTo>
                    <a:pt x="938" y="58"/>
                  </a:lnTo>
                  <a:lnTo>
                    <a:pt x="971" y="31"/>
                  </a:lnTo>
                  <a:lnTo>
                    <a:pt x="1001" y="0"/>
                  </a:lnTo>
                  <a:lnTo>
                    <a:pt x="1043" y="0"/>
                  </a:lnTo>
                  <a:lnTo>
                    <a:pt x="1086" y="3"/>
                  </a:lnTo>
                  <a:lnTo>
                    <a:pt x="1127" y="11"/>
                  </a:lnTo>
                  <a:lnTo>
                    <a:pt x="1166" y="25"/>
                  </a:lnTo>
                  <a:lnTo>
                    <a:pt x="1202" y="43"/>
                  </a:lnTo>
                  <a:lnTo>
                    <a:pt x="1236" y="66"/>
                  </a:lnTo>
                  <a:lnTo>
                    <a:pt x="1267" y="93"/>
                  </a:lnTo>
                  <a:lnTo>
                    <a:pt x="1294" y="123"/>
                  </a:lnTo>
                  <a:lnTo>
                    <a:pt x="1316" y="157"/>
                  </a:lnTo>
                  <a:lnTo>
                    <a:pt x="1335" y="194"/>
                  </a:lnTo>
                  <a:lnTo>
                    <a:pt x="1349" y="232"/>
                  </a:lnTo>
                  <a:lnTo>
                    <a:pt x="1357" y="273"/>
                  </a:lnTo>
                  <a:lnTo>
                    <a:pt x="1360" y="316"/>
                  </a:lnTo>
                  <a:lnTo>
                    <a:pt x="1365" y="1301"/>
                  </a:lnTo>
                  <a:lnTo>
                    <a:pt x="1362" y="1328"/>
                  </a:lnTo>
                  <a:lnTo>
                    <a:pt x="1355" y="1354"/>
                  </a:lnTo>
                  <a:lnTo>
                    <a:pt x="1343" y="1376"/>
                  </a:lnTo>
                  <a:lnTo>
                    <a:pt x="1326" y="1397"/>
                  </a:lnTo>
                  <a:lnTo>
                    <a:pt x="1307" y="1413"/>
                  </a:lnTo>
                  <a:lnTo>
                    <a:pt x="1284" y="1425"/>
                  </a:lnTo>
                  <a:lnTo>
                    <a:pt x="1259" y="1433"/>
                  </a:lnTo>
                  <a:lnTo>
                    <a:pt x="1232" y="1436"/>
                  </a:lnTo>
                  <a:lnTo>
                    <a:pt x="1231" y="1436"/>
                  </a:lnTo>
                  <a:lnTo>
                    <a:pt x="1205" y="1433"/>
                  </a:lnTo>
                  <a:lnTo>
                    <a:pt x="1179" y="1425"/>
                  </a:lnTo>
                  <a:lnTo>
                    <a:pt x="1156" y="1413"/>
                  </a:lnTo>
                  <a:lnTo>
                    <a:pt x="1137" y="1398"/>
                  </a:lnTo>
                  <a:lnTo>
                    <a:pt x="1121" y="1377"/>
                  </a:lnTo>
                  <a:lnTo>
                    <a:pt x="1107" y="1355"/>
                  </a:lnTo>
                  <a:lnTo>
                    <a:pt x="1100" y="1330"/>
                  </a:lnTo>
                  <a:lnTo>
                    <a:pt x="1097" y="1302"/>
                  </a:lnTo>
                  <a:lnTo>
                    <a:pt x="1092" y="317"/>
                  </a:lnTo>
                  <a:lnTo>
                    <a:pt x="1092" y="316"/>
                  </a:lnTo>
                  <a:lnTo>
                    <a:pt x="1090" y="305"/>
                  </a:lnTo>
                  <a:lnTo>
                    <a:pt x="1084" y="296"/>
                  </a:lnTo>
                  <a:lnTo>
                    <a:pt x="1074" y="290"/>
                  </a:lnTo>
                  <a:lnTo>
                    <a:pt x="1064" y="288"/>
                  </a:lnTo>
                  <a:lnTo>
                    <a:pt x="1053" y="290"/>
                  </a:lnTo>
                  <a:lnTo>
                    <a:pt x="1044" y="296"/>
                  </a:lnTo>
                  <a:lnTo>
                    <a:pt x="1038" y="305"/>
                  </a:lnTo>
                  <a:lnTo>
                    <a:pt x="1036" y="316"/>
                  </a:lnTo>
                  <a:lnTo>
                    <a:pt x="1036" y="395"/>
                  </a:lnTo>
                  <a:lnTo>
                    <a:pt x="1036" y="468"/>
                  </a:lnTo>
                  <a:lnTo>
                    <a:pt x="1036" y="535"/>
                  </a:lnTo>
                  <a:lnTo>
                    <a:pt x="1036" y="598"/>
                  </a:lnTo>
                  <a:lnTo>
                    <a:pt x="1036" y="655"/>
                  </a:lnTo>
                  <a:lnTo>
                    <a:pt x="1036" y="707"/>
                  </a:lnTo>
                  <a:lnTo>
                    <a:pt x="1037" y="757"/>
                  </a:lnTo>
                  <a:lnTo>
                    <a:pt x="1037" y="801"/>
                  </a:lnTo>
                  <a:lnTo>
                    <a:pt x="1037" y="842"/>
                  </a:lnTo>
                  <a:lnTo>
                    <a:pt x="1037" y="880"/>
                  </a:lnTo>
                  <a:lnTo>
                    <a:pt x="1037" y="913"/>
                  </a:lnTo>
                  <a:lnTo>
                    <a:pt x="1037" y="945"/>
                  </a:lnTo>
                  <a:lnTo>
                    <a:pt x="1037" y="975"/>
                  </a:lnTo>
                  <a:lnTo>
                    <a:pt x="1037" y="1001"/>
                  </a:lnTo>
                  <a:lnTo>
                    <a:pt x="1037" y="1027"/>
                  </a:lnTo>
                  <a:lnTo>
                    <a:pt x="1037" y="1050"/>
                  </a:lnTo>
                  <a:lnTo>
                    <a:pt x="1037" y="1073"/>
                  </a:lnTo>
                  <a:lnTo>
                    <a:pt x="1037" y="1095"/>
                  </a:lnTo>
                  <a:lnTo>
                    <a:pt x="1037" y="1115"/>
                  </a:lnTo>
                  <a:lnTo>
                    <a:pt x="1037" y="1135"/>
                  </a:lnTo>
                  <a:lnTo>
                    <a:pt x="1038" y="1156"/>
                  </a:lnTo>
                  <a:lnTo>
                    <a:pt x="1038" y="1177"/>
                  </a:lnTo>
                  <a:lnTo>
                    <a:pt x="1038" y="1199"/>
                  </a:lnTo>
                  <a:lnTo>
                    <a:pt x="1038" y="1221"/>
                  </a:lnTo>
                  <a:lnTo>
                    <a:pt x="1038" y="1245"/>
                  </a:lnTo>
                  <a:lnTo>
                    <a:pt x="1038" y="1271"/>
                  </a:lnTo>
                  <a:lnTo>
                    <a:pt x="1038" y="1297"/>
                  </a:lnTo>
                  <a:lnTo>
                    <a:pt x="1038" y="1327"/>
                  </a:lnTo>
                  <a:lnTo>
                    <a:pt x="1038" y="1359"/>
                  </a:lnTo>
                  <a:lnTo>
                    <a:pt x="1038" y="1392"/>
                  </a:lnTo>
                  <a:lnTo>
                    <a:pt x="1038" y="1430"/>
                  </a:lnTo>
                  <a:lnTo>
                    <a:pt x="1039" y="1471"/>
                  </a:lnTo>
                  <a:lnTo>
                    <a:pt x="1039" y="1516"/>
                  </a:lnTo>
                  <a:lnTo>
                    <a:pt x="1039" y="1564"/>
                  </a:lnTo>
                  <a:lnTo>
                    <a:pt x="1039" y="1618"/>
                  </a:lnTo>
                  <a:lnTo>
                    <a:pt x="1039" y="1675"/>
                  </a:lnTo>
                  <a:lnTo>
                    <a:pt x="1039" y="1737"/>
                  </a:lnTo>
                  <a:lnTo>
                    <a:pt x="1039" y="1805"/>
                  </a:lnTo>
                  <a:lnTo>
                    <a:pt x="1039" y="1879"/>
                  </a:lnTo>
                  <a:lnTo>
                    <a:pt x="1039" y="1958"/>
                  </a:lnTo>
                  <a:lnTo>
                    <a:pt x="1039" y="2043"/>
                  </a:lnTo>
                  <a:lnTo>
                    <a:pt x="1039" y="2135"/>
                  </a:lnTo>
                  <a:lnTo>
                    <a:pt x="1039" y="2233"/>
                  </a:lnTo>
                  <a:lnTo>
                    <a:pt x="1039" y="2339"/>
                  </a:lnTo>
                  <a:lnTo>
                    <a:pt x="1039" y="2451"/>
                  </a:lnTo>
                  <a:lnTo>
                    <a:pt x="1039" y="2572"/>
                  </a:lnTo>
                  <a:lnTo>
                    <a:pt x="1037" y="2601"/>
                  </a:lnTo>
                  <a:lnTo>
                    <a:pt x="1028" y="2628"/>
                  </a:lnTo>
                  <a:lnTo>
                    <a:pt x="1017" y="2653"/>
                  </a:lnTo>
                  <a:lnTo>
                    <a:pt x="1001" y="2675"/>
                  </a:lnTo>
                  <a:lnTo>
                    <a:pt x="981" y="2695"/>
                  </a:lnTo>
                  <a:lnTo>
                    <a:pt x="959" y="2711"/>
                  </a:lnTo>
                  <a:lnTo>
                    <a:pt x="934" y="2722"/>
                  </a:lnTo>
                  <a:lnTo>
                    <a:pt x="906" y="2731"/>
                  </a:lnTo>
                  <a:lnTo>
                    <a:pt x="878" y="2733"/>
                  </a:lnTo>
                  <a:lnTo>
                    <a:pt x="849" y="2731"/>
                  </a:lnTo>
                  <a:lnTo>
                    <a:pt x="821" y="2722"/>
                  </a:lnTo>
                  <a:lnTo>
                    <a:pt x="797" y="2711"/>
                  </a:lnTo>
                  <a:lnTo>
                    <a:pt x="774" y="2695"/>
                  </a:lnTo>
                  <a:lnTo>
                    <a:pt x="755" y="2675"/>
                  </a:lnTo>
                  <a:lnTo>
                    <a:pt x="738" y="2653"/>
                  </a:lnTo>
                  <a:lnTo>
                    <a:pt x="727" y="2628"/>
                  </a:lnTo>
                  <a:lnTo>
                    <a:pt x="719" y="2601"/>
                  </a:lnTo>
                  <a:lnTo>
                    <a:pt x="717" y="2572"/>
                  </a:lnTo>
                  <a:lnTo>
                    <a:pt x="717" y="1286"/>
                  </a:lnTo>
                  <a:lnTo>
                    <a:pt x="647" y="1286"/>
                  </a:lnTo>
                  <a:lnTo>
                    <a:pt x="647" y="2572"/>
                  </a:lnTo>
                  <a:lnTo>
                    <a:pt x="644" y="2601"/>
                  </a:lnTo>
                  <a:lnTo>
                    <a:pt x="637" y="2628"/>
                  </a:lnTo>
                  <a:lnTo>
                    <a:pt x="625" y="2653"/>
                  </a:lnTo>
                  <a:lnTo>
                    <a:pt x="609" y="2675"/>
                  </a:lnTo>
                  <a:lnTo>
                    <a:pt x="590" y="2695"/>
                  </a:lnTo>
                  <a:lnTo>
                    <a:pt x="567" y="2711"/>
                  </a:lnTo>
                  <a:lnTo>
                    <a:pt x="543" y="2722"/>
                  </a:lnTo>
                  <a:lnTo>
                    <a:pt x="515" y="2731"/>
                  </a:lnTo>
                  <a:lnTo>
                    <a:pt x="487" y="2733"/>
                  </a:lnTo>
                  <a:lnTo>
                    <a:pt x="457" y="2731"/>
                  </a:lnTo>
                  <a:lnTo>
                    <a:pt x="430" y="2722"/>
                  </a:lnTo>
                  <a:lnTo>
                    <a:pt x="405" y="2711"/>
                  </a:lnTo>
                  <a:lnTo>
                    <a:pt x="382" y="2695"/>
                  </a:lnTo>
                  <a:lnTo>
                    <a:pt x="363" y="2675"/>
                  </a:lnTo>
                  <a:lnTo>
                    <a:pt x="347" y="2653"/>
                  </a:lnTo>
                  <a:lnTo>
                    <a:pt x="335" y="2628"/>
                  </a:lnTo>
                  <a:lnTo>
                    <a:pt x="328" y="2601"/>
                  </a:lnTo>
                  <a:lnTo>
                    <a:pt x="325" y="2572"/>
                  </a:lnTo>
                  <a:lnTo>
                    <a:pt x="325" y="317"/>
                  </a:lnTo>
                  <a:lnTo>
                    <a:pt x="323" y="307"/>
                  </a:lnTo>
                  <a:lnTo>
                    <a:pt x="318" y="299"/>
                  </a:lnTo>
                  <a:lnTo>
                    <a:pt x="309" y="294"/>
                  </a:lnTo>
                  <a:lnTo>
                    <a:pt x="299" y="292"/>
                  </a:lnTo>
                  <a:lnTo>
                    <a:pt x="289" y="294"/>
                  </a:lnTo>
                  <a:lnTo>
                    <a:pt x="281" y="299"/>
                  </a:lnTo>
                  <a:lnTo>
                    <a:pt x="276" y="307"/>
                  </a:lnTo>
                  <a:lnTo>
                    <a:pt x="273" y="317"/>
                  </a:lnTo>
                  <a:lnTo>
                    <a:pt x="268" y="1302"/>
                  </a:lnTo>
                  <a:lnTo>
                    <a:pt x="265" y="1330"/>
                  </a:lnTo>
                  <a:lnTo>
                    <a:pt x="257" y="1355"/>
                  </a:lnTo>
                  <a:lnTo>
                    <a:pt x="245" y="1377"/>
                  </a:lnTo>
                  <a:lnTo>
                    <a:pt x="228" y="1398"/>
                  </a:lnTo>
                  <a:lnTo>
                    <a:pt x="209" y="1413"/>
                  </a:lnTo>
                  <a:lnTo>
                    <a:pt x="186" y="1425"/>
                  </a:lnTo>
                  <a:lnTo>
                    <a:pt x="161" y="1433"/>
                  </a:lnTo>
                  <a:lnTo>
                    <a:pt x="134" y="1436"/>
                  </a:lnTo>
                  <a:lnTo>
                    <a:pt x="133" y="1436"/>
                  </a:lnTo>
                  <a:lnTo>
                    <a:pt x="107" y="1433"/>
                  </a:lnTo>
                  <a:lnTo>
                    <a:pt x="81" y="1425"/>
                  </a:lnTo>
                  <a:lnTo>
                    <a:pt x="58" y="1413"/>
                  </a:lnTo>
                  <a:lnTo>
                    <a:pt x="39" y="1397"/>
                  </a:lnTo>
                  <a:lnTo>
                    <a:pt x="23" y="1376"/>
                  </a:lnTo>
                  <a:lnTo>
                    <a:pt x="10" y="1354"/>
                  </a:lnTo>
                  <a:lnTo>
                    <a:pt x="3" y="1328"/>
                  </a:lnTo>
                  <a:lnTo>
                    <a:pt x="0" y="1301"/>
                  </a:lnTo>
                  <a:lnTo>
                    <a:pt x="5" y="316"/>
                  </a:lnTo>
                  <a:lnTo>
                    <a:pt x="8" y="273"/>
                  </a:lnTo>
                  <a:lnTo>
                    <a:pt x="16" y="232"/>
                  </a:lnTo>
                  <a:lnTo>
                    <a:pt x="31" y="194"/>
                  </a:lnTo>
                  <a:lnTo>
                    <a:pt x="49" y="157"/>
                  </a:lnTo>
                  <a:lnTo>
                    <a:pt x="72" y="123"/>
                  </a:lnTo>
                  <a:lnTo>
                    <a:pt x="98" y="93"/>
                  </a:lnTo>
                  <a:lnTo>
                    <a:pt x="129" y="66"/>
                  </a:lnTo>
                  <a:lnTo>
                    <a:pt x="163" y="43"/>
                  </a:lnTo>
                  <a:lnTo>
                    <a:pt x="200" y="25"/>
                  </a:lnTo>
                  <a:lnTo>
                    <a:pt x="239" y="11"/>
                  </a:lnTo>
                  <a:lnTo>
                    <a:pt x="280" y="3"/>
                  </a:lnTo>
                  <a:lnTo>
                    <a:pt x="32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6" name="Freeform 37"/>
            <p:cNvSpPr>
              <a:spLocks/>
            </p:cNvSpPr>
            <p:nvPr/>
          </p:nvSpPr>
          <p:spPr bwMode="auto">
            <a:xfrm>
              <a:off x="1562" y="1310"/>
              <a:ext cx="139" cy="139"/>
            </a:xfrm>
            <a:custGeom>
              <a:avLst/>
              <a:gdLst>
                <a:gd name="T0" fmla="*/ 278 w 556"/>
                <a:gd name="T1" fmla="*/ 0 h 556"/>
                <a:gd name="T2" fmla="*/ 319 w 556"/>
                <a:gd name="T3" fmla="*/ 3 h 556"/>
                <a:gd name="T4" fmla="*/ 358 w 556"/>
                <a:gd name="T5" fmla="*/ 11 h 556"/>
                <a:gd name="T6" fmla="*/ 395 w 556"/>
                <a:gd name="T7" fmla="*/ 26 h 556"/>
                <a:gd name="T8" fmla="*/ 429 w 556"/>
                <a:gd name="T9" fmla="*/ 45 h 556"/>
                <a:gd name="T10" fmla="*/ 461 w 556"/>
                <a:gd name="T11" fmla="*/ 68 h 556"/>
                <a:gd name="T12" fmla="*/ 488 w 556"/>
                <a:gd name="T13" fmla="*/ 95 h 556"/>
                <a:gd name="T14" fmla="*/ 511 w 556"/>
                <a:gd name="T15" fmla="*/ 127 h 556"/>
                <a:gd name="T16" fmla="*/ 530 w 556"/>
                <a:gd name="T17" fmla="*/ 161 h 556"/>
                <a:gd name="T18" fmla="*/ 544 w 556"/>
                <a:gd name="T19" fmla="*/ 198 h 556"/>
                <a:gd name="T20" fmla="*/ 553 w 556"/>
                <a:gd name="T21" fmla="*/ 237 h 556"/>
                <a:gd name="T22" fmla="*/ 556 w 556"/>
                <a:gd name="T23" fmla="*/ 278 h 556"/>
                <a:gd name="T24" fmla="*/ 553 w 556"/>
                <a:gd name="T25" fmla="*/ 320 h 556"/>
                <a:gd name="T26" fmla="*/ 544 w 556"/>
                <a:gd name="T27" fmla="*/ 359 h 556"/>
                <a:gd name="T28" fmla="*/ 530 w 556"/>
                <a:gd name="T29" fmla="*/ 395 h 556"/>
                <a:gd name="T30" fmla="*/ 511 w 556"/>
                <a:gd name="T31" fmla="*/ 429 h 556"/>
                <a:gd name="T32" fmla="*/ 488 w 556"/>
                <a:gd name="T33" fmla="*/ 461 h 556"/>
                <a:gd name="T34" fmla="*/ 461 w 556"/>
                <a:gd name="T35" fmla="*/ 488 h 556"/>
                <a:gd name="T36" fmla="*/ 429 w 556"/>
                <a:gd name="T37" fmla="*/ 511 h 556"/>
                <a:gd name="T38" fmla="*/ 395 w 556"/>
                <a:gd name="T39" fmla="*/ 531 h 556"/>
                <a:gd name="T40" fmla="*/ 358 w 556"/>
                <a:gd name="T41" fmla="*/ 544 h 556"/>
                <a:gd name="T42" fmla="*/ 319 w 556"/>
                <a:gd name="T43" fmla="*/ 553 h 556"/>
                <a:gd name="T44" fmla="*/ 278 w 556"/>
                <a:gd name="T45" fmla="*/ 556 h 556"/>
                <a:gd name="T46" fmla="*/ 236 w 556"/>
                <a:gd name="T47" fmla="*/ 553 h 556"/>
                <a:gd name="T48" fmla="*/ 197 w 556"/>
                <a:gd name="T49" fmla="*/ 544 h 556"/>
                <a:gd name="T50" fmla="*/ 160 w 556"/>
                <a:gd name="T51" fmla="*/ 531 h 556"/>
                <a:gd name="T52" fmla="*/ 127 w 556"/>
                <a:gd name="T53" fmla="*/ 511 h 556"/>
                <a:gd name="T54" fmla="*/ 95 w 556"/>
                <a:gd name="T55" fmla="*/ 488 h 556"/>
                <a:gd name="T56" fmla="*/ 68 w 556"/>
                <a:gd name="T57" fmla="*/ 461 h 556"/>
                <a:gd name="T58" fmla="*/ 45 w 556"/>
                <a:gd name="T59" fmla="*/ 429 h 556"/>
                <a:gd name="T60" fmla="*/ 25 w 556"/>
                <a:gd name="T61" fmla="*/ 395 h 556"/>
                <a:gd name="T62" fmla="*/ 12 w 556"/>
                <a:gd name="T63" fmla="*/ 359 h 556"/>
                <a:gd name="T64" fmla="*/ 3 w 556"/>
                <a:gd name="T65" fmla="*/ 320 h 556"/>
                <a:gd name="T66" fmla="*/ 0 w 556"/>
                <a:gd name="T67" fmla="*/ 278 h 556"/>
                <a:gd name="T68" fmla="*/ 3 w 556"/>
                <a:gd name="T69" fmla="*/ 237 h 556"/>
                <a:gd name="T70" fmla="*/ 12 w 556"/>
                <a:gd name="T71" fmla="*/ 198 h 556"/>
                <a:gd name="T72" fmla="*/ 25 w 556"/>
                <a:gd name="T73" fmla="*/ 161 h 556"/>
                <a:gd name="T74" fmla="*/ 45 w 556"/>
                <a:gd name="T75" fmla="*/ 127 h 556"/>
                <a:gd name="T76" fmla="*/ 68 w 556"/>
                <a:gd name="T77" fmla="*/ 95 h 556"/>
                <a:gd name="T78" fmla="*/ 95 w 556"/>
                <a:gd name="T79" fmla="*/ 68 h 556"/>
                <a:gd name="T80" fmla="*/ 127 w 556"/>
                <a:gd name="T81" fmla="*/ 45 h 556"/>
                <a:gd name="T82" fmla="*/ 160 w 556"/>
                <a:gd name="T83" fmla="*/ 26 h 556"/>
                <a:gd name="T84" fmla="*/ 197 w 556"/>
                <a:gd name="T85" fmla="*/ 11 h 556"/>
                <a:gd name="T86" fmla="*/ 236 w 556"/>
                <a:gd name="T87" fmla="*/ 3 h 556"/>
                <a:gd name="T88" fmla="*/ 278 w 556"/>
                <a:gd name="T89" fmla="*/ 0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56" h="556">
                  <a:moveTo>
                    <a:pt x="278" y="0"/>
                  </a:moveTo>
                  <a:lnTo>
                    <a:pt x="319" y="3"/>
                  </a:lnTo>
                  <a:lnTo>
                    <a:pt x="358" y="11"/>
                  </a:lnTo>
                  <a:lnTo>
                    <a:pt x="395" y="26"/>
                  </a:lnTo>
                  <a:lnTo>
                    <a:pt x="429" y="45"/>
                  </a:lnTo>
                  <a:lnTo>
                    <a:pt x="461" y="68"/>
                  </a:lnTo>
                  <a:lnTo>
                    <a:pt x="488" y="95"/>
                  </a:lnTo>
                  <a:lnTo>
                    <a:pt x="511" y="127"/>
                  </a:lnTo>
                  <a:lnTo>
                    <a:pt x="530" y="161"/>
                  </a:lnTo>
                  <a:lnTo>
                    <a:pt x="544" y="198"/>
                  </a:lnTo>
                  <a:lnTo>
                    <a:pt x="553" y="237"/>
                  </a:lnTo>
                  <a:lnTo>
                    <a:pt x="556" y="278"/>
                  </a:lnTo>
                  <a:lnTo>
                    <a:pt x="553" y="320"/>
                  </a:lnTo>
                  <a:lnTo>
                    <a:pt x="544" y="359"/>
                  </a:lnTo>
                  <a:lnTo>
                    <a:pt x="530" y="395"/>
                  </a:lnTo>
                  <a:lnTo>
                    <a:pt x="511" y="429"/>
                  </a:lnTo>
                  <a:lnTo>
                    <a:pt x="488" y="461"/>
                  </a:lnTo>
                  <a:lnTo>
                    <a:pt x="461" y="488"/>
                  </a:lnTo>
                  <a:lnTo>
                    <a:pt x="429" y="511"/>
                  </a:lnTo>
                  <a:lnTo>
                    <a:pt x="395" y="531"/>
                  </a:lnTo>
                  <a:lnTo>
                    <a:pt x="358" y="544"/>
                  </a:lnTo>
                  <a:lnTo>
                    <a:pt x="319" y="553"/>
                  </a:lnTo>
                  <a:lnTo>
                    <a:pt x="278" y="556"/>
                  </a:lnTo>
                  <a:lnTo>
                    <a:pt x="236" y="553"/>
                  </a:lnTo>
                  <a:lnTo>
                    <a:pt x="197" y="544"/>
                  </a:lnTo>
                  <a:lnTo>
                    <a:pt x="160" y="531"/>
                  </a:lnTo>
                  <a:lnTo>
                    <a:pt x="127" y="511"/>
                  </a:lnTo>
                  <a:lnTo>
                    <a:pt x="95" y="488"/>
                  </a:lnTo>
                  <a:lnTo>
                    <a:pt x="68" y="461"/>
                  </a:lnTo>
                  <a:lnTo>
                    <a:pt x="45" y="429"/>
                  </a:lnTo>
                  <a:lnTo>
                    <a:pt x="25" y="395"/>
                  </a:lnTo>
                  <a:lnTo>
                    <a:pt x="12" y="359"/>
                  </a:lnTo>
                  <a:lnTo>
                    <a:pt x="3" y="320"/>
                  </a:lnTo>
                  <a:lnTo>
                    <a:pt x="0" y="278"/>
                  </a:lnTo>
                  <a:lnTo>
                    <a:pt x="3" y="237"/>
                  </a:lnTo>
                  <a:lnTo>
                    <a:pt x="12" y="198"/>
                  </a:lnTo>
                  <a:lnTo>
                    <a:pt x="25" y="161"/>
                  </a:lnTo>
                  <a:lnTo>
                    <a:pt x="45" y="127"/>
                  </a:lnTo>
                  <a:lnTo>
                    <a:pt x="68" y="95"/>
                  </a:lnTo>
                  <a:lnTo>
                    <a:pt x="95" y="68"/>
                  </a:lnTo>
                  <a:lnTo>
                    <a:pt x="127" y="45"/>
                  </a:lnTo>
                  <a:lnTo>
                    <a:pt x="160" y="26"/>
                  </a:lnTo>
                  <a:lnTo>
                    <a:pt x="197" y="11"/>
                  </a:lnTo>
                  <a:lnTo>
                    <a:pt x="236" y="3"/>
                  </a:lnTo>
                  <a:lnTo>
                    <a:pt x="27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7" name="Freeform 38"/>
            <p:cNvSpPr>
              <a:spLocks/>
            </p:cNvSpPr>
            <p:nvPr/>
          </p:nvSpPr>
          <p:spPr bwMode="auto">
            <a:xfrm>
              <a:off x="1839" y="1436"/>
              <a:ext cx="393" cy="279"/>
            </a:xfrm>
            <a:custGeom>
              <a:avLst/>
              <a:gdLst>
                <a:gd name="T0" fmla="*/ 104 w 1571"/>
                <a:gd name="T1" fmla="*/ 5 h 1117"/>
                <a:gd name="T2" fmla="*/ 144 w 1571"/>
                <a:gd name="T3" fmla="*/ 38 h 1117"/>
                <a:gd name="T4" fmla="*/ 188 w 1571"/>
                <a:gd name="T5" fmla="*/ 112 h 1117"/>
                <a:gd name="T6" fmla="*/ 217 w 1571"/>
                <a:gd name="T7" fmla="*/ 160 h 1117"/>
                <a:gd name="T8" fmla="*/ 239 w 1571"/>
                <a:gd name="T9" fmla="*/ 199 h 1117"/>
                <a:gd name="T10" fmla="*/ 266 w 1571"/>
                <a:gd name="T11" fmla="*/ 244 h 1117"/>
                <a:gd name="T12" fmla="*/ 306 w 1571"/>
                <a:gd name="T13" fmla="*/ 311 h 1117"/>
                <a:gd name="T14" fmla="*/ 565 w 1571"/>
                <a:gd name="T15" fmla="*/ 318 h 1117"/>
                <a:gd name="T16" fmla="*/ 618 w 1571"/>
                <a:gd name="T17" fmla="*/ 372 h 1117"/>
                <a:gd name="T18" fmla="*/ 677 w 1571"/>
                <a:gd name="T19" fmla="*/ 445 h 1117"/>
                <a:gd name="T20" fmla="*/ 714 w 1571"/>
                <a:gd name="T21" fmla="*/ 490 h 1117"/>
                <a:gd name="T22" fmla="*/ 736 w 1571"/>
                <a:gd name="T23" fmla="*/ 518 h 1117"/>
                <a:gd name="T24" fmla="*/ 752 w 1571"/>
                <a:gd name="T25" fmla="*/ 537 h 1117"/>
                <a:gd name="T26" fmla="*/ 768 w 1571"/>
                <a:gd name="T27" fmla="*/ 557 h 1117"/>
                <a:gd name="T28" fmla="*/ 790 w 1571"/>
                <a:gd name="T29" fmla="*/ 572 h 1117"/>
                <a:gd name="T30" fmla="*/ 846 w 1571"/>
                <a:gd name="T31" fmla="*/ 562 h 1117"/>
                <a:gd name="T32" fmla="*/ 924 w 1571"/>
                <a:gd name="T33" fmla="*/ 548 h 1117"/>
                <a:gd name="T34" fmla="*/ 998 w 1571"/>
                <a:gd name="T35" fmla="*/ 534 h 1117"/>
                <a:gd name="T36" fmla="*/ 1041 w 1571"/>
                <a:gd name="T37" fmla="*/ 526 h 1117"/>
                <a:gd name="T38" fmla="*/ 1097 w 1571"/>
                <a:gd name="T39" fmla="*/ 536 h 1117"/>
                <a:gd name="T40" fmla="*/ 1183 w 1571"/>
                <a:gd name="T41" fmla="*/ 619 h 1117"/>
                <a:gd name="T42" fmla="*/ 1267 w 1571"/>
                <a:gd name="T43" fmla="*/ 703 h 1117"/>
                <a:gd name="T44" fmla="*/ 1324 w 1571"/>
                <a:gd name="T45" fmla="*/ 761 h 1117"/>
                <a:gd name="T46" fmla="*/ 1362 w 1571"/>
                <a:gd name="T47" fmla="*/ 797 h 1117"/>
                <a:gd name="T48" fmla="*/ 1384 w 1571"/>
                <a:gd name="T49" fmla="*/ 820 h 1117"/>
                <a:gd name="T50" fmla="*/ 1396 w 1571"/>
                <a:gd name="T51" fmla="*/ 832 h 1117"/>
                <a:gd name="T52" fmla="*/ 1404 w 1571"/>
                <a:gd name="T53" fmla="*/ 840 h 1117"/>
                <a:gd name="T54" fmla="*/ 1411 w 1571"/>
                <a:gd name="T55" fmla="*/ 848 h 1117"/>
                <a:gd name="T56" fmla="*/ 1415 w 1571"/>
                <a:gd name="T57" fmla="*/ 826 h 1117"/>
                <a:gd name="T58" fmla="*/ 1415 w 1571"/>
                <a:gd name="T59" fmla="*/ 804 h 1117"/>
                <a:gd name="T60" fmla="*/ 1415 w 1571"/>
                <a:gd name="T61" fmla="*/ 771 h 1117"/>
                <a:gd name="T62" fmla="*/ 1417 w 1571"/>
                <a:gd name="T63" fmla="*/ 707 h 1117"/>
                <a:gd name="T64" fmla="*/ 1453 w 1571"/>
                <a:gd name="T65" fmla="*/ 660 h 1117"/>
                <a:gd name="T66" fmla="*/ 1514 w 1571"/>
                <a:gd name="T67" fmla="*/ 653 h 1117"/>
                <a:gd name="T68" fmla="*/ 1560 w 1571"/>
                <a:gd name="T69" fmla="*/ 689 h 1117"/>
                <a:gd name="T70" fmla="*/ 1571 w 1571"/>
                <a:gd name="T71" fmla="*/ 1039 h 1117"/>
                <a:gd name="T72" fmla="*/ 1547 w 1571"/>
                <a:gd name="T73" fmla="*/ 1094 h 1117"/>
                <a:gd name="T74" fmla="*/ 1493 w 1571"/>
                <a:gd name="T75" fmla="*/ 1117 h 1117"/>
                <a:gd name="T76" fmla="*/ 1142 w 1571"/>
                <a:gd name="T77" fmla="*/ 1107 h 1117"/>
                <a:gd name="T78" fmla="*/ 1106 w 1571"/>
                <a:gd name="T79" fmla="*/ 1060 h 1117"/>
                <a:gd name="T80" fmla="*/ 1114 w 1571"/>
                <a:gd name="T81" fmla="*/ 1000 h 1117"/>
                <a:gd name="T82" fmla="*/ 1160 w 1571"/>
                <a:gd name="T83" fmla="*/ 964 h 1117"/>
                <a:gd name="T84" fmla="*/ 1225 w 1571"/>
                <a:gd name="T85" fmla="*/ 961 h 1117"/>
                <a:gd name="T86" fmla="*/ 1257 w 1571"/>
                <a:gd name="T87" fmla="*/ 961 h 1117"/>
                <a:gd name="T88" fmla="*/ 1279 w 1571"/>
                <a:gd name="T89" fmla="*/ 961 h 1117"/>
                <a:gd name="T90" fmla="*/ 1301 w 1571"/>
                <a:gd name="T91" fmla="*/ 958 h 1117"/>
                <a:gd name="T92" fmla="*/ 1292 w 1571"/>
                <a:gd name="T93" fmla="*/ 950 h 1117"/>
                <a:gd name="T94" fmla="*/ 1284 w 1571"/>
                <a:gd name="T95" fmla="*/ 942 h 1117"/>
                <a:gd name="T96" fmla="*/ 1270 w 1571"/>
                <a:gd name="T97" fmla="*/ 927 h 1117"/>
                <a:gd name="T98" fmla="*/ 1243 w 1571"/>
                <a:gd name="T99" fmla="*/ 900 h 1117"/>
                <a:gd name="T100" fmla="*/ 1198 w 1571"/>
                <a:gd name="T101" fmla="*/ 856 h 1117"/>
                <a:gd name="T102" fmla="*/ 1130 w 1571"/>
                <a:gd name="T103" fmla="*/ 786 h 1117"/>
                <a:gd name="T104" fmla="*/ 1030 w 1571"/>
                <a:gd name="T105" fmla="*/ 687 h 1117"/>
                <a:gd name="T106" fmla="*/ 895 w 1571"/>
                <a:gd name="T107" fmla="*/ 711 h 1117"/>
                <a:gd name="T108" fmla="*/ 764 w 1571"/>
                <a:gd name="T109" fmla="*/ 736 h 1117"/>
                <a:gd name="T110" fmla="*/ 716 w 1571"/>
                <a:gd name="T111" fmla="*/ 729 h 1117"/>
                <a:gd name="T112" fmla="*/ 494 w 1571"/>
                <a:gd name="T113" fmla="*/ 467 h 1117"/>
                <a:gd name="T114" fmla="*/ 223 w 1571"/>
                <a:gd name="T115" fmla="*/ 457 h 1117"/>
                <a:gd name="T116" fmla="*/ 10 w 1571"/>
                <a:gd name="T117" fmla="*/ 117 h 1117"/>
                <a:gd name="T118" fmla="*/ 0 w 1571"/>
                <a:gd name="T119" fmla="*/ 66 h 1117"/>
                <a:gd name="T120" fmla="*/ 23 w 1571"/>
                <a:gd name="T121" fmla="*/ 21 h 1117"/>
                <a:gd name="T122" fmla="*/ 71 w 1571"/>
                <a:gd name="T123" fmla="*/ 0 h 1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71" h="1117">
                  <a:moveTo>
                    <a:pt x="71" y="0"/>
                  </a:moveTo>
                  <a:lnTo>
                    <a:pt x="88" y="0"/>
                  </a:lnTo>
                  <a:lnTo>
                    <a:pt x="104" y="5"/>
                  </a:lnTo>
                  <a:lnTo>
                    <a:pt x="120" y="12"/>
                  </a:lnTo>
                  <a:lnTo>
                    <a:pt x="133" y="23"/>
                  </a:lnTo>
                  <a:lnTo>
                    <a:pt x="144" y="38"/>
                  </a:lnTo>
                  <a:lnTo>
                    <a:pt x="162" y="66"/>
                  </a:lnTo>
                  <a:lnTo>
                    <a:pt x="176" y="91"/>
                  </a:lnTo>
                  <a:lnTo>
                    <a:pt x="188" y="112"/>
                  </a:lnTo>
                  <a:lnTo>
                    <a:pt x="198" y="130"/>
                  </a:lnTo>
                  <a:lnTo>
                    <a:pt x="208" y="145"/>
                  </a:lnTo>
                  <a:lnTo>
                    <a:pt x="217" y="160"/>
                  </a:lnTo>
                  <a:lnTo>
                    <a:pt x="224" y="173"/>
                  </a:lnTo>
                  <a:lnTo>
                    <a:pt x="232" y="186"/>
                  </a:lnTo>
                  <a:lnTo>
                    <a:pt x="239" y="199"/>
                  </a:lnTo>
                  <a:lnTo>
                    <a:pt x="248" y="212"/>
                  </a:lnTo>
                  <a:lnTo>
                    <a:pt x="256" y="227"/>
                  </a:lnTo>
                  <a:lnTo>
                    <a:pt x="266" y="244"/>
                  </a:lnTo>
                  <a:lnTo>
                    <a:pt x="277" y="263"/>
                  </a:lnTo>
                  <a:lnTo>
                    <a:pt x="291" y="286"/>
                  </a:lnTo>
                  <a:lnTo>
                    <a:pt x="306" y="311"/>
                  </a:lnTo>
                  <a:lnTo>
                    <a:pt x="532" y="311"/>
                  </a:lnTo>
                  <a:lnTo>
                    <a:pt x="549" y="313"/>
                  </a:lnTo>
                  <a:lnTo>
                    <a:pt x="565" y="318"/>
                  </a:lnTo>
                  <a:lnTo>
                    <a:pt x="581" y="328"/>
                  </a:lnTo>
                  <a:lnTo>
                    <a:pt x="593" y="340"/>
                  </a:lnTo>
                  <a:lnTo>
                    <a:pt x="618" y="372"/>
                  </a:lnTo>
                  <a:lnTo>
                    <a:pt x="641" y="400"/>
                  </a:lnTo>
                  <a:lnTo>
                    <a:pt x="660" y="424"/>
                  </a:lnTo>
                  <a:lnTo>
                    <a:pt x="677" y="445"/>
                  </a:lnTo>
                  <a:lnTo>
                    <a:pt x="691" y="463"/>
                  </a:lnTo>
                  <a:lnTo>
                    <a:pt x="703" y="478"/>
                  </a:lnTo>
                  <a:lnTo>
                    <a:pt x="714" y="490"/>
                  </a:lnTo>
                  <a:lnTo>
                    <a:pt x="723" y="502"/>
                  </a:lnTo>
                  <a:lnTo>
                    <a:pt x="730" y="511"/>
                  </a:lnTo>
                  <a:lnTo>
                    <a:pt x="736" y="518"/>
                  </a:lnTo>
                  <a:lnTo>
                    <a:pt x="742" y="525"/>
                  </a:lnTo>
                  <a:lnTo>
                    <a:pt x="747" y="531"/>
                  </a:lnTo>
                  <a:lnTo>
                    <a:pt x="752" y="537"/>
                  </a:lnTo>
                  <a:lnTo>
                    <a:pt x="757" y="544"/>
                  </a:lnTo>
                  <a:lnTo>
                    <a:pt x="762" y="550"/>
                  </a:lnTo>
                  <a:lnTo>
                    <a:pt x="768" y="557"/>
                  </a:lnTo>
                  <a:lnTo>
                    <a:pt x="774" y="565"/>
                  </a:lnTo>
                  <a:lnTo>
                    <a:pt x="781" y="574"/>
                  </a:lnTo>
                  <a:lnTo>
                    <a:pt x="790" y="572"/>
                  </a:lnTo>
                  <a:lnTo>
                    <a:pt x="805" y="570"/>
                  </a:lnTo>
                  <a:lnTo>
                    <a:pt x="824" y="566"/>
                  </a:lnTo>
                  <a:lnTo>
                    <a:pt x="846" y="562"/>
                  </a:lnTo>
                  <a:lnTo>
                    <a:pt x="871" y="558"/>
                  </a:lnTo>
                  <a:lnTo>
                    <a:pt x="897" y="553"/>
                  </a:lnTo>
                  <a:lnTo>
                    <a:pt x="924" y="548"/>
                  </a:lnTo>
                  <a:lnTo>
                    <a:pt x="950" y="544"/>
                  </a:lnTo>
                  <a:lnTo>
                    <a:pt x="975" y="538"/>
                  </a:lnTo>
                  <a:lnTo>
                    <a:pt x="998" y="534"/>
                  </a:lnTo>
                  <a:lnTo>
                    <a:pt x="1017" y="530"/>
                  </a:lnTo>
                  <a:lnTo>
                    <a:pt x="1032" y="528"/>
                  </a:lnTo>
                  <a:lnTo>
                    <a:pt x="1041" y="526"/>
                  </a:lnTo>
                  <a:lnTo>
                    <a:pt x="1061" y="525"/>
                  </a:lnTo>
                  <a:lnTo>
                    <a:pt x="1079" y="528"/>
                  </a:lnTo>
                  <a:lnTo>
                    <a:pt x="1097" y="536"/>
                  </a:lnTo>
                  <a:lnTo>
                    <a:pt x="1111" y="548"/>
                  </a:lnTo>
                  <a:lnTo>
                    <a:pt x="1149" y="586"/>
                  </a:lnTo>
                  <a:lnTo>
                    <a:pt x="1183" y="619"/>
                  </a:lnTo>
                  <a:lnTo>
                    <a:pt x="1215" y="651"/>
                  </a:lnTo>
                  <a:lnTo>
                    <a:pt x="1242" y="679"/>
                  </a:lnTo>
                  <a:lnTo>
                    <a:pt x="1267" y="703"/>
                  </a:lnTo>
                  <a:lnTo>
                    <a:pt x="1288" y="725"/>
                  </a:lnTo>
                  <a:lnTo>
                    <a:pt x="1308" y="744"/>
                  </a:lnTo>
                  <a:lnTo>
                    <a:pt x="1324" y="761"/>
                  </a:lnTo>
                  <a:lnTo>
                    <a:pt x="1338" y="775"/>
                  </a:lnTo>
                  <a:lnTo>
                    <a:pt x="1351" y="787"/>
                  </a:lnTo>
                  <a:lnTo>
                    <a:pt x="1362" y="797"/>
                  </a:lnTo>
                  <a:lnTo>
                    <a:pt x="1370" y="807"/>
                  </a:lnTo>
                  <a:lnTo>
                    <a:pt x="1377" y="814"/>
                  </a:lnTo>
                  <a:lnTo>
                    <a:pt x="1384" y="820"/>
                  </a:lnTo>
                  <a:lnTo>
                    <a:pt x="1389" y="825"/>
                  </a:lnTo>
                  <a:lnTo>
                    <a:pt x="1393" y="829"/>
                  </a:lnTo>
                  <a:lnTo>
                    <a:pt x="1396" y="832"/>
                  </a:lnTo>
                  <a:lnTo>
                    <a:pt x="1399" y="835"/>
                  </a:lnTo>
                  <a:lnTo>
                    <a:pt x="1401" y="837"/>
                  </a:lnTo>
                  <a:lnTo>
                    <a:pt x="1404" y="840"/>
                  </a:lnTo>
                  <a:lnTo>
                    <a:pt x="1406" y="843"/>
                  </a:lnTo>
                  <a:lnTo>
                    <a:pt x="1408" y="846"/>
                  </a:lnTo>
                  <a:lnTo>
                    <a:pt x="1411" y="848"/>
                  </a:lnTo>
                  <a:lnTo>
                    <a:pt x="1415" y="852"/>
                  </a:lnTo>
                  <a:lnTo>
                    <a:pt x="1415" y="836"/>
                  </a:lnTo>
                  <a:lnTo>
                    <a:pt x="1415" y="826"/>
                  </a:lnTo>
                  <a:lnTo>
                    <a:pt x="1415" y="817"/>
                  </a:lnTo>
                  <a:lnTo>
                    <a:pt x="1415" y="810"/>
                  </a:lnTo>
                  <a:lnTo>
                    <a:pt x="1415" y="804"/>
                  </a:lnTo>
                  <a:lnTo>
                    <a:pt x="1415" y="795"/>
                  </a:lnTo>
                  <a:lnTo>
                    <a:pt x="1415" y="785"/>
                  </a:lnTo>
                  <a:lnTo>
                    <a:pt x="1415" y="771"/>
                  </a:lnTo>
                  <a:lnTo>
                    <a:pt x="1415" y="752"/>
                  </a:lnTo>
                  <a:lnTo>
                    <a:pt x="1415" y="728"/>
                  </a:lnTo>
                  <a:lnTo>
                    <a:pt x="1417" y="707"/>
                  </a:lnTo>
                  <a:lnTo>
                    <a:pt x="1426" y="689"/>
                  </a:lnTo>
                  <a:lnTo>
                    <a:pt x="1438" y="673"/>
                  </a:lnTo>
                  <a:lnTo>
                    <a:pt x="1453" y="660"/>
                  </a:lnTo>
                  <a:lnTo>
                    <a:pt x="1472" y="653"/>
                  </a:lnTo>
                  <a:lnTo>
                    <a:pt x="1493" y="650"/>
                  </a:lnTo>
                  <a:lnTo>
                    <a:pt x="1514" y="653"/>
                  </a:lnTo>
                  <a:lnTo>
                    <a:pt x="1532" y="660"/>
                  </a:lnTo>
                  <a:lnTo>
                    <a:pt x="1547" y="673"/>
                  </a:lnTo>
                  <a:lnTo>
                    <a:pt x="1560" y="689"/>
                  </a:lnTo>
                  <a:lnTo>
                    <a:pt x="1568" y="707"/>
                  </a:lnTo>
                  <a:lnTo>
                    <a:pt x="1571" y="728"/>
                  </a:lnTo>
                  <a:lnTo>
                    <a:pt x="1571" y="1039"/>
                  </a:lnTo>
                  <a:lnTo>
                    <a:pt x="1568" y="1061"/>
                  </a:lnTo>
                  <a:lnTo>
                    <a:pt x="1560" y="1079"/>
                  </a:lnTo>
                  <a:lnTo>
                    <a:pt x="1547" y="1094"/>
                  </a:lnTo>
                  <a:lnTo>
                    <a:pt x="1532" y="1107"/>
                  </a:lnTo>
                  <a:lnTo>
                    <a:pt x="1514" y="1115"/>
                  </a:lnTo>
                  <a:lnTo>
                    <a:pt x="1493" y="1117"/>
                  </a:lnTo>
                  <a:lnTo>
                    <a:pt x="1182" y="1117"/>
                  </a:lnTo>
                  <a:lnTo>
                    <a:pt x="1160" y="1115"/>
                  </a:lnTo>
                  <a:lnTo>
                    <a:pt x="1142" y="1107"/>
                  </a:lnTo>
                  <a:lnTo>
                    <a:pt x="1126" y="1094"/>
                  </a:lnTo>
                  <a:lnTo>
                    <a:pt x="1114" y="1079"/>
                  </a:lnTo>
                  <a:lnTo>
                    <a:pt x="1106" y="1060"/>
                  </a:lnTo>
                  <a:lnTo>
                    <a:pt x="1103" y="1039"/>
                  </a:lnTo>
                  <a:lnTo>
                    <a:pt x="1106" y="1019"/>
                  </a:lnTo>
                  <a:lnTo>
                    <a:pt x="1114" y="1000"/>
                  </a:lnTo>
                  <a:lnTo>
                    <a:pt x="1126" y="984"/>
                  </a:lnTo>
                  <a:lnTo>
                    <a:pt x="1142" y="973"/>
                  </a:lnTo>
                  <a:lnTo>
                    <a:pt x="1160" y="964"/>
                  </a:lnTo>
                  <a:lnTo>
                    <a:pt x="1182" y="961"/>
                  </a:lnTo>
                  <a:lnTo>
                    <a:pt x="1206" y="961"/>
                  </a:lnTo>
                  <a:lnTo>
                    <a:pt x="1225" y="961"/>
                  </a:lnTo>
                  <a:lnTo>
                    <a:pt x="1238" y="961"/>
                  </a:lnTo>
                  <a:lnTo>
                    <a:pt x="1248" y="961"/>
                  </a:lnTo>
                  <a:lnTo>
                    <a:pt x="1257" y="961"/>
                  </a:lnTo>
                  <a:lnTo>
                    <a:pt x="1264" y="961"/>
                  </a:lnTo>
                  <a:lnTo>
                    <a:pt x="1270" y="961"/>
                  </a:lnTo>
                  <a:lnTo>
                    <a:pt x="1279" y="961"/>
                  </a:lnTo>
                  <a:lnTo>
                    <a:pt x="1289" y="961"/>
                  </a:lnTo>
                  <a:lnTo>
                    <a:pt x="1304" y="962"/>
                  </a:lnTo>
                  <a:lnTo>
                    <a:pt x="1301" y="958"/>
                  </a:lnTo>
                  <a:lnTo>
                    <a:pt x="1297" y="955"/>
                  </a:lnTo>
                  <a:lnTo>
                    <a:pt x="1294" y="952"/>
                  </a:lnTo>
                  <a:lnTo>
                    <a:pt x="1292" y="950"/>
                  </a:lnTo>
                  <a:lnTo>
                    <a:pt x="1290" y="947"/>
                  </a:lnTo>
                  <a:lnTo>
                    <a:pt x="1287" y="945"/>
                  </a:lnTo>
                  <a:lnTo>
                    <a:pt x="1284" y="942"/>
                  </a:lnTo>
                  <a:lnTo>
                    <a:pt x="1281" y="938"/>
                  </a:lnTo>
                  <a:lnTo>
                    <a:pt x="1276" y="933"/>
                  </a:lnTo>
                  <a:lnTo>
                    <a:pt x="1270" y="927"/>
                  </a:lnTo>
                  <a:lnTo>
                    <a:pt x="1263" y="919"/>
                  </a:lnTo>
                  <a:lnTo>
                    <a:pt x="1254" y="911"/>
                  </a:lnTo>
                  <a:lnTo>
                    <a:pt x="1243" y="900"/>
                  </a:lnTo>
                  <a:lnTo>
                    <a:pt x="1231" y="888"/>
                  </a:lnTo>
                  <a:lnTo>
                    <a:pt x="1216" y="872"/>
                  </a:lnTo>
                  <a:lnTo>
                    <a:pt x="1198" y="856"/>
                  </a:lnTo>
                  <a:lnTo>
                    <a:pt x="1179" y="835"/>
                  </a:lnTo>
                  <a:lnTo>
                    <a:pt x="1155" y="812"/>
                  </a:lnTo>
                  <a:lnTo>
                    <a:pt x="1130" y="786"/>
                  </a:lnTo>
                  <a:lnTo>
                    <a:pt x="1100" y="757"/>
                  </a:lnTo>
                  <a:lnTo>
                    <a:pt x="1067" y="724"/>
                  </a:lnTo>
                  <a:lnTo>
                    <a:pt x="1030" y="687"/>
                  </a:lnTo>
                  <a:lnTo>
                    <a:pt x="982" y="696"/>
                  </a:lnTo>
                  <a:lnTo>
                    <a:pt x="937" y="704"/>
                  </a:lnTo>
                  <a:lnTo>
                    <a:pt x="895" y="711"/>
                  </a:lnTo>
                  <a:lnTo>
                    <a:pt x="853" y="720"/>
                  </a:lnTo>
                  <a:lnTo>
                    <a:pt x="810" y="728"/>
                  </a:lnTo>
                  <a:lnTo>
                    <a:pt x="764" y="736"/>
                  </a:lnTo>
                  <a:lnTo>
                    <a:pt x="747" y="737"/>
                  </a:lnTo>
                  <a:lnTo>
                    <a:pt x="731" y="735"/>
                  </a:lnTo>
                  <a:lnTo>
                    <a:pt x="716" y="729"/>
                  </a:lnTo>
                  <a:lnTo>
                    <a:pt x="701" y="720"/>
                  </a:lnTo>
                  <a:lnTo>
                    <a:pt x="689" y="708"/>
                  </a:lnTo>
                  <a:lnTo>
                    <a:pt x="494" y="467"/>
                  </a:lnTo>
                  <a:lnTo>
                    <a:pt x="262" y="467"/>
                  </a:lnTo>
                  <a:lnTo>
                    <a:pt x="242" y="465"/>
                  </a:lnTo>
                  <a:lnTo>
                    <a:pt x="223" y="457"/>
                  </a:lnTo>
                  <a:lnTo>
                    <a:pt x="207" y="444"/>
                  </a:lnTo>
                  <a:lnTo>
                    <a:pt x="194" y="429"/>
                  </a:lnTo>
                  <a:lnTo>
                    <a:pt x="10" y="117"/>
                  </a:lnTo>
                  <a:lnTo>
                    <a:pt x="3" y="100"/>
                  </a:lnTo>
                  <a:lnTo>
                    <a:pt x="0" y="84"/>
                  </a:lnTo>
                  <a:lnTo>
                    <a:pt x="0" y="66"/>
                  </a:lnTo>
                  <a:lnTo>
                    <a:pt x="4" y="50"/>
                  </a:lnTo>
                  <a:lnTo>
                    <a:pt x="12" y="35"/>
                  </a:lnTo>
                  <a:lnTo>
                    <a:pt x="23" y="21"/>
                  </a:lnTo>
                  <a:lnTo>
                    <a:pt x="38" y="10"/>
                  </a:lnTo>
                  <a:lnTo>
                    <a:pt x="54" y="3"/>
                  </a:lnTo>
                  <a:lnTo>
                    <a:pt x="71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98" name="Group 18"/>
          <p:cNvGrpSpPr>
            <a:grpSpLocks noChangeAspect="1"/>
          </p:cNvGrpSpPr>
          <p:nvPr/>
        </p:nvGrpSpPr>
        <p:grpSpPr bwMode="auto">
          <a:xfrm>
            <a:off x="7504364" y="4794229"/>
            <a:ext cx="475586" cy="470580"/>
            <a:chOff x="230" y="2855"/>
            <a:chExt cx="1330" cy="1316"/>
          </a:xfrm>
          <a:solidFill>
            <a:schemeClr val="bg1"/>
          </a:solidFill>
        </p:grpSpPr>
        <p:sp>
          <p:nvSpPr>
            <p:cNvPr id="99" name="Freeform 20"/>
            <p:cNvSpPr>
              <a:spLocks noEditPoints="1"/>
            </p:cNvSpPr>
            <p:nvPr/>
          </p:nvSpPr>
          <p:spPr bwMode="auto">
            <a:xfrm>
              <a:off x="230" y="2855"/>
              <a:ext cx="788" cy="788"/>
            </a:xfrm>
            <a:custGeom>
              <a:avLst/>
              <a:gdLst>
                <a:gd name="T0" fmla="*/ 1035 w 2364"/>
                <a:gd name="T1" fmla="*/ 779 h 2365"/>
                <a:gd name="T2" fmla="*/ 872 w 2364"/>
                <a:gd name="T3" fmla="*/ 893 h 2365"/>
                <a:gd name="T4" fmla="*/ 777 w 2364"/>
                <a:gd name="T5" fmla="*/ 1069 h 2365"/>
                <a:gd name="T6" fmla="*/ 777 w 2364"/>
                <a:gd name="T7" fmla="*/ 1276 h 2365"/>
                <a:gd name="T8" fmla="*/ 872 w 2364"/>
                <a:gd name="T9" fmla="*/ 1453 h 2365"/>
                <a:gd name="T10" fmla="*/ 1035 w 2364"/>
                <a:gd name="T11" fmla="*/ 1567 h 2365"/>
                <a:gd name="T12" fmla="*/ 1241 w 2364"/>
                <a:gd name="T13" fmla="*/ 1592 h 2365"/>
                <a:gd name="T14" fmla="*/ 1428 w 2364"/>
                <a:gd name="T15" fmla="*/ 1519 h 2365"/>
                <a:gd name="T16" fmla="*/ 1560 w 2364"/>
                <a:gd name="T17" fmla="*/ 1372 h 2365"/>
                <a:gd name="T18" fmla="*/ 1609 w 2364"/>
                <a:gd name="T19" fmla="*/ 1173 h 2365"/>
                <a:gd name="T20" fmla="*/ 1560 w 2364"/>
                <a:gd name="T21" fmla="*/ 975 h 2365"/>
                <a:gd name="T22" fmla="*/ 1428 w 2364"/>
                <a:gd name="T23" fmla="*/ 826 h 2365"/>
                <a:gd name="T24" fmla="*/ 1241 w 2364"/>
                <a:gd name="T25" fmla="*/ 754 h 2365"/>
                <a:gd name="T26" fmla="*/ 1341 w 2364"/>
                <a:gd name="T27" fmla="*/ 3 h 2365"/>
                <a:gd name="T28" fmla="*/ 1416 w 2364"/>
                <a:gd name="T29" fmla="*/ 70 h 2365"/>
                <a:gd name="T30" fmla="*/ 1560 w 2364"/>
                <a:gd name="T31" fmla="*/ 284 h 2365"/>
                <a:gd name="T32" fmla="*/ 1808 w 2364"/>
                <a:gd name="T33" fmla="*/ 238 h 2365"/>
                <a:gd name="T34" fmla="*/ 1893 w 2364"/>
                <a:gd name="T35" fmla="*/ 235 h 2365"/>
                <a:gd name="T36" fmla="*/ 2128 w 2364"/>
                <a:gd name="T37" fmla="*/ 461 h 2365"/>
                <a:gd name="T38" fmla="*/ 2134 w 2364"/>
                <a:gd name="T39" fmla="*/ 560 h 2365"/>
                <a:gd name="T40" fmla="*/ 2094 w 2364"/>
                <a:gd name="T41" fmla="*/ 847 h 2365"/>
                <a:gd name="T42" fmla="*/ 2318 w 2364"/>
                <a:gd name="T43" fmla="*/ 959 h 2365"/>
                <a:gd name="T44" fmla="*/ 2364 w 2364"/>
                <a:gd name="T45" fmla="*/ 1049 h 2365"/>
                <a:gd name="T46" fmla="*/ 2337 w 2364"/>
                <a:gd name="T47" fmla="*/ 1377 h 2365"/>
                <a:gd name="T48" fmla="*/ 2116 w 2364"/>
                <a:gd name="T49" fmla="*/ 1430 h 2365"/>
                <a:gd name="T50" fmla="*/ 2121 w 2364"/>
                <a:gd name="T51" fmla="*/ 1781 h 2365"/>
                <a:gd name="T52" fmla="*/ 2143 w 2364"/>
                <a:gd name="T53" fmla="*/ 1866 h 2365"/>
                <a:gd name="T54" fmla="*/ 1931 w 2364"/>
                <a:gd name="T55" fmla="*/ 2105 h 2365"/>
                <a:gd name="T56" fmla="*/ 1835 w 2364"/>
                <a:gd name="T57" fmla="*/ 2135 h 2365"/>
                <a:gd name="T58" fmla="*/ 1586 w 2364"/>
                <a:gd name="T59" fmla="*/ 2051 h 2365"/>
                <a:gd name="T60" fmla="*/ 1406 w 2364"/>
                <a:gd name="T61" fmla="*/ 2295 h 2365"/>
                <a:gd name="T62" fmla="*/ 1331 w 2364"/>
                <a:gd name="T63" fmla="*/ 2362 h 2365"/>
                <a:gd name="T64" fmla="*/ 999 w 2364"/>
                <a:gd name="T65" fmla="*/ 2352 h 2365"/>
                <a:gd name="T66" fmla="*/ 942 w 2364"/>
                <a:gd name="T67" fmla="*/ 2270 h 2365"/>
                <a:gd name="T68" fmla="*/ 707 w 2364"/>
                <a:gd name="T69" fmla="*/ 2009 h 2365"/>
                <a:gd name="T70" fmla="*/ 514 w 2364"/>
                <a:gd name="T71" fmla="*/ 2137 h 2365"/>
                <a:gd name="T72" fmla="*/ 433 w 2364"/>
                <a:gd name="T73" fmla="*/ 2105 h 2365"/>
                <a:gd name="T74" fmla="*/ 221 w 2364"/>
                <a:gd name="T75" fmla="*/ 1853 h 2365"/>
                <a:gd name="T76" fmla="*/ 348 w 2364"/>
                <a:gd name="T77" fmla="*/ 1648 h 2365"/>
                <a:gd name="T78" fmla="*/ 96 w 2364"/>
                <a:gd name="T79" fmla="*/ 1423 h 2365"/>
                <a:gd name="T80" fmla="*/ 12 w 2364"/>
                <a:gd name="T81" fmla="*/ 1366 h 2365"/>
                <a:gd name="T82" fmla="*/ 4 w 2364"/>
                <a:gd name="T83" fmla="*/ 1033 h 2365"/>
                <a:gd name="T84" fmla="*/ 70 w 2364"/>
                <a:gd name="T85" fmla="*/ 958 h 2365"/>
                <a:gd name="T86" fmla="*/ 306 w 2364"/>
                <a:gd name="T87" fmla="*/ 781 h 2365"/>
                <a:gd name="T88" fmla="*/ 224 w 2364"/>
                <a:gd name="T89" fmla="*/ 543 h 2365"/>
                <a:gd name="T90" fmla="*/ 237 w 2364"/>
                <a:gd name="T91" fmla="*/ 458 h 2365"/>
                <a:gd name="T92" fmla="*/ 478 w 2364"/>
                <a:gd name="T93" fmla="*/ 232 h 2365"/>
                <a:gd name="T94" fmla="*/ 577 w 2364"/>
                <a:gd name="T95" fmla="*/ 251 h 2365"/>
                <a:gd name="T96" fmla="*/ 872 w 2364"/>
                <a:gd name="T97" fmla="*/ 261 h 2365"/>
                <a:gd name="T98" fmla="*/ 971 w 2364"/>
                <a:gd name="T99" fmla="*/ 46 h 2365"/>
                <a:gd name="T100" fmla="*/ 1059 w 2364"/>
                <a:gd name="T101" fmla="*/ 0 h 2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64" h="2365">
                  <a:moveTo>
                    <a:pt x="1187" y="750"/>
                  </a:moveTo>
                  <a:lnTo>
                    <a:pt x="1134" y="754"/>
                  </a:lnTo>
                  <a:lnTo>
                    <a:pt x="1083" y="763"/>
                  </a:lnTo>
                  <a:lnTo>
                    <a:pt x="1035" y="779"/>
                  </a:lnTo>
                  <a:lnTo>
                    <a:pt x="989" y="800"/>
                  </a:lnTo>
                  <a:lnTo>
                    <a:pt x="947" y="826"/>
                  </a:lnTo>
                  <a:lnTo>
                    <a:pt x="907" y="858"/>
                  </a:lnTo>
                  <a:lnTo>
                    <a:pt x="872" y="893"/>
                  </a:lnTo>
                  <a:lnTo>
                    <a:pt x="840" y="931"/>
                  </a:lnTo>
                  <a:lnTo>
                    <a:pt x="815" y="975"/>
                  </a:lnTo>
                  <a:lnTo>
                    <a:pt x="793" y="1020"/>
                  </a:lnTo>
                  <a:lnTo>
                    <a:pt x="777" y="1069"/>
                  </a:lnTo>
                  <a:lnTo>
                    <a:pt x="768" y="1120"/>
                  </a:lnTo>
                  <a:lnTo>
                    <a:pt x="765" y="1173"/>
                  </a:lnTo>
                  <a:lnTo>
                    <a:pt x="768" y="1225"/>
                  </a:lnTo>
                  <a:lnTo>
                    <a:pt x="777" y="1276"/>
                  </a:lnTo>
                  <a:lnTo>
                    <a:pt x="793" y="1326"/>
                  </a:lnTo>
                  <a:lnTo>
                    <a:pt x="815" y="1372"/>
                  </a:lnTo>
                  <a:lnTo>
                    <a:pt x="840" y="1414"/>
                  </a:lnTo>
                  <a:lnTo>
                    <a:pt x="872" y="1453"/>
                  </a:lnTo>
                  <a:lnTo>
                    <a:pt x="907" y="1489"/>
                  </a:lnTo>
                  <a:lnTo>
                    <a:pt x="947" y="1519"/>
                  </a:lnTo>
                  <a:lnTo>
                    <a:pt x="989" y="1546"/>
                  </a:lnTo>
                  <a:lnTo>
                    <a:pt x="1035" y="1567"/>
                  </a:lnTo>
                  <a:lnTo>
                    <a:pt x="1083" y="1582"/>
                  </a:lnTo>
                  <a:lnTo>
                    <a:pt x="1134" y="1592"/>
                  </a:lnTo>
                  <a:lnTo>
                    <a:pt x="1187" y="1596"/>
                  </a:lnTo>
                  <a:lnTo>
                    <a:pt x="1241" y="1592"/>
                  </a:lnTo>
                  <a:lnTo>
                    <a:pt x="1291" y="1582"/>
                  </a:lnTo>
                  <a:lnTo>
                    <a:pt x="1340" y="1567"/>
                  </a:lnTo>
                  <a:lnTo>
                    <a:pt x="1386" y="1546"/>
                  </a:lnTo>
                  <a:lnTo>
                    <a:pt x="1428" y="1519"/>
                  </a:lnTo>
                  <a:lnTo>
                    <a:pt x="1468" y="1489"/>
                  </a:lnTo>
                  <a:lnTo>
                    <a:pt x="1503" y="1453"/>
                  </a:lnTo>
                  <a:lnTo>
                    <a:pt x="1534" y="1414"/>
                  </a:lnTo>
                  <a:lnTo>
                    <a:pt x="1560" y="1372"/>
                  </a:lnTo>
                  <a:lnTo>
                    <a:pt x="1581" y="1326"/>
                  </a:lnTo>
                  <a:lnTo>
                    <a:pt x="1597" y="1276"/>
                  </a:lnTo>
                  <a:lnTo>
                    <a:pt x="1607" y="1225"/>
                  </a:lnTo>
                  <a:lnTo>
                    <a:pt x="1609" y="1173"/>
                  </a:lnTo>
                  <a:lnTo>
                    <a:pt x="1607" y="1120"/>
                  </a:lnTo>
                  <a:lnTo>
                    <a:pt x="1597" y="1069"/>
                  </a:lnTo>
                  <a:lnTo>
                    <a:pt x="1581" y="1020"/>
                  </a:lnTo>
                  <a:lnTo>
                    <a:pt x="1560" y="975"/>
                  </a:lnTo>
                  <a:lnTo>
                    <a:pt x="1534" y="931"/>
                  </a:lnTo>
                  <a:lnTo>
                    <a:pt x="1503" y="893"/>
                  </a:lnTo>
                  <a:lnTo>
                    <a:pt x="1468" y="858"/>
                  </a:lnTo>
                  <a:lnTo>
                    <a:pt x="1428" y="826"/>
                  </a:lnTo>
                  <a:lnTo>
                    <a:pt x="1386" y="800"/>
                  </a:lnTo>
                  <a:lnTo>
                    <a:pt x="1340" y="779"/>
                  </a:lnTo>
                  <a:lnTo>
                    <a:pt x="1291" y="763"/>
                  </a:lnTo>
                  <a:lnTo>
                    <a:pt x="1241" y="754"/>
                  </a:lnTo>
                  <a:lnTo>
                    <a:pt x="1187" y="750"/>
                  </a:lnTo>
                  <a:close/>
                  <a:moveTo>
                    <a:pt x="1059" y="0"/>
                  </a:moveTo>
                  <a:lnTo>
                    <a:pt x="1314" y="0"/>
                  </a:lnTo>
                  <a:lnTo>
                    <a:pt x="1341" y="3"/>
                  </a:lnTo>
                  <a:lnTo>
                    <a:pt x="1365" y="12"/>
                  </a:lnTo>
                  <a:lnTo>
                    <a:pt x="1387" y="28"/>
                  </a:lnTo>
                  <a:lnTo>
                    <a:pt x="1404" y="46"/>
                  </a:lnTo>
                  <a:lnTo>
                    <a:pt x="1416" y="70"/>
                  </a:lnTo>
                  <a:lnTo>
                    <a:pt x="1422" y="95"/>
                  </a:lnTo>
                  <a:lnTo>
                    <a:pt x="1439" y="243"/>
                  </a:lnTo>
                  <a:lnTo>
                    <a:pt x="1500" y="261"/>
                  </a:lnTo>
                  <a:lnTo>
                    <a:pt x="1560" y="284"/>
                  </a:lnTo>
                  <a:lnTo>
                    <a:pt x="1618" y="311"/>
                  </a:lnTo>
                  <a:lnTo>
                    <a:pt x="1675" y="341"/>
                  </a:lnTo>
                  <a:lnTo>
                    <a:pt x="1788" y="251"/>
                  </a:lnTo>
                  <a:lnTo>
                    <a:pt x="1808" y="238"/>
                  </a:lnTo>
                  <a:lnTo>
                    <a:pt x="1828" y="231"/>
                  </a:lnTo>
                  <a:lnTo>
                    <a:pt x="1850" y="227"/>
                  </a:lnTo>
                  <a:lnTo>
                    <a:pt x="1872" y="229"/>
                  </a:lnTo>
                  <a:lnTo>
                    <a:pt x="1893" y="235"/>
                  </a:lnTo>
                  <a:lnTo>
                    <a:pt x="1914" y="244"/>
                  </a:lnTo>
                  <a:lnTo>
                    <a:pt x="1931" y="259"/>
                  </a:lnTo>
                  <a:lnTo>
                    <a:pt x="2111" y="439"/>
                  </a:lnTo>
                  <a:lnTo>
                    <a:pt x="2128" y="461"/>
                  </a:lnTo>
                  <a:lnTo>
                    <a:pt x="2139" y="485"/>
                  </a:lnTo>
                  <a:lnTo>
                    <a:pt x="2143" y="509"/>
                  </a:lnTo>
                  <a:lnTo>
                    <a:pt x="2141" y="536"/>
                  </a:lnTo>
                  <a:lnTo>
                    <a:pt x="2134" y="560"/>
                  </a:lnTo>
                  <a:lnTo>
                    <a:pt x="2120" y="583"/>
                  </a:lnTo>
                  <a:lnTo>
                    <a:pt x="2028" y="700"/>
                  </a:lnTo>
                  <a:lnTo>
                    <a:pt x="2064" y="772"/>
                  </a:lnTo>
                  <a:lnTo>
                    <a:pt x="2094" y="847"/>
                  </a:lnTo>
                  <a:lnTo>
                    <a:pt x="2118" y="924"/>
                  </a:lnTo>
                  <a:lnTo>
                    <a:pt x="2268" y="941"/>
                  </a:lnTo>
                  <a:lnTo>
                    <a:pt x="2295" y="947"/>
                  </a:lnTo>
                  <a:lnTo>
                    <a:pt x="2318" y="959"/>
                  </a:lnTo>
                  <a:lnTo>
                    <a:pt x="2337" y="977"/>
                  </a:lnTo>
                  <a:lnTo>
                    <a:pt x="2352" y="998"/>
                  </a:lnTo>
                  <a:lnTo>
                    <a:pt x="2361" y="1022"/>
                  </a:lnTo>
                  <a:lnTo>
                    <a:pt x="2364" y="1049"/>
                  </a:lnTo>
                  <a:lnTo>
                    <a:pt x="2364" y="1304"/>
                  </a:lnTo>
                  <a:lnTo>
                    <a:pt x="2361" y="1331"/>
                  </a:lnTo>
                  <a:lnTo>
                    <a:pt x="2352" y="1355"/>
                  </a:lnTo>
                  <a:lnTo>
                    <a:pt x="2337" y="1377"/>
                  </a:lnTo>
                  <a:lnTo>
                    <a:pt x="2318" y="1394"/>
                  </a:lnTo>
                  <a:lnTo>
                    <a:pt x="2295" y="1406"/>
                  </a:lnTo>
                  <a:lnTo>
                    <a:pt x="2268" y="1412"/>
                  </a:lnTo>
                  <a:lnTo>
                    <a:pt x="2116" y="1430"/>
                  </a:lnTo>
                  <a:lnTo>
                    <a:pt x="2091" y="1507"/>
                  </a:lnTo>
                  <a:lnTo>
                    <a:pt x="2059" y="1582"/>
                  </a:lnTo>
                  <a:lnTo>
                    <a:pt x="2022" y="1655"/>
                  </a:lnTo>
                  <a:lnTo>
                    <a:pt x="2121" y="1781"/>
                  </a:lnTo>
                  <a:lnTo>
                    <a:pt x="2133" y="1800"/>
                  </a:lnTo>
                  <a:lnTo>
                    <a:pt x="2140" y="1822"/>
                  </a:lnTo>
                  <a:lnTo>
                    <a:pt x="2144" y="1844"/>
                  </a:lnTo>
                  <a:lnTo>
                    <a:pt x="2143" y="1866"/>
                  </a:lnTo>
                  <a:lnTo>
                    <a:pt x="2136" y="1887"/>
                  </a:lnTo>
                  <a:lnTo>
                    <a:pt x="2127" y="1907"/>
                  </a:lnTo>
                  <a:lnTo>
                    <a:pt x="2112" y="1925"/>
                  </a:lnTo>
                  <a:lnTo>
                    <a:pt x="1931" y="2105"/>
                  </a:lnTo>
                  <a:lnTo>
                    <a:pt x="1910" y="2122"/>
                  </a:lnTo>
                  <a:lnTo>
                    <a:pt x="1886" y="2133"/>
                  </a:lnTo>
                  <a:lnTo>
                    <a:pt x="1861" y="2137"/>
                  </a:lnTo>
                  <a:lnTo>
                    <a:pt x="1835" y="2135"/>
                  </a:lnTo>
                  <a:lnTo>
                    <a:pt x="1811" y="2128"/>
                  </a:lnTo>
                  <a:lnTo>
                    <a:pt x="1788" y="2114"/>
                  </a:lnTo>
                  <a:lnTo>
                    <a:pt x="1660" y="2013"/>
                  </a:lnTo>
                  <a:lnTo>
                    <a:pt x="1586" y="2051"/>
                  </a:lnTo>
                  <a:lnTo>
                    <a:pt x="1510" y="2082"/>
                  </a:lnTo>
                  <a:lnTo>
                    <a:pt x="1430" y="2106"/>
                  </a:lnTo>
                  <a:lnTo>
                    <a:pt x="1412" y="2270"/>
                  </a:lnTo>
                  <a:lnTo>
                    <a:pt x="1406" y="2295"/>
                  </a:lnTo>
                  <a:lnTo>
                    <a:pt x="1394" y="2318"/>
                  </a:lnTo>
                  <a:lnTo>
                    <a:pt x="1376" y="2337"/>
                  </a:lnTo>
                  <a:lnTo>
                    <a:pt x="1355" y="2352"/>
                  </a:lnTo>
                  <a:lnTo>
                    <a:pt x="1331" y="2362"/>
                  </a:lnTo>
                  <a:lnTo>
                    <a:pt x="1305" y="2365"/>
                  </a:lnTo>
                  <a:lnTo>
                    <a:pt x="1049" y="2365"/>
                  </a:lnTo>
                  <a:lnTo>
                    <a:pt x="1023" y="2362"/>
                  </a:lnTo>
                  <a:lnTo>
                    <a:pt x="999" y="2352"/>
                  </a:lnTo>
                  <a:lnTo>
                    <a:pt x="977" y="2337"/>
                  </a:lnTo>
                  <a:lnTo>
                    <a:pt x="960" y="2318"/>
                  </a:lnTo>
                  <a:lnTo>
                    <a:pt x="948" y="2295"/>
                  </a:lnTo>
                  <a:lnTo>
                    <a:pt x="942" y="2270"/>
                  </a:lnTo>
                  <a:lnTo>
                    <a:pt x="923" y="2100"/>
                  </a:lnTo>
                  <a:lnTo>
                    <a:pt x="849" y="2076"/>
                  </a:lnTo>
                  <a:lnTo>
                    <a:pt x="776" y="2046"/>
                  </a:lnTo>
                  <a:lnTo>
                    <a:pt x="707" y="2009"/>
                  </a:lnTo>
                  <a:lnTo>
                    <a:pt x="577" y="2114"/>
                  </a:lnTo>
                  <a:lnTo>
                    <a:pt x="557" y="2126"/>
                  </a:lnTo>
                  <a:lnTo>
                    <a:pt x="536" y="2133"/>
                  </a:lnTo>
                  <a:lnTo>
                    <a:pt x="514" y="2137"/>
                  </a:lnTo>
                  <a:lnTo>
                    <a:pt x="492" y="2135"/>
                  </a:lnTo>
                  <a:lnTo>
                    <a:pt x="470" y="2129"/>
                  </a:lnTo>
                  <a:lnTo>
                    <a:pt x="451" y="2120"/>
                  </a:lnTo>
                  <a:lnTo>
                    <a:pt x="433" y="2105"/>
                  </a:lnTo>
                  <a:lnTo>
                    <a:pt x="251" y="1925"/>
                  </a:lnTo>
                  <a:lnTo>
                    <a:pt x="236" y="1903"/>
                  </a:lnTo>
                  <a:lnTo>
                    <a:pt x="225" y="1879"/>
                  </a:lnTo>
                  <a:lnTo>
                    <a:pt x="221" y="1853"/>
                  </a:lnTo>
                  <a:lnTo>
                    <a:pt x="222" y="1828"/>
                  </a:lnTo>
                  <a:lnTo>
                    <a:pt x="230" y="1804"/>
                  </a:lnTo>
                  <a:lnTo>
                    <a:pt x="244" y="1781"/>
                  </a:lnTo>
                  <a:lnTo>
                    <a:pt x="348" y="1648"/>
                  </a:lnTo>
                  <a:lnTo>
                    <a:pt x="314" y="1581"/>
                  </a:lnTo>
                  <a:lnTo>
                    <a:pt x="285" y="1512"/>
                  </a:lnTo>
                  <a:lnTo>
                    <a:pt x="262" y="1442"/>
                  </a:lnTo>
                  <a:lnTo>
                    <a:pt x="96" y="1423"/>
                  </a:lnTo>
                  <a:lnTo>
                    <a:pt x="70" y="1417"/>
                  </a:lnTo>
                  <a:lnTo>
                    <a:pt x="47" y="1405"/>
                  </a:lnTo>
                  <a:lnTo>
                    <a:pt x="28" y="1386"/>
                  </a:lnTo>
                  <a:lnTo>
                    <a:pt x="12" y="1366"/>
                  </a:lnTo>
                  <a:lnTo>
                    <a:pt x="4" y="1342"/>
                  </a:lnTo>
                  <a:lnTo>
                    <a:pt x="0" y="1315"/>
                  </a:lnTo>
                  <a:lnTo>
                    <a:pt x="0" y="1060"/>
                  </a:lnTo>
                  <a:lnTo>
                    <a:pt x="4" y="1033"/>
                  </a:lnTo>
                  <a:lnTo>
                    <a:pt x="12" y="1009"/>
                  </a:lnTo>
                  <a:lnTo>
                    <a:pt x="28" y="987"/>
                  </a:lnTo>
                  <a:lnTo>
                    <a:pt x="47" y="970"/>
                  </a:lnTo>
                  <a:lnTo>
                    <a:pt x="70" y="958"/>
                  </a:lnTo>
                  <a:lnTo>
                    <a:pt x="96" y="952"/>
                  </a:lnTo>
                  <a:lnTo>
                    <a:pt x="253" y="934"/>
                  </a:lnTo>
                  <a:lnTo>
                    <a:pt x="277" y="856"/>
                  </a:lnTo>
                  <a:lnTo>
                    <a:pt x="306" y="781"/>
                  </a:lnTo>
                  <a:lnTo>
                    <a:pt x="342" y="709"/>
                  </a:lnTo>
                  <a:lnTo>
                    <a:pt x="244" y="584"/>
                  </a:lnTo>
                  <a:lnTo>
                    <a:pt x="231" y="564"/>
                  </a:lnTo>
                  <a:lnTo>
                    <a:pt x="224" y="543"/>
                  </a:lnTo>
                  <a:lnTo>
                    <a:pt x="220" y="521"/>
                  </a:lnTo>
                  <a:lnTo>
                    <a:pt x="221" y="500"/>
                  </a:lnTo>
                  <a:lnTo>
                    <a:pt x="227" y="478"/>
                  </a:lnTo>
                  <a:lnTo>
                    <a:pt x="237" y="458"/>
                  </a:lnTo>
                  <a:lnTo>
                    <a:pt x="251" y="440"/>
                  </a:lnTo>
                  <a:lnTo>
                    <a:pt x="433" y="259"/>
                  </a:lnTo>
                  <a:lnTo>
                    <a:pt x="453" y="243"/>
                  </a:lnTo>
                  <a:lnTo>
                    <a:pt x="478" y="232"/>
                  </a:lnTo>
                  <a:lnTo>
                    <a:pt x="503" y="227"/>
                  </a:lnTo>
                  <a:lnTo>
                    <a:pt x="528" y="230"/>
                  </a:lnTo>
                  <a:lnTo>
                    <a:pt x="554" y="237"/>
                  </a:lnTo>
                  <a:lnTo>
                    <a:pt x="577" y="251"/>
                  </a:lnTo>
                  <a:lnTo>
                    <a:pt x="694" y="345"/>
                  </a:lnTo>
                  <a:lnTo>
                    <a:pt x="752" y="313"/>
                  </a:lnTo>
                  <a:lnTo>
                    <a:pt x="811" y="285"/>
                  </a:lnTo>
                  <a:lnTo>
                    <a:pt x="872" y="261"/>
                  </a:lnTo>
                  <a:lnTo>
                    <a:pt x="935" y="243"/>
                  </a:lnTo>
                  <a:lnTo>
                    <a:pt x="952" y="95"/>
                  </a:lnTo>
                  <a:lnTo>
                    <a:pt x="959" y="70"/>
                  </a:lnTo>
                  <a:lnTo>
                    <a:pt x="971" y="46"/>
                  </a:lnTo>
                  <a:lnTo>
                    <a:pt x="988" y="28"/>
                  </a:lnTo>
                  <a:lnTo>
                    <a:pt x="1008" y="12"/>
                  </a:lnTo>
                  <a:lnTo>
                    <a:pt x="1033" y="3"/>
                  </a:lnTo>
                  <a:lnTo>
                    <a:pt x="105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0" name="Freeform 21"/>
            <p:cNvSpPr>
              <a:spLocks noEditPoints="1"/>
            </p:cNvSpPr>
            <p:nvPr/>
          </p:nvSpPr>
          <p:spPr bwMode="auto">
            <a:xfrm>
              <a:off x="912" y="3259"/>
              <a:ext cx="648" cy="649"/>
            </a:xfrm>
            <a:custGeom>
              <a:avLst/>
              <a:gdLst>
                <a:gd name="T0" fmla="*/ 856 w 1943"/>
                <a:gd name="T1" fmla="*/ 640 h 1947"/>
                <a:gd name="T2" fmla="*/ 711 w 1943"/>
                <a:gd name="T3" fmla="*/ 742 h 1947"/>
                <a:gd name="T4" fmla="*/ 635 w 1943"/>
                <a:gd name="T5" fmla="*/ 902 h 1947"/>
                <a:gd name="T6" fmla="*/ 650 w 1943"/>
                <a:gd name="T7" fmla="*/ 1085 h 1947"/>
                <a:gd name="T8" fmla="*/ 752 w 1943"/>
                <a:gd name="T9" fmla="*/ 1229 h 1947"/>
                <a:gd name="T10" fmla="*/ 911 w 1943"/>
                <a:gd name="T11" fmla="*/ 1306 h 1947"/>
                <a:gd name="T12" fmla="*/ 1094 w 1943"/>
                <a:gd name="T13" fmla="*/ 1290 h 1947"/>
                <a:gd name="T14" fmla="*/ 1239 w 1943"/>
                <a:gd name="T15" fmla="*/ 1188 h 1947"/>
                <a:gd name="T16" fmla="*/ 1315 w 1943"/>
                <a:gd name="T17" fmla="*/ 1029 h 1947"/>
                <a:gd name="T18" fmla="*/ 1300 w 1943"/>
                <a:gd name="T19" fmla="*/ 846 h 1947"/>
                <a:gd name="T20" fmla="*/ 1198 w 1943"/>
                <a:gd name="T21" fmla="*/ 701 h 1947"/>
                <a:gd name="T22" fmla="*/ 1038 w 1943"/>
                <a:gd name="T23" fmla="*/ 626 h 1947"/>
                <a:gd name="T24" fmla="*/ 1034 w 1943"/>
                <a:gd name="T25" fmla="*/ 9 h 1947"/>
                <a:gd name="T26" fmla="*/ 1096 w 1943"/>
                <a:gd name="T27" fmla="*/ 86 h 1947"/>
                <a:gd name="T28" fmla="*/ 1315 w 1943"/>
                <a:gd name="T29" fmla="*/ 253 h 1947"/>
                <a:gd name="T30" fmla="*/ 1460 w 1943"/>
                <a:gd name="T31" fmla="*/ 154 h 1947"/>
                <a:gd name="T32" fmla="*/ 1667 w 1943"/>
                <a:gd name="T33" fmla="*/ 293 h 1947"/>
                <a:gd name="T34" fmla="*/ 1705 w 1943"/>
                <a:gd name="T35" fmla="*/ 370 h 1947"/>
                <a:gd name="T36" fmla="*/ 1627 w 1943"/>
                <a:gd name="T37" fmla="*/ 522 h 1947"/>
                <a:gd name="T38" fmla="*/ 1824 w 1943"/>
                <a:gd name="T39" fmla="*/ 702 h 1947"/>
                <a:gd name="T40" fmla="*/ 1910 w 1943"/>
                <a:gd name="T41" fmla="*/ 752 h 1947"/>
                <a:gd name="T42" fmla="*/ 1942 w 1943"/>
                <a:gd name="T43" fmla="*/ 1002 h 1947"/>
                <a:gd name="T44" fmla="*/ 1882 w 1943"/>
                <a:gd name="T45" fmla="*/ 1082 h 1947"/>
                <a:gd name="T46" fmla="*/ 1714 w 1943"/>
                <a:gd name="T47" fmla="*/ 1240 h 1947"/>
                <a:gd name="T48" fmla="*/ 1792 w 1943"/>
                <a:gd name="T49" fmla="*/ 1431 h 1947"/>
                <a:gd name="T50" fmla="*/ 1770 w 1943"/>
                <a:gd name="T51" fmla="*/ 1528 h 1947"/>
                <a:gd name="T52" fmla="*/ 1601 w 1943"/>
                <a:gd name="T53" fmla="*/ 1698 h 1947"/>
                <a:gd name="T54" fmla="*/ 1516 w 1943"/>
                <a:gd name="T55" fmla="*/ 1683 h 1947"/>
                <a:gd name="T56" fmla="*/ 1238 w 1943"/>
                <a:gd name="T57" fmla="*/ 1711 h 1947"/>
                <a:gd name="T58" fmla="*/ 1204 w 1943"/>
                <a:gd name="T59" fmla="*/ 1898 h 1947"/>
                <a:gd name="T60" fmla="*/ 960 w 1943"/>
                <a:gd name="T61" fmla="*/ 1947 h 1947"/>
                <a:gd name="T62" fmla="*/ 868 w 1943"/>
                <a:gd name="T63" fmla="*/ 1908 h 1947"/>
                <a:gd name="T64" fmla="*/ 760 w 1943"/>
                <a:gd name="T65" fmla="*/ 1725 h 1947"/>
                <a:gd name="T66" fmla="*/ 532 w 1943"/>
                <a:gd name="T67" fmla="*/ 1780 h 1947"/>
                <a:gd name="T68" fmla="*/ 433 w 1943"/>
                <a:gd name="T69" fmla="*/ 1782 h 1947"/>
                <a:gd name="T70" fmla="*/ 249 w 1943"/>
                <a:gd name="T71" fmla="*/ 1619 h 1947"/>
                <a:gd name="T72" fmla="*/ 245 w 1943"/>
                <a:gd name="T73" fmla="*/ 1533 h 1947"/>
                <a:gd name="T74" fmla="*/ 262 w 1943"/>
                <a:gd name="T75" fmla="*/ 1306 h 1947"/>
                <a:gd name="T76" fmla="*/ 67 w 1943"/>
                <a:gd name="T77" fmla="*/ 1231 h 1947"/>
                <a:gd name="T78" fmla="*/ 14 w 1943"/>
                <a:gd name="T79" fmla="*/ 1147 h 1947"/>
                <a:gd name="T80" fmla="*/ 20 w 1943"/>
                <a:gd name="T81" fmla="*/ 898 h 1947"/>
                <a:gd name="T82" fmla="*/ 196 w 1943"/>
                <a:gd name="T83" fmla="*/ 834 h 1947"/>
                <a:gd name="T84" fmla="*/ 175 w 1943"/>
                <a:gd name="T85" fmla="*/ 562 h 1947"/>
                <a:gd name="T86" fmla="*/ 149 w 1943"/>
                <a:gd name="T87" fmla="*/ 466 h 1947"/>
                <a:gd name="T88" fmla="*/ 302 w 1943"/>
                <a:gd name="T89" fmla="*/ 268 h 1947"/>
                <a:gd name="T90" fmla="*/ 384 w 1943"/>
                <a:gd name="T91" fmla="*/ 247 h 1947"/>
                <a:gd name="T92" fmla="*/ 575 w 1943"/>
                <a:gd name="T93" fmla="*/ 283 h 1947"/>
                <a:gd name="T94" fmla="*/ 712 w 1943"/>
                <a:gd name="T95" fmla="*/ 92 h 1947"/>
                <a:gd name="T96" fmla="*/ 781 w 1943"/>
                <a:gd name="T97" fmla="*/ 21 h 1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943" h="1947">
                  <a:moveTo>
                    <a:pt x="992" y="620"/>
                  </a:moveTo>
                  <a:lnTo>
                    <a:pt x="945" y="621"/>
                  </a:lnTo>
                  <a:lnTo>
                    <a:pt x="899" y="628"/>
                  </a:lnTo>
                  <a:lnTo>
                    <a:pt x="856" y="640"/>
                  </a:lnTo>
                  <a:lnTo>
                    <a:pt x="814" y="660"/>
                  </a:lnTo>
                  <a:lnTo>
                    <a:pt x="776" y="683"/>
                  </a:lnTo>
                  <a:lnTo>
                    <a:pt x="741" y="710"/>
                  </a:lnTo>
                  <a:lnTo>
                    <a:pt x="711" y="742"/>
                  </a:lnTo>
                  <a:lnTo>
                    <a:pt x="684" y="778"/>
                  </a:lnTo>
                  <a:lnTo>
                    <a:pt x="662" y="817"/>
                  </a:lnTo>
                  <a:lnTo>
                    <a:pt x="647" y="858"/>
                  </a:lnTo>
                  <a:lnTo>
                    <a:pt x="635" y="902"/>
                  </a:lnTo>
                  <a:lnTo>
                    <a:pt x="630" y="948"/>
                  </a:lnTo>
                  <a:lnTo>
                    <a:pt x="631" y="995"/>
                  </a:lnTo>
                  <a:lnTo>
                    <a:pt x="637" y="1041"/>
                  </a:lnTo>
                  <a:lnTo>
                    <a:pt x="650" y="1085"/>
                  </a:lnTo>
                  <a:lnTo>
                    <a:pt x="668" y="1127"/>
                  </a:lnTo>
                  <a:lnTo>
                    <a:pt x="693" y="1164"/>
                  </a:lnTo>
                  <a:lnTo>
                    <a:pt x="720" y="1199"/>
                  </a:lnTo>
                  <a:lnTo>
                    <a:pt x="752" y="1229"/>
                  </a:lnTo>
                  <a:lnTo>
                    <a:pt x="787" y="1256"/>
                  </a:lnTo>
                  <a:lnTo>
                    <a:pt x="826" y="1278"/>
                  </a:lnTo>
                  <a:lnTo>
                    <a:pt x="868" y="1295"/>
                  </a:lnTo>
                  <a:lnTo>
                    <a:pt x="911" y="1306"/>
                  </a:lnTo>
                  <a:lnTo>
                    <a:pt x="957" y="1310"/>
                  </a:lnTo>
                  <a:lnTo>
                    <a:pt x="1005" y="1310"/>
                  </a:lnTo>
                  <a:lnTo>
                    <a:pt x="1050" y="1303"/>
                  </a:lnTo>
                  <a:lnTo>
                    <a:pt x="1094" y="1290"/>
                  </a:lnTo>
                  <a:lnTo>
                    <a:pt x="1135" y="1272"/>
                  </a:lnTo>
                  <a:lnTo>
                    <a:pt x="1174" y="1249"/>
                  </a:lnTo>
                  <a:lnTo>
                    <a:pt x="1209" y="1221"/>
                  </a:lnTo>
                  <a:lnTo>
                    <a:pt x="1239" y="1188"/>
                  </a:lnTo>
                  <a:lnTo>
                    <a:pt x="1266" y="1153"/>
                  </a:lnTo>
                  <a:lnTo>
                    <a:pt x="1287" y="1114"/>
                  </a:lnTo>
                  <a:lnTo>
                    <a:pt x="1303" y="1072"/>
                  </a:lnTo>
                  <a:lnTo>
                    <a:pt x="1315" y="1029"/>
                  </a:lnTo>
                  <a:lnTo>
                    <a:pt x="1320" y="984"/>
                  </a:lnTo>
                  <a:lnTo>
                    <a:pt x="1319" y="937"/>
                  </a:lnTo>
                  <a:lnTo>
                    <a:pt x="1312" y="889"/>
                  </a:lnTo>
                  <a:lnTo>
                    <a:pt x="1300" y="846"/>
                  </a:lnTo>
                  <a:lnTo>
                    <a:pt x="1281" y="805"/>
                  </a:lnTo>
                  <a:lnTo>
                    <a:pt x="1257" y="766"/>
                  </a:lnTo>
                  <a:lnTo>
                    <a:pt x="1229" y="732"/>
                  </a:lnTo>
                  <a:lnTo>
                    <a:pt x="1198" y="701"/>
                  </a:lnTo>
                  <a:lnTo>
                    <a:pt x="1162" y="675"/>
                  </a:lnTo>
                  <a:lnTo>
                    <a:pt x="1123" y="654"/>
                  </a:lnTo>
                  <a:lnTo>
                    <a:pt x="1082" y="637"/>
                  </a:lnTo>
                  <a:lnTo>
                    <a:pt x="1038" y="626"/>
                  </a:lnTo>
                  <a:lnTo>
                    <a:pt x="992" y="620"/>
                  </a:lnTo>
                  <a:close/>
                  <a:moveTo>
                    <a:pt x="982" y="0"/>
                  </a:moveTo>
                  <a:lnTo>
                    <a:pt x="1008" y="1"/>
                  </a:lnTo>
                  <a:lnTo>
                    <a:pt x="1034" y="9"/>
                  </a:lnTo>
                  <a:lnTo>
                    <a:pt x="1055" y="21"/>
                  </a:lnTo>
                  <a:lnTo>
                    <a:pt x="1073" y="39"/>
                  </a:lnTo>
                  <a:lnTo>
                    <a:pt x="1088" y="61"/>
                  </a:lnTo>
                  <a:lnTo>
                    <a:pt x="1096" y="86"/>
                  </a:lnTo>
                  <a:lnTo>
                    <a:pt x="1117" y="188"/>
                  </a:lnTo>
                  <a:lnTo>
                    <a:pt x="1185" y="203"/>
                  </a:lnTo>
                  <a:lnTo>
                    <a:pt x="1251" y="225"/>
                  </a:lnTo>
                  <a:lnTo>
                    <a:pt x="1315" y="253"/>
                  </a:lnTo>
                  <a:lnTo>
                    <a:pt x="1390" y="183"/>
                  </a:lnTo>
                  <a:lnTo>
                    <a:pt x="1411" y="167"/>
                  </a:lnTo>
                  <a:lnTo>
                    <a:pt x="1435" y="157"/>
                  </a:lnTo>
                  <a:lnTo>
                    <a:pt x="1460" y="154"/>
                  </a:lnTo>
                  <a:lnTo>
                    <a:pt x="1486" y="156"/>
                  </a:lnTo>
                  <a:lnTo>
                    <a:pt x="1510" y="165"/>
                  </a:lnTo>
                  <a:lnTo>
                    <a:pt x="1532" y="179"/>
                  </a:lnTo>
                  <a:lnTo>
                    <a:pt x="1667" y="293"/>
                  </a:lnTo>
                  <a:lnTo>
                    <a:pt x="1683" y="309"/>
                  </a:lnTo>
                  <a:lnTo>
                    <a:pt x="1694" y="328"/>
                  </a:lnTo>
                  <a:lnTo>
                    <a:pt x="1701" y="349"/>
                  </a:lnTo>
                  <a:lnTo>
                    <a:pt x="1705" y="370"/>
                  </a:lnTo>
                  <a:lnTo>
                    <a:pt x="1703" y="392"/>
                  </a:lnTo>
                  <a:lnTo>
                    <a:pt x="1697" y="414"/>
                  </a:lnTo>
                  <a:lnTo>
                    <a:pt x="1686" y="435"/>
                  </a:lnTo>
                  <a:lnTo>
                    <a:pt x="1627" y="522"/>
                  </a:lnTo>
                  <a:lnTo>
                    <a:pt x="1662" y="578"/>
                  </a:lnTo>
                  <a:lnTo>
                    <a:pt x="1693" y="638"/>
                  </a:lnTo>
                  <a:lnTo>
                    <a:pt x="1717" y="698"/>
                  </a:lnTo>
                  <a:lnTo>
                    <a:pt x="1824" y="702"/>
                  </a:lnTo>
                  <a:lnTo>
                    <a:pt x="1851" y="707"/>
                  </a:lnTo>
                  <a:lnTo>
                    <a:pt x="1874" y="716"/>
                  </a:lnTo>
                  <a:lnTo>
                    <a:pt x="1894" y="731"/>
                  </a:lnTo>
                  <a:lnTo>
                    <a:pt x="1910" y="752"/>
                  </a:lnTo>
                  <a:lnTo>
                    <a:pt x="1922" y="774"/>
                  </a:lnTo>
                  <a:lnTo>
                    <a:pt x="1927" y="800"/>
                  </a:lnTo>
                  <a:lnTo>
                    <a:pt x="1943" y="977"/>
                  </a:lnTo>
                  <a:lnTo>
                    <a:pt x="1942" y="1002"/>
                  </a:lnTo>
                  <a:lnTo>
                    <a:pt x="1934" y="1027"/>
                  </a:lnTo>
                  <a:lnTo>
                    <a:pt x="1921" y="1049"/>
                  </a:lnTo>
                  <a:lnTo>
                    <a:pt x="1903" y="1067"/>
                  </a:lnTo>
                  <a:lnTo>
                    <a:pt x="1882" y="1082"/>
                  </a:lnTo>
                  <a:lnTo>
                    <a:pt x="1857" y="1090"/>
                  </a:lnTo>
                  <a:lnTo>
                    <a:pt x="1749" y="1112"/>
                  </a:lnTo>
                  <a:lnTo>
                    <a:pt x="1735" y="1177"/>
                  </a:lnTo>
                  <a:lnTo>
                    <a:pt x="1714" y="1240"/>
                  </a:lnTo>
                  <a:lnTo>
                    <a:pt x="1688" y="1303"/>
                  </a:lnTo>
                  <a:lnTo>
                    <a:pt x="1766" y="1385"/>
                  </a:lnTo>
                  <a:lnTo>
                    <a:pt x="1782" y="1407"/>
                  </a:lnTo>
                  <a:lnTo>
                    <a:pt x="1792" y="1431"/>
                  </a:lnTo>
                  <a:lnTo>
                    <a:pt x="1795" y="1456"/>
                  </a:lnTo>
                  <a:lnTo>
                    <a:pt x="1793" y="1481"/>
                  </a:lnTo>
                  <a:lnTo>
                    <a:pt x="1784" y="1505"/>
                  </a:lnTo>
                  <a:lnTo>
                    <a:pt x="1770" y="1528"/>
                  </a:lnTo>
                  <a:lnTo>
                    <a:pt x="1656" y="1663"/>
                  </a:lnTo>
                  <a:lnTo>
                    <a:pt x="1641" y="1678"/>
                  </a:lnTo>
                  <a:lnTo>
                    <a:pt x="1621" y="1690"/>
                  </a:lnTo>
                  <a:lnTo>
                    <a:pt x="1601" y="1698"/>
                  </a:lnTo>
                  <a:lnTo>
                    <a:pt x="1579" y="1701"/>
                  </a:lnTo>
                  <a:lnTo>
                    <a:pt x="1557" y="1699"/>
                  </a:lnTo>
                  <a:lnTo>
                    <a:pt x="1537" y="1694"/>
                  </a:lnTo>
                  <a:lnTo>
                    <a:pt x="1516" y="1683"/>
                  </a:lnTo>
                  <a:lnTo>
                    <a:pt x="1418" y="1619"/>
                  </a:lnTo>
                  <a:lnTo>
                    <a:pt x="1361" y="1654"/>
                  </a:lnTo>
                  <a:lnTo>
                    <a:pt x="1301" y="1686"/>
                  </a:lnTo>
                  <a:lnTo>
                    <a:pt x="1238" y="1711"/>
                  </a:lnTo>
                  <a:lnTo>
                    <a:pt x="1234" y="1828"/>
                  </a:lnTo>
                  <a:lnTo>
                    <a:pt x="1229" y="1855"/>
                  </a:lnTo>
                  <a:lnTo>
                    <a:pt x="1220" y="1878"/>
                  </a:lnTo>
                  <a:lnTo>
                    <a:pt x="1204" y="1898"/>
                  </a:lnTo>
                  <a:lnTo>
                    <a:pt x="1185" y="1915"/>
                  </a:lnTo>
                  <a:lnTo>
                    <a:pt x="1162" y="1926"/>
                  </a:lnTo>
                  <a:lnTo>
                    <a:pt x="1136" y="1931"/>
                  </a:lnTo>
                  <a:lnTo>
                    <a:pt x="960" y="1947"/>
                  </a:lnTo>
                  <a:lnTo>
                    <a:pt x="933" y="1946"/>
                  </a:lnTo>
                  <a:lnTo>
                    <a:pt x="909" y="1938"/>
                  </a:lnTo>
                  <a:lnTo>
                    <a:pt x="887" y="1925"/>
                  </a:lnTo>
                  <a:lnTo>
                    <a:pt x="868" y="1908"/>
                  </a:lnTo>
                  <a:lnTo>
                    <a:pt x="855" y="1886"/>
                  </a:lnTo>
                  <a:lnTo>
                    <a:pt x="846" y="1861"/>
                  </a:lnTo>
                  <a:lnTo>
                    <a:pt x="822" y="1740"/>
                  </a:lnTo>
                  <a:lnTo>
                    <a:pt x="760" y="1725"/>
                  </a:lnTo>
                  <a:lnTo>
                    <a:pt x="700" y="1706"/>
                  </a:lnTo>
                  <a:lnTo>
                    <a:pt x="641" y="1681"/>
                  </a:lnTo>
                  <a:lnTo>
                    <a:pt x="552" y="1764"/>
                  </a:lnTo>
                  <a:lnTo>
                    <a:pt x="532" y="1780"/>
                  </a:lnTo>
                  <a:lnTo>
                    <a:pt x="508" y="1790"/>
                  </a:lnTo>
                  <a:lnTo>
                    <a:pt x="482" y="1793"/>
                  </a:lnTo>
                  <a:lnTo>
                    <a:pt x="457" y="1791"/>
                  </a:lnTo>
                  <a:lnTo>
                    <a:pt x="433" y="1782"/>
                  </a:lnTo>
                  <a:lnTo>
                    <a:pt x="411" y="1768"/>
                  </a:lnTo>
                  <a:lnTo>
                    <a:pt x="275" y="1654"/>
                  </a:lnTo>
                  <a:lnTo>
                    <a:pt x="260" y="1637"/>
                  </a:lnTo>
                  <a:lnTo>
                    <a:pt x="249" y="1619"/>
                  </a:lnTo>
                  <a:lnTo>
                    <a:pt x="240" y="1598"/>
                  </a:lnTo>
                  <a:lnTo>
                    <a:pt x="238" y="1577"/>
                  </a:lnTo>
                  <a:lnTo>
                    <a:pt x="239" y="1555"/>
                  </a:lnTo>
                  <a:lnTo>
                    <a:pt x="245" y="1533"/>
                  </a:lnTo>
                  <a:lnTo>
                    <a:pt x="256" y="1513"/>
                  </a:lnTo>
                  <a:lnTo>
                    <a:pt x="323" y="1412"/>
                  </a:lnTo>
                  <a:lnTo>
                    <a:pt x="290" y="1359"/>
                  </a:lnTo>
                  <a:lnTo>
                    <a:pt x="262" y="1306"/>
                  </a:lnTo>
                  <a:lnTo>
                    <a:pt x="238" y="1249"/>
                  </a:lnTo>
                  <a:lnTo>
                    <a:pt x="117" y="1245"/>
                  </a:lnTo>
                  <a:lnTo>
                    <a:pt x="92" y="1240"/>
                  </a:lnTo>
                  <a:lnTo>
                    <a:pt x="67" y="1231"/>
                  </a:lnTo>
                  <a:lnTo>
                    <a:pt x="47" y="1216"/>
                  </a:lnTo>
                  <a:lnTo>
                    <a:pt x="31" y="1196"/>
                  </a:lnTo>
                  <a:lnTo>
                    <a:pt x="20" y="1173"/>
                  </a:lnTo>
                  <a:lnTo>
                    <a:pt x="14" y="1147"/>
                  </a:lnTo>
                  <a:lnTo>
                    <a:pt x="0" y="970"/>
                  </a:lnTo>
                  <a:lnTo>
                    <a:pt x="1" y="945"/>
                  </a:lnTo>
                  <a:lnTo>
                    <a:pt x="8" y="920"/>
                  </a:lnTo>
                  <a:lnTo>
                    <a:pt x="20" y="898"/>
                  </a:lnTo>
                  <a:lnTo>
                    <a:pt x="38" y="880"/>
                  </a:lnTo>
                  <a:lnTo>
                    <a:pt x="60" y="865"/>
                  </a:lnTo>
                  <a:lnTo>
                    <a:pt x="84" y="857"/>
                  </a:lnTo>
                  <a:lnTo>
                    <a:pt x="196" y="834"/>
                  </a:lnTo>
                  <a:lnTo>
                    <a:pt x="210" y="770"/>
                  </a:lnTo>
                  <a:lnTo>
                    <a:pt x="230" y="706"/>
                  </a:lnTo>
                  <a:lnTo>
                    <a:pt x="254" y="644"/>
                  </a:lnTo>
                  <a:lnTo>
                    <a:pt x="175" y="562"/>
                  </a:lnTo>
                  <a:lnTo>
                    <a:pt x="159" y="540"/>
                  </a:lnTo>
                  <a:lnTo>
                    <a:pt x="150" y="516"/>
                  </a:lnTo>
                  <a:lnTo>
                    <a:pt x="146" y="491"/>
                  </a:lnTo>
                  <a:lnTo>
                    <a:pt x="149" y="466"/>
                  </a:lnTo>
                  <a:lnTo>
                    <a:pt x="157" y="442"/>
                  </a:lnTo>
                  <a:lnTo>
                    <a:pt x="171" y="419"/>
                  </a:lnTo>
                  <a:lnTo>
                    <a:pt x="285" y="283"/>
                  </a:lnTo>
                  <a:lnTo>
                    <a:pt x="302" y="268"/>
                  </a:lnTo>
                  <a:lnTo>
                    <a:pt x="321" y="255"/>
                  </a:lnTo>
                  <a:lnTo>
                    <a:pt x="342" y="248"/>
                  </a:lnTo>
                  <a:lnTo>
                    <a:pt x="363" y="246"/>
                  </a:lnTo>
                  <a:lnTo>
                    <a:pt x="384" y="247"/>
                  </a:lnTo>
                  <a:lnTo>
                    <a:pt x="406" y="253"/>
                  </a:lnTo>
                  <a:lnTo>
                    <a:pt x="427" y="263"/>
                  </a:lnTo>
                  <a:lnTo>
                    <a:pt x="515" y="322"/>
                  </a:lnTo>
                  <a:lnTo>
                    <a:pt x="575" y="283"/>
                  </a:lnTo>
                  <a:lnTo>
                    <a:pt x="638" y="249"/>
                  </a:lnTo>
                  <a:lnTo>
                    <a:pt x="705" y="223"/>
                  </a:lnTo>
                  <a:lnTo>
                    <a:pt x="708" y="118"/>
                  </a:lnTo>
                  <a:lnTo>
                    <a:pt x="712" y="92"/>
                  </a:lnTo>
                  <a:lnTo>
                    <a:pt x="723" y="68"/>
                  </a:lnTo>
                  <a:lnTo>
                    <a:pt x="737" y="47"/>
                  </a:lnTo>
                  <a:lnTo>
                    <a:pt x="758" y="32"/>
                  </a:lnTo>
                  <a:lnTo>
                    <a:pt x="781" y="21"/>
                  </a:lnTo>
                  <a:lnTo>
                    <a:pt x="806" y="15"/>
                  </a:lnTo>
                  <a:lnTo>
                    <a:pt x="98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1" name="Freeform 22"/>
            <p:cNvSpPr>
              <a:spLocks noEditPoints="1"/>
            </p:cNvSpPr>
            <p:nvPr/>
          </p:nvSpPr>
          <p:spPr bwMode="auto">
            <a:xfrm>
              <a:off x="490" y="3645"/>
              <a:ext cx="526" cy="526"/>
            </a:xfrm>
            <a:custGeom>
              <a:avLst/>
              <a:gdLst>
                <a:gd name="T0" fmla="*/ 707 w 1578"/>
                <a:gd name="T1" fmla="*/ 516 h 1579"/>
                <a:gd name="T2" fmla="*/ 596 w 1578"/>
                <a:gd name="T3" fmla="*/ 582 h 1579"/>
                <a:gd name="T4" fmla="*/ 526 w 1578"/>
                <a:gd name="T5" fmla="*/ 691 h 1579"/>
                <a:gd name="T6" fmla="*/ 514 w 1578"/>
                <a:gd name="T7" fmla="*/ 827 h 1579"/>
                <a:gd name="T8" fmla="*/ 563 w 1578"/>
                <a:gd name="T9" fmla="*/ 948 h 1579"/>
                <a:gd name="T10" fmla="*/ 660 w 1578"/>
                <a:gd name="T11" fmla="*/ 1032 h 1579"/>
                <a:gd name="T12" fmla="*/ 789 w 1578"/>
                <a:gd name="T13" fmla="*/ 1066 h 1579"/>
                <a:gd name="T14" fmla="*/ 919 w 1578"/>
                <a:gd name="T15" fmla="*/ 1036 h 1579"/>
                <a:gd name="T16" fmla="*/ 1018 w 1578"/>
                <a:gd name="T17" fmla="*/ 952 h 1579"/>
                <a:gd name="T18" fmla="*/ 1070 w 1578"/>
                <a:gd name="T19" fmla="*/ 833 h 1579"/>
                <a:gd name="T20" fmla="*/ 1060 w 1578"/>
                <a:gd name="T21" fmla="*/ 698 h 1579"/>
                <a:gd name="T22" fmla="*/ 994 w 1578"/>
                <a:gd name="T23" fmla="*/ 587 h 1579"/>
                <a:gd name="T24" fmla="*/ 885 w 1578"/>
                <a:gd name="T25" fmla="*/ 518 h 1579"/>
                <a:gd name="T26" fmla="*/ 748 w 1578"/>
                <a:gd name="T27" fmla="*/ 0 h 1579"/>
                <a:gd name="T28" fmla="*/ 907 w 1578"/>
                <a:gd name="T29" fmla="*/ 15 h 1579"/>
                <a:gd name="T30" fmla="*/ 955 w 1578"/>
                <a:gd name="T31" fmla="*/ 72 h 1579"/>
                <a:gd name="T32" fmla="*/ 1023 w 1578"/>
                <a:gd name="T33" fmla="*/ 183 h 1579"/>
                <a:gd name="T34" fmla="*/ 1176 w 1578"/>
                <a:gd name="T35" fmla="*/ 193 h 1579"/>
                <a:gd name="T36" fmla="*/ 1249 w 1578"/>
                <a:gd name="T37" fmla="*/ 171 h 1579"/>
                <a:gd name="T38" fmla="*/ 1318 w 1578"/>
                <a:gd name="T39" fmla="*/ 202 h 1579"/>
                <a:gd name="T40" fmla="*/ 1419 w 1578"/>
                <a:gd name="T41" fmla="*/ 326 h 1579"/>
                <a:gd name="T42" fmla="*/ 1415 w 1578"/>
                <a:gd name="T43" fmla="*/ 400 h 1579"/>
                <a:gd name="T44" fmla="*/ 1381 w 1578"/>
                <a:gd name="T45" fmla="*/ 524 h 1579"/>
                <a:gd name="T46" fmla="*/ 1485 w 1578"/>
                <a:gd name="T47" fmla="*/ 634 h 1579"/>
                <a:gd name="T48" fmla="*/ 1552 w 1578"/>
                <a:gd name="T49" fmla="*/ 671 h 1579"/>
                <a:gd name="T50" fmla="*/ 1578 w 1578"/>
                <a:gd name="T51" fmla="*/ 742 h 1579"/>
                <a:gd name="T52" fmla="*/ 1563 w 1578"/>
                <a:gd name="T53" fmla="*/ 900 h 1579"/>
                <a:gd name="T54" fmla="*/ 1506 w 1578"/>
                <a:gd name="T55" fmla="*/ 950 h 1579"/>
                <a:gd name="T56" fmla="*/ 1393 w 1578"/>
                <a:gd name="T57" fmla="*/ 1014 h 1579"/>
                <a:gd name="T58" fmla="*/ 1390 w 1578"/>
                <a:gd name="T59" fmla="*/ 1173 h 1579"/>
                <a:gd name="T60" fmla="*/ 1413 w 1578"/>
                <a:gd name="T61" fmla="*/ 1245 h 1579"/>
                <a:gd name="T62" fmla="*/ 1381 w 1578"/>
                <a:gd name="T63" fmla="*/ 1314 h 1579"/>
                <a:gd name="T64" fmla="*/ 1259 w 1578"/>
                <a:gd name="T65" fmla="*/ 1416 h 1579"/>
                <a:gd name="T66" fmla="*/ 1184 w 1578"/>
                <a:gd name="T67" fmla="*/ 1411 h 1579"/>
                <a:gd name="T68" fmla="*/ 1052 w 1578"/>
                <a:gd name="T69" fmla="*/ 1372 h 1579"/>
                <a:gd name="T70" fmla="*/ 938 w 1578"/>
                <a:gd name="T71" fmla="*/ 1486 h 1579"/>
                <a:gd name="T72" fmla="*/ 902 w 1578"/>
                <a:gd name="T73" fmla="*/ 1554 h 1579"/>
                <a:gd name="T74" fmla="*/ 831 w 1578"/>
                <a:gd name="T75" fmla="*/ 1579 h 1579"/>
                <a:gd name="T76" fmla="*/ 672 w 1578"/>
                <a:gd name="T77" fmla="*/ 1565 h 1579"/>
                <a:gd name="T78" fmla="*/ 623 w 1578"/>
                <a:gd name="T79" fmla="*/ 1508 h 1579"/>
                <a:gd name="T80" fmla="*/ 560 w 1578"/>
                <a:gd name="T81" fmla="*/ 1383 h 1579"/>
                <a:gd name="T82" fmla="*/ 402 w 1578"/>
                <a:gd name="T83" fmla="*/ 1387 h 1579"/>
                <a:gd name="T84" fmla="*/ 329 w 1578"/>
                <a:gd name="T85" fmla="*/ 1410 h 1579"/>
                <a:gd name="T86" fmla="*/ 260 w 1578"/>
                <a:gd name="T87" fmla="*/ 1377 h 1579"/>
                <a:gd name="T88" fmla="*/ 158 w 1578"/>
                <a:gd name="T89" fmla="*/ 1255 h 1579"/>
                <a:gd name="T90" fmla="*/ 164 w 1578"/>
                <a:gd name="T91" fmla="*/ 1180 h 1579"/>
                <a:gd name="T92" fmla="*/ 207 w 1578"/>
                <a:gd name="T93" fmla="*/ 1049 h 1579"/>
                <a:gd name="T94" fmla="*/ 93 w 1578"/>
                <a:gd name="T95" fmla="*/ 945 h 1579"/>
                <a:gd name="T96" fmla="*/ 26 w 1578"/>
                <a:gd name="T97" fmla="*/ 910 h 1579"/>
                <a:gd name="T98" fmla="*/ 0 w 1578"/>
                <a:gd name="T99" fmla="*/ 839 h 1579"/>
                <a:gd name="T100" fmla="*/ 14 w 1578"/>
                <a:gd name="T101" fmla="*/ 680 h 1579"/>
                <a:gd name="T102" fmla="*/ 71 w 1578"/>
                <a:gd name="T103" fmla="*/ 631 h 1579"/>
                <a:gd name="T104" fmla="*/ 188 w 1578"/>
                <a:gd name="T105" fmla="*/ 565 h 1579"/>
                <a:gd name="T106" fmla="*/ 187 w 1578"/>
                <a:gd name="T107" fmla="*/ 408 h 1579"/>
                <a:gd name="T108" fmla="*/ 166 w 1578"/>
                <a:gd name="T109" fmla="*/ 335 h 1579"/>
                <a:gd name="T110" fmla="*/ 197 w 1578"/>
                <a:gd name="T111" fmla="*/ 265 h 1579"/>
                <a:gd name="T112" fmla="*/ 320 w 1578"/>
                <a:gd name="T113" fmla="*/ 164 h 1579"/>
                <a:gd name="T114" fmla="*/ 395 w 1578"/>
                <a:gd name="T115" fmla="*/ 170 h 1579"/>
                <a:gd name="T116" fmla="*/ 522 w 1578"/>
                <a:gd name="T117" fmla="*/ 200 h 1579"/>
                <a:gd name="T118" fmla="*/ 641 w 1578"/>
                <a:gd name="T119" fmla="*/ 95 h 1579"/>
                <a:gd name="T120" fmla="*/ 677 w 1578"/>
                <a:gd name="T121" fmla="*/ 27 h 1579"/>
                <a:gd name="T122" fmla="*/ 748 w 1578"/>
                <a:gd name="T123" fmla="*/ 0 h 15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78" h="1579">
                  <a:moveTo>
                    <a:pt x="795" y="502"/>
                  </a:moveTo>
                  <a:lnTo>
                    <a:pt x="751" y="505"/>
                  </a:lnTo>
                  <a:lnTo>
                    <a:pt x="707" y="516"/>
                  </a:lnTo>
                  <a:lnTo>
                    <a:pt x="666" y="533"/>
                  </a:lnTo>
                  <a:lnTo>
                    <a:pt x="629" y="554"/>
                  </a:lnTo>
                  <a:lnTo>
                    <a:pt x="596" y="582"/>
                  </a:lnTo>
                  <a:lnTo>
                    <a:pt x="567" y="615"/>
                  </a:lnTo>
                  <a:lnTo>
                    <a:pt x="544" y="651"/>
                  </a:lnTo>
                  <a:lnTo>
                    <a:pt x="526" y="691"/>
                  </a:lnTo>
                  <a:lnTo>
                    <a:pt x="515" y="735"/>
                  </a:lnTo>
                  <a:lnTo>
                    <a:pt x="511" y="781"/>
                  </a:lnTo>
                  <a:lnTo>
                    <a:pt x="514" y="827"/>
                  </a:lnTo>
                  <a:lnTo>
                    <a:pt x="525" y="870"/>
                  </a:lnTo>
                  <a:lnTo>
                    <a:pt x="540" y="910"/>
                  </a:lnTo>
                  <a:lnTo>
                    <a:pt x="563" y="948"/>
                  </a:lnTo>
                  <a:lnTo>
                    <a:pt x="591" y="980"/>
                  </a:lnTo>
                  <a:lnTo>
                    <a:pt x="624" y="1009"/>
                  </a:lnTo>
                  <a:lnTo>
                    <a:pt x="660" y="1032"/>
                  </a:lnTo>
                  <a:lnTo>
                    <a:pt x="700" y="1050"/>
                  </a:lnTo>
                  <a:lnTo>
                    <a:pt x="743" y="1061"/>
                  </a:lnTo>
                  <a:lnTo>
                    <a:pt x="789" y="1066"/>
                  </a:lnTo>
                  <a:lnTo>
                    <a:pt x="834" y="1063"/>
                  </a:lnTo>
                  <a:lnTo>
                    <a:pt x="878" y="1053"/>
                  </a:lnTo>
                  <a:lnTo>
                    <a:pt x="919" y="1036"/>
                  </a:lnTo>
                  <a:lnTo>
                    <a:pt x="956" y="1013"/>
                  </a:lnTo>
                  <a:lnTo>
                    <a:pt x="989" y="985"/>
                  </a:lnTo>
                  <a:lnTo>
                    <a:pt x="1018" y="952"/>
                  </a:lnTo>
                  <a:lnTo>
                    <a:pt x="1041" y="916"/>
                  </a:lnTo>
                  <a:lnTo>
                    <a:pt x="1059" y="876"/>
                  </a:lnTo>
                  <a:lnTo>
                    <a:pt x="1070" y="833"/>
                  </a:lnTo>
                  <a:lnTo>
                    <a:pt x="1074" y="788"/>
                  </a:lnTo>
                  <a:lnTo>
                    <a:pt x="1071" y="742"/>
                  </a:lnTo>
                  <a:lnTo>
                    <a:pt x="1060" y="698"/>
                  </a:lnTo>
                  <a:lnTo>
                    <a:pt x="1045" y="657"/>
                  </a:lnTo>
                  <a:lnTo>
                    <a:pt x="1022" y="620"/>
                  </a:lnTo>
                  <a:lnTo>
                    <a:pt x="994" y="587"/>
                  </a:lnTo>
                  <a:lnTo>
                    <a:pt x="961" y="558"/>
                  </a:lnTo>
                  <a:lnTo>
                    <a:pt x="925" y="535"/>
                  </a:lnTo>
                  <a:lnTo>
                    <a:pt x="885" y="518"/>
                  </a:lnTo>
                  <a:lnTo>
                    <a:pt x="841" y="506"/>
                  </a:lnTo>
                  <a:lnTo>
                    <a:pt x="795" y="502"/>
                  </a:lnTo>
                  <a:close/>
                  <a:moveTo>
                    <a:pt x="748" y="0"/>
                  </a:moveTo>
                  <a:lnTo>
                    <a:pt x="856" y="3"/>
                  </a:lnTo>
                  <a:lnTo>
                    <a:pt x="883" y="5"/>
                  </a:lnTo>
                  <a:lnTo>
                    <a:pt x="907" y="15"/>
                  </a:lnTo>
                  <a:lnTo>
                    <a:pt x="927" y="30"/>
                  </a:lnTo>
                  <a:lnTo>
                    <a:pt x="944" y="49"/>
                  </a:lnTo>
                  <a:lnTo>
                    <a:pt x="955" y="72"/>
                  </a:lnTo>
                  <a:lnTo>
                    <a:pt x="961" y="98"/>
                  </a:lnTo>
                  <a:lnTo>
                    <a:pt x="968" y="165"/>
                  </a:lnTo>
                  <a:lnTo>
                    <a:pt x="1023" y="183"/>
                  </a:lnTo>
                  <a:lnTo>
                    <a:pt x="1075" y="206"/>
                  </a:lnTo>
                  <a:lnTo>
                    <a:pt x="1124" y="233"/>
                  </a:lnTo>
                  <a:lnTo>
                    <a:pt x="1176" y="193"/>
                  </a:lnTo>
                  <a:lnTo>
                    <a:pt x="1199" y="179"/>
                  </a:lnTo>
                  <a:lnTo>
                    <a:pt x="1223" y="172"/>
                  </a:lnTo>
                  <a:lnTo>
                    <a:pt x="1249" y="171"/>
                  </a:lnTo>
                  <a:lnTo>
                    <a:pt x="1274" y="176"/>
                  </a:lnTo>
                  <a:lnTo>
                    <a:pt x="1297" y="187"/>
                  </a:lnTo>
                  <a:lnTo>
                    <a:pt x="1318" y="202"/>
                  </a:lnTo>
                  <a:lnTo>
                    <a:pt x="1394" y="281"/>
                  </a:lnTo>
                  <a:lnTo>
                    <a:pt x="1410" y="302"/>
                  </a:lnTo>
                  <a:lnTo>
                    <a:pt x="1419" y="326"/>
                  </a:lnTo>
                  <a:lnTo>
                    <a:pt x="1424" y="350"/>
                  </a:lnTo>
                  <a:lnTo>
                    <a:pt x="1422" y="375"/>
                  </a:lnTo>
                  <a:lnTo>
                    <a:pt x="1415" y="400"/>
                  </a:lnTo>
                  <a:lnTo>
                    <a:pt x="1400" y="422"/>
                  </a:lnTo>
                  <a:lnTo>
                    <a:pt x="1356" y="476"/>
                  </a:lnTo>
                  <a:lnTo>
                    <a:pt x="1381" y="524"/>
                  </a:lnTo>
                  <a:lnTo>
                    <a:pt x="1400" y="574"/>
                  </a:lnTo>
                  <a:lnTo>
                    <a:pt x="1416" y="626"/>
                  </a:lnTo>
                  <a:lnTo>
                    <a:pt x="1485" y="634"/>
                  </a:lnTo>
                  <a:lnTo>
                    <a:pt x="1510" y="641"/>
                  </a:lnTo>
                  <a:lnTo>
                    <a:pt x="1533" y="654"/>
                  </a:lnTo>
                  <a:lnTo>
                    <a:pt x="1552" y="671"/>
                  </a:lnTo>
                  <a:lnTo>
                    <a:pt x="1566" y="691"/>
                  </a:lnTo>
                  <a:lnTo>
                    <a:pt x="1575" y="715"/>
                  </a:lnTo>
                  <a:lnTo>
                    <a:pt x="1578" y="742"/>
                  </a:lnTo>
                  <a:lnTo>
                    <a:pt x="1577" y="851"/>
                  </a:lnTo>
                  <a:lnTo>
                    <a:pt x="1573" y="876"/>
                  </a:lnTo>
                  <a:lnTo>
                    <a:pt x="1563" y="900"/>
                  </a:lnTo>
                  <a:lnTo>
                    <a:pt x="1549" y="921"/>
                  </a:lnTo>
                  <a:lnTo>
                    <a:pt x="1529" y="938"/>
                  </a:lnTo>
                  <a:lnTo>
                    <a:pt x="1506" y="950"/>
                  </a:lnTo>
                  <a:lnTo>
                    <a:pt x="1481" y="956"/>
                  </a:lnTo>
                  <a:lnTo>
                    <a:pt x="1410" y="963"/>
                  </a:lnTo>
                  <a:lnTo>
                    <a:pt x="1393" y="1014"/>
                  </a:lnTo>
                  <a:lnTo>
                    <a:pt x="1371" y="1065"/>
                  </a:lnTo>
                  <a:lnTo>
                    <a:pt x="1344" y="1112"/>
                  </a:lnTo>
                  <a:lnTo>
                    <a:pt x="1390" y="1173"/>
                  </a:lnTo>
                  <a:lnTo>
                    <a:pt x="1404" y="1196"/>
                  </a:lnTo>
                  <a:lnTo>
                    <a:pt x="1412" y="1220"/>
                  </a:lnTo>
                  <a:lnTo>
                    <a:pt x="1413" y="1245"/>
                  </a:lnTo>
                  <a:lnTo>
                    <a:pt x="1408" y="1271"/>
                  </a:lnTo>
                  <a:lnTo>
                    <a:pt x="1398" y="1294"/>
                  </a:lnTo>
                  <a:lnTo>
                    <a:pt x="1381" y="1314"/>
                  </a:lnTo>
                  <a:lnTo>
                    <a:pt x="1303" y="1390"/>
                  </a:lnTo>
                  <a:lnTo>
                    <a:pt x="1283" y="1406"/>
                  </a:lnTo>
                  <a:lnTo>
                    <a:pt x="1259" y="1416"/>
                  </a:lnTo>
                  <a:lnTo>
                    <a:pt x="1233" y="1421"/>
                  </a:lnTo>
                  <a:lnTo>
                    <a:pt x="1208" y="1418"/>
                  </a:lnTo>
                  <a:lnTo>
                    <a:pt x="1184" y="1411"/>
                  </a:lnTo>
                  <a:lnTo>
                    <a:pt x="1162" y="1396"/>
                  </a:lnTo>
                  <a:lnTo>
                    <a:pt x="1101" y="1348"/>
                  </a:lnTo>
                  <a:lnTo>
                    <a:pt x="1052" y="1372"/>
                  </a:lnTo>
                  <a:lnTo>
                    <a:pt x="1001" y="1393"/>
                  </a:lnTo>
                  <a:lnTo>
                    <a:pt x="948" y="1409"/>
                  </a:lnTo>
                  <a:lnTo>
                    <a:pt x="938" y="1486"/>
                  </a:lnTo>
                  <a:lnTo>
                    <a:pt x="931" y="1511"/>
                  </a:lnTo>
                  <a:lnTo>
                    <a:pt x="919" y="1534"/>
                  </a:lnTo>
                  <a:lnTo>
                    <a:pt x="902" y="1554"/>
                  </a:lnTo>
                  <a:lnTo>
                    <a:pt x="880" y="1567"/>
                  </a:lnTo>
                  <a:lnTo>
                    <a:pt x="856" y="1577"/>
                  </a:lnTo>
                  <a:lnTo>
                    <a:pt x="831" y="1579"/>
                  </a:lnTo>
                  <a:lnTo>
                    <a:pt x="722" y="1578"/>
                  </a:lnTo>
                  <a:lnTo>
                    <a:pt x="695" y="1574"/>
                  </a:lnTo>
                  <a:lnTo>
                    <a:pt x="672" y="1565"/>
                  </a:lnTo>
                  <a:lnTo>
                    <a:pt x="650" y="1550"/>
                  </a:lnTo>
                  <a:lnTo>
                    <a:pt x="635" y="1531"/>
                  </a:lnTo>
                  <a:lnTo>
                    <a:pt x="623" y="1508"/>
                  </a:lnTo>
                  <a:lnTo>
                    <a:pt x="617" y="1482"/>
                  </a:lnTo>
                  <a:lnTo>
                    <a:pt x="608" y="1400"/>
                  </a:lnTo>
                  <a:lnTo>
                    <a:pt x="560" y="1383"/>
                  </a:lnTo>
                  <a:lnTo>
                    <a:pt x="511" y="1363"/>
                  </a:lnTo>
                  <a:lnTo>
                    <a:pt x="467" y="1338"/>
                  </a:lnTo>
                  <a:lnTo>
                    <a:pt x="402" y="1387"/>
                  </a:lnTo>
                  <a:lnTo>
                    <a:pt x="380" y="1401"/>
                  </a:lnTo>
                  <a:lnTo>
                    <a:pt x="354" y="1409"/>
                  </a:lnTo>
                  <a:lnTo>
                    <a:pt x="329" y="1410"/>
                  </a:lnTo>
                  <a:lnTo>
                    <a:pt x="305" y="1405"/>
                  </a:lnTo>
                  <a:lnTo>
                    <a:pt x="280" y="1394"/>
                  </a:lnTo>
                  <a:lnTo>
                    <a:pt x="260" y="1377"/>
                  </a:lnTo>
                  <a:lnTo>
                    <a:pt x="185" y="1300"/>
                  </a:lnTo>
                  <a:lnTo>
                    <a:pt x="168" y="1279"/>
                  </a:lnTo>
                  <a:lnTo>
                    <a:pt x="158" y="1255"/>
                  </a:lnTo>
                  <a:lnTo>
                    <a:pt x="155" y="1229"/>
                  </a:lnTo>
                  <a:lnTo>
                    <a:pt x="156" y="1205"/>
                  </a:lnTo>
                  <a:lnTo>
                    <a:pt x="164" y="1180"/>
                  </a:lnTo>
                  <a:lnTo>
                    <a:pt x="178" y="1158"/>
                  </a:lnTo>
                  <a:lnTo>
                    <a:pt x="230" y="1094"/>
                  </a:lnTo>
                  <a:lnTo>
                    <a:pt x="207" y="1049"/>
                  </a:lnTo>
                  <a:lnTo>
                    <a:pt x="188" y="1003"/>
                  </a:lnTo>
                  <a:lnTo>
                    <a:pt x="173" y="956"/>
                  </a:lnTo>
                  <a:lnTo>
                    <a:pt x="93" y="945"/>
                  </a:lnTo>
                  <a:lnTo>
                    <a:pt x="68" y="939"/>
                  </a:lnTo>
                  <a:lnTo>
                    <a:pt x="45" y="927"/>
                  </a:lnTo>
                  <a:lnTo>
                    <a:pt x="26" y="910"/>
                  </a:lnTo>
                  <a:lnTo>
                    <a:pt x="12" y="888"/>
                  </a:lnTo>
                  <a:lnTo>
                    <a:pt x="3" y="864"/>
                  </a:lnTo>
                  <a:lnTo>
                    <a:pt x="0" y="839"/>
                  </a:lnTo>
                  <a:lnTo>
                    <a:pt x="1" y="730"/>
                  </a:lnTo>
                  <a:lnTo>
                    <a:pt x="5" y="703"/>
                  </a:lnTo>
                  <a:lnTo>
                    <a:pt x="14" y="680"/>
                  </a:lnTo>
                  <a:lnTo>
                    <a:pt x="29" y="658"/>
                  </a:lnTo>
                  <a:lnTo>
                    <a:pt x="48" y="643"/>
                  </a:lnTo>
                  <a:lnTo>
                    <a:pt x="71" y="631"/>
                  </a:lnTo>
                  <a:lnTo>
                    <a:pt x="97" y="625"/>
                  </a:lnTo>
                  <a:lnTo>
                    <a:pt x="172" y="617"/>
                  </a:lnTo>
                  <a:lnTo>
                    <a:pt x="188" y="565"/>
                  </a:lnTo>
                  <a:lnTo>
                    <a:pt x="209" y="516"/>
                  </a:lnTo>
                  <a:lnTo>
                    <a:pt x="233" y="467"/>
                  </a:lnTo>
                  <a:lnTo>
                    <a:pt x="187" y="408"/>
                  </a:lnTo>
                  <a:lnTo>
                    <a:pt x="174" y="385"/>
                  </a:lnTo>
                  <a:lnTo>
                    <a:pt x="167" y="361"/>
                  </a:lnTo>
                  <a:lnTo>
                    <a:pt x="166" y="335"/>
                  </a:lnTo>
                  <a:lnTo>
                    <a:pt x="170" y="310"/>
                  </a:lnTo>
                  <a:lnTo>
                    <a:pt x="181" y="287"/>
                  </a:lnTo>
                  <a:lnTo>
                    <a:pt x="197" y="265"/>
                  </a:lnTo>
                  <a:lnTo>
                    <a:pt x="276" y="189"/>
                  </a:lnTo>
                  <a:lnTo>
                    <a:pt x="296" y="173"/>
                  </a:lnTo>
                  <a:lnTo>
                    <a:pt x="320" y="164"/>
                  </a:lnTo>
                  <a:lnTo>
                    <a:pt x="344" y="159"/>
                  </a:lnTo>
                  <a:lnTo>
                    <a:pt x="370" y="161"/>
                  </a:lnTo>
                  <a:lnTo>
                    <a:pt x="395" y="170"/>
                  </a:lnTo>
                  <a:lnTo>
                    <a:pt x="417" y="183"/>
                  </a:lnTo>
                  <a:lnTo>
                    <a:pt x="470" y="226"/>
                  </a:lnTo>
                  <a:lnTo>
                    <a:pt x="522" y="200"/>
                  </a:lnTo>
                  <a:lnTo>
                    <a:pt x="577" y="178"/>
                  </a:lnTo>
                  <a:lnTo>
                    <a:pt x="632" y="161"/>
                  </a:lnTo>
                  <a:lnTo>
                    <a:pt x="641" y="95"/>
                  </a:lnTo>
                  <a:lnTo>
                    <a:pt x="647" y="68"/>
                  </a:lnTo>
                  <a:lnTo>
                    <a:pt x="659" y="46"/>
                  </a:lnTo>
                  <a:lnTo>
                    <a:pt x="677" y="27"/>
                  </a:lnTo>
                  <a:lnTo>
                    <a:pt x="698" y="12"/>
                  </a:lnTo>
                  <a:lnTo>
                    <a:pt x="722" y="4"/>
                  </a:lnTo>
                  <a:lnTo>
                    <a:pt x="74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02" name="Group 41"/>
          <p:cNvGrpSpPr>
            <a:grpSpLocks noChangeAspect="1"/>
          </p:cNvGrpSpPr>
          <p:nvPr/>
        </p:nvGrpSpPr>
        <p:grpSpPr bwMode="auto">
          <a:xfrm>
            <a:off x="4751138" y="2509019"/>
            <a:ext cx="421097" cy="367095"/>
            <a:chOff x="2181" y="2383"/>
            <a:chExt cx="655" cy="571"/>
          </a:xfrm>
          <a:solidFill>
            <a:schemeClr val="bg1"/>
          </a:solidFill>
        </p:grpSpPr>
        <p:sp>
          <p:nvSpPr>
            <p:cNvPr id="103" name="Freeform 43"/>
            <p:cNvSpPr>
              <a:spLocks/>
            </p:cNvSpPr>
            <p:nvPr/>
          </p:nvSpPr>
          <p:spPr bwMode="auto">
            <a:xfrm>
              <a:off x="2618" y="2464"/>
              <a:ext cx="89" cy="184"/>
            </a:xfrm>
            <a:custGeom>
              <a:avLst/>
              <a:gdLst>
                <a:gd name="T0" fmla="*/ 310 w 538"/>
                <a:gd name="T1" fmla="*/ 3 h 1100"/>
                <a:gd name="T2" fmla="*/ 336 w 538"/>
                <a:gd name="T3" fmla="*/ 43 h 1100"/>
                <a:gd name="T4" fmla="*/ 338 w 538"/>
                <a:gd name="T5" fmla="*/ 126 h 1100"/>
                <a:gd name="T6" fmla="*/ 342 w 538"/>
                <a:gd name="T7" fmla="*/ 129 h 1100"/>
                <a:gd name="T8" fmla="*/ 356 w 538"/>
                <a:gd name="T9" fmla="*/ 132 h 1100"/>
                <a:gd name="T10" fmla="*/ 407 w 538"/>
                <a:gd name="T11" fmla="*/ 143 h 1100"/>
                <a:gd name="T12" fmla="*/ 468 w 538"/>
                <a:gd name="T13" fmla="*/ 160 h 1100"/>
                <a:gd name="T14" fmla="*/ 503 w 538"/>
                <a:gd name="T15" fmla="*/ 183 h 1100"/>
                <a:gd name="T16" fmla="*/ 482 w 538"/>
                <a:gd name="T17" fmla="*/ 264 h 1100"/>
                <a:gd name="T18" fmla="*/ 456 w 538"/>
                <a:gd name="T19" fmla="*/ 288 h 1100"/>
                <a:gd name="T20" fmla="*/ 424 w 538"/>
                <a:gd name="T21" fmla="*/ 286 h 1100"/>
                <a:gd name="T22" fmla="*/ 400 w 538"/>
                <a:gd name="T23" fmla="*/ 275 h 1100"/>
                <a:gd name="T24" fmla="*/ 341 w 538"/>
                <a:gd name="T25" fmla="*/ 259 h 1100"/>
                <a:gd name="T26" fmla="*/ 258 w 538"/>
                <a:gd name="T27" fmla="*/ 256 h 1100"/>
                <a:gd name="T28" fmla="*/ 200 w 538"/>
                <a:gd name="T29" fmla="*/ 279 h 1100"/>
                <a:gd name="T30" fmla="*/ 173 w 538"/>
                <a:gd name="T31" fmla="*/ 315 h 1100"/>
                <a:gd name="T32" fmla="*/ 169 w 538"/>
                <a:gd name="T33" fmla="*/ 359 h 1100"/>
                <a:gd name="T34" fmla="*/ 192 w 538"/>
                <a:gd name="T35" fmla="*/ 402 h 1100"/>
                <a:gd name="T36" fmla="*/ 252 w 538"/>
                <a:gd name="T37" fmla="*/ 441 h 1100"/>
                <a:gd name="T38" fmla="*/ 367 w 538"/>
                <a:gd name="T39" fmla="*/ 491 h 1100"/>
                <a:gd name="T40" fmla="*/ 474 w 538"/>
                <a:gd name="T41" fmla="*/ 563 h 1100"/>
                <a:gd name="T42" fmla="*/ 529 w 538"/>
                <a:gd name="T43" fmla="*/ 653 h 1100"/>
                <a:gd name="T44" fmla="*/ 536 w 538"/>
                <a:gd name="T45" fmla="*/ 763 h 1100"/>
                <a:gd name="T46" fmla="*/ 495 w 538"/>
                <a:gd name="T47" fmla="*/ 862 h 1100"/>
                <a:gd name="T48" fmla="*/ 412 w 538"/>
                <a:gd name="T49" fmla="*/ 933 h 1100"/>
                <a:gd name="T50" fmla="*/ 335 w 538"/>
                <a:gd name="T51" fmla="*/ 961 h 1100"/>
                <a:gd name="T52" fmla="*/ 330 w 538"/>
                <a:gd name="T53" fmla="*/ 964 h 1100"/>
                <a:gd name="T54" fmla="*/ 329 w 538"/>
                <a:gd name="T55" fmla="*/ 1057 h 1100"/>
                <a:gd name="T56" fmla="*/ 301 w 538"/>
                <a:gd name="T57" fmla="*/ 1096 h 1100"/>
                <a:gd name="T58" fmla="*/ 227 w 538"/>
                <a:gd name="T59" fmla="*/ 1096 h 1100"/>
                <a:gd name="T60" fmla="*/ 200 w 538"/>
                <a:gd name="T61" fmla="*/ 1057 h 1100"/>
                <a:gd name="T62" fmla="*/ 199 w 538"/>
                <a:gd name="T63" fmla="*/ 969 h 1100"/>
                <a:gd name="T64" fmla="*/ 193 w 538"/>
                <a:gd name="T65" fmla="*/ 965 h 1100"/>
                <a:gd name="T66" fmla="*/ 175 w 538"/>
                <a:gd name="T67" fmla="*/ 963 h 1100"/>
                <a:gd name="T68" fmla="*/ 113 w 538"/>
                <a:gd name="T69" fmla="*/ 950 h 1100"/>
                <a:gd name="T70" fmla="*/ 40 w 538"/>
                <a:gd name="T71" fmla="*/ 927 h 1100"/>
                <a:gd name="T72" fmla="*/ 2 w 538"/>
                <a:gd name="T73" fmla="*/ 900 h 1100"/>
                <a:gd name="T74" fmla="*/ 23 w 538"/>
                <a:gd name="T75" fmla="*/ 818 h 1100"/>
                <a:gd name="T76" fmla="*/ 49 w 538"/>
                <a:gd name="T77" fmla="*/ 793 h 1100"/>
                <a:gd name="T78" fmla="*/ 74 w 538"/>
                <a:gd name="T79" fmla="*/ 793 h 1100"/>
                <a:gd name="T80" fmla="*/ 91 w 538"/>
                <a:gd name="T81" fmla="*/ 800 h 1100"/>
                <a:gd name="T82" fmla="*/ 136 w 538"/>
                <a:gd name="T83" fmla="*/ 817 h 1100"/>
                <a:gd name="T84" fmla="*/ 199 w 538"/>
                <a:gd name="T85" fmla="*/ 835 h 1100"/>
                <a:gd name="T86" fmla="*/ 275 w 538"/>
                <a:gd name="T87" fmla="*/ 837 h 1100"/>
                <a:gd name="T88" fmla="*/ 350 w 538"/>
                <a:gd name="T89" fmla="*/ 801 h 1100"/>
                <a:gd name="T90" fmla="*/ 379 w 538"/>
                <a:gd name="T91" fmla="*/ 735 h 1100"/>
                <a:gd name="T92" fmla="*/ 355 w 538"/>
                <a:gd name="T93" fmla="*/ 671 h 1100"/>
                <a:gd name="T94" fmla="*/ 280 w 538"/>
                <a:gd name="T95" fmla="*/ 618 h 1100"/>
                <a:gd name="T96" fmla="*/ 177 w 538"/>
                <a:gd name="T97" fmla="*/ 574 h 1100"/>
                <a:gd name="T98" fmla="*/ 92 w 538"/>
                <a:gd name="T99" fmla="*/ 525 h 1100"/>
                <a:gd name="T100" fmla="*/ 31 w 538"/>
                <a:gd name="T101" fmla="*/ 454 h 1100"/>
                <a:gd name="T102" fmla="*/ 8 w 538"/>
                <a:gd name="T103" fmla="*/ 359 h 1100"/>
                <a:gd name="T104" fmla="*/ 32 w 538"/>
                <a:gd name="T105" fmla="*/ 259 h 1100"/>
                <a:gd name="T106" fmla="*/ 98 w 538"/>
                <a:gd name="T107" fmla="*/ 182 h 1100"/>
                <a:gd name="T108" fmla="*/ 200 w 538"/>
                <a:gd name="T109" fmla="*/ 136 h 1100"/>
                <a:gd name="T110" fmla="*/ 206 w 538"/>
                <a:gd name="T111" fmla="*/ 134 h 1100"/>
                <a:gd name="T112" fmla="*/ 210 w 538"/>
                <a:gd name="T113" fmla="*/ 126 h 1100"/>
                <a:gd name="T114" fmla="*/ 223 w 538"/>
                <a:gd name="T115" fmla="*/ 12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8" h="1100">
                  <a:moveTo>
                    <a:pt x="254" y="0"/>
                  </a:moveTo>
                  <a:lnTo>
                    <a:pt x="292" y="0"/>
                  </a:lnTo>
                  <a:lnTo>
                    <a:pt x="310" y="3"/>
                  </a:lnTo>
                  <a:lnTo>
                    <a:pt x="324" y="12"/>
                  </a:lnTo>
                  <a:lnTo>
                    <a:pt x="333" y="27"/>
                  </a:lnTo>
                  <a:lnTo>
                    <a:pt x="336" y="43"/>
                  </a:lnTo>
                  <a:lnTo>
                    <a:pt x="337" y="122"/>
                  </a:lnTo>
                  <a:lnTo>
                    <a:pt x="337" y="125"/>
                  </a:lnTo>
                  <a:lnTo>
                    <a:pt x="338" y="126"/>
                  </a:lnTo>
                  <a:lnTo>
                    <a:pt x="339" y="128"/>
                  </a:lnTo>
                  <a:lnTo>
                    <a:pt x="341" y="129"/>
                  </a:lnTo>
                  <a:lnTo>
                    <a:pt x="342" y="129"/>
                  </a:lnTo>
                  <a:lnTo>
                    <a:pt x="343" y="130"/>
                  </a:lnTo>
                  <a:lnTo>
                    <a:pt x="347" y="130"/>
                  </a:lnTo>
                  <a:lnTo>
                    <a:pt x="356" y="132"/>
                  </a:lnTo>
                  <a:lnTo>
                    <a:pt x="370" y="135"/>
                  </a:lnTo>
                  <a:lnTo>
                    <a:pt x="387" y="138"/>
                  </a:lnTo>
                  <a:lnTo>
                    <a:pt x="407" y="143"/>
                  </a:lnTo>
                  <a:lnTo>
                    <a:pt x="428" y="148"/>
                  </a:lnTo>
                  <a:lnTo>
                    <a:pt x="449" y="154"/>
                  </a:lnTo>
                  <a:lnTo>
                    <a:pt x="468" y="160"/>
                  </a:lnTo>
                  <a:lnTo>
                    <a:pt x="486" y="167"/>
                  </a:lnTo>
                  <a:lnTo>
                    <a:pt x="495" y="173"/>
                  </a:lnTo>
                  <a:lnTo>
                    <a:pt x="503" y="183"/>
                  </a:lnTo>
                  <a:lnTo>
                    <a:pt x="506" y="195"/>
                  </a:lnTo>
                  <a:lnTo>
                    <a:pt x="504" y="210"/>
                  </a:lnTo>
                  <a:lnTo>
                    <a:pt x="482" y="264"/>
                  </a:lnTo>
                  <a:lnTo>
                    <a:pt x="476" y="275"/>
                  </a:lnTo>
                  <a:lnTo>
                    <a:pt x="467" y="283"/>
                  </a:lnTo>
                  <a:lnTo>
                    <a:pt x="456" y="288"/>
                  </a:lnTo>
                  <a:lnTo>
                    <a:pt x="444" y="290"/>
                  </a:lnTo>
                  <a:lnTo>
                    <a:pt x="433" y="289"/>
                  </a:lnTo>
                  <a:lnTo>
                    <a:pt x="424" y="286"/>
                  </a:lnTo>
                  <a:lnTo>
                    <a:pt x="422" y="284"/>
                  </a:lnTo>
                  <a:lnTo>
                    <a:pt x="413" y="281"/>
                  </a:lnTo>
                  <a:lnTo>
                    <a:pt x="400" y="275"/>
                  </a:lnTo>
                  <a:lnTo>
                    <a:pt x="383" y="270"/>
                  </a:lnTo>
                  <a:lnTo>
                    <a:pt x="363" y="264"/>
                  </a:lnTo>
                  <a:lnTo>
                    <a:pt x="341" y="259"/>
                  </a:lnTo>
                  <a:lnTo>
                    <a:pt x="314" y="256"/>
                  </a:lnTo>
                  <a:lnTo>
                    <a:pt x="286" y="255"/>
                  </a:lnTo>
                  <a:lnTo>
                    <a:pt x="258" y="256"/>
                  </a:lnTo>
                  <a:lnTo>
                    <a:pt x="236" y="261"/>
                  </a:lnTo>
                  <a:lnTo>
                    <a:pt x="217" y="269"/>
                  </a:lnTo>
                  <a:lnTo>
                    <a:pt x="200" y="279"/>
                  </a:lnTo>
                  <a:lnTo>
                    <a:pt x="188" y="289"/>
                  </a:lnTo>
                  <a:lnTo>
                    <a:pt x="179" y="302"/>
                  </a:lnTo>
                  <a:lnTo>
                    <a:pt x="173" y="315"/>
                  </a:lnTo>
                  <a:lnTo>
                    <a:pt x="168" y="330"/>
                  </a:lnTo>
                  <a:lnTo>
                    <a:pt x="167" y="344"/>
                  </a:lnTo>
                  <a:lnTo>
                    <a:pt x="169" y="359"/>
                  </a:lnTo>
                  <a:lnTo>
                    <a:pt x="173" y="375"/>
                  </a:lnTo>
                  <a:lnTo>
                    <a:pt x="180" y="389"/>
                  </a:lnTo>
                  <a:lnTo>
                    <a:pt x="192" y="402"/>
                  </a:lnTo>
                  <a:lnTo>
                    <a:pt x="207" y="415"/>
                  </a:lnTo>
                  <a:lnTo>
                    <a:pt x="227" y="428"/>
                  </a:lnTo>
                  <a:lnTo>
                    <a:pt x="252" y="441"/>
                  </a:lnTo>
                  <a:lnTo>
                    <a:pt x="282" y="456"/>
                  </a:lnTo>
                  <a:lnTo>
                    <a:pt x="319" y="470"/>
                  </a:lnTo>
                  <a:lnTo>
                    <a:pt x="367" y="491"/>
                  </a:lnTo>
                  <a:lnTo>
                    <a:pt x="408" y="513"/>
                  </a:lnTo>
                  <a:lnTo>
                    <a:pt x="444" y="538"/>
                  </a:lnTo>
                  <a:lnTo>
                    <a:pt x="474" y="563"/>
                  </a:lnTo>
                  <a:lnTo>
                    <a:pt x="498" y="590"/>
                  </a:lnTo>
                  <a:lnTo>
                    <a:pt x="516" y="621"/>
                  </a:lnTo>
                  <a:lnTo>
                    <a:pt x="529" y="653"/>
                  </a:lnTo>
                  <a:lnTo>
                    <a:pt x="536" y="687"/>
                  </a:lnTo>
                  <a:lnTo>
                    <a:pt x="538" y="725"/>
                  </a:lnTo>
                  <a:lnTo>
                    <a:pt x="536" y="763"/>
                  </a:lnTo>
                  <a:lnTo>
                    <a:pt x="528" y="799"/>
                  </a:lnTo>
                  <a:lnTo>
                    <a:pt x="514" y="831"/>
                  </a:lnTo>
                  <a:lnTo>
                    <a:pt x="495" y="862"/>
                  </a:lnTo>
                  <a:lnTo>
                    <a:pt x="472" y="889"/>
                  </a:lnTo>
                  <a:lnTo>
                    <a:pt x="444" y="913"/>
                  </a:lnTo>
                  <a:lnTo>
                    <a:pt x="412" y="933"/>
                  </a:lnTo>
                  <a:lnTo>
                    <a:pt x="375" y="949"/>
                  </a:lnTo>
                  <a:lnTo>
                    <a:pt x="336" y="961"/>
                  </a:lnTo>
                  <a:lnTo>
                    <a:pt x="335" y="961"/>
                  </a:lnTo>
                  <a:lnTo>
                    <a:pt x="333" y="962"/>
                  </a:lnTo>
                  <a:lnTo>
                    <a:pt x="331" y="962"/>
                  </a:lnTo>
                  <a:lnTo>
                    <a:pt x="330" y="964"/>
                  </a:lnTo>
                  <a:lnTo>
                    <a:pt x="329" y="967"/>
                  </a:lnTo>
                  <a:lnTo>
                    <a:pt x="329" y="970"/>
                  </a:lnTo>
                  <a:lnTo>
                    <a:pt x="329" y="1057"/>
                  </a:lnTo>
                  <a:lnTo>
                    <a:pt x="325" y="1074"/>
                  </a:lnTo>
                  <a:lnTo>
                    <a:pt x="316" y="1088"/>
                  </a:lnTo>
                  <a:lnTo>
                    <a:pt x="301" y="1096"/>
                  </a:lnTo>
                  <a:lnTo>
                    <a:pt x="285" y="1100"/>
                  </a:lnTo>
                  <a:lnTo>
                    <a:pt x="244" y="1100"/>
                  </a:lnTo>
                  <a:lnTo>
                    <a:pt x="227" y="1096"/>
                  </a:lnTo>
                  <a:lnTo>
                    <a:pt x="213" y="1088"/>
                  </a:lnTo>
                  <a:lnTo>
                    <a:pt x="204" y="1074"/>
                  </a:lnTo>
                  <a:lnTo>
                    <a:pt x="200" y="1057"/>
                  </a:lnTo>
                  <a:lnTo>
                    <a:pt x="200" y="974"/>
                  </a:lnTo>
                  <a:lnTo>
                    <a:pt x="200" y="971"/>
                  </a:lnTo>
                  <a:lnTo>
                    <a:pt x="199" y="969"/>
                  </a:lnTo>
                  <a:lnTo>
                    <a:pt x="197" y="968"/>
                  </a:lnTo>
                  <a:lnTo>
                    <a:pt x="195" y="967"/>
                  </a:lnTo>
                  <a:lnTo>
                    <a:pt x="193" y="965"/>
                  </a:lnTo>
                  <a:lnTo>
                    <a:pt x="192" y="965"/>
                  </a:lnTo>
                  <a:lnTo>
                    <a:pt x="187" y="964"/>
                  </a:lnTo>
                  <a:lnTo>
                    <a:pt x="175" y="963"/>
                  </a:lnTo>
                  <a:lnTo>
                    <a:pt x="158" y="959"/>
                  </a:lnTo>
                  <a:lnTo>
                    <a:pt x="137" y="955"/>
                  </a:lnTo>
                  <a:lnTo>
                    <a:pt x="113" y="950"/>
                  </a:lnTo>
                  <a:lnTo>
                    <a:pt x="89" y="943"/>
                  </a:lnTo>
                  <a:lnTo>
                    <a:pt x="64" y="936"/>
                  </a:lnTo>
                  <a:lnTo>
                    <a:pt x="40" y="927"/>
                  </a:lnTo>
                  <a:lnTo>
                    <a:pt x="20" y="918"/>
                  </a:lnTo>
                  <a:lnTo>
                    <a:pt x="11" y="911"/>
                  </a:lnTo>
                  <a:lnTo>
                    <a:pt x="2" y="900"/>
                  </a:lnTo>
                  <a:lnTo>
                    <a:pt x="0" y="888"/>
                  </a:lnTo>
                  <a:lnTo>
                    <a:pt x="2" y="873"/>
                  </a:lnTo>
                  <a:lnTo>
                    <a:pt x="23" y="818"/>
                  </a:lnTo>
                  <a:lnTo>
                    <a:pt x="29" y="807"/>
                  </a:lnTo>
                  <a:lnTo>
                    <a:pt x="38" y="799"/>
                  </a:lnTo>
                  <a:lnTo>
                    <a:pt x="49" y="793"/>
                  </a:lnTo>
                  <a:lnTo>
                    <a:pt x="62" y="791"/>
                  </a:lnTo>
                  <a:lnTo>
                    <a:pt x="68" y="792"/>
                  </a:lnTo>
                  <a:lnTo>
                    <a:pt x="74" y="793"/>
                  </a:lnTo>
                  <a:lnTo>
                    <a:pt x="80" y="795"/>
                  </a:lnTo>
                  <a:lnTo>
                    <a:pt x="83" y="797"/>
                  </a:lnTo>
                  <a:lnTo>
                    <a:pt x="91" y="800"/>
                  </a:lnTo>
                  <a:lnTo>
                    <a:pt x="102" y="805"/>
                  </a:lnTo>
                  <a:lnTo>
                    <a:pt x="118" y="811"/>
                  </a:lnTo>
                  <a:lnTo>
                    <a:pt x="136" y="817"/>
                  </a:lnTo>
                  <a:lnTo>
                    <a:pt x="156" y="824"/>
                  </a:lnTo>
                  <a:lnTo>
                    <a:pt x="177" y="830"/>
                  </a:lnTo>
                  <a:lnTo>
                    <a:pt x="199" y="835"/>
                  </a:lnTo>
                  <a:lnTo>
                    <a:pt x="222" y="838"/>
                  </a:lnTo>
                  <a:lnTo>
                    <a:pt x="242" y="839"/>
                  </a:lnTo>
                  <a:lnTo>
                    <a:pt x="275" y="837"/>
                  </a:lnTo>
                  <a:lnTo>
                    <a:pt x="305" y="829"/>
                  </a:lnTo>
                  <a:lnTo>
                    <a:pt x="330" y="817"/>
                  </a:lnTo>
                  <a:lnTo>
                    <a:pt x="350" y="801"/>
                  </a:lnTo>
                  <a:lnTo>
                    <a:pt x="366" y="782"/>
                  </a:lnTo>
                  <a:lnTo>
                    <a:pt x="375" y="760"/>
                  </a:lnTo>
                  <a:lnTo>
                    <a:pt x="379" y="735"/>
                  </a:lnTo>
                  <a:lnTo>
                    <a:pt x="376" y="711"/>
                  </a:lnTo>
                  <a:lnTo>
                    <a:pt x="368" y="690"/>
                  </a:lnTo>
                  <a:lnTo>
                    <a:pt x="355" y="671"/>
                  </a:lnTo>
                  <a:lnTo>
                    <a:pt x="337" y="652"/>
                  </a:lnTo>
                  <a:lnTo>
                    <a:pt x="312" y="635"/>
                  </a:lnTo>
                  <a:lnTo>
                    <a:pt x="280" y="618"/>
                  </a:lnTo>
                  <a:lnTo>
                    <a:pt x="242" y="602"/>
                  </a:lnTo>
                  <a:lnTo>
                    <a:pt x="210" y="589"/>
                  </a:lnTo>
                  <a:lnTo>
                    <a:pt x="177" y="574"/>
                  </a:lnTo>
                  <a:lnTo>
                    <a:pt x="146" y="559"/>
                  </a:lnTo>
                  <a:lnTo>
                    <a:pt x="118" y="542"/>
                  </a:lnTo>
                  <a:lnTo>
                    <a:pt x="92" y="525"/>
                  </a:lnTo>
                  <a:lnTo>
                    <a:pt x="68" y="503"/>
                  </a:lnTo>
                  <a:lnTo>
                    <a:pt x="48" y="481"/>
                  </a:lnTo>
                  <a:lnTo>
                    <a:pt x="31" y="454"/>
                  </a:lnTo>
                  <a:lnTo>
                    <a:pt x="19" y="426"/>
                  </a:lnTo>
                  <a:lnTo>
                    <a:pt x="11" y="394"/>
                  </a:lnTo>
                  <a:lnTo>
                    <a:pt x="8" y="359"/>
                  </a:lnTo>
                  <a:lnTo>
                    <a:pt x="11" y="324"/>
                  </a:lnTo>
                  <a:lnTo>
                    <a:pt x="19" y="290"/>
                  </a:lnTo>
                  <a:lnTo>
                    <a:pt x="32" y="259"/>
                  </a:lnTo>
                  <a:lnTo>
                    <a:pt x="50" y="230"/>
                  </a:lnTo>
                  <a:lnTo>
                    <a:pt x="71" y="205"/>
                  </a:lnTo>
                  <a:lnTo>
                    <a:pt x="98" y="182"/>
                  </a:lnTo>
                  <a:lnTo>
                    <a:pt x="129" y="163"/>
                  </a:lnTo>
                  <a:lnTo>
                    <a:pt x="162" y="148"/>
                  </a:lnTo>
                  <a:lnTo>
                    <a:pt x="200" y="136"/>
                  </a:lnTo>
                  <a:lnTo>
                    <a:pt x="201" y="136"/>
                  </a:lnTo>
                  <a:lnTo>
                    <a:pt x="204" y="135"/>
                  </a:lnTo>
                  <a:lnTo>
                    <a:pt x="206" y="134"/>
                  </a:lnTo>
                  <a:lnTo>
                    <a:pt x="207" y="131"/>
                  </a:lnTo>
                  <a:lnTo>
                    <a:pt x="210" y="129"/>
                  </a:lnTo>
                  <a:lnTo>
                    <a:pt x="210" y="126"/>
                  </a:lnTo>
                  <a:lnTo>
                    <a:pt x="210" y="43"/>
                  </a:lnTo>
                  <a:lnTo>
                    <a:pt x="213" y="27"/>
                  </a:lnTo>
                  <a:lnTo>
                    <a:pt x="223" y="12"/>
                  </a:lnTo>
                  <a:lnTo>
                    <a:pt x="237" y="3"/>
                  </a:lnTo>
                  <a:lnTo>
                    <a:pt x="25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4" name="Freeform 44"/>
            <p:cNvSpPr>
              <a:spLocks noEditPoints="1"/>
            </p:cNvSpPr>
            <p:nvPr/>
          </p:nvSpPr>
          <p:spPr bwMode="auto">
            <a:xfrm>
              <a:off x="2489" y="2383"/>
              <a:ext cx="347" cy="346"/>
            </a:xfrm>
            <a:custGeom>
              <a:avLst/>
              <a:gdLst>
                <a:gd name="T0" fmla="*/ 887 w 2077"/>
                <a:gd name="T1" fmla="*/ 256 h 2074"/>
                <a:gd name="T2" fmla="*/ 678 w 2077"/>
                <a:gd name="T3" fmla="*/ 326 h 2074"/>
                <a:gd name="T4" fmla="*/ 500 w 2077"/>
                <a:gd name="T5" fmla="*/ 449 h 2074"/>
                <a:gd name="T6" fmla="*/ 362 w 2077"/>
                <a:gd name="T7" fmla="*/ 615 h 2074"/>
                <a:gd name="T8" fmla="*/ 272 w 2077"/>
                <a:gd name="T9" fmla="*/ 813 h 2074"/>
                <a:gd name="T10" fmla="*/ 240 w 2077"/>
                <a:gd name="T11" fmla="*/ 1036 h 2074"/>
                <a:gd name="T12" fmla="*/ 272 w 2077"/>
                <a:gd name="T13" fmla="*/ 1261 h 2074"/>
                <a:gd name="T14" fmla="*/ 362 w 2077"/>
                <a:gd name="T15" fmla="*/ 1460 h 2074"/>
                <a:gd name="T16" fmla="*/ 500 w 2077"/>
                <a:gd name="T17" fmla="*/ 1625 h 2074"/>
                <a:gd name="T18" fmla="*/ 678 w 2077"/>
                <a:gd name="T19" fmla="*/ 1747 h 2074"/>
                <a:gd name="T20" fmla="*/ 887 w 2077"/>
                <a:gd name="T21" fmla="*/ 1818 h 2074"/>
                <a:gd name="T22" fmla="*/ 1116 w 2077"/>
                <a:gd name="T23" fmla="*/ 1829 h 2074"/>
                <a:gd name="T24" fmla="*/ 1332 w 2077"/>
                <a:gd name="T25" fmla="*/ 1778 h 2074"/>
                <a:gd name="T26" fmla="*/ 1520 w 2077"/>
                <a:gd name="T27" fmla="*/ 1671 h 2074"/>
                <a:gd name="T28" fmla="*/ 1673 w 2077"/>
                <a:gd name="T29" fmla="*/ 1519 h 2074"/>
                <a:gd name="T30" fmla="*/ 1780 w 2077"/>
                <a:gd name="T31" fmla="*/ 1330 h 2074"/>
                <a:gd name="T32" fmla="*/ 1832 w 2077"/>
                <a:gd name="T33" fmla="*/ 1114 h 2074"/>
                <a:gd name="T34" fmla="*/ 1822 w 2077"/>
                <a:gd name="T35" fmla="*/ 886 h 2074"/>
                <a:gd name="T36" fmla="*/ 1750 w 2077"/>
                <a:gd name="T37" fmla="*/ 678 h 2074"/>
                <a:gd name="T38" fmla="*/ 1628 w 2077"/>
                <a:gd name="T39" fmla="*/ 500 h 2074"/>
                <a:gd name="T40" fmla="*/ 1461 w 2077"/>
                <a:gd name="T41" fmla="*/ 361 h 2074"/>
                <a:gd name="T42" fmla="*/ 1262 w 2077"/>
                <a:gd name="T43" fmla="*/ 272 h 2074"/>
                <a:gd name="T44" fmla="*/ 1038 w 2077"/>
                <a:gd name="T45" fmla="*/ 240 h 2074"/>
                <a:gd name="T46" fmla="*/ 1206 w 2077"/>
                <a:gd name="T47" fmla="*/ 14 h 2074"/>
                <a:gd name="T48" fmla="*/ 1442 w 2077"/>
                <a:gd name="T49" fmla="*/ 82 h 2074"/>
                <a:gd name="T50" fmla="*/ 1651 w 2077"/>
                <a:gd name="T51" fmla="*/ 201 h 2074"/>
                <a:gd name="T52" fmla="*/ 1827 w 2077"/>
                <a:gd name="T53" fmla="*/ 363 h 2074"/>
                <a:gd name="T54" fmla="*/ 1961 w 2077"/>
                <a:gd name="T55" fmla="*/ 561 h 2074"/>
                <a:gd name="T56" fmla="*/ 2047 w 2077"/>
                <a:gd name="T57" fmla="*/ 788 h 2074"/>
                <a:gd name="T58" fmla="*/ 2077 w 2077"/>
                <a:gd name="T59" fmla="*/ 1036 h 2074"/>
                <a:gd name="T60" fmla="*/ 2047 w 2077"/>
                <a:gd name="T61" fmla="*/ 1286 h 2074"/>
                <a:gd name="T62" fmla="*/ 1961 w 2077"/>
                <a:gd name="T63" fmla="*/ 1513 h 2074"/>
                <a:gd name="T64" fmla="*/ 1827 w 2077"/>
                <a:gd name="T65" fmla="*/ 1711 h 2074"/>
                <a:gd name="T66" fmla="*/ 1651 w 2077"/>
                <a:gd name="T67" fmla="*/ 1873 h 2074"/>
                <a:gd name="T68" fmla="*/ 1442 w 2077"/>
                <a:gd name="T69" fmla="*/ 1992 h 2074"/>
                <a:gd name="T70" fmla="*/ 1206 w 2077"/>
                <a:gd name="T71" fmla="*/ 2060 h 2074"/>
                <a:gd name="T72" fmla="*/ 952 w 2077"/>
                <a:gd name="T73" fmla="*/ 2070 h 2074"/>
                <a:gd name="T74" fmla="*/ 709 w 2077"/>
                <a:gd name="T75" fmla="*/ 2020 h 2074"/>
                <a:gd name="T76" fmla="*/ 492 w 2077"/>
                <a:gd name="T77" fmla="*/ 1918 h 2074"/>
                <a:gd name="T78" fmla="*/ 303 w 2077"/>
                <a:gd name="T79" fmla="*/ 1770 h 2074"/>
                <a:gd name="T80" fmla="*/ 156 w 2077"/>
                <a:gd name="T81" fmla="*/ 1583 h 2074"/>
                <a:gd name="T82" fmla="*/ 52 w 2077"/>
                <a:gd name="T83" fmla="*/ 1364 h 2074"/>
                <a:gd name="T84" fmla="*/ 3 w 2077"/>
                <a:gd name="T85" fmla="*/ 1122 h 2074"/>
                <a:gd name="T86" fmla="*/ 13 w 2077"/>
                <a:gd name="T87" fmla="*/ 869 h 2074"/>
                <a:gd name="T88" fmla="*/ 81 w 2077"/>
                <a:gd name="T89" fmla="*/ 634 h 2074"/>
                <a:gd name="T90" fmla="*/ 200 w 2077"/>
                <a:gd name="T91" fmla="*/ 424 h 2074"/>
                <a:gd name="T92" fmla="*/ 362 w 2077"/>
                <a:gd name="T93" fmla="*/ 250 h 2074"/>
                <a:gd name="T94" fmla="*/ 561 w 2077"/>
                <a:gd name="T95" fmla="*/ 117 h 2074"/>
                <a:gd name="T96" fmla="*/ 788 w 2077"/>
                <a:gd name="T97" fmla="*/ 31 h 2074"/>
                <a:gd name="T98" fmla="*/ 1038 w 2077"/>
                <a:gd name="T99" fmla="*/ 0 h 2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077" h="2074">
                  <a:moveTo>
                    <a:pt x="1038" y="240"/>
                  </a:moveTo>
                  <a:lnTo>
                    <a:pt x="961" y="245"/>
                  </a:lnTo>
                  <a:lnTo>
                    <a:pt x="887" y="256"/>
                  </a:lnTo>
                  <a:lnTo>
                    <a:pt x="814" y="272"/>
                  </a:lnTo>
                  <a:lnTo>
                    <a:pt x="744" y="296"/>
                  </a:lnTo>
                  <a:lnTo>
                    <a:pt x="678" y="326"/>
                  </a:lnTo>
                  <a:lnTo>
                    <a:pt x="614" y="361"/>
                  </a:lnTo>
                  <a:lnTo>
                    <a:pt x="556" y="403"/>
                  </a:lnTo>
                  <a:lnTo>
                    <a:pt x="500" y="449"/>
                  </a:lnTo>
                  <a:lnTo>
                    <a:pt x="449" y="500"/>
                  </a:lnTo>
                  <a:lnTo>
                    <a:pt x="403" y="555"/>
                  </a:lnTo>
                  <a:lnTo>
                    <a:pt x="362" y="615"/>
                  </a:lnTo>
                  <a:lnTo>
                    <a:pt x="326" y="678"/>
                  </a:lnTo>
                  <a:lnTo>
                    <a:pt x="296" y="744"/>
                  </a:lnTo>
                  <a:lnTo>
                    <a:pt x="272" y="813"/>
                  </a:lnTo>
                  <a:lnTo>
                    <a:pt x="255" y="886"/>
                  </a:lnTo>
                  <a:lnTo>
                    <a:pt x="244" y="960"/>
                  </a:lnTo>
                  <a:lnTo>
                    <a:pt x="240" y="1036"/>
                  </a:lnTo>
                  <a:lnTo>
                    <a:pt x="244" y="1114"/>
                  </a:lnTo>
                  <a:lnTo>
                    <a:pt x="255" y="1189"/>
                  </a:lnTo>
                  <a:lnTo>
                    <a:pt x="272" y="1261"/>
                  </a:lnTo>
                  <a:lnTo>
                    <a:pt x="296" y="1330"/>
                  </a:lnTo>
                  <a:lnTo>
                    <a:pt x="326" y="1397"/>
                  </a:lnTo>
                  <a:lnTo>
                    <a:pt x="362" y="1460"/>
                  </a:lnTo>
                  <a:lnTo>
                    <a:pt x="403" y="1519"/>
                  </a:lnTo>
                  <a:lnTo>
                    <a:pt x="449" y="1574"/>
                  </a:lnTo>
                  <a:lnTo>
                    <a:pt x="500" y="1625"/>
                  </a:lnTo>
                  <a:lnTo>
                    <a:pt x="556" y="1671"/>
                  </a:lnTo>
                  <a:lnTo>
                    <a:pt x="614" y="1711"/>
                  </a:lnTo>
                  <a:lnTo>
                    <a:pt x="678" y="1747"/>
                  </a:lnTo>
                  <a:lnTo>
                    <a:pt x="744" y="1778"/>
                  </a:lnTo>
                  <a:lnTo>
                    <a:pt x="814" y="1802"/>
                  </a:lnTo>
                  <a:lnTo>
                    <a:pt x="887" y="1818"/>
                  </a:lnTo>
                  <a:lnTo>
                    <a:pt x="961" y="1829"/>
                  </a:lnTo>
                  <a:lnTo>
                    <a:pt x="1038" y="1833"/>
                  </a:lnTo>
                  <a:lnTo>
                    <a:pt x="1116" y="1829"/>
                  </a:lnTo>
                  <a:lnTo>
                    <a:pt x="1189" y="1818"/>
                  </a:lnTo>
                  <a:lnTo>
                    <a:pt x="1262" y="1802"/>
                  </a:lnTo>
                  <a:lnTo>
                    <a:pt x="1332" y="1778"/>
                  </a:lnTo>
                  <a:lnTo>
                    <a:pt x="1398" y="1747"/>
                  </a:lnTo>
                  <a:lnTo>
                    <a:pt x="1461" y="1711"/>
                  </a:lnTo>
                  <a:lnTo>
                    <a:pt x="1520" y="1671"/>
                  </a:lnTo>
                  <a:lnTo>
                    <a:pt x="1576" y="1625"/>
                  </a:lnTo>
                  <a:lnTo>
                    <a:pt x="1628" y="1574"/>
                  </a:lnTo>
                  <a:lnTo>
                    <a:pt x="1673" y="1519"/>
                  </a:lnTo>
                  <a:lnTo>
                    <a:pt x="1715" y="1460"/>
                  </a:lnTo>
                  <a:lnTo>
                    <a:pt x="1750" y="1397"/>
                  </a:lnTo>
                  <a:lnTo>
                    <a:pt x="1780" y="1330"/>
                  </a:lnTo>
                  <a:lnTo>
                    <a:pt x="1804" y="1261"/>
                  </a:lnTo>
                  <a:lnTo>
                    <a:pt x="1822" y="1189"/>
                  </a:lnTo>
                  <a:lnTo>
                    <a:pt x="1832" y="1114"/>
                  </a:lnTo>
                  <a:lnTo>
                    <a:pt x="1836" y="1036"/>
                  </a:lnTo>
                  <a:lnTo>
                    <a:pt x="1832" y="960"/>
                  </a:lnTo>
                  <a:lnTo>
                    <a:pt x="1822" y="886"/>
                  </a:lnTo>
                  <a:lnTo>
                    <a:pt x="1804" y="813"/>
                  </a:lnTo>
                  <a:lnTo>
                    <a:pt x="1780" y="744"/>
                  </a:lnTo>
                  <a:lnTo>
                    <a:pt x="1750" y="678"/>
                  </a:lnTo>
                  <a:lnTo>
                    <a:pt x="1715" y="615"/>
                  </a:lnTo>
                  <a:lnTo>
                    <a:pt x="1673" y="555"/>
                  </a:lnTo>
                  <a:lnTo>
                    <a:pt x="1628" y="500"/>
                  </a:lnTo>
                  <a:lnTo>
                    <a:pt x="1576" y="449"/>
                  </a:lnTo>
                  <a:lnTo>
                    <a:pt x="1520" y="403"/>
                  </a:lnTo>
                  <a:lnTo>
                    <a:pt x="1461" y="361"/>
                  </a:lnTo>
                  <a:lnTo>
                    <a:pt x="1398" y="326"/>
                  </a:lnTo>
                  <a:lnTo>
                    <a:pt x="1332" y="296"/>
                  </a:lnTo>
                  <a:lnTo>
                    <a:pt x="1262" y="272"/>
                  </a:lnTo>
                  <a:lnTo>
                    <a:pt x="1189" y="256"/>
                  </a:lnTo>
                  <a:lnTo>
                    <a:pt x="1116" y="245"/>
                  </a:lnTo>
                  <a:lnTo>
                    <a:pt x="1038" y="240"/>
                  </a:lnTo>
                  <a:close/>
                  <a:moveTo>
                    <a:pt x="1038" y="0"/>
                  </a:moveTo>
                  <a:lnTo>
                    <a:pt x="1124" y="4"/>
                  </a:lnTo>
                  <a:lnTo>
                    <a:pt x="1206" y="14"/>
                  </a:lnTo>
                  <a:lnTo>
                    <a:pt x="1288" y="31"/>
                  </a:lnTo>
                  <a:lnTo>
                    <a:pt x="1367" y="54"/>
                  </a:lnTo>
                  <a:lnTo>
                    <a:pt x="1442" y="82"/>
                  </a:lnTo>
                  <a:lnTo>
                    <a:pt x="1516" y="117"/>
                  </a:lnTo>
                  <a:lnTo>
                    <a:pt x="1585" y="156"/>
                  </a:lnTo>
                  <a:lnTo>
                    <a:pt x="1651" y="201"/>
                  </a:lnTo>
                  <a:lnTo>
                    <a:pt x="1715" y="250"/>
                  </a:lnTo>
                  <a:lnTo>
                    <a:pt x="1773" y="304"/>
                  </a:lnTo>
                  <a:lnTo>
                    <a:pt x="1827" y="363"/>
                  </a:lnTo>
                  <a:lnTo>
                    <a:pt x="1877" y="424"/>
                  </a:lnTo>
                  <a:lnTo>
                    <a:pt x="1921" y="491"/>
                  </a:lnTo>
                  <a:lnTo>
                    <a:pt x="1961" y="561"/>
                  </a:lnTo>
                  <a:lnTo>
                    <a:pt x="1996" y="634"/>
                  </a:lnTo>
                  <a:lnTo>
                    <a:pt x="2024" y="710"/>
                  </a:lnTo>
                  <a:lnTo>
                    <a:pt x="2047" y="788"/>
                  </a:lnTo>
                  <a:lnTo>
                    <a:pt x="2064" y="869"/>
                  </a:lnTo>
                  <a:lnTo>
                    <a:pt x="2073" y="952"/>
                  </a:lnTo>
                  <a:lnTo>
                    <a:pt x="2077" y="1036"/>
                  </a:lnTo>
                  <a:lnTo>
                    <a:pt x="2073" y="1122"/>
                  </a:lnTo>
                  <a:lnTo>
                    <a:pt x="2064" y="1205"/>
                  </a:lnTo>
                  <a:lnTo>
                    <a:pt x="2047" y="1286"/>
                  </a:lnTo>
                  <a:lnTo>
                    <a:pt x="2024" y="1364"/>
                  </a:lnTo>
                  <a:lnTo>
                    <a:pt x="1996" y="1441"/>
                  </a:lnTo>
                  <a:lnTo>
                    <a:pt x="1961" y="1513"/>
                  </a:lnTo>
                  <a:lnTo>
                    <a:pt x="1921" y="1583"/>
                  </a:lnTo>
                  <a:lnTo>
                    <a:pt x="1877" y="1648"/>
                  </a:lnTo>
                  <a:lnTo>
                    <a:pt x="1827" y="1711"/>
                  </a:lnTo>
                  <a:lnTo>
                    <a:pt x="1773" y="1770"/>
                  </a:lnTo>
                  <a:lnTo>
                    <a:pt x="1715" y="1824"/>
                  </a:lnTo>
                  <a:lnTo>
                    <a:pt x="1651" y="1873"/>
                  </a:lnTo>
                  <a:lnTo>
                    <a:pt x="1585" y="1918"/>
                  </a:lnTo>
                  <a:lnTo>
                    <a:pt x="1516" y="1957"/>
                  </a:lnTo>
                  <a:lnTo>
                    <a:pt x="1442" y="1992"/>
                  </a:lnTo>
                  <a:lnTo>
                    <a:pt x="1367" y="2020"/>
                  </a:lnTo>
                  <a:lnTo>
                    <a:pt x="1288" y="2043"/>
                  </a:lnTo>
                  <a:lnTo>
                    <a:pt x="1206" y="2060"/>
                  </a:lnTo>
                  <a:lnTo>
                    <a:pt x="1124" y="2070"/>
                  </a:lnTo>
                  <a:lnTo>
                    <a:pt x="1038" y="2074"/>
                  </a:lnTo>
                  <a:lnTo>
                    <a:pt x="952" y="2070"/>
                  </a:lnTo>
                  <a:lnTo>
                    <a:pt x="870" y="2060"/>
                  </a:lnTo>
                  <a:lnTo>
                    <a:pt x="788" y="2043"/>
                  </a:lnTo>
                  <a:lnTo>
                    <a:pt x="709" y="2020"/>
                  </a:lnTo>
                  <a:lnTo>
                    <a:pt x="634" y="1992"/>
                  </a:lnTo>
                  <a:lnTo>
                    <a:pt x="561" y="1957"/>
                  </a:lnTo>
                  <a:lnTo>
                    <a:pt x="492" y="1918"/>
                  </a:lnTo>
                  <a:lnTo>
                    <a:pt x="425" y="1873"/>
                  </a:lnTo>
                  <a:lnTo>
                    <a:pt x="362" y="1824"/>
                  </a:lnTo>
                  <a:lnTo>
                    <a:pt x="303" y="1770"/>
                  </a:lnTo>
                  <a:lnTo>
                    <a:pt x="250" y="1711"/>
                  </a:lnTo>
                  <a:lnTo>
                    <a:pt x="200" y="1648"/>
                  </a:lnTo>
                  <a:lnTo>
                    <a:pt x="156" y="1583"/>
                  </a:lnTo>
                  <a:lnTo>
                    <a:pt x="115" y="1513"/>
                  </a:lnTo>
                  <a:lnTo>
                    <a:pt x="81" y="1441"/>
                  </a:lnTo>
                  <a:lnTo>
                    <a:pt x="52" y="1364"/>
                  </a:lnTo>
                  <a:lnTo>
                    <a:pt x="29" y="1286"/>
                  </a:lnTo>
                  <a:lnTo>
                    <a:pt x="13" y="1205"/>
                  </a:lnTo>
                  <a:lnTo>
                    <a:pt x="3" y="1122"/>
                  </a:lnTo>
                  <a:lnTo>
                    <a:pt x="0" y="1036"/>
                  </a:lnTo>
                  <a:lnTo>
                    <a:pt x="3" y="952"/>
                  </a:lnTo>
                  <a:lnTo>
                    <a:pt x="13" y="869"/>
                  </a:lnTo>
                  <a:lnTo>
                    <a:pt x="29" y="788"/>
                  </a:lnTo>
                  <a:lnTo>
                    <a:pt x="52" y="710"/>
                  </a:lnTo>
                  <a:lnTo>
                    <a:pt x="81" y="634"/>
                  </a:lnTo>
                  <a:lnTo>
                    <a:pt x="115" y="561"/>
                  </a:lnTo>
                  <a:lnTo>
                    <a:pt x="156" y="491"/>
                  </a:lnTo>
                  <a:lnTo>
                    <a:pt x="200" y="424"/>
                  </a:lnTo>
                  <a:lnTo>
                    <a:pt x="250" y="363"/>
                  </a:lnTo>
                  <a:lnTo>
                    <a:pt x="303" y="304"/>
                  </a:lnTo>
                  <a:lnTo>
                    <a:pt x="362" y="250"/>
                  </a:lnTo>
                  <a:lnTo>
                    <a:pt x="425" y="201"/>
                  </a:lnTo>
                  <a:lnTo>
                    <a:pt x="492" y="156"/>
                  </a:lnTo>
                  <a:lnTo>
                    <a:pt x="561" y="117"/>
                  </a:lnTo>
                  <a:lnTo>
                    <a:pt x="634" y="82"/>
                  </a:lnTo>
                  <a:lnTo>
                    <a:pt x="709" y="54"/>
                  </a:lnTo>
                  <a:lnTo>
                    <a:pt x="788" y="31"/>
                  </a:lnTo>
                  <a:lnTo>
                    <a:pt x="870" y="14"/>
                  </a:lnTo>
                  <a:lnTo>
                    <a:pt x="952" y="4"/>
                  </a:lnTo>
                  <a:lnTo>
                    <a:pt x="10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5" name="Freeform 45"/>
            <p:cNvSpPr>
              <a:spLocks/>
            </p:cNvSpPr>
            <p:nvPr/>
          </p:nvSpPr>
          <p:spPr bwMode="auto">
            <a:xfrm>
              <a:off x="2361" y="2745"/>
              <a:ext cx="474" cy="209"/>
            </a:xfrm>
            <a:custGeom>
              <a:avLst/>
              <a:gdLst>
                <a:gd name="T0" fmla="*/ 900 w 2846"/>
                <a:gd name="T1" fmla="*/ 15 h 1250"/>
                <a:gd name="T2" fmla="*/ 1118 w 2846"/>
                <a:gd name="T3" fmla="*/ 64 h 1250"/>
                <a:gd name="T4" fmla="*/ 1353 w 2846"/>
                <a:gd name="T5" fmla="*/ 129 h 1250"/>
                <a:gd name="T6" fmla="*/ 1571 w 2846"/>
                <a:gd name="T7" fmla="*/ 198 h 1250"/>
                <a:gd name="T8" fmla="*/ 1739 w 2846"/>
                <a:gd name="T9" fmla="*/ 251 h 1250"/>
                <a:gd name="T10" fmla="*/ 1832 w 2846"/>
                <a:gd name="T11" fmla="*/ 279 h 1250"/>
                <a:gd name="T12" fmla="*/ 1889 w 2846"/>
                <a:gd name="T13" fmla="*/ 336 h 1250"/>
                <a:gd name="T14" fmla="*/ 1896 w 2846"/>
                <a:gd name="T15" fmla="*/ 419 h 1250"/>
                <a:gd name="T16" fmla="*/ 1840 w 2846"/>
                <a:gd name="T17" fmla="*/ 501 h 1250"/>
                <a:gd name="T18" fmla="*/ 1708 w 2846"/>
                <a:gd name="T19" fmla="*/ 553 h 1250"/>
                <a:gd name="T20" fmla="*/ 1534 w 2846"/>
                <a:gd name="T21" fmla="*/ 563 h 1250"/>
                <a:gd name="T22" fmla="*/ 1354 w 2846"/>
                <a:gd name="T23" fmla="*/ 545 h 1250"/>
                <a:gd name="T24" fmla="*/ 1193 w 2846"/>
                <a:gd name="T25" fmla="*/ 517 h 1250"/>
                <a:gd name="T26" fmla="*/ 1078 w 2846"/>
                <a:gd name="T27" fmla="*/ 497 h 1250"/>
                <a:gd name="T28" fmla="*/ 1034 w 2846"/>
                <a:gd name="T29" fmla="*/ 505 h 1250"/>
                <a:gd name="T30" fmla="*/ 1094 w 2846"/>
                <a:gd name="T31" fmla="*/ 577 h 1250"/>
                <a:gd name="T32" fmla="*/ 1248 w 2846"/>
                <a:gd name="T33" fmla="*/ 637 h 1250"/>
                <a:gd name="T34" fmla="*/ 1453 w 2846"/>
                <a:gd name="T35" fmla="*/ 678 h 1250"/>
                <a:gd name="T36" fmla="*/ 1667 w 2846"/>
                <a:gd name="T37" fmla="*/ 694 h 1250"/>
                <a:gd name="T38" fmla="*/ 1923 w 2846"/>
                <a:gd name="T39" fmla="*/ 664 h 1250"/>
                <a:gd name="T40" fmla="*/ 2359 w 2846"/>
                <a:gd name="T41" fmla="*/ 533 h 1250"/>
                <a:gd name="T42" fmla="*/ 2670 w 2846"/>
                <a:gd name="T43" fmla="*/ 388 h 1250"/>
                <a:gd name="T44" fmla="*/ 2782 w 2846"/>
                <a:gd name="T45" fmla="*/ 398 h 1250"/>
                <a:gd name="T46" fmla="*/ 2843 w 2846"/>
                <a:gd name="T47" fmla="*/ 486 h 1250"/>
                <a:gd name="T48" fmla="*/ 2815 w 2846"/>
                <a:gd name="T49" fmla="*/ 619 h 1250"/>
                <a:gd name="T50" fmla="*/ 2712 w 2846"/>
                <a:gd name="T51" fmla="*/ 729 h 1250"/>
                <a:gd name="T52" fmla="*/ 2569 w 2846"/>
                <a:gd name="T53" fmla="*/ 828 h 1250"/>
                <a:gd name="T54" fmla="*/ 2376 w 2846"/>
                <a:gd name="T55" fmla="*/ 948 h 1250"/>
                <a:gd name="T56" fmla="*/ 2161 w 2846"/>
                <a:gd name="T57" fmla="*/ 1068 h 1250"/>
                <a:gd name="T58" fmla="*/ 1957 w 2846"/>
                <a:gd name="T59" fmla="*/ 1170 h 1250"/>
                <a:gd name="T60" fmla="*/ 1791 w 2846"/>
                <a:gd name="T61" fmla="*/ 1237 h 1250"/>
                <a:gd name="T62" fmla="*/ 1676 w 2846"/>
                <a:gd name="T63" fmla="*/ 1250 h 1250"/>
                <a:gd name="T64" fmla="*/ 1484 w 2846"/>
                <a:gd name="T65" fmla="*/ 1233 h 1250"/>
                <a:gd name="T66" fmla="*/ 1233 w 2846"/>
                <a:gd name="T67" fmla="*/ 1200 h 1250"/>
                <a:gd name="T68" fmla="*/ 955 w 2846"/>
                <a:gd name="T69" fmla="*/ 1157 h 1250"/>
                <a:gd name="T70" fmla="*/ 688 w 2846"/>
                <a:gd name="T71" fmla="*/ 1112 h 1250"/>
                <a:gd name="T72" fmla="*/ 468 w 2846"/>
                <a:gd name="T73" fmla="*/ 1071 h 1250"/>
                <a:gd name="T74" fmla="*/ 329 w 2846"/>
                <a:gd name="T75" fmla="*/ 1045 h 1250"/>
                <a:gd name="T76" fmla="*/ 213 w 2846"/>
                <a:gd name="T77" fmla="*/ 1049 h 1250"/>
                <a:gd name="T78" fmla="*/ 93 w 2846"/>
                <a:gd name="T79" fmla="*/ 1118 h 1250"/>
                <a:gd name="T80" fmla="*/ 30 w 2846"/>
                <a:gd name="T81" fmla="*/ 1157 h 1250"/>
                <a:gd name="T82" fmla="*/ 6 w 2846"/>
                <a:gd name="T83" fmla="*/ 1136 h 1250"/>
                <a:gd name="T84" fmla="*/ 0 w 2846"/>
                <a:gd name="T85" fmla="*/ 1112 h 1250"/>
                <a:gd name="T86" fmla="*/ 19 w 2846"/>
                <a:gd name="T87" fmla="*/ 824 h 1250"/>
                <a:gd name="T88" fmla="*/ 40 w 2846"/>
                <a:gd name="T89" fmla="*/ 489 h 1250"/>
                <a:gd name="T90" fmla="*/ 60 w 2846"/>
                <a:gd name="T91" fmla="*/ 190 h 1250"/>
                <a:gd name="T92" fmla="*/ 80 w 2846"/>
                <a:gd name="T93" fmla="*/ 91 h 1250"/>
                <a:gd name="T94" fmla="*/ 136 w 2846"/>
                <a:gd name="T95" fmla="*/ 74 h 1250"/>
                <a:gd name="T96" fmla="*/ 286 w 2846"/>
                <a:gd name="T97" fmla="*/ 51 h 1250"/>
                <a:gd name="T98" fmla="*/ 498 w 2846"/>
                <a:gd name="T99" fmla="*/ 21 h 1250"/>
                <a:gd name="T100" fmla="*/ 694 w 2846"/>
                <a:gd name="T101" fmla="*/ 2 h 1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846" h="1250">
                  <a:moveTo>
                    <a:pt x="768" y="0"/>
                  </a:moveTo>
                  <a:lnTo>
                    <a:pt x="809" y="2"/>
                  </a:lnTo>
                  <a:lnTo>
                    <a:pt x="853" y="8"/>
                  </a:lnTo>
                  <a:lnTo>
                    <a:pt x="900" y="15"/>
                  </a:lnTo>
                  <a:lnTo>
                    <a:pt x="952" y="25"/>
                  </a:lnTo>
                  <a:lnTo>
                    <a:pt x="1005" y="36"/>
                  </a:lnTo>
                  <a:lnTo>
                    <a:pt x="1061" y="49"/>
                  </a:lnTo>
                  <a:lnTo>
                    <a:pt x="1118" y="64"/>
                  </a:lnTo>
                  <a:lnTo>
                    <a:pt x="1177" y="79"/>
                  </a:lnTo>
                  <a:lnTo>
                    <a:pt x="1236" y="96"/>
                  </a:lnTo>
                  <a:lnTo>
                    <a:pt x="1294" y="112"/>
                  </a:lnTo>
                  <a:lnTo>
                    <a:pt x="1353" y="129"/>
                  </a:lnTo>
                  <a:lnTo>
                    <a:pt x="1410" y="147"/>
                  </a:lnTo>
                  <a:lnTo>
                    <a:pt x="1466" y="165"/>
                  </a:lnTo>
                  <a:lnTo>
                    <a:pt x="1520" y="181"/>
                  </a:lnTo>
                  <a:lnTo>
                    <a:pt x="1571" y="198"/>
                  </a:lnTo>
                  <a:lnTo>
                    <a:pt x="1618" y="212"/>
                  </a:lnTo>
                  <a:lnTo>
                    <a:pt x="1662" y="227"/>
                  </a:lnTo>
                  <a:lnTo>
                    <a:pt x="1703" y="240"/>
                  </a:lnTo>
                  <a:lnTo>
                    <a:pt x="1739" y="251"/>
                  </a:lnTo>
                  <a:lnTo>
                    <a:pt x="1768" y="260"/>
                  </a:lnTo>
                  <a:lnTo>
                    <a:pt x="1793" y="267"/>
                  </a:lnTo>
                  <a:lnTo>
                    <a:pt x="1813" y="272"/>
                  </a:lnTo>
                  <a:lnTo>
                    <a:pt x="1832" y="279"/>
                  </a:lnTo>
                  <a:lnTo>
                    <a:pt x="1849" y="288"/>
                  </a:lnTo>
                  <a:lnTo>
                    <a:pt x="1865" y="303"/>
                  </a:lnTo>
                  <a:lnTo>
                    <a:pt x="1878" y="318"/>
                  </a:lnTo>
                  <a:lnTo>
                    <a:pt x="1889" y="336"/>
                  </a:lnTo>
                  <a:lnTo>
                    <a:pt x="1895" y="355"/>
                  </a:lnTo>
                  <a:lnTo>
                    <a:pt x="1899" y="376"/>
                  </a:lnTo>
                  <a:lnTo>
                    <a:pt x="1899" y="398"/>
                  </a:lnTo>
                  <a:lnTo>
                    <a:pt x="1896" y="419"/>
                  </a:lnTo>
                  <a:lnTo>
                    <a:pt x="1888" y="442"/>
                  </a:lnTo>
                  <a:lnTo>
                    <a:pt x="1877" y="463"/>
                  </a:lnTo>
                  <a:lnTo>
                    <a:pt x="1860" y="483"/>
                  </a:lnTo>
                  <a:lnTo>
                    <a:pt x="1840" y="501"/>
                  </a:lnTo>
                  <a:lnTo>
                    <a:pt x="1814" y="519"/>
                  </a:lnTo>
                  <a:lnTo>
                    <a:pt x="1783" y="533"/>
                  </a:lnTo>
                  <a:lnTo>
                    <a:pt x="1747" y="545"/>
                  </a:lnTo>
                  <a:lnTo>
                    <a:pt x="1708" y="553"/>
                  </a:lnTo>
                  <a:lnTo>
                    <a:pt x="1666" y="559"/>
                  </a:lnTo>
                  <a:lnTo>
                    <a:pt x="1623" y="563"/>
                  </a:lnTo>
                  <a:lnTo>
                    <a:pt x="1579" y="564"/>
                  </a:lnTo>
                  <a:lnTo>
                    <a:pt x="1534" y="563"/>
                  </a:lnTo>
                  <a:lnTo>
                    <a:pt x="1489" y="560"/>
                  </a:lnTo>
                  <a:lnTo>
                    <a:pt x="1442" y="556"/>
                  </a:lnTo>
                  <a:lnTo>
                    <a:pt x="1398" y="551"/>
                  </a:lnTo>
                  <a:lnTo>
                    <a:pt x="1354" y="545"/>
                  </a:lnTo>
                  <a:lnTo>
                    <a:pt x="1310" y="538"/>
                  </a:lnTo>
                  <a:lnTo>
                    <a:pt x="1269" y="531"/>
                  </a:lnTo>
                  <a:lnTo>
                    <a:pt x="1230" y="524"/>
                  </a:lnTo>
                  <a:lnTo>
                    <a:pt x="1193" y="517"/>
                  </a:lnTo>
                  <a:lnTo>
                    <a:pt x="1159" y="511"/>
                  </a:lnTo>
                  <a:lnTo>
                    <a:pt x="1128" y="505"/>
                  </a:lnTo>
                  <a:lnTo>
                    <a:pt x="1100" y="501"/>
                  </a:lnTo>
                  <a:lnTo>
                    <a:pt x="1078" y="497"/>
                  </a:lnTo>
                  <a:lnTo>
                    <a:pt x="1059" y="496"/>
                  </a:lnTo>
                  <a:lnTo>
                    <a:pt x="1046" y="496"/>
                  </a:lnTo>
                  <a:lnTo>
                    <a:pt x="1036" y="500"/>
                  </a:lnTo>
                  <a:lnTo>
                    <a:pt x="1034" y="505"/>
                  </a:lnTo>
                  <a:lnTo>
                    <a:pt x="1037" y="524"/>
                  </a:lnTo>
                  <a:lnTo>
                    <a:pt x="1049" y="541"/>
                  </a:lnTo>
                  <a:lnTo>
                    <a:pt x="1068" y="559"/>
                  </a:lnTo>
                  <a:lnTo>
                    <a:pt x="1094" y="577"/>
                  </a:lnTo>
                  <a:lnTo>
                    <a:pt x="1125" y="594"/>
                  </a:lnTo>
                  <a:lnTo>
                    <a:pt x="1162" y="609"/>
                  </a:lnTo>
                  <a:lnTo>
                    <a:pt x="1203" y="623"/>
                  </a:lnTo>
                  <a:lnTo>
                    <a:pt x="1248" y="637"/>
                  </a:lnTo>
                  <a:lnTo>
                    <a:pt x="1296" y="650"/>
                  </a:lnTo>
                  <a:lnTo>
                    <a:pt x="1347" y="660"/>
                  </a:lnTo>
                  <a:lnTo>
                    <a:pt x="1399" y="670"/>
                  </a:lnTo>
                  <a:lnTo>
                    <a:pt x="1453" y="678"/>
                  </a:lnTo>
                  <a:lnTo>
                    <a:pt x="1508" y="685"/>
                  </a:lnTo>
                  <a:lnTo>
                    <a:pt x="1561" y="690"/>
                  </a:lnTo>
                  <a:lnTo>
                    <a:pt x="1615" y="692"/>
                  </a:lnTo>
                  <a:lnTo>
                    <a:pt x="1667" y="694"/>
                  </a:lnTo>
                  <a:lnTo>
                    <a:pt x="1718" y="692"/>
                  </a:lnTo>
                  <a:lnTo>
                    <a:pt x="1766" y="690"/>
                  </a:lnTo>
                  <a:lnTo>
                    <a:pt x="1810" y="684"/>
                  </a:lnTo>
                  <a:lnTo>
                    <a:pt x="1923" y="664"/>
                  </a:lnTo>
                  <a:lnTo>
                    <a:pt x="2036" y="638"/>
                  </a:lnTo>
                  <a:lnTo>
                    <a:pt x="2147" y="607"/>
                  </a:lnTo>
                  <a:lnTo>
                    <a:pt x="2254" y="571"/>
                  </a:lnTo>
                  <a:lnTo>
                    <a:pt x="2359" y="533"/>
                  </a:lnTo>
                  <a:lnTo>
                    <a:pt x="2458" y="492"/>
                  </a:lnTo>
                  <a:lnTo>
                    <a:pt x="2551" y="448"/>
                  </a:lnTo>
                  <a:lnTo>
                    <a:pt x="2638" y="402"/>
                  </a:lnTo>
                  <a:lnTo>
                    <a:pt x="2670" y="388"/>
                  </a:lnTo>
                  <a:lnTo>
                    <a:pt x="2701" y="382"/>
                  </a:lnTo>
                  <a:lnTo>
                    <a:pt x="2730" y="381"/>
                  </a:lnTo>
                  <a:lnTo>
                    <a:pt x="2757" y="387"/>
                  </a:lnTo>
                  <a:lnTo>
                    <a:pt x="2782" y="398"/>
                  </a:lnTo>
                  <a:lnTo>
                    <a:pt x="2803" y="413"/>
                  </a:lnTo>
                  <a:lnTo>
                    <a:pt x="2821" y="433"/>
                  </a:lnTo>
                  <a:lnTo>
                    <a:pt x="2834" y="458"/>
                  </a:lnTo>
                  <a:lnTo>
                    <a:pt x="2843" y="486"/>
                  </a:lnTo>
                  <a:lnTo>
                    <a:pt x="2846" y="515"/>
                  </a:lnTo>
                  <a:lnTo>
                    <a:pt x="2843" y="549"/>
                  </a:lnTo>
                  <a:lnTo>
                    <a:pt x="2832" y="583"/>
                  </a:lnTo>
                  <a:lnTo>
                    <a:pt x="2815" y="619"/>
                  </a:lnTo>
                  <a:lnTo>
                    <a:pt x="2789" y="656"/>
                  </a:lnTo>
                  <a:lnTo>
                    <a:pt x="2756" y="692"/>
                  </a:lnTo>
                  <a:lnTo>
                    <a:pt x="2737" y="709"/>
                  </a:lnTo>
                  <a:lnTo>
                    <a:pt x="2712" y="729"/>
                  </a:lnTo>
                  <a:lnTo>
                    <a:pt x="2683" y="751"/>
                  </a:lnTo>
                  <a:lnTo>
                    <a:pt x="2649" y="774"/>
                  </a:lnTo>
                  <a:lnTo>
                    <a:pt x="2610" y="801"/>
                  </a:lnTo>
                  <a:lnTo>
                    <a:pt x="2569" y="828"/>
                  </a:lnTo>
                  <a:lnTo>
                    <a:pt x="2525" y="856"/>
                  </a:lnTo>
                  <a:lnTo>
                    <a:pt x="2477" y="886"/>
                  </a:lnTo>
                  <a:lnTo>
                    <a:pt x="2427" y="917"/>
                  </a:lnTo>
                  <a:lnTo>
                    <a:pt x="2376" y="948"/>
                  </a:lnTo>
                  <a:lnTo>
                    <a:pt x="2323" y="978"/>
                  </a:lnTo>
                  <a:lnTo>
                    <a:pt x="2270" y="1008"/>
                  </a:lnTo>
                  <a:lnTo>
                    <a:pt x="2215" y="1038"/>
                  </a:lnTo>
                  <a:lnTo>
                    <a:pt x="2161" y="1068"/>
                  </a:lnTo>
                  <a:lnTo>
                    <a:pt x="2108" y="1095"/>
                  </a:lnTo>
                  <a:lnTo>
                    <a:pt x="2057" y="1123"/>
                  </a:lnTo>
                  <a:lnTo>
                    <a:pt x="2005" y="1148"/>
                  </a:lnTo>
                  <a:lnTo>
                    <a:pt x="1957" y="1170"/>
                  </a:lnTo>
                  <a:lnTo>
                    <a:pt x="1910" y="1192"/>
                  </a:lnTo>
                  <a:lnTo>
                    <a:pt x="1867" y="1209"/>
                  </a:lnTo>
                  <a:lnTo>
                    <a:pt x="1827" y="1225"/>
                  </a:lnTo>
                  <a:lnTo>
                    <a:pt x="1791" y="1237"/>
                  </a:lnTo>
                  <a:lnTo>
                    <a:pt x="1759" y="1245"/>
                  </a:lnTo>
                  <a:lnTo>
                    <a:pt x="1738" y="1249"/>
                  </a:lnTo>
                  <a:lnTo>
                    <a:pt x="1710" y="1250"/>
                  </a:lnTo>
                  <a:lnTo>
                    <a:pt x="1676" y="1250"/>
                  </a:lnTo>
                  <a:lnTo>
                    <a:pt x="1635" y="1247"/>
                  </a:lnTo>
                  <a:lnTo>
                    <a:pt x="1590" y="1244"/>
                  </a:lnTo>
                  <a:lnTo>
                    <a:pt x="1539" y="1239"/>
                  </a:lnTo>
                  <a:lnTo>
                    <a:pt x="1484" y="1233"/>
                  </a:lnTo>
                  <a:lnTo>
                    <a:pt x="1425" y="1226"/>
                  </a:lnTo>
                  <a:lnTo>
                    <a:pt x="1364" y="1219"/>
                  </a:lnTo>
                  <a:lnTo>
                    <a:pt x="1299" y="1209"/>
                  </a:lnTo>
                  <a:lnTo>
                    <a:pt x="1233" y="1200"/>
                  </a:lnTo>
                  <a:lnTo>
                    <a:pt x="1163" y="1190"/>
                  </a:lnTo>
                  <a:lnTo>
                    <a:pt x="1094" y="1180"/>
                  </a:lnTo>
                  <a:lnTo>
                    <a:pt x="1025" y="1168"/>
                  </a:lnTo>
                  <a:lnTo>
                    <a:pt x="955" y="1157"/>
                  </a:lnTo>
                  <a:lnTo>
                    <a:pt x="886" y="1145"/>
                  </a:lnTo>
                  <a:lnTo>
                    <a:pt x="818" y="1134"/>
                  </a:lnTo>
                  <a:lnTo>
                    <a:pt x="753" y="1123"/>
                  </a:lnTo>
                  <a:lnTo>
                    <a:pt x="688" y="1112"/>
                  </a:lnTo>
                  <a:lnTo>
                    <a:pt x="628" y="1101"/>
                  </a:lnTo>
                  <a:lnTo>
                    <a:pt x="570" y="1090"/>
                  </a:lnTo>
                  <a:lnTo>
                    <a:pt x="517" y="1081"/>
                  </a:lnTo>
                  <a:lnTo>
                    <a:pt x="468" y="1071"/>
                  </a:lnTo>
                  <a:lnTo>
                    <a:pt x="424" y="1063"/>
                  </a:lnTo>
                  <a:lnTo>
                    <a:pt x="386" y="1056"/>
                  </a:lnTo>
                  <a:lnTo>
                    <a:pt x="354" y="1050"/>
                  </a:lnTo>
                  <a:lnTo>
                    <a:pt x="329" y="1045"/>
                  </a:lnTo>
                  <a:lnTo>
                    <a:pt x="311" y="1041"/>
                  </a:lnTo>
                  <a:lnTo>
                    <a:pt x="279" y="1037"/>
                  </a:lnTo>
                  <a:lnTo>
                    <a:pt x="245" y="1041"/>
                  </a:lnTo>
                  <a:lnTo>
                    <a:pt x="213" y="1049"/>
                  </a:lnTo>
                  <a:lnTo>
                    <a:pt x="182" y="1062"/>
                  </a:lnTo>
                  <a:lnTo>
                    <a:pt x="151" y="1079"/>
                  </a:lnTo>
                  <a:lnTo>
                    <a:pt x="121" y="1098"/>
                  </a:lnTo>
                  <a:lnTo>
                    <a:pt x="93" y="1118"/>
                  </a:lnTo>
                  <a:lnTo>
                    <a:pt x="68" y="1139"/>
                  </a:lnTo>
                  <a:lnTo>
                    <a:pt x="52" y="1150"/>
                  </a:lnTo>
                  <a:lnTo>
                    <a:pt x="39" y="1156"/>
                  </a:lnTo>
                  <a:lnTo>
                    <a:pt x="30" y="1157"/>
                  </a:lnTo>
                  <a:lnTo>
                    <a:pt x="21" y="1155"/>
                  </a:lnTo>
                  <a:lnTo>
                    <a:pt x="14" y="1150"/>
                  </a:lnTo>
                  <a:lnTo>
                    <a:pt x="9" y="1144"/>
                  </a:lnTo>
                  <a:lnTo>
                    <a:pt x="6" y="1136"/>
                  </a:lnTo>
                  <a:lnTo>
                    <a:pt x="2" y="1129"/>
                  </a:lnTo>
                  <a:lnTo>
                    <a:pt x="1" y="1121"/>
                  </a:lnTo>
                  <a:lnTo>
                    <a:pt x="1" y="1115"/>
                  </a:lnTo>
                  <a:lnTo>
                    <a:pt x="0" y="1112"/>
                  </a:lnTo>
                  <a:lnTo>
                    <a:pt x="5" y="1050"/>
                  </a:lnTo>
                  <a:lnTo>
                    <a:pt x="9" y="980"/>
                  </a:lnTo>
                  <a:lnTo>
                    <a:pt x="14" y="904"/>
                  </a:lnTo>
                  <a:lnTo>
                    <a:pt x="19" y="824"/>
                  </a:lnTo>
                  <a:lnTo>
                    <a:pt x="25" y="742"/>
                  </a:lnTo>
                  <a:lnTo>
                    <a:pt x="30" y="658"/>
                  </a:lnTo>
                  <a:lnTo>
                    <a:pt x="36" y="572"/>
                  </a:lnTo>
                  <a:lnTo>
                    <a:pt x="40" y="489"/>
                  </a:lnTo>
                  <a:lnTo>
                    <a:pt x="46" y="407"/>
                  </a:lnTo>
                  <a:lnTo>
                    <a:pt x="51" y="330"/>
                  </a:lnTo>
                  <a:lnTo>
                    <a:pt x="56" y="256"/>
                  </a:lnTo>
                  <a:lnTo>
                    <a:pt x="60" y="190"/>
                  </a:lnTo>
                  <a:lnTo>
                    <a:pt x="64" y="130"/>
                  </a:lnTo>
                  <a:lnTo>
                    <a:pt x="67" y="114"/>
                  </a:lnTo>
                  <a:lnTo>
                    <a:pt x="71" y="101"/>
                  </a:lnTo>
                  <a:lnTo>
                    <a:pt x="80" y="91"/>
                  </a:lnTo>
                  <a:lnTo>
                    <a:pt x="90" y="84"/>
                  </a:lnTo>
                  <a:lnTo>
                    <a:pt x="104" y="80"/>
                  </a:lnTo>
                  <a:lnTo>
                    <a:pt x="118" y="77"/>
                  </a:lnTo>
                  <a:lnTo>
                    <a:pt x="136" y="74"/>
                  </a:lnTo>
                  <a:lnTo>
                    <a:pt x="155" y="71"/>
                  </a:lnTo>
                  <a:lnTo>
                    <a:pt x="194" y="65"/>
                  </a:lnTo>
                  <a:lnTo>
                    <a:pt x="238" y="58"/>
                  </a:lnTo>
                  <a:lnTo>
                    <a:pt x="286" y="51"/>
                  </a:lnTo>
                  <a:lnTo>
                    <a:pt x="337" y="42"/>
                  </a:lnTo>
                  <a:lnTo>
                    <a:pt x="389" y="35"/>
                  </a:lnTo>
                  <a:lnTo>
                    <a:pt x="444" y="28"/>
                  </a:lnTo>
                  <a:lnTo>
                    <a:pt x="498" y="21"/>
                  </a:lnTo>
                  <a:lnTo>
                    <a:pt x="551" y="15"/>
                  </a:lnTo>
                  <a:lnTo>
                    <a:pt x="603" y="9"/>
                  </a:lnTo>
                  <a:lnTo>
                    <a:pt x="650" y="4"/>
                  </a:lnTo>
                  <a:lnTo>
                    <a:pt x="694" y="2"/>
                  </a:lnTo>
                  <a:lnTo>
                    <a:pt x="735" y="0"/>
                  </a:lnTo>
                  <a:lnTo>
                    <a:pt x="76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6" name="Freeform 46"/>
            <p:cNvSpPr>
              <a:spLocks noEditPoints="1"/>
            </p:cNvSpPr>
            <p:nvPr/>
          </p:nvSpPr>
          <p:spPr bwMode="auto">
            <a:xfrm>
              <a:off x="2181" y="2751"/>
              <a:ext cx="150" cy="193"/>
            </a:xfrm>
            <a:custGeom>
              <a:avLst/>
              <a:gdLst>
                <a:gd name="T0" fmla="*/ 468 w 903"/>
                <a:gd name="T1" fmla="*/ 695 h 1161"/>
                <a:gd name="T2" fmla="*/ 433 w 903"/>
                <a:gd name="T3" fmla="*/ 697 h 1161"/>
                <a:gd name="T4" fmla="*/ 403 w 903"/>
                <a:gd name="T5" fmla="*/ 708 h 1161"/>
                <a:gd name="T6" fmla="*/ 374 w 903"/>
                <a:gd name="T7" fmla="*/ 723 h 1161"/>
                <a:gd name="T8" fmla="*/ 349 w 903"/>
                <a:gd name="T9" fmla="*/ 744 h 1161"/>
                <a:gd name="T10" fmla="*/ 329 w 903"/>
                <a:gd name="T11" fmla="*/ 769 h 1161"/>
                <a:gd name="T12" fmla="*/ 313 w 903"/>
                <a:gd name="T13" fmla="*/ 796 h 1161"/>
                <a:gd name="T14" fmla="*/ 304 w 903"/>
                <a:gd name="T15" fmla="*/ 828 h 1161"/>
                <a:gd name="T16" fmla="*/ 300 w 903"/>
                <a:gd name="T17" fmla="*/ 861 h 1161"/>
                <a:gd name="T18" fmla="*/ 304 w 903"/>
                <a:gd name="T19" fmla="*/ 894 h 1161"/>
                <a:gd name="T20" fmla="*/ 313 w 903"/>
                <a:gd name="T21" fmla="*/ 927 h 1161"/>
                <a:gd name="T22" fmla="*/ 329 w 903"/>
                <a:gd name="T23" fmla="*/ 955 h 1161"/>
                <a:gd name="T24" fmla="*/ 349 w 903"/>
                <a:gd name="T25" fmla="*/ 979 h 1161"/>
                <a:gd name="T26" fmla="*/ 374 w 903"/>
                <a:gd name="T27" fmla="*/ 1000 h 1161"/>
                <a:gd name="T28" fmla="*/ 403 w 903"/>
                <a:gd name="T29" fmla="*/ 1016 h 1161"/>
                <a:gd name="T30" fmla="*/ 433 w 903"/>
                <a:gd name="T31" fmla="*/ 1025 h 1161"/>
                <a:gd name="T32" fmla="*/ 468 w 903"/>
                <a:gd name="T33" fmla="*/ 1029 h 1161"/>
                <a:gd name="T34" fmla="*/ 501 w 903"/>
                <a:gd name="T35" fmla="*/ 1025 h 1161"/>
                <a:gd name="T36" fmla="*/ 532 w 903"/>
                <a:gd name="T37" fmla="*/ 1016 h 1161"/>
                <a:gd name="T38" fmla="*/ 561 w 903"/>
                <a:gd name="T39" fmla="*/ 1000 h 1161"/>
                <a:gd name="T40" fmla="*/ 586 w 903"/>
                <a:gd name="T41" fmla="*/ 979 h 1161"/>
                <a:gd name="T42" fmla="*/ 606 w 903"/>
                <a:gd name="T43" fmla="*/ 955 h 1161"/>
                <a:gd name="T44" fmla="*/ 622 w 903"/>
                <a:gd name="T45" fmla="*/ 927 h 1161"/>
                <a:gd name="T46" fmla="*/ 631 w 903"/>
                <a:gd name="T47" fmla="*/ 894 h 1161"/>
                <a:gd name="T48" fmla="*/ 635 w 903"/>
                <a:gd name="T49" fmla="*/ 861 h 1161"/>
                <a:gd name="T50" fmla="*/ 631 w 903"/>
                <a:gd name="T51" fmla="*/ 828 h 1161"/>
                <a:gd name="T52" fmla="*/ 622 w 903"/>
                <a:gd name="T53" fmla="*/ 796 h 1161"/>
                <a:gd name="T54" fmla="*/ 606 w 903"/>
                <a:gd name="T55" fmla="*/ 769 h 1161"/>
                <a:gd name="T56" fmla="*/ 586 w 903"/>
                <a:gd name="T57" fmla="*/ 744 h 1161"/>
                <a:gd name="T58" fmla="*/ 561 w 903"/>
                <a:gd name="T59" fmla="*/ 723 h 1161"/>
                <a:gd name="T60" fmla="*/ 532 w 903"/>
                <a:gd name="T61" fmla="*/ 708 h 1161"/>
                <a:gd name="T62" fmla="*/ 501 w 903"/>
                <a:gd name="T63" fmla="*/ 697 h 1161"/>
                <a:gd name="T64" fmla="*/ 468 w 903"/>
                <a:gd name="T65" fmla="*/ 695 h 1161"/>
                <a:gd name="T66" fmla="*/ 219 w 903"/>
                <a:gd name="T67" fmla="*/ 0 h 1161"/>
                <a:gd name="T68" fmla="*/ 824 w 903"/>
                <a:gd name="T69" fmla="*/ 29 h 1161"/>
                <a:gd name="T70" fmla="*/ 847 w 903"/>
                <a:gd name="T71" fmla="*/ 34 h 1161"/>
                <a:gd name="T72" fmla="*/ 866 w 903"/>
                <a:gd name="T73" fmla="*/ 44 h 1161"/>
                <a:gd name="T74" fmla="*/ 882 w 903"/>
                <a:gd name="T75" fmla="*/ 58 h 1161"/>
                <a:gd name="T76" fmla="*/ 894 w 903"/>
                <a:gd name="T77" fmla="*/ 76 h 1161"/>
                <a:gd name="T78" fmla="*/ 902 w 903"/>
                <a:gd name="T79" fmla="*/ 96 h 1161"/>
                <a:gd name="T80" fmla="*/ 903 w 903"/>
                <a:gd name="T81" fmla="*/ 118 h 1161"/>
                <a:gd name="T82" fmla="*/ 829 w 903"/>
                <a:gd name="T83" fmla="*/ 1079 h 1161"/>
                <a:gd name="T84" fmla="*/ 824 w 903"/>
                <a:gd name="T85" fmla="*/ 1101 h 1161"/>
                <a:gd name="T86" fmla="*/ 813 w 903"/>
                <a:gd name="T87" fmla="*/ 1121 h 1161"/>
                <a:gd name="T88" fmla="*/ 799 w 903"/>
                <a:gd name="T89" fmla="*/ 1138 h 1161"/>
                <a:gd name="T90" fmla="*/ 781 w 903"/>
                <a:gd name="T91" fmla="*/ 1150 h 1161"/>
                <a:gd name="T92" fmla="*/ 760 w 903"/>
                <a:gd name="T93" fmla="*/ 1158 h 1161"/>
                <a:gd name="T94" fmla="*/ 737 w 903"/>
                <a:gd name="T95" fmla="*/ 1161 h 1161"/>
                <a:gd name="T96" fmla="*/ 67 w 903"/>
                <a:gd name="T97" fmla="*/ 1161 h 1161"/>
                <a:gd name="T98" fmla="*/ 45 w 903"/>
                <a:gd name="T99" fmla="*/ 1157 h 1161"/>
                <a:gd name="T100" fmla="*/ 26 w 903"/>
                <a:gd name="T101" fmla="*/ 1148 h 1161"/>
                <a:gd name="T102" fmla="*/ 13 w 903"/>
                <a:gd name="T103" fmla="*/ 1135 h 1161"/>
                <a:gd name="T104" fmla="*/ 4 w 903"/>
                <a:gd name="T105" fmla="*/ 1117 h 1161"/>
                <a:gd name="T106" fmla="*/ 0 w 903"/>
                <a:gd name="T107" fmla="*/ 1097 h 1161"/>
                <a:gd name="T108" fmla="*/ 2 w 903"/>
                <a:gd name="T109" fmla="*/ 1075 h 1161"/>
                <a:gd name="T110" fmla="*/ 113 w 903"/>
                <a:gd name="T111" fmla="*/ 78 h 1161"/>
                <a:gd name="T112" fmla="*/ 121 w 903"/>
                <a:gd name="T113" fmla="*/ 57 h 1161"/>
                <a:gd name="T114" fmla="*/ 135 w 903"/>
                <a:gd name="T115" fmla="*/ 36 h 1161"/>
                <a:gd name="T116" fmla="*/ 152 w 903"/>
                <a:gd name="T117" fmla="*/ 21 h 1161"/>
                <a:gd name="T118" fmla="*/ 173 w 903"/>
                <a:gd name="T119" fmla="*/ 9 h 1161"/>
                <a:gd name="T120" fmla="*/ 195 w 903"/>
                <a:gd name="T121" fmla="*/ 2 h 1161"/>
                <a:gd name="T122" fmla="*/ 219 w 903"/>
                <a:gd name="T123" fmla="*/ 0 h 1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903" h="1161">
                  <a:moveTo>
                    <a:pt x="468" y="695"/>
                  </a:moveTo>
                  <a:lnTo>
                    <a:pt x="433" y="697"/>
                  </a:lnTo>
                  <a:lnTo>
                    <a:pt x="403" y="708"/>
                  </a:lnTo>
                  <a:lnTo>
                    <a:pt x="374" y="723"/>
                  </a:lnTo>
                  <a:lnTo>
                    <a:pt x="349" y="744"/>
                  </a:lnTo>
                  <a:lnTo>
                    <a:pt x="329" y="769"/>
                  </a:lnTo>
                  <a:lnTo>
                    <a:pt x="313" y="796"/>
                  </a:lnTo>
                  <a:lnTo>
                    <a:pt x="304" y="828"/>
                  </a:lnTo>
                  <a:lnTo>
                    <a:pt x="300" y="861"/>
                  </a:lnTo>
                  <a:lnTo>
                    <a:pt x="304" y="894"/>
                  </a:lnTo>
                  <a:lnTo>
                    <a:pt x="313" y="927"/>
                  </a:lnTo>
                  <a:lnTo>
                    <a:pt x="329" y="955"/>
                  </a:lnTo>
                  <a:lnTo>
                    <a:pt x="349" y="979"/>
                  </a:lnTo>
                  <a:lnTo>
                    <a:pt x="374" y="1000"/>
                  </a:lnTo>
                  <a:lnTo>
                    <a:pt x="403" y="1016"/>
                  </a:lnTo>
                  <a:lnTo>
                    <a:pt x="433" y="1025"/>
                  </a:lnTo>
                  <a:lnTo>
                    <a:pt x="468" y="1029"/>
                  </a:lnTo>
                  <a:lnTo>
                    <a:pt x="501" y="1025"/>
                  </a:lnTo>
                  <a:lnTo>
                    <a:pt x="532" y="1016"/>
                  </a:lnTo>
                  <a:lnTo>
                    <a:pt x="561" y="1000"/>
                  </a:lnTo>
                  <a:lnTo>
                    <a:pt x="586" y="979"/>
                  </a:lnTo>
                  <a:lnTo>
                    <a:pt x="606" y="955"/>
                  </a:lnTo>
                  <a:lnTo>
                    <a:pt x="622" y="927"/>
                  </a:lnTo>
                  <a:lnTo>
                    <a:pt x="631" y="894"/>
                  </a:lnTo>
                  <a:lnTo>
                    <a:pt x="635" y="861"/>
                  </a:lnTo>
                  <a:lnTo>
                    <a:pt x="631" y="828"/>
                  </a:lnTo>
                  <a:lnTo>
                    <a:pt x="622" y="796"/>
                  </a:lnTo>
                  <a:lnTo>
                    <a:pt x="606" y="769"/>
                  </a:lnTo>
                  <a:lnTo>
                    <a:pt x="586" y="744"/>
                  </a:lnTo>
                  <a:lnTo>
                    <a:pt x="561" y="723"/>
                  </a:lnTo>
                  <a:lnTo>
                    <a:pt x="532" y="708"/>
                  </a:lnTo>
                  <a:lnTo>
                    <a:pt x="501" y="697"/>
                  </a:lnTo>
                  <a:lnTo>
                    <a:pt x="468" y="695"/>
                  </a:lnTo>
                  <a:close/>
                  <a:moveTo>
                    <a:pt x="219" y="0"/>
                  </a:moveTo>
                  <a:lnTo>
                    <a:pt x="824" y="29"/>
                  </a:lnTo>
                  <a:lnTo>
                    <a:pt x="847" y="34"/>
                  </a:lnTo>
                  <a:lnTo>
                    <a:pt x="866" y="44"/>
                  </a:lnTo>
                  <a:lnTo>
                    <a:pt x="882" y="58"/>
                  </a:lnTo>
                  <a:lnTo>
                    <a:pt x="894" y="76"/>
                  </a:lnTo>
                  <a:lnTo>
                    <a:pt x="902" y="96"/>
                  </a:lnTo>
                  <a:lnTo>
                    <a:pt x="903" y="118"/>
                  </a:lnTo>
                  <a:lnTo>
                    <a:pt x="829" y="1079"/>
                  </a:lnTo>
                  <a:lnTo>
                    <a:pt x="824" y="1101"/>
                  </a:lnTo>
                  <a:lnTo>
                    <a:pt x="813" y="1121"/>
                  </a:lnTo>
                  <a:lnTo>
                    <a:pt x="799" y="1138"/>
                  </a:lnTo>
                  <a:lnTo>
                    <a:pt x="781" y="1150"/>
                  </a:lnTo>
                  <a:lnTo>
                    <a:pt x="760" y="1158"/>
                  </a:lnTo>
                  <a:lnTo>
                    <a:pt x="737" y="1161"/>
                  </a:lnTo>
                  <a:lnTo>
                    <a:pt x="67" y="1161"/>
                  </a:lnTo>
                  <a:lnTo>
                    <a:pt x="45" y="1157"/>
                  </a:lnTo>
                  <a:lnTo>
                    <a:pt x="26" y="1148"/>
                  </a:lnTo>
                  <a:lnTo>
                    <a:pt x="13" y="1135"/>
                  </a:lnTo>
                  <a:lnTo>
                    <a:pt x="4" y="1117"/>
                  </a:lnTo>
                  <a:lnTo>
                    <a:pt x="0" y="1097"/>
                  </a:lnTo>
                  <a:lnTo>
                    <a:pt x="2" y="1075"/>
                  </a:lnTo>
                  <a:lnTo>
                    <a:pt x="113" y="78"/>
                  </a:lnTo>
                  <a:lnTo>
                    <a:pt x="121" y="57"/>
                  </a:lnTo>
                  <a:lnTo>
                    <a:pt x="135" y="36"/>
                  </a:lnTo>
                  <a:lnTo>
                    <a:pt x="152" y="21"/>
                  </a:lnTo>
                  <a:lnTo>
                    <a:pt x="173" y="9"/>
                  </a:lnTo>
                  <a:lnTo>
                    <a:pt x="195" y="2"/>
                  </a:lnTo>
                  <a:lnTo>
                    <a:pt x="21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07" name="Freeform 51"/>
          <p:cNvSpPr>
            <a:spLocks noEditPoints="1"/>
          </p:cNvSpPr>
          <p:nvPr/>
        </p:nvSpPr>
        <p:spPr bwMode="auto">
          <a:xfrm>
            <a:off x="4320930" y="4823505"/>
            <a:ext cx="312471" cy="412028"/>
          </a:xfrm>
          <a:custGeom>
            <a:avLst/>
            <a:gdLst>
              <a:gd name="T0" fmla="*/ 1924 w 2541"/>
              <a:gd name="T1" fmla="*/ 2547 h 3348"/>
              <a:gd name="T2" fmla="*/ 1799 w 2541"/>
              <a:gd name="T3" fmla="*/ 2727 h 3348"/>
              <a:gd name="T4" fmla="*/ 1713 w 2541"/>
              <a:gd name="T5" fmla="*/ 2780 h 3348"/>
              <a:gd name="T6" fmla="*/ 1724 w 2541"/>
              <a:gd name="T7" fmla="*/ 2881 h 3348"/>
              <a:gd name="T8" fmla="*/ 1902 w 2541"/>
              <a:gd name="T9" fmla="*/ 2917 h 3348"/>
              <a:gd name="T10" fmla="*/ 1938 w 2541"/>
              <a:gd name="T11" fmla="*/ 3099 h 3348"/>
              <a:gd name="T12" fmla="*/ 2040 w 2541"/>
              <a:gd name="T13" fmla="*/ 3110 h 3348"/>
              <a:gd name="T14" fmla="*/ 2093 w 2541"/>
              <a:gd name="T15" fmla="*/ 3024 h 3348"/>
              <a:gd name="T16" fmla="*/ 2277 w 2541"/>
              <a:gd name="T17" fmla="*/ 2896 h 3348"/>
              <a:gd name="T18" fmla="*/ 2310 w 2541"/>
              <a:gd name="T19" fmla="*/ 2800 h 3348"/>
              <a:gd name="T20" fmla="*/ 2239 w 2541"/>
              <a:gd name="T21" fmla="*/ 2730 h 3348"/>
              <a:gd name="T22" fmla="*/ 2084 w 2541"/>
              <a:gd name="T23" fmla="*/ 2565 h 3348"/>
              <a:gd name="T24" fmla="*/ 1998 w 2541"/>
              <a:gd name="T25" fmla="*/ 2511 h 3348"/>
              <a:gd name="T26" fmla="*/ 2228 w 2541"/>
              <a:gd name="T27" fmla="*/ 2331 h 3348"/>
              <a:gd name="T28" fmla="*/ 2438 w 2541"/>
              <a:gd name="T29" fmla="*/ 2502 h 3348"/>
              <a:gd name="T30" fmla="*/ 2538 w 2541"/>
              <a:gd name="T31" fmla="*/ 2757 h 3348"/>
              <a:gd name="T32" fmla="*/ 2494 w 2541"/>
              <a:gd name="T33" fmla="*/ 3036 h 3348"/>
              <a:gd name="T34" fmla="*/ 2323 w 2541"/>
              <a:gd name="T35" fmla="*/ 3245 h 3348"/>
              <a:gd name="T36" fmla="*/ 2066 w 2541"/>
              <a:gd name="T37" fmla="*/ 3345 h 3348"/>
              <a:gd name="T38" fmla="*/ 1789 w 2541"/>
              <a:gd name="T39" fmla="*/ 3301 h 3348"/>
              <a:gd name="T40" fmla="*/ 1579 w 2541"/>
              <a:gd name="T41" fmla="*/ 3130 h 3348"/>
              <a:gd name="T42" fmla="*/ 1479 w 2541"/>
              <a:gd name="T43" fmla="*/ 2874 h 3348"/>
              <a:gd name="T44" fmla="*/ 1523 w 2541"/>
              <a:gd name="T45" fmla="*/ 2596 h 3348"/>
              <a:gd name="T46" fmla="*/ 1694 w 2541"/>
              <a:gd name="T47" fmla="*/ 2386 h 3348"/>
              <a:gd name="T48" fmla="*/ 1950 w 2541"/>
              <a:gd name="T49" fmla="*/ 2286 h 3348"/>
              <a:gd name="T50" fmla="*/ 439 w 2541"/>
              <a:gd name="T51" fmla="*/ 1708 h 3348"/>
              <a:gd name="T52" fmla="*/ 406 w 2541"/>
              <a:gd name="T53" fmla="*/ 1804 h 3348"/>
              <a:gd name="T54" fmla="*/ 477 w 2541"/>
              <a:gd name="T55" fmla="*/ 1874 h 3348"/>
              <a:gd name="T56" fmla="*/ 1814 w 2541"/>
              <a:gd name="T57" fmla="*/ 1856 h 3348"/>
              <a:gd name="T58" fmla="*/ 1847 w 2541"/>
              <a:gd name="T59" fmla="*/ 1760 h 3348"/>
              <a:gd name="T60" fmla="*/ 1777 w 2541"/>
              <a:gd name="T61" fmla="*/ 1689 h 3348"/>
              <a:gd name="T62" fmla="*/ 458 w 2541"/>
              <a:gd name="T63" fmla="*/ 1278 h 3348"/>
              <a:gd name="T64" fmla="*/ 404 w 2541"/>
              <a:gd name="T65" fmla="*/ 1364 h 3348"/>
              <a:gd name="T66" fmla="*/ 458 w 2541"/>
              <a:gd name="T67" fmla="*/ 1449 h 3348"/>
              <a:gd name="T68" fmla="*/ 1796 w 2541"/>
              <a:gd name="T69" fmla="*/ 1449 h 3348"/>
              <a:gd name="T70" fmla="*/ 1850 w 2541"/>
              <a:gd name="T71" fmla="*/ 1364 h 3348"/>
              <a:gd name="T72" fmla="*/ 1796 w 2541"/>
              <a:gd name="T73" fmla="*/ 1278 h 3348"/>
              <a:gd name="T74" fmla="*/ 477 w 2541"/>
              <a:gd name="T75" fmla="*/ 878 h 3348"/>
              <a:gd name="T76" fmla="*/ 406 w 2541"/>
              <a:gd name="T77" fmla="*/ 949 h 3348"/>
              <a:gd name="T78" fmla="*/ 439 w 2541"/>
              <a:gd name="T79" fmla="*/ 1045 h 3348"/>
              <a:gd name="T80" fmla="*/ 1777 w 2541"/>
              <a:gd name="T81" fmla="*/ 1063 h 3348"/>
              <a:gd name="T82" fmla="*/ 1847 w 2541"/>
              <a:gd name="T83" fmla="*/ 993 h 3348"/>
              <a:gd name="T84" fmla="*/ 1814 w 2541"/>
              <a:gd name="T85" fmla="*/ 896 h 3348"/>
              <a:gd name="T86" fmla="*/ 1839 w 2541"/>
              <a:gd name="T87" fmla="*/ 31 h 3348"/>
              <a:gd name="T88" fmla="*/ 1649 w 2541"/>
              <a:gd name="T89" fmla="*/ 0 h 3348"/>
              <a:gd name="T90" fmla="*/ 1688 w 2541"/>
              <a:gd name="T91" fmla="*/ 589 h 3348"/>
              <a:gd name="T92" fmla="*/ 2283 w 2541"/>
              <a:gd name="T93" fmla="*/ 2149 h 3348"/>
              <a:gd name="T94" fmla="*/ 2056 w 2541"/>
              <a:gd name="T95" fmla="*/ 2094 h 3348"/>
              <a:gd name="T96" fmla="*/ 1754 w 2541"/>
              <a:gd name="T97" fmla="*/ 2138 h 3348"/>
              <a:gd name="T98" fmla="*/ 1496 w 2541"/>
              <a:gd name="T99" fmla="*/ 2305 h 3348"/>
              <a:gd name="T100" fmla="*/ 1329 w 2541"/>
              <a:gd name="T101" fmla="*/ 2564 h 3348"/>
              <a:gd name="T102" fmla="*/ 1287 w 2541"/>
              <a:gd name="T103" fmla="*/ 2882 h 3348"/>
              <a:gd name="T104" fmla="*/ 97 w 2541"/>
              <a:gd name="T105" fmla="*/ 3124 h 3348"/>
              <a:gd name="T106" fmla="*/ 10 w 2541"/>
              <a:gd name="T107" fmla="*/ 3067 h 3348"/>
              <a:gd name="T108" fmla="*/ 10 w 2541"/>
              <a:gd name="T109" fmla="*/ 53 h 3348"/>
              <a:gd name="T110" fmla="*/ 99 w 2541"/>
              <a:gd name="T111" fmla="*/ 0 h 33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541" h="3348">
                <a:moveTo>
                  <a:pt x="1998" y="2511"/>
                </a:moveTo>
                <a:lnTo>
                  <a:pt x="1976" y="2514"/>
                </a:lnTo>
                <a:lnTo>
                  <a:pt x="1956" y="2521"/>
                </a:lnTo>
                <a:lnTo>
                  <a:pt x="1938" y="2532"/>
                </a:lnTo>
                <a:lnTo>
                  <a:pt x="1924" y="2547"/>
                </a:lnTo>
                <a:lnTo>
                  <a:pt x="1913" y="2565"/>
                </a:lnTo>
                <a:lnTo>
                  <a:pt x="1905" y="2584"/>
                </a:lnTo>
                <a:lnTo>
                  <a:pt x="1902" y="2606"/>
                </a:lnTo>
                <a:lnTo>
                  <a:pt x="1902" y="2727"/>
                </a:lnTo>
                <a:lnTo>
                  <a:pt x="1799" y="2727"/>
                </a:lnTo>
                <a:lnTo>
                  <a:pt x="1778" y="2730"/>
                </a:lnTo>
                <a:lnTo>
                  <a:pt x="1757" y="2737"/>
                </a:lnTo>
                <a:lnTo>
                  <a:pt x="1740" y="2748"/>
                </a:lnTo>
                <a:lnTo>
                  <a:pt x="1724" y="2762"/>
                </a:lnTo>
                <a:lnTo>
                  <a:pt x="1713" y="2780"/>
                </a:lnTo>
                <a:lnTo>
                  <a:pt x="1706" y="2800"/>
                </a:lnTo>
                <a:lnTo>
                  <a:pt x="1704" y="2822"/>
                </a:lnTo>
                <a:lnTo>
                  <a:pt x="1706" y="2843"/>
                </a:lnTo>
                <a:lnTo>
                  <a:pt x="1713" y="2864"/>
                </a:lnTo>
                <a:lnTo>
                  <a:pt x="1724" y="2881"/>
                </a:lnTo>
                <a:lnTo>
                  <a:pt x="1740" y="2896"/>
                </a:lnTo>
                <a:lnTo>
                  <a:pt x="1757" y="2908"/>
                </a:lnTo>
                <a:lnTo>
                  <a:pt x="1778" y="2915"/>
                </a:lnTo>
                <a:lnTo>
                  <a:pt x="1799" y="2917"/>
                </a:lnTo>
                <a:lnTo>
                  <a:pt x="1902" y="2917"/>
                </a:lnTo>
                <a:lnTo>
                  <a:pt x="1902" y="3024"/>
                </a:lnTo>
                <a:lnTo>
                  <a:pt x="1905" y="3047"/>
                </a:lnTo>
                <a:lnTo>
                  <a:pt x="1913" y="3066"/>
                </a:lnTo>
                <a:lnTo>
                  <a:pt x="1924" y="3085"/>
                </a:lnTo>
                <a:lnTo>
                  <a:pt x="1938" y="3099"/>
                </a:lnTo>
                <a:lnTo>
                  <a:pt x="1956" y="3110"/>
                </a:lnTo>
                <a:lnTo>
                  <a:pt x="1976" y="3117"/>
                </a:lnTo>
                <a:lnTo>
                  <a:pt x="1998" y="3119"/>
                </a:lnTo>
                <a:lnTo>
                  <a:pt x="2019" y="3117"/>
                </a:lnTo>
                <a:lnTo>
                  <a:pt x="2040" y="3110"/>
                </a:lnTo>
                <a:lnTo>
                  <a:pt x="2057" y="3099"/>
                </a:lnTo>
                <a:lnTo>
                  <a:pt x="2072" y="3085"/>
                </a:lnTo>
                <a:lnTo>
                  <a:pt x="2084" y="3066"/>
                </a:lnTo>
                <a:lnTo>
                  <a:pt x="2091" y="3047"/>
                </a:lnTo>
                <a:lnTo>
                  <a:pt x="2093" y="3024"/>
                </a:lnTo>
                <a:lnTo>
                  <a:pt x="2093" y="2917"/>
                </a:lnTo>
                <a:lnTo>
                  <a:pt x="2218" y="2917"/>
                </a:lnTo>
                <a:lnTo>
                  <a:pt x="2239" y="2915"/>
                </a:lnTo>
                <a:lnTo>
                  <a:pt x="2260" y="2908"/>
                </a:lnTo>
                <a:lnTo>
                  <a:pt x="2277" y="2896"/>
                </a:lnTo>
                <a:lnTo>
                  <a:pt x="2292" y="2881"/>
                </a:lnTo>
                <a:lnTo>
                  <a:pt x="2302" y="2864"/>
                </a:lnTo>
                <a:lnTo>
                  <a:pt x="2310" y="2843"/>
                </a:lnTo>
                <a:lnTo>
                  <a:pt x="2313" y="2822"/>
                </a:lnTo>
                <a:lnTo>
                  <a:pt x="2310" y="2800"/>
                </a:lnTo>
                <a:lnTo>
                  <a:pt x="2302" y="2780"/>
                </a:lnTo>
                <a:lnTo>
                  <a:pt x="2292" y="2762"/>
                </a:lnTo>
                <a:lnTo>
                  <a:pt x="2277" y="2748"/>
                </a:lnTo>
                <a:lnTo>
                  <a:pt x="2260" y="2737"/>
                </a:lnTo>
                <a:lnTo>
                  <a:pt x="2239" y="2730"/>
                </a:lnTo>
                <a:lnTo>
                  <a:pt x="2218" y="2727"/>
                </a:lnTo>
                <a:lnTo>
                  <a:pt x="2093" y="2727"/>
                </a:lnTo>
                <a:lnTo>
                  <a:pt x="2093" y="2606"/>
                </a:lnTo>
                <a:lnTo>
                  <a:pt x="2091" y="2584"/>
                </a:lnTo>
                <a:lnTo>
                  <a:pt x="2084" y="2565"/>
                </a:lnTo>
                <a:lnTo>
                  <a:pt x="2072" y="2547"/>
                </a:lnTo>
                <a:lnTo>
                  <a:pt x="2057" y="2532"/>
                </a:lnTo>
                <a:lnTo>
                  <a:pt x="2040" y="2521"/>
                </a:lnTo>
                <a:lnTo>
                  <a:pt x="2019" y="2514"/>
                </a:lnTo>
                <a:lnTo>
                  <a:pt x="1998" y="2511"/>
                </a:lnTo>
                <a:close/>
                <a:moveTo>
                  <a:pt x="2008" y="2283"/>
                </a:moveTo>
                <a:lnTo>
                  <a:pt x="2066" y="2286"/>
                </a:lnTo>
                <a:lnTo>
                  <a:pt x="2122" y="2295"/>
                </a:lnTo>
                <a:lnTo>
                  <a:pt x="2177" y="2310"/>
                </a:lnTo>
                <a:lnTo>
                  <a:pt x="2228" y="2331"/>
                </a:lnTo>
                <a:lnTo>
                  <a:pt x="2277" y="2356"/>
                </a:lnTo>
                <a:lnTo>
                  <a:pt x="2323" y="2386"/>
                </a:lnTo>
                <a:lnTo>
                  <a:pt x="2365" y="2421"/>
                </a:lnTo>
                <a:lnTo>
                  <a:pt x="2404" y="2459"/>
                </a:lnTo>
                <a:lnTo>
                  <a:pt x="2438" y="2502"/>
                </a:lnTo>
                <a:lnTo>
                  <a:pt x="2468" y="2547"/>
                </a:lnTo>
                <a:lnTo>
                  <a:pt x="2494" y="2596"/>
                </a:lnTo>
                <a:lnTo>
                  <a:pt x="2513" y="2648"/>
                </a:lnTo>
                <a:lnTo>
                  <a:pt x="2529" y="2701"/>
                </a:lnTo>
                <a:lnTo>
                  <a:pt x="2538" y="2757"/>
                </a:lnTo>
                <a:lnTo>
                  <a:pt x="2541" y="2816"/>
                </a:lnTo>
                <a:lnTo>
                  <a:pt x="2538" y="2874"/>
                </a:lnTo>
                <a:lnTo>
                  <a:pt x="2529" y="2930"/>
                </a:lnTo>
                <a:lnTo>
                  <a:pt x="2513" y="2983"/>
                </a:lnTo>
                <a:lnTo>
                  <a:pt x="2494" y="3036"/>
                </a:lnTo>
                <a:lnTo>
                  <a:pt x="2468" y="3084"/>
                </a:lnTo>
                <a:lnTo>
                  <a:pt x="2438" y="3130"/>
                </a:lnTo>
                <a:lnTo>
                  <a:pt x="2404" y="3173"/>
                </a:lnTo>
                <a:lnTo>
                  <a:pt x="2365" y="3211"/>
                </a:lnTo>
                <a:lnTo>
                  <a:pt x="2323" y="3245"/>
                </a:lnTo>
                <a:lnTo>
                  <a:pt x="2277" y="3275"/>
                </a:lnTo>
                <a:lnTo>
                  <a:pt x="2228" y="3301"/>
                </a:lnTo>
                <a:lnTo>
                  <a:pt x="2177" y="3321"/>
                </a:lnTo>
                <a:lnTo>
                  <a:pt x="2122" y="3335"/>
                </a:lnTo>
                <a:lnTo>
                  <a:pt x="2066" y="3345"/>
                </a:lnTo>
                <a:lnTo>
                  <a:pt x="2008" y="3348"/>
                </a:lnTo>
                <a:lnTo>
                  <a:pt x="1950" y="3345"/>
                </a:lnTo>
                <a:lnTo>
                  <a:pt x="1894" y="3335"/>
                </a:lnTo>
                <a:lnTo>
                  <a:pt x="1840" y="3321"/>
                </a:lnTo>
                <a:lnTo>
                  <a:pt x="1789" y="3301"/>
                </a:lnTo>
                <a:lnTo>
                  <a:pt x="1740" y="3275"/>
                </a:lnTo>
                <a:lnTo>
                  <a:pt x="1694" y="3245"/>
                </a:lnTo>
                <a:lnTo>
                  <a:pt x="1652" y="3211"/>
                </a:lnTo>
                <a:lnTo>
                  <a:pt x="1613" y="3173"/>
                </a:lnTo>
                <a:lnTo>
                  <a:pt x="1579" y="3130"/>
                </a:lnTo>
                <a:lnTo>
                  <a:pt x="1548" y="3084"/>
                </a:lnTo>
                <a:lnTo>
                  <a:pt x="1523" y="3036"/>
                </a:lnTo>
                <a:lnTo>
                  <a:pt x="1503" y="2983"/>
                </a:lnTo>
                <a:lnTo>
                  <a:pt x="1488" y="2930"/>
                </a:lnTo>
                <a:lnTo>
                  <a:pt x="1479" y="2874"/>
                </a:lnTo>
                <a:lnTo>
                  <a:pt x="1476" y="2816"/>
                </a:lnTo>
                <a:lnTo>
                  <a:pt x="1479" y="2757"/>
                </a:lnTo>
                <a:lnTo>
                  <a:pt x="1488" y="2701"/>
                </a:lnTo>
                <a:lnTo>
                  <a:pt x="1503" y="2648"/>
                </a:lnTo>
                <a:lnTo>
                  <a:pt x="1523" y="2596"/>
                </a:lnTo>
                <a:lnTo>
                  <a:pt x="1548" y="2547"/>
                </a:lnTo>
                <a:lnTo>
                  <a:pt x="1579" y="2502"/>
                </a:lnTo>
                <a:lnTo>
                  <a:pt x="1613" y="2459"/>
                </a:lnTo>
                <a:lnTo>
                  <a:pt x="1652" y="2421"/>
                </a:lnTo>
                <a:lnTo>
                  <a:pt x="1694" y="2386"/>
                </a:lnTo>
                <a:lnTo>
                  <a:pt x="1740" y="2356"/>
                </a:lnTo>
                <a:lnTo>
                  <a:pt x="1789" y="2331"/>
                </a:lnTo>
                <a:lnTo>
                  <a:pt x="1840" y="2310"/>
                </a:lnTo>
                <a:lnTo>
                  <a:pt x="1894" y="2295"/>
                </a:lnTo>
                <a:lnTo>
                  <a:pt x="1950" y="2286"/>
                </a:lnTo>
                <a:lnTo>
                  <a:pt x="2008" y="2283"/>
                </a:lnTo>
                <a:close/>
                <a:moveTo>
                  <a:pt x="500" y="1687"/>
                </a:moveTo>
                <a:lnTo>
                  <a:pt x="477" y="1689"/>
                </a:lnTo>
                <a:lnTo>
                  <a:pt x="458" y="1696"/>
                </a:lnTo>
                <a:lnTo>
                  <a:pt x="439" y="1708"/>
                </a:lnTo>
                <a:lnTo>
                  <a:pt x="425" y="1723"/>
                </a:lnTo>
                <a:lnTo>
                  <a:pt x="414" y="1740"/>
                </a:lnTo>
                <a:lnTo>
                  <a:pt x="406" y="1760"/>
                </a:lnTo>
                <a:lnTo>
                  <a:pt x="404" y="1782"/>
                </a:lnTo>
                <a:lnTo>
                  <a:pt x="406" y="1804"/>
                </a:lnTo>
                <a:lnTo>
                  <a:pt x="414" y="1824"/>
                </a:lnTo>
                <a:lnTo>
                  <a:pt x="425" y="1842"/>
                </a:lnTo>
                <a:lnTo>
                  <a:pt x="439" y="1856"/>
                </a:lnTo>
                <a:lnTo>
                  <a:pt x="458" y="1867"/>
                </a:lnTo>
                <a:lnTo>
                  <a:pt x="477" y="1874"/>
                </a:lnTo>
                <a:lnTo>
                  <a:pt x="500" y="1878"/>
                </a:lnTo>
                <a:lnTo>
                  <a:pt x="1755" y="1878"/>
                </a:lnTo>
                <a:lnTo>
                  <a:pt x="1777" y="1874"/>
                </a:lnTo>
                <a:lnTo>
                  <a:pt x="1796" y="1867"/>
                </a:lnTo>
                <a:lnTo>
                  <a:pt x="1814" y="1856"/>
                </a:lnTo>
                <a:lnTo>
                  <a:pt x="1829" y="1842"/>
                </a:lnTo>
                <a:lnTo>
                  <a:pt x="1840" y="1824"/>
                </a:lnTo>
                <a:lnTo>
                  <a:pt x="1847" y="1804"/>
                </a:lnTo>
                <a:lnTo>
                  <a:pt x="1850" y="1782"/>
                </a:lnTo>
                <a:lnTo>
                  <a:pt x="1847" y="1760"/>
                </a:lnTo>
                <a:lnTo>
                  <a:pt x="1840" y="1740"/>
                </a:lnTo>
                <a:lnTo>
                  <a:pt x="1829" y="1723"/>
                </a:lnTo>
                <a:lnTo>
                  <a:pt x="1814" y="1708"/>
                </a:lnTo>
                <a:lnTo>
                  <a:pt x="1796" y="1696"/>
                </a:lnTo>
                <a:lnTo>
                  <a:pt x="1777" y="1689"/>
                </a:lnTo>
                <a:lnTo>
                  <a:pt x="1755" y="1687"/>
                </a:lnTo>
                <a:lnTo>
                  <a:pt x="500" y="1687"/>
                </a:lnTo>
                <a:close/>
                <a:moveTo>
                  <a:pt x="500" y="1269"/>
                </a:moveTo>
                <a:lnTo>
                  <a:pt x="477" y="1271"/>
                </a:lnTo>
                <a:lnTo>
                  <a:pt x="458" y="1278"/>
                </a:lnTo>
                <a:lnTo>
                  <a:pt x="439" y="1289"/>
                </a:lnTo>
                <a:lnTo>
                  <a:pt x="425" y="1305"/>
                </a:lnTo>
                <a:lnTo>
                  <a:pt x="414" y="1322"/>
                </a:lnTo>
                <a:lnTo>
                  <a:pt x="406" y="1341"/>
                </a:lnTo>
                <a:lnTo>
                  <a:pt x="404" y="1364"/>
                </a:lnTo>
                <a:lnTo>
                  <a:pt x="406" y="1385"/>
                </a:lnTo>
                <a:lnTo>
                  <a:pt x="414" y="1406"/>
                </a:lnTo>
                <a:lnTo>
                  <a:pt x="425" y="1423"/>
                </a:lnTo>
                <a:lnTo>
                  <a:pt x="439" y="1438"/>
                </a:lnTo>
                <a:lnTo>
                  <a:pt x="458" y="1449"/>
                </a:lnTo>
                <a:lnTo>
                  <a:pt x="477" y="1456"/>
                </a:lnTo>
                <a:lnTo>
                  <a:pt x="500" y="1459"/>
                </a:lnTo>
                <a:lnTo>
                  <a:pt x="1755" y="1459"/>
                </a:lnTo>
                <a:lnTo>
                  <a:pt x="1777" y="1456"/>
                </a:lnTo>
                <a:lnTo>
                  <a:pt x="1796" y="1449"/>
                </a:lnTo>
                <a:lnTo>
                  <a:pt x="1814" y="1438"/>
                </a:lnTo>
                <a:lnTo>
                  <a:pt x="1829" y="1423"/>
                </a:lnTo>
                <a:lnTo>
                  <a:pt x="1840" y="1406"/>
                </a:lnTo>
                <a:lnTo>
                  <a:pt x="1847" y="1385"/>
                </a:lnTo>
                <a:lnTo>
                  <a:pt x="1850" y="1364"/>
                </a:lnTo>
                <a:lnTo>
                  <a:pt x="1847" y="1341"/>
                </a:lnTo>
                <a:lnTo>
                  <a:pt x="1840" y="1322"/>
                </a:lnTo>
                <a:lnTo>
                  <a:pt x="1829" y="1305"/>
                </a:lnTo>
                <a:lnTo>
                  <a:pt x="1814" y="1289"/>
                </a:lnTo>
                <a:lnTo>
                  <a:pt x="1796" y="1278"/>
                </a:lnTo>
                <a:lnTo>
                  <a:pt x="1777" y="1271"/>
                </a:lnTo>
                <a:lnTo>
                  <a:pt x="1755" y="1269"/>
                </a:lnTo>
                <a:lnTo>
                  <a:pt x="500" y="1269"/>
                </a:lnTo>
                <a:close/>
                <a:moveTo>
                  <a:pt x="500" y="876"/>
                </a:moveTo>
                <a:lnTo>
                  <a:pt x="477" y="878"/>
                </a:lnTo>
                <a:lnTo>
                  <a:pt x="458" y="885"/>
                </a:lnTo>
                <a:lnTo>
                  <a:pt x="439" y="896"/>
                </a:lnTo>
                <a:lnTo>
                  <a:pt x="425" y="911"/>
                </a:lnTo>
                <a:lnTo>
                  <a:pt x="414" y="929"/>
                </a:lnTo>
                <a:lnTo>
                  <a:pt x="406" y="949"/>
                </a:lnTo>
                <a:lnTo>
                  <a:pt x="404" y="971"/>
                </a:lnTo>
                <a:lnTo>
                  <a:pt x="406" y="993"/>
                </a:lnTo>
                <a:lnTo>
                  <a:pt x="414" y="1012"/>
                </a:lnTo>
                <a:lnTo>
                  <a:pt x="425" y="1030"/>
                </a:lnTo>
                <a:lnTo>
                  <a:pt x="439" y="1045"/>
                </a:lnTo>
                <a:lnTo>
                  <a:pt x="458" y="1056"/>
                </a:lnTo>
                <a:lnTo>
                  <a:pt x="477" y="1063"/>
                </a:lnTo>
                <a:lnTo>
                  <a:pt x="500" y="1066"/>
                </a:lnTo>
                <a:lnTo>
                  <a:pt x="1755" y="1066"/>
                </a:lnTo>
                <a:lnTo>
                  <a:pt x="1777" y="1063"/>
                </a:lnTo>
                <a:lnTo>
                  <a:pt x="1796" y="1056"/>
                </a:lnTo>
                <a:lnTo>
                  <a:pt x="1814" y="1045"/>
                </a:lnTo>
                <a:lnTo>
                  <a:pt x="1829" y="1030"/>
                </a:lnTo>
                <a:lnTo>
                  <a:pt x="1840" y="1012"/>
                </a:lnTo>
                <a:lnTo>
                  <a:pt x="1847" y="993"/>
                </a:lnTo>
                <a:lnTo>
                  <a:pt x="1850" y="971"/>
                </a:lnTo>
                <a:lnTo>
                  <a:pt x="1847" y="949"/>
                </a:lnTo>
                <a:lnTo>
                  <a:pt x="1840" y="929"/>
                </a:lnTo>
                <a:lnTo>
                  <a:pt x="1829" y="911"/>
                </a:lnTo>
                <a:lnTo>
                  <a:pt x="1814" y="896"/>
                </a:lnTo>
                <a:lnTo>
                  <a:pt x="1796" y="885"/>
                </a:lnTo>
                <a:lnTo>
                  <a:pt x="1777" y="878"/>
                </a:lnTo>
                <a:lnTo>
                  <a:pt x="1755" y="876"/>
                </a:lnTo>
                <a:lnTo>
                  <a:pt x="500" y="876"/>
                </a:lnTo>
                <a:close/>
                <a:moveTo>
                  <a:pt x="1839" y="31"/>
                </a:moveTo>
                <a:lnTo>
                  <a:pt x="2248" y="419"/>
                </a:lnTo>
                <a:lnTo>
                  <a:pt x="1839" y="419"/>
                </a:lnTo>
                <a:lnTo>
                  <a:pt x="1839" y="31"/>
                </a:lnTo>
                <a:close/>
                <a:moveTo>
                  <a:pt x="99" y="0"/>
                </a:moveTo>
                <a:lnTo>
                  <a:pt x="1649" y="0"/>
                </a:lnTo>
                <a:lnTo>
                  <a:pt x="1649" y="514"/>
                </a:lnTo>
                <a:lnTo>
                  <a:pt x="1652" y="536"/>
                </a:lnTo>
                <a:lnTo>
                  <a:pt x="1660" y="556"/>
                </a:lnTo>
                <a:lnTo>
                  <a:pt x="1671" y="573"/>
                </a:lnTo>
                <a:lnTo>
                  <a:pt x="1688" y="589"/>
                </a:lnTo>
                <a:lnTo>
                  <a:pt x="1706" y="600"/>
                </a:lnTo>
                <a:lnTo>
                  <a:pt x="1726" y="607"/>
                </a:lnTo>
                <a:lnTo>
                  <a:pt x="1748" y="609"/>
                </a:lnTo>
                <a:lnTo>
                  <a:pt x="2283" y="609"/>
                </a:lnTo>
                <a:lnTo>
                  <a:pt x="2283" y="2149"/>
                </a:lnTo>
                <a:lnTo>
                  <a:pt x="2243" y="2132"/>
                </a:lnTo>
                <a:lnTo>
                  <a:pt x="2199" y="2118"/>
                </a:lnTo>
                <a:lnTo>
                  <a:pt x="2153" y="2108"/>
                </a:lnTo>
                <a:lnTo>
                  <a:pt x="2105" y="2100"/>
                </a:lnTo>
                <a:lnTo>
                  <a:pt x="2056" y="2094"/>
                </a:lnTo>
                <a:lnTo>
                  <a:pt x="2006" y="2092"/>
                </a:lnTo>
                <a:lnTo>
                  <a:pt x="1940" y="2095"/>
                </a:lnTo>
                <a:lnTo>
                  <a:pt x="1877" y="2105"/>
                </a:lnTo>
                <a:lnTo>
                  <a:pt x="1814" y="2119"/>
                </a:lnTo>
                <a:lnTo>
                  <a:pt x="1754" y="2138"/>
                </a:lnTo>
                <a:lnTo>
                  <a:pt x="1697" y="2163"/>
                </a:lnTo>
                <a:lnTo>
                  <a:pt x="1641" y="2192"/>
                </a:lnTo>
                <a:lnTo>
                  <a:pt x="1590" y="2225"/>
                </a:lnTo>
                <a:lnTo>
                  <a:pt x="1541" y="2263"/>
                </a:lnTo>
                <a:lnTo>
                  <a:pt x="1496" y="2305"/>
                </a:lnTo>
                <a:lnTo>
                  <a:pt x="1454" y="2350"/>
                </a:lnTo>
                <a:lnTo>
                  <a:pt x="1416" y="2399"/>
                </a:lnTo>
                <a:lnTo>
                  <a:pt x="1383" y="2451"/>
                </a:lnTo>
                <a:lnTo>
                  <a:pt x="1354" y="2506"/>
                </a:lnTo>
                <a:lnTo>
                  <a:pt x="1329" y="2564"/>
                </a:lnTo>
                <a:lnTo>
                  <a:pt x="1310" y="2623"/>
                </a:lnTo>
                <a:lnTo>
                  <a:pt x="1296" y="2686"/>
                </a:lnTo>
                <a:lnTo>
                  <a:pt x="1287" y="2750"/>
                </a:lnTo>
                <a:lnTo>
                  <a:pt x="1284" y="2816"/>
                </a:lnTo>
                <a:lnTo>
                  <a:pt x="1287" y="2882"/>
                </a:lnTo>
                <a:lnTo>
                  <a:pt x="1297" y="2947"/>
                </a:lnTo>
                <a:lnTo>
                  <a:pt x="1312" y="3010"/>
                </a:lnTo>
                <a:lnTo>
                  <a:pt x="1331" y="3070"/>
                </a:lnTo>
                <a:lnTo>
                  <a:pt x="1357" y="3129"/>
                </a:lnTo>
                <a:lnTo>
                  <a:pt x="97" y="3124"/>
                </a:lnTo>
                <a:lnTo>
                  <a:pt x="75" y="3121"/>
                </a:lnTo>
                <a:lnTo>
                  <a:pt x="55" y="3112"/>
                </a:lnTo>
                <a:lnTo>
                  <a:pt x="37" y="3101"/>
                </a:lnTo>
                <a:lnTo>
                  <a:pt x="22" y="3086"/>
                </a:lnTo>
                <a:lnTo>
                  <a:pt x="10" y="3067"/>
                </a:lnTo>
                <a:lnTo>
                  <a:pt x="3" y="3047"/>
                </a:lnTo>
                <a:lnTo>
                  <a:pt x="0" y="3024"/>
                </a:lnTo>
                <a:lnTo>
                  <a:pt x="0" y="95"/>
                </a:lnTo>
                <a:lnTo>
                  <a:pt x="3" y="74"/>
                </a:lnTo>
                <a:lnTo>
                  <a:pt x="10" y="53"/>
                </a:lnTo>
                <a:lnTo>
                  <a:pt x="23" y="36"/>
                </a:lnTo>
                <a:lnTo>
                  <a:pt x="38" y="22"/>
                </a:lnTo>
                <a:lnTo>
                  <a:pt x="56" y="11"/>
                </a:lnTo>
                <a:lnTo>
                  <a:pt x="78" y="3"/>
                </a:lnTo>
                <a:lnTo>
                  <a:pt x="99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6" name="Group 4"/>
          <p:cNvGrpSpPr>
            <a:grpSpLocks noChangeAspect="1"/>
          </p:cNvGrpSpPr>
          <p:nvPr/>
        </p:nvGrpSpPr>
        <p:grpSpPr bwMode="auto">
          <a:xfrm>
            <a:off x="4166267" y="3595663"/>
            <a:ext cx="315526" cy="425039"/>
            <a:chOff x="-900" y="2657"/>
            <a:chExt cx="291" cy="39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-833" y="2755"/>
              <a:ext cx="48" cy="48"/>
            </a:xfrm>
            <a:custGeom>
              <a:avLst/>
              <a:gdLst>
                <a:gd name="T0" fmla="*/ 388 w 434"/>
                <a:gd name="T1" fmla="*/ 0 h 434"/>
                <a:gd name="T2" fmla="*/ 376 w 434"/>
                <a:gd name="T3" fmla="*/ 2 h 434"/>
                <a:gd name="T4" fmla="*/ 365 w 434"/>
                <a:gd name="T5" fmla="*/ 6 h 434"/>
                <a:gd name="T6" fmla="*/ 355 w 434"/>
                <a:gd name="T7" fmla="*/ 15 h 434"/>
                <a:gd name="T8" fmla="*/ 355 w 434"/>
                <a:gd name="T9" fmla="*/ 15 h 434"/>
                <a:gd name="T10" fmla="*/ 106 w 434"/>
                <a:gd name="T11" fmla="*/ 297 h 434"/>
                <a:gd name="T12" fmla="*/ 89 w 434"/>
                <a:gd name="T13" fmla="*/ 244 h 434"/>
                <a:gd name="T14" fmla="*/ 89 w 434"/>
                <a:gd name="T15" fmla="*/ 243 h 434"/>
                <a:gd name="T16" fmla="*/ 82 w 434"/>
                <a:gd name="T17" fmla="*/ 230 h 434"/>
                <a:gd name="T18" fmla="*/ 72 w 434"/>
                <a:gd name="T19" fmla="*/ 220 h 434"/>
                <a:gd name="T20" fmla="*/ 59 w 434"/>
                <a:gd name="T21" fmla="*/ 213 h 434"/>
                <a:gd name="T22" fmla="*/ 44 w 434"/>
                <a:gd name="T23" fmla="*/ 212 h 434"/>
                <a:gd name="T24" fmla="*/ 32 w 434"/>
                <a:gd name="T25" fmla="*/ 214 h 434"/>
                <a:gd name="T26" fmla="*/ 21 w 434"/>
                <a:gd name="T27" fmla="*/ 219 h 434"/>
                <a:gd name="T28" fmla="*/ 11 w 434"/>
                <a:gd name="T29" fmla="*/ 227 h 434"/>
                <a:gd name="T30" fmla="*/ 5 w 434"/>
                <a:gd name="T31" fmla="*/ 237 h 434"/>
                <a:gd name="T32" fmla="*/ 1 w 434"/>
                <a:gd name="T33" fmla="*/ 248 h 434"/>
                <a:gd name="T34" fmla="*/ 0 w 434"/>
                <a:gd name="T35" fmla="*/ 259 h 434"/>
                <a:gd name="T36" fmla="*/ 1 w 434"/>
                <a:gd name="T37" fmla="*/ 265 h 434"/>
                <a:gd name="T38" fmla="*/ 2 w 434"/>
                <a:gd name="T39" fmla="*/ 270 h 434"/>
                <a:gd name="T40" fmla="*/ 2 w 434"/>
                <a:gd name="T41" fmla="*/ 271 h 434"/>
                <a:gd name="T42" fmla="*/ 43 w 434"/>
                <a:gd name="T43" fmla="*/ 402 h 434"/>
                <a:gd name="T44" fmla="*/ 49 w 434"/>
                <a:gd name="T45" fmla="*/ 415 h 434"/>
                <a:gd name="T46" fmla="*/ 59 w 434"/>
                <a:gd name="T47" fmla="*/ 425 h 434"/>
                <a:gd name="T48" fmla="*/ 72 w 434"/>
                <a:gd name="T49" fmla="*/ 432 h 434"/>
                <a:gd name="T50" fmla="*/ 87 w 434"/>
                <a:gd name="T51" fmla="*/ 434 h 434"/>
                <a:gd name="T52" fmla="*/ 98 w 434"/>
                <a:gd name="T53" fmla="*/ 432 h 434"/>
                <a:gd name="T54" fmla="*/ 110 w 434"/>
                <a:gd name="T55" fmla="*/ 428 h 434"/>
                <a:gd name="T56" fmla="*/ 120 w 434"/>
                <a:gd name="T57" fmla="*/ 419 h 434"/>
                <a:gd name="T58" fmla="*/ 120 w 434"/>
                <a:gd name="T59" fmla="*/ 418 h 434"/>
                <a:gd name="T60" fmla="*/ 423 w 434"/>
                <a:gd name="T61" fmla="*/ 76 h 434"/>
                <a:gd name="T62" fmla="*/ 424 w 434"/>
                <a:gd name="T63" fmla="*/ 75 h 434"/>
                <a:gd name="T64" fmla="*/ 431 w 434"/>
                <a:gd name="T65" fmla="*/ 61 h 434"/>
                <a:gd name="T66" fmla="*/ 434 w 434"/>
                <a:gd name="T67" fmla="*/ 46 h 434"/>
                <a:gd name="T68" fmla="*/ 432 w 434"/>
                <a:gd name="T69" fmla="*/ 31 h 434"/>
                <a:gd name="T70" fmla="*/ 426 w 434"/>
                <a:gd name="T71" fmla="*/ 19 h 434"/>
                <a:gd name="T72" fmla="*/ 416 w 434"/>
                <a:gd name="T73" fmla="*/ 9 h 434"/>
                <a:gd name="T74" fmla="*/ 403 w 434"/>
                <a:gd name="T75" fmla="*/ 2 h 434"/>
                <a:gd name="T76" fmla="*/ 388 w 434"/>
                <a:gd name="T77" fmla="*/ 0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34" h="434">
                  <a:moveTo>
                    <a:pt x="388" y="0"/>
                  </a:moveTo>
                  <a:lnTo>
                    <a:pt x="376" y="2"/>
                  </a:lnTo>
                  <a:lnTo>
                    <a:pt x="365" y="6"/>
                  </a:lnTo>
                  <a:lnTo>
                    <a:pt x="355" y="15"/>
                  </a:lnTo>
                  <a:lnTo>
                    <a:pt x="355" y="15"/>
                  </a:lnTo>
                  <a:lnTo>
                    <a:pt x="106" y="297"/>
                  </a:lnTo>
                  <a:lnTo>
                    <a:pt x="89" y="244"/>
                  </a:lnTo>
                  <a:lnTo>
                    <a:pt x="89" y="243"/>
                  </a:lnTo>
                  <a:lnTo>
                    <a:pt x="82" y="230"/>
                  </a:lnTo>
                  <a:lnTo>
                    <a:pt x="72" y="220"/>
                  </a:lnTo>
                  <a:lnTo>
                    <a:pt x="59" y="213"/>
                  </a:lnTo>
                  <a:lnTo>
                    <a:pt x="44" y="212"/>
                  </a:lnTo>
                  <a:lnTo>
                    <a:pt x="32" y="214"/>
                  </a:lnTo>
                  <a:lnTo>
                    <a:pt x="21" y="219"/>
                  </a:lnTo>
                  <a:lnTo>
                    <a:pt x="11" y="227"/>
                  </a:lnTo>
                  <a:lnTo>
                    <a:pt x="5" y="237"/>
                  </a:lnTo>
                  <a:lnTo>
                    <a:pt x="1" y="248"/>
                  </a:lnTo>
                  <a:lnTo>
                    <a:pt x="0" y="259"/>
                  </a:lnTo>
                  <a:lnTo>
                    <a:pt x="1" y="265"/>
                  </a:lnTo>
                  <a:lnTo>
                    <a:pt x="2" y="270"/>
                  </a:lnTo>
                  <a:lnTo>
                    <a:pt x="2" y="271"/>
                  </a:lnTo>
                  <a:lnTo>
                    <a:pt x="43" y="402"/>
                  </a:lnTo>
                  <a:lnTo>
                    <a:pt x="49" y="415"/>
                  </a:lnTo>
                  <a:lnTo>
                    <a:pt x="59" y="425"/>
                  </a:lnTo>
                  <a:lnTo>
                    <a:pt x="72" y="432"/>
                  </a:lnTo>
                  <a:lnTo>
                    <a:pt x="87" y="434"/>
                  </a:lnTo>
                  <a:lnTo>
                    <a:pt x="98" y="432"/>
                  </a:lnTo>
                  <a:lnTo>
                    <a:pt x="110" y="428"/>
                  </a:lnTo>
                  <a:lnTo>
                    <a:pt x="120" y="419"/>
                  </a:lnTo>
                  <a:lnTo>
                    <a:pt x="120" y="418"/>
                  </a:lnTo>
                  <a:lnTo>
                    <a:pt x="423" y="76"/>
                  </a:lnTo>
                  <a:lnTo>
                    <a:pt x="424" y="75"/>
                  </a:lnTo>
                  <a:lnTo>
                    <a:pt x="431" y="61"/>
                  </a:lnTo>
                  <a:lnTo>
                    <a:pt x="434" y="46"/>
                  </a:lnTo>
                  <a:lnTo>
                    <a:pt x="432" y="31"/>
                  </a:lnTo>
                  <a:lnTo>
                    <a:pt x="426" y="19"/>
                  </a:lnTo>
                  <a:lnTo>
                    <a:pt x="416" y="9"/>
                  </a:lnTo>
                  <a:lnTo>
                    <a:pt x="403" y="2"/>
                  </a:lnTo>
                  <a:lnTo>
                    <a:pt x="3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-848" y="2764"/>
              <a:ext cx="54" cy="54"/>
            </a:xfrm>
            <a:custGeom>
              <a:avLst/>
              <a:gdLst>
                <a:gd name="T0" fmla="*/ 30 w 484"/>
                <a:gd name="T1" fmla="*/ 484 h 484"/>
                <a:gd name="T2" fmla="*/ 454 w 484"/>
                <a:gd name="T3" fmla="*/ 484 h 484"/>
                <a:gd name="T4" fmla="*/ 466 w 484"/>
                <a:gd name="T5" fmla="*/ 482 h 484"/>
                <a:gd name="T6" fmla="*/ 475 w 484"/>
                <a:gd name="T7" fmla="*/ 475 h 484"/>
                <a:gd name="T8" fmla="*/ 482 w 484"/>
                <a:gd name="T9" fmla="*/ 466 h 484"/>
                <a:gd name="T10" fmla="*/ 484 w 484"/>
                <a:gd name="T11" fmla="*/ 454 h 484"/>
                <a:gd name="T12" fmla="*/ 484 w 484"/>
                <a:gd name="T13" fmla="*/ 165 h 484"/>
                <a:gd name="T14" fmla="*/ 484 w 484"/>
                <a:gd name="T15" fmla="*/ 163 h 484"/>
                <a:gd name="T16" fmla="*/ 483 w 484"/>
                <a:gd name="T17" fmla="*/ 161 h 484"/>
                <a:gd name="T18" fmla="*/ 481 w 484"/>
                <a:gd name="T19" fmla="*/ 160 h 484"/>
                <a:gd name="T20" fmla="*/ 478 w 484"/>
                <a:gd name="T21" fmla="*/ 160 h 484"/>
                <a:gd name="T22" fmla="*/ 477 w 484"/>
                <a:gd name="T23" fmla="*/ 160 h 484"/>
                <a:gd name="T24" fmla="*/ 475 w 484"/>
                <a:gd name="T25" fmla="*/ 161 h 484"/>
                <a:gd name="T26" fmla="*/ 425 w 484"/>
                <a:gd name="T27" fmla="*/ 219 h 484"/>
                <a:gd name="T28" fmla="*/ 424 w 484"/>
                <a:gd name="T29" fmla="*/ 220 h 484"/>
                <a:gd name="T30" fmla="*/ 424 w 484"/>
                <a:gd name="T31" fmla="*/ 222 h 484"/>
                <a:gd name="T32" fmla="*/ 424 w 484"/>
                <a:gd name="T33" fmla="*/ 424 h 484"/>
                <a:gd name="T34" fmla="*/ 61 w 484"/>
                <a:gd name="T35" fmla="*/ 424 h 484"/>
                <a:gd name="T36" fmla="*/ 61 w 484"/>
                <a:gd name="T37" fmla="*/ 60 h 484"/>
                <a:gd name="T38" fmla="*/ 303 w 484"/>
                <a:gd name="T39" fmla="*/ 60 h 484"/>
                <a:gd name="T40" fmla="*/ 306 w 484"/>
                <a:gd name="T41" fmla="*/ 60 h 484"/>
                <a:gd name="T42" fmla="*/ 307 w 484"/>
                <a:gd name="T43" fmla="*/ 59 h 484"/>
                <a:gd name="T44" fmla="*/ 352 w 484"/>
                <a:gd name="T45" fmla="*/ 9 h 484"/>
                <a:gd name="T46" fmla="*/ 353 w 484"/>
                <a:gd name="T47" fmla="*/ 7 h 484"/>
                <a:gd name="T48" fmla="*/ 353 w 484"/>
                <a:gd name="T49" fmla="*/ 5 h 484"/>
                <a:gd name="T50" fmla="*/ 352 w 484"/>
                <a:gd name="T51" fmla="*/ 4 h 484"/>
                <a:gd name="T52" fmla="*/ 351 w 484"/>
                <a:gd name="T53" fmla="*/ 1 h 484"/>
                <a:gd name="T54" fmla="*/ 350 w 484"/>
                <a:gd name="T55" fmla="*/ 0 h 484"/>
                <a:gd name="T56" fmla="*/ 347 w 484"/>
                <a:gd name="T57" fmla="*/ 0 h 484"/>
                <a:gd name="T58" fmla="*/ 30 w 484"/>
                <a:gd name="T59" fmla="*/ 0 h 484"/>
                <a:gd name="T60" fmla="*/ 18 w 484"/>
                <a:gd name="T61" fmla="*/ 3 h 484"/>
                <a:gd name="T62" fmla="*/ 8 w 484"/>
                <a:gd name="T63" fmla="*/ 9 h 484"/>
                <a:gd name="T64" fmla="*/ 2 w 484"/>
                <a:gd name="T65" fmla="*/ 19 h 484"/>
                <a:gd name="T66" fmla="*/ 0 w 484"/>
                <a:gd name="T67" fmla="*/ 30 h 484"/>
                <a:gd name="T68" fmla="*/ 0 w 484"/>
                <a:gd name="T69" fmla="*/ 454 h 484"/>
                <a:gd name="T70" fmla="*/ 2 w 484"/>
                <a:gd name="T71" fmla="*/ 466 h 484"/>
                <a:gd name="T72" fmla="*/ 8 w 484"/>
                <a:gd name="T73" fmla="*/ 475 h 484"/>
                <a:gd name="T74" fmla="*/ 18 w 484"/>
                <a:gd name="T75" fmla="*/ 482 h 484"/>
                <a:gd name="T76" fmla="*/ 30 w 484"/>
                <a:gd name="T77" fmla="*/ 484 h 4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4" h="484">
                  <a:moveTo>
                    <a:pt x="30" y="484"/>
                  </a:moveTo>
                  <a:lnTo>
                    <a:pt x="454" y="484"/>
                  </a:lnTo>
                  <a:lnTo>
                    <a:pt x="466" y="482"/>
                  </a:lnTo>
                  <a:lnTo>
                    <a:pt x="475" y="475"/>
                  </a:lnTo>
                  <a:lnTo>
                    <a:pt x="482" y="466"/>
                  </a:lnTo>
                  <a:lnTo>
                    <a:pt x="484" y="454"/>
                  </a:lnTo>
                  <a:lnTo>
                    <a:pt x="484" y="165"/>
                  </a:lnTo>
                  <a:lnTo>
                    <a:pt x="484" y="163"/>
                  </a:lnTo>
                  <a:lnTo>
                    <a:pt x="483" y="161"/>
                  </a:lnTo>
                  <a:lnTo>
                    <a:pt x="481" y="160"/>
                  </a:lnTo>
                  <a:lnTo>
                    <a:pt x="478" y="160"/>
                  </a:lnTo>
                  <a:lnTo>
                    <a:pt x="477" y="160"/>
                  </a:lnTo>
                  <a:lnTo>
                    <a:pt x="475" y="161"/>
                  </a:lnTo>
                  <a:lnTo>
                    <a:pt x="425" y="219"/>
                  </a:lnTo>
                  <a:lnTo>
                    <a:pt x="424" y="220"/>
                  </a:lnTo>
                  <a:lnTo>
                    <a:pt x="424" y="222"/>
                  </a:lnTo>
                  <a:lnTo>
                    <a:pt x="424" y="424"/>
                  </a:lnTo>
                  <a:lnTo>
                    <a:pt x="61" y="424"/>
                  </a:lnTo>
                  <a:lnTo>
                    <a:pt x="61" y="60"/>
                  </a:lnTo>
                  <a:lnTo>
                    <a:pt x="303" y="60"/>
                  </a:lnTo>
                  <a:lnTo>
                    <a:pt x="306" y="60"/>
                  </a:lnTo>
                  <a:lnTo>
                    <a:pt x="307" y="59"/>
                  </a:lnTo>
                  <a:lnTo>
                    <a:pt x="352" y="9"/>
                  </a:lnTo>
                  <a:lnTo>
                    <a:pt x="353" y="7"/>
                  </a:lnTo>
                  <a:lnTo>
                    <a:pt x="353" y="5"/>
                  </a:lnTo>
                  <a:lnTo>
                    <a:pt x="352" y="4"/>
                  </a:lnTo>
                  <a:lnTo>
                    <a:pt x="351" y="1"/>
                  </a:lnTo>
                  <a:lnTo>
                    <a:pt x="350" y="0"/>
                  </a:lnTo>
                  <a:lnTo>
                    <a:pt x="347" y="0"/>
                  </a:lnTo>
                  <a:lnTo>
                    <a:pt x="30" y="0"/>
                  </a:lnTo>
                  <a:lnTo>
                    <a:pt x="18" y="3"/>
                  </a:lnTo>
                  <a:lnTo>
                    <a:pt x="8" y="9"/>
                  </a:lnTo>
                  <a:lnTo>
                    <a:pt x="2" y="19"/>
                  </a:lnTo>
                  <a:lnTo>
                    <a:pt x="0" y="30"/>
                  </a:lnTo>
                  <a:lnTo>
                    <a:pt x="0" y="454"/>
                  </a:lnTo>
                  <a:lnTo>
                    <a:pt x="2" y="466"/>
                  </a:lnTo>
                  <a:lnTo>
                    <a:pt x="8" y="475"/>
                  </a:lnTo>
                  <a:lnTo>
                    <a:pt x="18" y="482"/>
                  </a:lnTo>
                  <a:lnTo>
                    <a:pt x="30" y="484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-756" y="2768"/>
              <a:ext cx="92" cy="14"/>
            </a:xfrm>
            <a:custGeom>
              <a:avLst/>
              <a:gdLst>
                <a:gd name="T0" fmla="*/ 818 w 828"/>
                <a:gd name="T1" fmla="*/ 0 h 121"/>
                <a:gd name="T2" fmla="*/ 10 w 828"/>
                <a:gd name="T3" fmla="*/ 0 h 121"/>
                <a:gd name="T4" fmla="*/ 6 w 828"/>
                <a:gd name="T5" fmla="*/ 1 h 121"/>
                <a:gd name="T6" fmla="*/ 2 w 828"/>
                <a:gd name="T7" fmla="*/ 3 h 121"/>
                <a:gd name="T8" fmla="*/ 0 w 828"/>
                <a:gd name="T9" fmla="*/ 7 h 121"/>
                <a:gd name="T10" fmla="*/ 0 w 828"/>
                <a:gd name="T11" fmla="*/ 10 h 121"/>
                <a:gd name="T12" fmla="*/ 0 w 828"/>
                <a:gd name="T13" fmla="*/ 110 h 121"/>
                <a:gd name="T14" fmla="*/ 0 w 828"/>
                <a:gd name="T15" fmla="*/ 115 h 121"/>
                <a:gd name="T16" fmla="*/ 2 w 828"/>
                <a:gd name="T17" fmla="*/ 118 h 121"/>
                <a:gd name="T18" fmla="*/ 6 w 828"/>
                <a:gd name="T19" fmla="*/ 120 h 121"/>
                <a:gd name="T20" fmla="*/ 10 w 828"/>
                <a:gd name="T21" fmla="*/ 121 h 121"/>
                <a:gd name="T22" fmla="*/ 818 w 828"/>
                <a:gd name="T23" fmla="*/ 121 h 121"/>
                <a:gd name="T24" fmla="*/ 821 w 828"/>
                <a:gd name="T25" fmla="*/ 120 h 121"/>
                <a:gd name="T26" fmla="*/ 825 w 828"/>
                <a:gd name="T27" fmla="*/ 118 h 121"/>
                <a:gd name="T28" fmla="*/ 827 w 828"/>
                <a:gd name="T29" fmla="*/ 115 h 121"/>
                <a:gd name="T30" fmla="*/ 828 w 828"/>
                <a:gd name="T31" fmla="*/ 110 h 121"/>
                <a:gd name="T32" fmla="*/ 828 w 828"/>
                <a:gd name="T33" fmla="*/ 10 h 121"/>
                <a:gd name="T34" fmla="*/ 827 w 828"/>
                <a:gd name="T35" fmla="*/ 7 h 121"/>
                <a:gd name="T36" fmla="*/ 825 w 828"/>
                <a:gd name="T37" fmla="*/ 3 h 121"/>
                <a:gd name="T38" fmla="*/ 821 w 828"/>
                <a:gd name="T39" fmla="*/ 1 h 121"/>
                <a:gd name="T40" fmla="*/ 818 w 828"/>
                <a:gd name="T41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28" h="121">
                  <a:moveTo>
                    <a:pt x="818" y="0"/>
                  </a:moveTo>
                  <a:lnTo>
                    <a:pt x="10" y="0"/>
                  </a:lnTo>
                  <a:lnTo>
                    <a:pt x="6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10"/>
                  </a:lnTo>
                  <a:lnTo>
                    <a:pt x="0" y="115"/>
                  </a:lnTo>
                  <a:lnTo>
                    <a:pt x="2" y="118"/>
                  </a:lnTo>
                  <a:lnTo>
                    <a:pt x="6" y="120"/>
                  </a:lnTo>
                  <a:lnTo>
                    <a:pt x="10" y="121"/>
                  </a:lnTo>
                  <a:lnTo>
                    <a:pt x="818" y="121"/>
                  </a:lnTo>
                  <a:lnTo>
                    <a:pt x="821" y="120"/>
                  </a:lnTo>
                  <a:lnTo>
                    <a:pt x="825" y="118"/>
                  </a:lnTo>
                  <a:lnTo>
                    <a:pt x="827" y="115"/>
                  </a:lnTo>
                  <a:lnTo>
                    <a:pt x="828" y="110"/>
                  </a:lnTo>
                  <a:lnTo>
                    <a:pt x="828" y="10"/>
                  </a:lnTo>
                  <a:lnTo>
                    <a:pt x="827" y="7"/>
                  </a:lnTo>
                  <a:lnTo>
                    <a:pt x="825" y="3"/>
                  </a:lnTo>
                  <a:lnTo>
                    <a:pt x="821" y="1"/>
                  </a:lnTo>
                  <a:lnTo>
                    <a:pt x="8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-756" y="2802"/>
              <a:ext cx="59" cy="13"/>
            </a:xfrm>
            <a:custGeom>
              <a:avLst/>
              <a:gdLst>
                <a:gd name="T0" fmla="*/ 10 w 525"/>
                <a:gd name="T1" fmla="*/ 121 h 121"/>
                <a:gd name="T2" fmla="*/ 514 w 525"/>
                <a:gd name="T3" fmla="*/ 121 h 121"/>
                <a:gd name="T4" fmla="*/ 519 w 525"/>
                <a:gd name="T5" fmla="*/ 120 h 121"/>
                <a:gd name="T6" fmla="*/ 522 w 525"/>
                <a:gd name="T7" fmla="*/ 118 h 121"/>
                <a:gd name="T8" fmla="*/ 524 w 525"/>
                <a:gd name="T9" fmla="*/ 115 h 121"/>
                <a:gd name="T10" fmla="*/ 525 w 525"/>
                <a:gd name="T11" fmla="*/ 112 h 121"/>
                <a:gd name="T12" fmla="*/ 525 w 525"/>
                <a:gd name="T13" fmla="*/ 11 h 121"/>
                <a:gd name="T14" fmla="*/ 524 w 525"/>
                <a:gd name="T15" fmla="*/ 7 h 121"/>
                <a:gd name="T16" fmla="*/ 522 w 525"/>
                <a:gd name="T17" fmla="*/ 4 h 121"/>
                <a:gd name="T18" fmla="*/ 519 w 525"/>
                <a:gd name="T19" fmla="*/ 1 h 121"/>
                <a:gd name="T20" fmla="*/ 514 w 525"/>
                <a:gd name="T21" fmla="*/ 0 h 121"/>
                <a:gd name="T22" fmla="*/ 10 w 525"/>
                <a:gd name="T23" fmla="*/ 0 h 121"/>
                <a:gd name="T24" fmla="*/ 6 w 525"/>
                <a:gd name="T25" fmla="*/ 1 h 121"/>
                <a:gd name="T26" fmla="*/ 2 w 525"/>
                <a:gd name="T27" fmla="*/ 4 h 121"/>
                <a:gd name="T28" fmla="*/ 0 w 525"/>
                <a:gd name="T29" fmla="*/ 7 h 121"/>
                <a:gd name="T30" fmla="*/ 0 w 525"/>
                <a:gd name="T31" fmla="*/ 11 h 121"/>
                <a:gd name="T32" fmla="*/ 0 w 525"/>
                <a:gd name="T33" fmla="*/ 112 h 121"/>
                <a:gd name="T34" fmla="*/ 0 w 525"/>
                <a:gd name="T35" fmla="*/ 115 h 121"/>
                <a:gd name="T36" fmla="*/ 2 w 525"/>
                <a:gd name="T37" fmla="*/ 118 h 121"/>
                <a:gd name="T38" fmla="*/ 6 w 525"/>
                <a:gd name="T39" fmla="*/ 120 h 121"/>
                <a:gd name="T40" fmla="*/ 10 w 525"/>
                <a:gd name="T41" fmla="*/ 121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5" h="121">
                  <a:moveTo>
                    <a:pt x="10" y="121"/>
                  </a:moveTo>
                  <a:lnTo>
                    <a:pt x="514" y="121"/>
                  </a:lnTo>
                  <a:lnTo>
                    <a:pt x="519" y="120"/>
                  </a:lnTo>
                  <a:lnTo>
                    <a:pt x="522" y="118"/>
                  </a:lnTo>
                  <a:lnTo>
                    <a:pt x="524" y="115"/>
                  </a:lnTo>
                  <a:lnTo>
                    <a:pt x="525" y="112"/>
                  </a:lnTo>
                  <a:lnTo>
                    <a:pt x="525" y="11"/>
                  </a:lnTo>
                  <a:lnTo>
                    <a:pt x="524" y="7"/>
                  </a:lnTo>
                  <a:lnTo>
                    <a:pt x="522" y="4"/>
                  </a:lnTo>
                  <a:lnTo>
                    <a:pt x="519" y="1"/>
                  </a:lnTo>
                  <a:lnTo>
                    <a:pt x="514" y="0"/>
                  </a:lnTo>
                  <a:lnTo>
                    <a:pt x="10" y="0"/>
                  </a:lnTo>
                  <a:lnTo>
                    <a:pt x="6" y="1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2"/>
                  </a:lnTo>
                  <a:lnTo>
                    <a:pt x="0" y="115"/>
                  </a:lnTo>
                  <a:lnTo>
                    <a:pt x="2" y="118"/>
                  </a:lnTo>
                  <a:lnTo>
                    <a:pt x="6" y="120"/>
                  </a:lnTo>
                  <a:lnTo>
                    <a:pt x="10" y="12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10"/>
            <p:cNvSpPr>
              <a:spLocks/>
            </p:cNvSpPr>
            <p:nvPr/>
          </p:nvSpPr>
          <p:spPr bwMode="auto">
            <a:xfrm>
              <a:off x="-833" y="2844"/>
              <a:ext cx="48" cy="49"/>
            </a:xfrm>
            <a:custGeom>
              <a:avLst/>
              <a:gdLst>
                <a:gd name="T0" fmla="*/ 388 w 434"/>
                <a:gd name="T1" fmla="*/ 0 h 434"/>
                <a:gd name="T2" fmla="*/ 376 w 434"/>
                <a:gd name="T3" fmla="*/ 1 h 434"/>
                <a:gd name="T4" fmla="*/ 365 w 434"/>
                <a:gd name="T5" fmla="*/ 6 h 434"/>
                <a:gd name="T6" fmla="*/ 355 w 434"/>
                <a:gd name="T7" fmla="*/ 15 h 434"/>
                <a:gd name="T8" fmla="*/ 355 w 434"/>
                <a:gd name="T9" fmla="*/ 15 h 434"/>
                <a:gd name="T10" fmla="*/ 106 w 434"/>
                <a:gd name="T11" fmla="*/ 297 h 434"/>
                <a:gd name="T12" fmla="*/ 89 w 434"/>
                <a:gd name="T13" fmla="*/ 243 h 434"/>
                <a:gd name="T14" fmla="*/ 89 w 434"/>
                <a:gd name="T15" fmla="*/ 243 h 434"/>
                <a:gd name="T16" fmla="*/ 82 w 434"/>
                <a:gd name="T17" fmla="*/ 229 h 434"/>
                <a:gd name="T18" fmla="*/ 72 w 434"/>
                <a:gd name="T19" fmla="*/ 220 h 434"/>
                <a:gd name="T20" fmla="*/ 59 w 434"/>
                <a:gd name="T21" fmla="*/ 213 h 434"/>
                <a:gd name="T22" fmla="*/ 44 w 434"/>
                <a:gd name="T23" fmla="*/ 211 h 434"/>
                <a:gd name="T24" fmla="*/ 32 w 434"/>
                <a:gd name="T25" fmla="*/ 213 h 434"/>
                <a:gd name="T26" fmla="*/ 21 w 434"/>
                <a:gd name="T27" fmla="*/ 219 h 434"/>
                <a:gd name="T28" fmla="*/ 11 w 434"/>
                <a:gd name="T29" fmla="*/ 226 h 434"/>
                <a:gd name="T30" fmla="*/ 5 w 434"/>
                <a:gd name="T31" fmla="*/ 237 h 434"/>
                <a:gd name="T32" fmla="*/ 1 w 434"/>
                <a:gd name="T33" fmla="*/ 248 h 434"/>
                <a:gd name="T34" fmla="*/ 0 w 434"/>
                <a:gd name="T35" fmla="*/ 259 h 434"/>
                <a:gd name="T36" fmla="*/ 1 w 434"/>
                <a:gd name="T37" fmla="*/ 265 h 434"/>
                <a:gd name="T38" fmla="*/ 2 w 434"/>
                <a:gd name="T39" fmla="*/ 270 h 434"/>
                <a:gd name="T40" fmla="*/ 2 w 434"/>
                <a:gd name="T41" fmla="*/ 271 h 434"/>
                <a:gd name="T42" fmla="*/ 43 w 434"/>
                <a:gd name="T43" fmla="*/ 402 h 434"/>
                <a:gd name="T44" fmla="*/ 49 w 434"/>
                <a:gd name="T45" fmla="*/ 415 h 434"/>
                <a:gd name="T46" fmla="*/ 59 w 434"/>
                <a:gd name="T47" fmla="*/ 424 h 434"/>
                <a:gd name="T48" fmla="*/ 72 w 434"/>
                <a:gd name="T49" fmla="*/ 431 h 434"/>
                <a:gd name="T50" fmla="*/ 87 w 434"/>
                <a:gd name="T51" fmla="*/ 434 h 434"/>
                <a:gd name="T52" fmla="*/ 98 w 434"/>
                <a:gd name="T53" fmla="*/ 432 h 434"/>
                <a:gd name="T54" fmla="*/ 110 w 434"/>
                <a:gd name="T55" fmla="*/ 427 h 434"/>
                <a:gd name="T56" fmla="*/ 120 w 434"/>
                <a:gd name="T57" fmla="*/ 419 h 434"/>
                <a:gd name="T58" fmla="*/ 120 w 434"/>
                <a:gd name="T59" fmla="*/ 418 h 434"/>
                <a:gd name="T60" fmla="*/ 423 w 434"/>
                <a:gd name="T61" fmla="*/ 75 h 434"/>
                <a:gd name="T62" fmla="*/ 424 w 434"/>
                <a:gd name="T63" fmla="*/ 75 h 434"/>
                <a:gd name="T64" fmla="*/ 431 w 434"/>
                <a:gd name="T65" fmla="*/ 61 h 434"/>
                <a:gd name="T66" fmla="*/ 434 w 434"/>
                <a:gd name="T67" fmla="*/ 45 h 434"/>
                <a:gd name="T68" fmla="*/ 432 w 434"/>
                <a:gd name="T69" fmla="*/ 31 h 434"/>
                <a:gd name="T70" fmla="*/ 426 w 434"/>
                <a:gd name="T71" fmla="*/ 18 h 434"/>
                <a:gd name="T72" fmla="*/ 416 w 434"/>
                <a:gd name="T73" fmla="*/ 9 h 434"/>
                <a:gd name="T74" fmla="*/ 403 w 434"/>
                <a:gd name="T75" fmla="*/ 2 h 434"/>
                <a:gd name="T76" fmla="*/ 388 w 434"/>
                <a:gd name="T77" fmla="*/ 0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34" h="434">
                  <a:moveTo>
                    <a:pt x="388" y="0"/>
                  </a:moveTo>
                  <a:lnTo>
                    <a:pt x="376" y="1"/>
                  </a:lnTo>
                  <a:lnTo>
                    <a:pt x="365" y="6"/>
                  </a:lnTo>
                  <a:lnTo>
                    <a:pt x="355" y="15"/>
                  </a:lnTo>
                  <a:lnTo>
                    <a:pt x="355" y="15"/>
                  </a:lnTo>
                  <a:lnTo>
                    <a:pt x="106" y="297"/>
                  </a:lnTo>
                  <a:lnTo>
                    <a:pt x="89" y="243"/>
                  </a:lnTo>
                  <a:lnTo>
                    <a:pt x="89" y="243"/>
                  </a:lnTo>
                  <a:lnTo>
                    <a:pt x="82" y="229"/>
                  </a:lnTo>
                  <a:lnTo>
                    <a:pt x="72" y="220"/>
                  </a:lnTo>
                  <a:lnTo>
                    <a:pt x="59" y="213"/>
                  </a:lnTo>
                  <a:lnTo>
                    <a:pt x="44" y="211"/>
                  </a:lnTo>
                  <a:lnTo>
                    <a:pt x="32" y="213"/>
                  </a:lnTo>
                  <a:lnTo>
                    <a:pt x="21" y="219"/>
                  </a:lnTo>
                  <a:lnTo>
                    <a:pt x="11" y="226"/>
                  </a:lnTo>
                  <a:lnTo>
                    <a:pt x="5" y="237"/>
                  </a:lnTo>
                  <a:lnTo>
                    <a:pt x="1" y="248"/>
                  </a:lnTo>
                  <a:lnTo>
                    <a:pt x="0" y="259"/>
                  </a:lnTo>
                  <a:lnTo>
                    <a:pt x="1" y="265"/>
                  </a:lnTo>
                  <a:lnTo>
                    <a:pt x="2" y="270"/>
                  </a:lnTo>
                  <a:lnTo>
                    <a:pt x="2" y="271"/>
                  </a:lnTo>
                  <a:lnTo>
                    <a:pt x="43" y="402"/>
                  </a:lnTo>
                  <a:lnTo>
                    <a:pt x="49" y="415"/>
                  </a:lnTo>
                  <a:lnTo>
                    <a:pt x="59" y="424"/>
                  </a:lnTo>
                  <a:lnTo>
                    <a:pt x="72" y="431"/>
                  </a:lnTo>
                  <a:lnTo>
                    <a:pt x="87" y="434"/>
                  </a:lnTo>
                  <a:lnTo>
                    <a:pt x="98" y="432"/>
                  </a:lnTo>
                  <a:lnTo>
                    <a:pt x="110" y="427"/>
                  </a:lnTo>
                  <a:lnTo>
                    <a:pt x="120" y="419"/>
                  </a:lnTo>
                  <a:lnTo>
                    <a:pt x="120" y="418"/>
                  </a:lnTo>
                  <a:lnTo>
                    <a:pt x="423" y="75"/>
                  </a:lnTo>
                  <a:lnTo>
                    <a:pt x="424" y="75"/>
                  </a:lnTo>
                  <a:lnTo>
                    <a:pt x="431" y="61"/>
                  </a:lnTo>
                  <a:lnTo>
                    <a:pt x="434" y="45"/>
                  </a:lnTo>
                  <a:lnTo>
                    <a:pt x="432" y="31"/>
                  </a:lnTo>
                  <a:lnTo>
                    <a:pt x="426" y="18"/>
                  </a:lnTo>
                  <a:lnTo>
                    <a:pt x="416" y="9"/>
                  </a:lnTo>
                  <a:lnTo>
                    <a:pt x="403" y="2"/>
                  </a:lnTo>
                  <a:lnTo>
                    <a:pt x="3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-848" y="2853"/>
              <a:ext cx="54" cy="54"/>
            </a:xfrm>
            <a:custGeom>
              <a:avLst/>
              <a:gdLst>
                <a:gd name="T0" fmla="*/ 30 w 484"/>
                <a:gd name="T1" fmla="*/ 485 h 485"/>
                <a:gd name="T2" fmla="*/ 454 w 484"/>
                <a:gd name="T3" fmla="*/ 485 h 485"/>
                <a:gd name="T4" fmla="*/ 466 w 484"/>
                <a:gd name="T5" fmla="*/ 482 h 485"/>
                <a:gd name="T6" fmla="*/ 475 w 484"/>
                <a:gd name="T7" fmla="*/ 475 h 485"/>
                <a:gd name="T8" fmla="*/ 482 w 484"/>
                <a:gd name="T9" fmla="*/ 466 h 485"/>
                <a:gd name="T10" fmla="*/ 484 w 484"/>
                <a:gd name="T11" fmla="*/ 454 h 485"/>
                <a:gd name="T12" fmla="*/ 484 w 484"/>
                <a:gd name="T13" fmla="*/ 165 h 485"/>
                <a:gd name="T14" fmla="*/ 484 w 484"/>
                <a:gd name="T15" fmla="*/ 163 h 485"/>
                <a:gd name="T16" fmla="*/ 483 w 484"/>
                <a:gd name="T17" fmla="*/ 162 h 485"/>
                <a:gd name="T18" fmla="*/ 481 w 484"/>
                <a:gd name="T19" fmla="*/ 161 h 485"/>
                <a:gd name="T20" fmla="*/ 478 w 484"/>
                <a:gd name="T21" fmla="*/ 160 h 485"/>
                <a:gd name="T22" fmla="*/ 477 w 484"/>
                <a:gd name="T23" fmla="*/ 161 h 485"/>
                <a:gd name="T24" fmla="*/ 475 w 484"/>
                <a:gd name="T25" fmla="*/ 162 h 485"/>
                <a:gd name="T26" fmla="*/ 425 w 484"/>
                <a:gd name="T27" fmla="*/ 219 h 485"/>
                <a:gd name="T28" fmla="*/ 424 w 484"/>
                <a:gd name="T29" fmla="*/ 221 h 485"/>
                <a:gd name="T30" fmla="*/ 424 w 484"/>
                <a:gd name="T31" fmla="*/ 222 h 485"/>
                <a:gd name="T32" fmla="*/ 424 w 484"/>
                <a:gd name="T33" fmla="*/ 424 h 485"/>
                <a:gd name="T34" fmla="*/ 61 w 484"/>
                <a:gd name="T35" fmla="*/ 424 h 485"/>
                <a:gd name="T36" fmla="*/ 61 w 484"/>
                <a:gd name="T37" fmla="*/ 62 h 485"/>
                <a:gd name="T38" fmla="*/ 303 w 484"/>
                <a:gd name="T39" fmla="*/ 62 h 485"/>
                <a:gd name="T40" fmla="*/ 306 w 484"/>
                <a:gd name="T41" fmla="*/ 60 h 485"/>
                <a:gd name="T42" fmla="*/ 307 w 484"/>
                <a:gd name="T43" fmla="*/ 59 h 485"/>
                <a:gd name="T44" fmla="*/ 352 w 484"/>
                <a:gd name="T45" fmla="*/ 9 h 485"/>
                <a:gd name="T46" fmla="*/ 353 w 484"/>
                <a:gd name="T47" fmla="*/ 8 h 485"/>
                <a:gd name="T48" fmla="*/ 353 w 484"/>
                <a:gd name="T49" fmla="*/ 6 h 485"/>
                <a:gd name="T50" fmla="*/ 352 w 484"/>
                <a:gd name="T51" fmla="*/ 4 h 485"/>
                <a:gd name="T52" fmla="*/ 351 w 484"/>
                <a:gd name="T53" fmla="*/ 3 h 485"/>
                <a:gd name="T54" fmla="*/ 350 w 484"/>
                <a:gd name="T55" fmla="*/ 2 h 485"/>
                <a:gd name="T56" fmla="*/ 347 w 484"/>
                <a:gd name="T57" fmla="*/ 0 h 485"/>
                <a:gd name="T58" fmla="*/ 30 w 484"/>
                <a:gd name="T59" fmla="*/ 0 h 485"/>
                <a:gd name="T60" fmla="*/ 18 w 484"/>
                <a:gd name="T61" fmla="*/ 4 h 485"/>
                <a:gd name="T62" fmla="*/ 8 w 484"/>
                <a:gd name="T63" fmla="*/ 10 h 485"/>
                <a:gd name="T64" fmla="*/ 2 w 484"/>
                <a:gd name="T65" fmla="*/ 20 h 485"/>
                <a:gd name="T66" fmla="*/ 0 w 484"/>
                <a:gd name="T67" fmla="*/ 32 h 485"/>
                <a:gd name="T68" fmla="*/ 0 w 484"/>
                <a:gd name="T69" fmla="*/ 454 h 485"/>
                <a:gd name="T70" fmla="*/ 2 w 484"/>
                <a:gd name="T71" fmla="*/ 466 h 485"/>
                <a:gd name="T72" fmla="*/ 8 w 484"/>
                <a:gd name="T73" fmla="*/ 475 h 485"/>
                <a:gd name="T74" fmla="*/ 18 w 484"/>
                <a:gd name="T75" fmla="*/ 482 h 485"/>
                <a:gd name="T76" fmla="*/ 30 w 484"/>
                <a:gd name="T77" fmla="*/ 485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4" h="485">
                  <a:moveTo>
                    <a:pt x="30" y="485"/>
                  </a:moveTo>
                  <a:lnTo>
                    <a:pt x="454" y="485"/>
                  </a:lnTo>
                  <a:lnTo>
                    <a:pt x="466" y="482"/>
                  </a:lnTo>
                  <a:lnTo>
                    <a:pt x="475" y="475"/>
                  </a:lnTo>
                  <a:lnTo>
                    <a:pt x="482" y="466"/>
                  </a:lnTo>
                  <a:lnTo>
                    <a:pt x="484" y="454"/>
                  </a:lnTo>
                  <a:lnTo>
                    <a:pt x="484" y="165"/>
                  </a:lnTo>
                  <a:lnTo>
                    <a:pt x="484" y="163"/>
                  </a:lnTo>
                  <a:lnTo>
                    <a:pt x="483" y="162"/>
                  </a:lnTo>
                  <a:lnTo>
                    <a:pt x="481" y="161"/>
                  </a:lnTo>
                  <a:lnTo>
                    <a:pt x="478" y="160"/>
                  </a:lnTo>
                  <a:lnTo>
                    <a:pt x="477" y="161"/>
                  </a:lnTo>
                  <a:lnTo>
                    <a:pt x="475" y="162"/>
                  </a:lnTo>
                  <a:lnTo>
                    <a:pt x="425" y="219"/>
                  </a:lnTo>
                  <a:lnTo>
                    <a:pt x="424" y="221"/>
                  </a:lnTo>
                  <a:lnTo>
                    <a:pt x="424" y="222"/>
                  </a:lnTo>
                  <a:lnTo>
                    <a:pt x="424" y="424"/>
                  </a:lnTo>
                  <a:lnTo>
                    <a:pt x="61" y="424"/>
                  </a:lnTo>
                  <a:lnTo>
                    <a:pt x="61" y="62"/>
                  </a:lnTo>
                  <a:lnTo>
                    <a:pt x="303" y="62"/>
                  </a:lnTo>
                  <a:lnTo>
                    <a:pt x="306" y="60"/>
                  </a:lnTo>
                  <a:lnTo>
                    <a:pt x="307" y="59"/>
                  </a:lnTo>
                  <a:lnTo>
                    <a:pt x="352" y="9"/>
                  </a:lnTo>
                  <a:lnTo>
                    <a:pt x="353" y="8"/>
                  </a:lnTo>
                  <a:lnTo>
                    <a:pt x="353" y="6"/>
                  </a:lnTo>
                  <a:lnTo>
                    <a:pt x="352" y="4"/>
                  </a:lnTo>
                  <a:lnTo>
                    <a:pt x="351" y="3"/>
                  </a:lnTo>
                  <a:lnTo>
                    <a:pt x="350" y="2"/>
                  </a:lnTo>
                  <a:lnTo>
                    <a:pt x="347" y="0"/>
                  </a:lnTo>
                  <a:lnTo>
                    <a:pt x="30" y="0"/>
                  </a:lnTo>
                  <a:lnTo>
                    <a:pt x="18" y="4"/>
                  </a:lnTo>
                  <a:lnTo>
                    <a:pt x="8" y="10"/>
                  </a:lnTo>
                  <a:lnTo>
                    <a:pt x="2" y="20"/>
                  </a:lnTo>
                  <a:lnTo>
                    <a:pt x="0" y="32"/>
                  </a:lnTo>
                  <a:lnTo>
                    <a:pt x="0" y="454"/>
                  </a:lnTo>
                  <a:lnTo>
                    <a:pt x="2" y="466"/>
                  </a:lnTo>
                  <a:lnTo>
                    <a:pt x="8" y="475"/>
                  </a:lnTo>
                  <a:lnTo>
                    <a:pt x="18" y="482"/>
                  </a:lnTo>
                  <a:lnTo>
                    <a:pt x="30" y="48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-756" y="2858"/>
              <a:ext cx="92" cy="13"/>
            </a:xfrm>
            <a:custGeom>
              <a:avLst/>
              <a:gdLst>
                <a:gd name="T0" fmla="*/ 818 w 828"/>
                <a:gd name="T1" fmla="*/ 0 h 121"/>
                <a:gd name="T2" fmla="*/ 10 w 828"/>
                <a:gd name="T3" fmla="*/ 0 h 121"/>
                <a:gd name="T4" fmla="*/ 6 w 828"/>
                <a:gd name="T5" fmla="*/ 0 h 121"/>
                <a:gd name="T6" fmla="*/ 2 w 828"/>
                <a:gd name="T7" fmla="*/ 2 h 121"/>
                <a:gd name="T8" fmla="*/ 0 w 828"/>
                <a:gd name="T9" fmla="*/ 6 h 121"/>
                <a:gd name="T10" fmla="*/ 0 w 828"/>
                <a:gd name="T11" fmla="*/ 10 h 121"/>
                <a:gd name="T12" fmla="*/ 0 w 828"/>
                <a:gd name="T13" fmla="*/ 111 h 121"/>
                <a:gd name="T14" fmla="*/ 0 w 828"/>
                <a:gd name="T15" fmla="*/ 115 h 121"/>
                <a:gd name="T16" fmla="*/ 2 w 828"/>
                <a:gd name="T17" fmla="*/ 118 h 121"/>
                <a:gd name="T18" fmla="*/ 6 w 828"/>
                <a:gd name="T19" fmla="*/ 120 h 121"/>
                <a:gd name="T20" fmla="*/ 10 w 828"/>
                <a:gd name="T21" fmla="*/ 121 h 121"/>
                <a:gd name="T22" fmla="*/ 818 w 828"/>
                <a:gd name="T23" fmla="*/ 121 h 121"/>
                <a:gd name="T24" fmla="*/ 821 w 828"/>
                <a:gd name="T25" fmla="*/ 120 h 121"/>
                <a:gd name="T26" fmla="*/ 825 w 828"/>
                <a:gd name="T27" fmla="*/ 118 h 121"/>
                <a:gd name="T28" fmla="*/ 827 w 828"/>
                <a:gd name="T29" fmla="*/ 115 h 121"/>
                <a:gd name="T30" fmla="*/ 828 w 828"/>
                <a:gd name="T31" fmla="*/ 111 h 121"/>
                <a:gd name="T32" fmla="*/ 828 w 828"/>
                <a:gd name="T33" fmla="*/ 10 h 121"/>
                <a:gd name="T34" fmla="*/ 827 w 828"/>
                <a:gd name="T35" fmla="*/ 6 h 121"/>
                <a:gd name="T36" fmla="*/ 825 w 828"/>
                <a:gd name="T37" fmla="*/ 2 h 121"/>
                <a:gd name="T38" fmla="*/ 821 w 828"/>
                <a:gd name="T39" fmla="*/ 0 h 121"/>
                <a:gd name="T40" fmla="*/ 818 w 828"/>
                <a:gd name="T41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28" h="121">
                  <a:moveTo>
                    <a:pt x="818" y="0"/>
                  </a:moveTo>
                  <a:lnTo>
                    <a:pt x="10" y="0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11"/>
                  </a:lnTo>
                  <a:lnTo>
                    <a:pt x="0" y="115"/>
                  </a:lnTo>
                  <a:lnTo>
                    <a:pt x="2" y="118"/>
                  </a:lnTo>
                  <a:lnTo>
                    <a:pt x="6" y="120"/>
                  </a:lnTo>
                  <a:lnTo>
                    <a:pt x="10" y="121"/>
                  </a:lnTo>
                  <a:lnTo>
                    <a:pt x="818" y="121"/>
                  </a:lnTo>
                  <a:lnTo>
                    <a:pt x="821" y="120"/>
                  </a:lnTo>
                  <a:lnTo>
                    <a:pt x="825" y="118"/>
                  </a:lnTo>
                  <a:lnTo>
                    <a:pt x="827" y="115"/>
                  </a:lnTo>
                  <a:lnTo>
                    <a:pt x="828" y="111"/>
                  </a:lnTo>
                  <a:lnTo>
                    <a:pt x="828" y="10"/>
                  </a:lnTo>
                  <a:lnTo>
                    <a:pt x="827" y="6"/>
                  </a:lnTo>
                  <a:lnTo>
                    <a:pt x="825" y="2"/>
                  </a:lnTo>
                  <a:lnTo>
                    <a:pt x="821" y="0"/>
                  </a:lnTo>
                  <a:lnTo>
                    <a:pt x="8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-756" y="2891"/>
              <a:ext cx="59" cy="14"/>
            </a:xfrm>
            <a:custGeom>
              <a:avLst/>
              <a:gdLst>
                <a:gd name="T0" fmla="*/ 10 w 525"/>
                <a:gd name="T1" fmla="*/ 122 h 122"/>
                <a:gd name="T2" fmla="*/ 514 w 525"/>
                <a:gd name="T3" fmla="*/ 122 h 122"/>
                <a:gd name="T4" fmla="*/ 519 w 525"/>
                <a:gd name="T5" fmla="*/ 120 h 122"/>
                <a:gd name="T6" fmla="*/ 522 w 525"/>
                <a:gd name="T7" fmla="*/ 118 h 122"/>
                <a:gd name="T8" fmla="*/ 524 w 525"/>
                <a:gd name="T9" fmla="*/ 115 h 122"/>
                <a:gd name="T10" fmla="*/ 525 w 525"/>
                <a:gd name="T11" fmla="*/ 111 h 122"/>
                <a:gd name="T12" fmla="*/ 525 w 525"/>
                <a:gd name="T13" fmla="*/ 10 h 122"/>
                <a:gd name="T14" fmla="*/ 524 w 525"/>
                <a:gd name="T15" fmla="*/ 7 h 122"/>
                <a:gd name="T16" fmla="*/ 522 w 525"/>
                <a:gd name="T17" fmla="*/ 4 h 122"/>
                <a:gd name="T18" fmla="*/ 519 w 525"/>
                <a:gd name="T19" fmla="*/ 1 h 122"/>
                <a:gd name="T20" fmla="*/ 514 w 525"/>
                <a:gd name="T21" fmla="*/ 0 h 122"/>
                <a:gd name="T22" fmla="*/ 10 w 525"/>
                <a:gd name="T23" fmla="*/ 0 h 122"/>
                <a:gd name="T24" fmla="*/ 6 w 525"/>
                <a:gd name="T25" fmla="*/ 1 h 122"/>
                <a:gd name="T26" fmla="*/ 2 w 525"/>
                <a:gd name="T27" fmla="*/ 4 h 122"/>
                <a:gd name="T28" fmla="*/ 0 w 525"/>
                <a:gd name="T29" fmla="*/ 7 h 122"/>
                <a:gd name="T30" fmla="*/ 0 w 525"/>
                <a:gd name="T31" fmla="*/ 10 h 122"/>
                <a:gd name="T32" fmla="*/ 0 w 525"/>
                <a:gd name="T33" fmla="*/ 111 h 122"/>
                <a:gd name="T34" fmla="*/ 0 w 525"/>
                <a:gd name="T35" fmla="*/ 115 h 122"/>
                <a:gd name="T36" fmla="*/ 2 w 525"/>
                <a:gd name="T37" fmla="*/ 118 h 122"/>
                <a:gd name="T38" fmla="*/ 6 w 525"/>
                <a:gd name="T39" fmla="*/ 120 h 122"/>
                <a:gd name="T40" fmla="*/ 10 w 525"/>
                <a:gd name="T41" fmla="*/ 122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5" h="122">
                  <a:moveTo>
                    <a:pt x="10" y="122"/>
                  </a:moveTo>
                  <a:lnTo>
                    <a:pt x="514" y="122"/>
                  </a:lnTo>
                  <a:lnTo>
                    <a:pt x="519" y="120"/>
                  </a:lnTo>
                  <a:lnTo>
                    <a:pt x="522" y="118"/>
                  </a:lnTo>
                  <a:lnTo>
                    <a:pt x="524" y="115"/>
                  </a:lnTo>
                  <a:lnTo>
                    <a:pt x="525" y="111"/>
                  </a:lnTo>
                  <a:lnTo>
                    <a:pt x="525" y="10"/>
                  </a:lnTo>
                  <a:lnTo>
                    <a:pt x="524" y="7"/>
                  </a:lnTo>
                  <a:lnTo>
                    <a:pt x="522" y="4"/>
                  </a:lnTo>
                  <a:lnTo>
                    <a:pt x="519" y="1"/>
                  </a:lnTo>
                  <a:lnTo>
                    <a:pt x="514" y="0"/>
                  </a:lnTo>
                  <a:lnTo>
                    <a:pt x="10" y="0"/>
                  </a:lnTo>
                  <a:lnTo>
                    <a:pt x="6" y="1"/>
                  </a:lnTo>
                  <a:lnTo>
                    <a:pt x="2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11"/>
                  </a:lnTo>
                  <a:lnTo>
                    <a:pt x="0" y="115"/>
                  </a:lnTo>
                  <a:lnTo>
                    <a:pt x="2" y="118"/>
                  </a:lnTo>
                  <a:lnTo>
                    <a:pt x="6" y="120"/>
                  </a:lnTo>
                  <a:lnTo>
                    <a:pt x="10" y="122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-833" y="2934"/>
              <a:ext cx="48" cy="48"/>
            </a:xfrm>
            <a:custGeom>
              <a:avLst/>
              <a:gdLst>
                <a:gd name="T0" fmla="*/ 388 w 434"/>
                <a:gd name="T1" fmla="*/ 0 h 434"/>
                <a:gd name="T2" fmla="*/ 376 w 434"/>
                <a:gd name="T3" fmla="*/ 2 h 434"/>
                <a:gd name="T4" fmla="*/ 365 w 434"/>
                <a:gd name="T5" fmla="*/ 8 h 434"/>
                <a:gd name="T6" fmla="*/ 355 w 434"/>
                <a:gd name="T7" fmla="*/ 15 h 434"/>
                <a:gd name="T8" fmla="*/ 355 w 434"/>
                <a:gd name="T9" fmla="*/ 16 h 434"/>
                <a:gd name="T10" fmla="*/ 106 w 434"/>
                <a:gd name="T11" fmla="*/ 298 h 434"/>
                <a:gd name="T12" fmla="*/ 89 w 434"/>
                <a:gd name="T13" fmla="*/ 244 h 434"/>
                <a:gd name="T14" fmla="*/ 89 w 434"/>
                <a:gd name="T15" fmla="*/ 243 h 434"/>
                <a:gd name="T16" fmla="*/ 82 w 434"/>
                <a:gd name="T17" fmla="*/ 230 h 434"/>
                <a:gd name="T18" fmla="*/ 72 w 434"/>
                <a:gd name="T19" fmla="*/ 221 h 434"/>
                <a:gd name="T20" fmla="*/ 59 w 434"/>
                <a:gd name="T21" fmla="*/ 214 h 434"/>
                <a:gd name="T22" fmla="*/ 44 w 434"/>
                <a:gd name="T23" fmla="*/ 212 h 434"/>
                <a:gd name="T24" fmla="*/ 32 w 434"/>
                <a:gd name="T25" fmla="*/ 214 h 434"/>
                <a:gd name="T26" fmla="*/ 21 w 434"/>
                <a:gd name="T27" fmla="*/ 220 h 434"/>
                <a:gd name="T28" fmla="*/ 11 w 434"/>
                <a:gd name="T29" fmla="*/ 227 h 434"/>
                <a:gd name="T30" fmla="*/ 5 w 434"/>
                <a:gd name="T31" fmla="*/ 237 h 434"/>
                <a:gd name="T32" fmla="*/ 1 w 434"/>
                <a:gd name="T33" fmla="*/ 249 h 434"/>
                <a:gd name="T34" fmla="*/ 0 w 434"/>
                <a:gd name="T35" fmla="*/ 261 h 434"/>
                <a:gd name="T36" fmla="*/ 1 w 434"/>
                <a:gd name="T37" fmla="*/ 266 h 434"/>
                <a:gd name="T38" fmla="*/ 2 w 434"/>
                <a:gd name="T39" fmla="*/ 270 h 434"/>
                <a:gd name="T40" fmla="*/ 2 w 434"/>
                <a:gd name="T41" fmla="*/ 271 h 434"/>
                <a:gd name="T42" fmla="*/ 43 w 434"/>
                <a:gd name="T43" fmla="*/ 402 h 434"/>
                <a:gd name="T44" fmla="*/ 49 w 434"/>
                <a:gd name="T45" fmla="*/ 415 h 434"/>
                <a:gd name="T46" fmla="*/ 59 w 434"/>
                <a:gd name="T47" fmla="*/ 426 h 434"/>
                <a:gd name="T48" fmla="*/ 72 w 434"/>
                <a:gd name="T49" fmla="*/ 432 h 434"/>
                <a:gd name="T50" fmla="*/ 87 w 434"/>
                <a:gd name="T51" fmla="*/ 434 h 434"/>
                <a:gd name="T52" fmla="*/ 98 w 434"/>
                <a:gd name="T53" fmla="*/ 433 h 434"/>
                <a:gd name="T54" fmla="*/ 110 w 434"/>
                <a:gd name="T55" fmla="*/ 428 h 434"/>
                <a:gd name="T56" fmla="*/ 120 w 434"/>
                <a:gd name="T57" fmla="*/ 419 h 434"/>
                <a:gd name="T58" fmla="*/ 120 w 434"/>
                <a:gd name="T59" fmla="*/ 419 h 434"/>
                <a:gd name="T60" fmla="*/ 423 w 434"/>
                <a:gd name="T61" fmla="*/ 76 h 434"/>
                <a:gd name="T62" fmla="*/ 424 w 434"/>
                <a:gd name="T63" fmla="*/ 76 h 434"/>
                <a:gd name="T64" fmla="*/ 431 w 434"/>
                <a:gd name="T65" fmla="*/ 62 h 434"/>
                <a:gd name="T66" fmla="*/ 434 w 434"/>
                <a:gd name="T67" fmla="*/ 46 h 434"/>
                <a:gd name="T68" fmla="*/ 432 w 434"/>
                <a:gd name="T69" fmla="*/ 31 h 434"/>
                <a:gd name="T70" fmla="*/ 426 w 434"/>
                <a:gd name="T71" fmla="*/ 19 h 434"/>
                <a:gd name="T72" fmla="*/ 416 w 434"/>
                <a:gd name="T73" fmla="*/ 10 h 434"/>
                <a:gd name="T74" fmla="*/ 403 w 434"/>
                <a:gd name="T75" fmla="*/ 3 h 434"/>
                <a:gd name="T76" fmla="*/ 388 w 434"/>
                <a:gd name="T77" fmla="*/ 0 h 4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34" h="434">
                  <a:moveTo>
                    <a:pt x="388" y="0"/>
                  </a:moveTo>
                  <a:lnTo>
                    <a:pt x="376" y="2"/>
                  </a:lnTo>
                  <a:lnTo>
                    <a:pt x="365" y="8"/>
                  </a:lnTo>
                  <a:lnTo>
                    <a:pt x="355" y="15"/>
                  </a:lnTo>
                  <a:lnTo>
                    <a:pt x="355" y="16"/>
                  </a:lnTo>
                  <a:lnTo>
                    <a:pt x="106" y="298"/>
                  </a:lnTo>
                  <a:lnTo>
                    <a:pt x="89" y="244"/>
                  </a:lnTo>
                  <a:lnTo>
                    <a:pt x="89" y="243"/>
                  </a:lnTo>
                  <a:lnTo>
                    <a:pt x="82" y="230"/>
                  </a:lnTo>
                  <a:lnTo>
                    <a:pt x="72" y="221"/>
                  </a:lnTo>
                  <a:lnTo>
                    <a:pt x="59" y="214"/>
                  </a:lnTo>
                  <a:lnTo>
                    <a:pt x="44" y="212"/>
                  </a:lnTo>
                  <a:lnTo>
                    <a:pt x="32" y="214"/>
                  </a:lnTo>
                  <a:lnTo>
                    <a:pt x="21" y="220"/>
                  </a:lnTo>
                  <a:lnTo>
                    <a:pt x="11" y="227"/>
                  </a:lnTo>
                  <a:lnTo>
                    <a:pt x="5" y="237"/>
                  </a:lnTo>
                  <a:lnTo>
                    <a:pt x="1" y="249"/>
                  </a:lnTo>
                  <a:lnTo>
                    <a:pt x="0" y="261"/>
                  </a:lnTo>
                  <a:lnTo>
                    <a:pt x="1" y="266"/>
                  </a:lnTo>
                  <a:lnTo>
                    <a:pt x="2" y="270"/>
                  </a:lnTo>
                  <a:lnTo>
                    <a:pt x="2" y="271"/>
                  </a:lnTo>
                  <a:lnTo>
                    <a:pt x="43" y="402"/>
                  </a:lnTo>
                  <a:lnTo>
                    <a:pt x="49" y="415"/>
                  </a:lnTo>
                  <a:lnTo>
                    <a:pt x="59" y="426"/>
                  </a:lnTo>
                  <a:lnTo>
                    <a:pt x="72" y="432"/>
                  </a:lnTo>
                  <a:lnTo>
                    <a:pt x="87" y="434"/>
                  </a:lnTo>
                  <a:lnTo>
                    <a:pt x="98" y="433"/>
                  </a:lnTo>
                  <a:lnTo>
                    <a:pt x="110" y="428"/>
                  </a:lnTo>
                  <a:lnTo>
                    <a:pt x="120" y="419"/>
                  </a:lnTo>
                  <a:lnTo>
                    <a:pt x="120" y="419"/>
                  </a:lnTo>
                  <a:lnTo>
                    <a:pt x="423" y="76"/>
                  </a:lnTo>
                  <a:lnTo>
                    <a:pt x="424" y="76"/>
                  </a:lnTo>
                  <a:lnTo>
                    <a:pt x="431" y="62"/>
                  </a:lnTo>
                  <a:lnTo>
                    <a:pt x="434" y="46"/>
                  </a:lnTo>
                  <a:lnTo>
                    <a:pt x="432" y="31"/>
                  </a:lnTo>
                  <a:lnTo>
                    <a:pt x="426" y="19"/>
                  </a:lnTo>
                  <a:lnTo>
                    <a:pt x="416" y="10"/>
                  </a:lnTo>
                  <a:lnTo>
                    <a:pt x="403" y="3"/>
                  </a:lnTo>
                  <a:lnTo>
                    <a:pt x="3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-848" y="2943"/>
              <a:ext cx="54" cy="54"/>
            </a:xfrm>
            <a:custGeom>
              <a:avLst/>
              <a:gdLst>
                <a:gd name="T0" fmla="*/ 475 w 484"/>
                <a:gd name="T1" fmla="*/ 161 h 483"/>
                <a:gd name="T2" fmla="*/ 425 w 484"/>
                <a:gd name="T3" fmla="*/ 218 h 483"/>
                <a:gd name="T4" fmla="*/ 424 w 484"/>
                <a:gd name="T5" fmla="*/ 219 h 483"/>
                <a:gd name="T6" fmla="*/ 424 w 484"/>
                <a:gd name="T7" fmla="*/ 221 h 483"/>
                <a:gd name="T8" fmla="*/ 424 w 484"/>
                <a:gd name="T9" fmla="*/ 423 h 483"/>
                <a:gd name="T10" fmla="*/ 61 w 484"/>
                <a:gd name="T11" fmla="*/ 423 h 483"/>
                <a:gd name="T12" fmla="*/ 61 w 484"/>
                <a:gd name="T13" fmla="*/ 60 h 483"/>
                <a:gd name="T14" fmla="*/ 303 w 484"/>
                <a:gd name="T15" fmla="*/ 60 h 483"/>
                <a:gd name="T16" fmla="*/ 306 w 484"/>
                <a:gd name="T17" fmla="*/ 60 h 483"/>
                <a:gd name="T18" fmla="*/ 307 w 484"/>
                <a:gd name="T19" fmla="*/ 58 h 483"/>
                <a:gd name="T20" fmla="*/ 352 w 484"/>
                <a:gd name="T21" fmla="*/ 8 h 483"/>
                <a:gd name="T22" fmla="*/ 353 w 484"/>
                <a:gd name="T23" fmla="*/ 6 h 483"/>
                <a:gd name="T24" fmla="*/ 353 w 484"/>
                <a:gd name="T25" fmla="*/ 5 h 483"/>
                <a:gd name="T26" fmla="*/ 352 w 484"/>
                <a:gd name="T27" fmla="*/ 3 h 483"/>
                <a:gd name="T28" fmla="*/ 351 w 484"/>
                <a:gd name="T29" fmla="*/ 1 h 483"/>
                <a:gd name="T30" fmla="*/ 350 w 484"/>
                <a:gd name="T31" fmla="*/ 0 h 483"/>
                <a:gd name="T32" fmla="*/ 347 w 484"/>
                <a:gd name="T33" fmla="*/ 0 h 483"/>
                <a:gd name="T34" fmla="*/ 30 w 484"/>
                <a:gd name="T35" fmla="*/ 0 h 483"/>
                <a:gd name="T36" fmla="*/ 18 w 484"/>
                <a:gd name="T37" fmla="*/ 2 h 483"/>
                <a:gd name="T38" fmla="*/ 8 w 484"/>
                <a:gd name="T39" fmla="*/ 8 h 483"/>
                <a:gd name="T40" fmla="*/ 2 w 484"/>
                <a:gd name="T41" fmla="*/ 18 h 483"/>
                <a:gd name="T42" fmla="*/ 0 w 484"/>
                <a:gd name="T43" fmla="*/ 30 h 483"/>
                <a:gd name="T44" fmla="*/ 0 w 484"/>
                <a:gd name="T45" fmla="*/ 453 h 483"/>
                <a:gd name="T46" fmla="*/ 2 w 484"/>
                <a:gd name="T47" fmla="*/ 465 h 483"/>
                <a:gd name="T48" fmla="*/ 8 w 484"/>
                <a:gd name="T49" fmla="*/ 474 h 483"/>
                <a:gd name="T50" fmla="*/ 18 w 484"/>
                <a:gd name="T51" fmla="*/ 481 h 483"/>
                <a:gd name="T52" fmla="*/ 30 w 484"/>
                <a:gd name="T53" fmla="*/ 483 h 483"/>
                <a:gd name="T54" fmla="*/ 454 w 484"/>
                <a:gd name="T55" fmla="*/ 483 h 483"/>
                <a:gd name="T56" fmla="*/ 466 w 484"/>
                <a:gd name="T57" fmla="*/ 481 h 483"/>
                <a:gd name="T58" fmla="*/ 475 w 484"/>
                <a:gd name="T59" fmla="*/ 474 h 483"/>
                <a:gd name="T60" fmla="*/ 482 w 484"/>
                <a:gd name="T61" fmla="*/ 465 h 483"/>
                <a:gd name="T62" fmla="*/ 484 w 484"/>
                <a:gd name="T63" fmla="*/ 453 h 483"/>
                <a:gd name="T64" fmla="*/ 484 w 484"/>
                <a:gd name="T65" fmla="*/ 165 h 483"/>
                <a:gd name="T66" fmla="*/ 484 w 484"/>
                <a:gd name="T67" fmla="*/ 162 h 483"/>
                <a:gd name="T68" fmla="*/ 483 w 484"/>
                <a:gd name="T69" fmla="*/ 160 h 483"/>
                <a:gd name="T70" fmla="*/ 481 w 484"/>
                <a:gd name="T71" fmla="*/ 159 h 483"/>
                <a:gd name="T72" fmla="*/ 478 w 484"/>
                <a:gd name="T73" fmla="*/ 159 h 483"/>
                <a:gd name="T74" fmla="*/ 477 w 484"/>
                <a:gd name="T75" fmla="*/ 160 h 483"/>
                <a:gd name="T76" fmla="*/ 475 w 484"/>
                <a:gd name="T77" fmla="*/ 161 h 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4" h="483">
                  <a:moveTo>
                    <a:pt x="475" y="161"/>
                  </a:moveTo>
                  <a:lnTo>
                    <a:pt x="425" y="218"/>
                  </a:lnTo>
                  <a:lnTo>
                    <a:pt x="424" y="219"/>
                  </a:lnTo>
                  <a:lnTo>
                    <a:pt x="424" y="221"/>
                  </a:lnTo>
                  <a:lnTo>
                    <a:pt x="424" y="423"/>
                  </a:lnTo>
                  <a:lnTo>
                    <a:pt x="61" y="423"/>
                  </a:lnTo>
                  <a:lnTo>
                    <a:pt x="61" y="60"/>
                  </a:lnTo>
                  <a:lnTo>
                    <a:pt x="303" y="60"/>
                  </a:lnTo>
                  <a:lnTo>
                    <a:pt x="306" y="60"/>
                  </a:lnTo>
                  <a:lnTo>
                    <a:pt x="307" y="58"/>
                  </a:lnTo>
                  <a:lnTo>
                    <a:pt x="352" y="8"/>
                  </a:lnTo>
                  <a:lnTo>
                    <a:pt x="353" y="6"/>
                  </a:lnTo>
                  <a:lnTo>
                    <a:pt x="353" y="5"/>
                  </a:lnTo>
                  <a:lnTo>
                    <a:pt x="352" y="3"/>
                  </a:lnTo>
                  <a:lnTo>
                    <a:pt x="351" y="1"/>
                  </a:lnTo>
                  <a:lnTo>
                    <a:pt x="350" y="0"/>
                  </a:lnTo>
                  <a:lnTo>
                    <a:pt x="347" y="0"/>
                  </a:lnTo>
                  <a:lnTo>
                    <a:pt x="30" y="0"/>
                  </a:lnTo>
                  <a:lnTo>
                    <a:pt x="18" y="2"/>
                  </a:lnTo>
                  <a:lnTo>
                    <a:pt x="8" y="8"/>
                  </a:lnTo>
                  <a:lnTo>
                    <a:pt x="2" y="18"/>
                  </a:lnTo>
                  <a:lnTo>
                    <a:pt x="0" y="30"/>
                  </a:lnTo>
                  <a:lnTo>
                    <a:pt x="0" y="453"/>
                  </a:lnTo>
                  <a:lnTo>
                    <a:pt x="2" y="465"/>
                  </a:lnTo>
                  <a:lnTo>
                    <a:pt x="8" y="474"/>
                  </a:lnTo>
                  <a:lnTo>
                    <a:pt x="18" y="481"/>
                  </a:lnTo>
                  <a:lnTo>
                    <a:pt x="30" y="483"/>
                  </a:lnTo>
                  <a:lnTo>
                    <a:pt x="454" y="483"/>
                  </a:lnTo>
                  <a:lnTo>
                    <a:pt x="466" y="481"/>
                  </a:lnTo>
                  <a:lnTo>
                    <a:pt x="475" y="474"/>
                  </a:lnTo>
                  <a:lnTo>
                    <a:pt x="482" y="465"/>
                  </a:lnTo>
                  <a:lnTo>
                    <a:pt x="484" y="453"/>
                  </a:lnTo>
                  <a:lnTo>
                    <a:pt x="484" y="165"/>
                  </a:lnTo>
                  <a:lnTo>
                    <a:pt x="484" y="162"/>
                  </a:lnTo>
                  <a:lnTo>
                    <a:pt x="483" y="160"/>
                  </a:lnTo>
                  <a:lnTo>
                    <a:pt x="481" y="159"/>
                  </a:lnTo>
                  <a:lnTo>
                    <a:pt x="478" y="159"/>
                  </a:lnTo>
                  <a:lnTo>
                    <a:pt x="477" y="160"/>
                  </a:lnTo>
                  <a:lnTo>
                    <a:pt x="475" y="16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-756" y="2947"/>
              <a:ext cx="92" cy="14"/>
            </a:xfrm>
            <a:custGeom>
              <a:avLst/>
              <a:gdLst>
                <a:gd name="T0" fmla="*/ 818 w 828"/>
                <a:gd name="T1" fmla="*/ 0 h 121"/>
                <a:gd name="T2" fmla="*/ 10 w 828"/>
                <a:gd name="T3" fmla="*/ 0 h 121"/>
                <a:gd name="T4" fmla="*/ 6 w 828"/>
                <a:gd name="T5" fmla="*/ 1 h 121"/>
                <a:gd name="T6" fmla="*/ 2 w 828"/>
                <a:gd name="T7" fmla="*/ 3 h 121"/>
                <a:gd name="T8" fmla="*/ 0 w 828"/>
                <a:gd name="T9" fmla="*/ 7 h 121"/>
                <a:gd name="T10" fmla="*/ 0 w 828"/>
                <a:gd name="T11" fmla="*/ 11 h 121"/>
                <a:gd name="T12" fmla="*/ 0 w 828"/>
                <a:gd name="T13" fmla="*/ 112 h 121"/>
                <a:gd name="T14" fmla="*/ 0 w 828"/>
                <a:gd name="T15" fmla="*/ 115 h 121"/>
                <a:gd name="T16" fmla="*/ 2 w 828"/>
                <a:gd name="T17" fmla="*/ 118 h 121"/>
                <a:gd name="T18" fmla="*/ 6 w 828"/>
                <a:gd name="T19" fmla="*/ 120 h 121"/>
                <a:gd name="T20" fmla="*/ 10 w 828"/>
                <a:gd name="T21" fmla="*/ 121 h 121"/>
                <a:gd name="T22" fmla="*/ 818 w 828"/>
                <a:gd name="T23" fmla="*/ 121 h 121"/>
                <a:gd name="T24" fmla="*/ 821 w 828"/>
                <a:gd name="T25" fmla="*/ 120 h 121"/>
                <a:gd name="T26" fmla="*/ 825 w 828"/>
                <a:gd name="T27" fmla="*/ 118 h 121"/>
                <a:gd name="T28" fmla="*/ 827 w 828"/>
                <a:gd name="T29" fmla="*/ 115 h 121"/>
                <a:gd name="T30" fmla="*/ 828 w 828"/>
                <a:gd name="T31" fmla="*/ 112 h 121"/>
                <a:gd name="T32" fmla="*/ 828 w 828"/>
                <a:gd name="T33" fmla="*/ 11 h 121"/>
                <a:gd name="T34" fmla="*/ 827 w 828"/>
                <a:gd name="T35" fmla="*/ 7 h 121"/>
                <a:gd name="T36" fmla="*/ 825 w 828"/>
                <a:gd name="T37" fmla="*/ 3 h 121"/>
                <a:gd name="T38" fmla="*/ 821 w 828"/>
                <a:gd name="T39" fmla="*/ 1 h 121"/>
                <a:gd name="T40" fmla="*/ 818 w 828"/>
                <a:gd name="T41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28" h="121">
                  <a:moveTo>
                    <a:pt x="818" y="0"/>
                  </a:moveTo>
                  <a:lnTo>
                    <a:pt x="10" y="0"/>
                  </a:lnTo>
                  <a:lnTo>
                    <a:pt x="6" y="1"/>
                  </a:lnTo>
                  <a:lnTo>
                    <a:pt x="2" y="3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12"/>
                  </a:lnTo>
                  <a:lnTo>
                    <a:pt x="0" y="115"/>
                  </a:lnTo>
                  <a:lnTo>
                    <a:pt x="2" y="118"/>
                  </a:lnTo>
                  <a:lnTo>
                    <a:pt x="6" y="120"/>
                  </a:lnTo>
                  <a:lnTo>
                    <a:pt x="10" y="121"/>
                  </a:lnTo>
                  <a:lnTo>
                    <a:pt x="818" y="121"/>
                  </a:lnTo>
                  <a:lnTo>
                    <a:pt x="821" y="120"/>
                  </a:lnTo>
                  <a:lnTo>
                    <a:pt x="825" y="118"/>
                  </a:lnTo>
                  <a:lnTo>
                    <a:pt x="827" y="115"/>
                  </a:lnTo>
                  <a:lnTo>
                    <a:pt x="828" y="112"/>
                  </a:lnTo>
                  <a:lnTo>
                    <a:pt x="828" y="11"/>
                  </a:lnTo>
                  <a:lnTo>
                    <a:pt x="827" y="7"/>
                  </a:lnTo>
                  <a:lnTo>
                    <a:pt x="825" y="3"/>
                  </a:lnTo>
                  <a:lnTo>
                    <a:pt x="821" y="1"/>
                  </a:lnTo>
                  <a:lnTo>
                    <a:pt x="81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-756" y="2981"/>
              <a:ext cx="59" cy="14"/>
            </a:xfrm>
            <a:custGeom>
              <a:avLst/>
              <a:gdLst>
                <a:gd name="T0" fmla="*/ 514 w 525"/>
                <a:gd name="T1" fmla="*/ 0 h 121"/>
                <a:gd name="T2" fmla="*/ 10 w 525"/>
                <a:gd name="T3" fmla="*/ 0 h 121"/>
                <a:gd name="T4" fmla="*/ 6 w 525"/>
                <a:gd name="T5" fmla="*/ 0 h 121"/>
                <a:gd name="T6" fmla="*/ 2 w 525"/>
                <a:gd name="T7" fmla="*/ 3 h 121"/>
                <a:gd name="T8" fmla="*/ 0 w 525"/>
                <a:gd name="T9" fmla="*/ 6 h 121"/>
                <a:gd name="T10" fmla="*/ 0 w 525"/>
                <a:gd name="T11" fmla="*/ 10 h 121"/>
                <a:gd name="T12" fmla="*/ 0 w 525"/>
                <a:gd name="T13" fmla="*/ 111 h 121"/>
                <a:gd name="T14" fmla="*/ 0 w 525"/>
                <a:gd name="T15" fmla="*/ 115 h 121"/>
                <a:gd name="T16" fmla="*/ 2 w 525"/>
                <a:gd name="T17" fmla="*/ 118 h 121"/>
                <a:gd name="T18" fmla="*/ 6 w 525"/>
                <a:gd name="T19" fmla="*/ 121 h 121"/>
                <a:gd name="T20" fmla="*/ 10 w 525"/>
                <a:gd name="T21" fmla="*/ 121 h 121"/>
                <a:gd name="T22" fmla="*/ 514 w 525"/>
                <a:gd name="T23" fmla="*/ 121 h 121"/>
                <a:gd name="T24" fmla="*/ 519 w 525"/>
                <a:gd name="T25" fmla="*/ 121 h 121"/>
                <a:gd name="T26" fmla="*/ 522 w 525"/>
                <a:gd name="T27" fmla="*/ 118 h 121"/>
                <a:gd name="T28" fmla="*/ 524 w 525"/>
                <a:gd name="T29" fmla="*/ 115 h 121"/>
                <a:gd name="T30" fmla="*/ 525 w 525"/>
                <a:gd name="T31" fmla="*/ 111 h 121"/>
                <a:gd name="T32" fmla="*/ 525 w 525"/>
                <a:gd name="T33" fmla="*/ 10 h 121"/>
                <a:gd name="T34" fmla="*/ 524 w 525"/>
                <a:gd name="T35" fmla="*/ 6 h 121"/>
                <a:gd name="T36" fmla="*/ 522 w 525"/>
                <a:gd name="T37" fmla="*/ 3 h 121"/>
                <a:gd name="T38" fmla="*/ 519 w 525"/>
                <a:gd name="T39" fmla="*/ 0 h 121"/>
                <a:gd name="T40" fmla="*/ 514 w 525"/>
                <a:gd name="T41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25" h="121">
                  <a:moveTo>
                    <a:pt x="514" y="0"/>
                  </a:moveTo>
                  <a:lnTo>
                    <a:pt x="10" y="0"/>
                  </a:lnTo>
                  <a:lnTo>
                    <a:pt x="6" y="0"/>
                  </a:lnTo>
                  <a:lnTo>
                    <a:pt x="2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11"/>
                  </a:lnTo>
                  <a:lnTo>
                    <a:pt x="0" y="115"/>
                  </a:lnTo>
                  <a:lnTo>
                    <a:pt x="2" y="118"/>
                  </a:lnTo>
                  <a:lnTo>
                    <a:pt x="6" y="121"/>
                  </a:lnTo>
                  <a:lnTo>
                    <a:pt x="10" y="121"/>
                  </a:lnTo>
                  <a:lnTo>
                    <a:pt x="514" y="121"/>
                  </a:lnTo>
                  <a:lnTo>
                    <a:pt x="519" y="121"/>
                  </a:lnTo>
                  <a:lnTo>
                    <a:pt x="522" y="118"/>
                  </a:lnTo>
                  <a:lnTo>
                    <a:pt x="524" y="115"/>
                  </a:lnTo>
                  <a:lnTo>
                    <a:pt x="525" y="111"/>
                  </a:lnTo>
                  <a:lnTo>
                    <a:pt x="525" y="10"/>
                  </a:lnTo>
                  <a:lnTo>
                    <a:pt x="524" y="6"/>
                  </a:lnTo>
                  <a:lnTo>
                    <a:pt x="522" y="3"/>
                  </a:lnTo>
                  <a:lnTo>
                    <a:pt x="519" y="0"/>
                  </a:lnTo>
                  <a:lnTo>
                    <a:pt x="51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8"/>
            <p:cNvSpPr>
              <a:spLocks noEditPoints="1"/>
            </p:cNvSpPr>
            <p:nvPr/>
          </p:nvSpPr>
          <p:spPr bwMode="auto">
            <a:xfrm>
              <a:off x="-900" y="2657"/>
              <a:ext cx="291" cy="392"/>
            </a:xfrm>
            <a:custGeom>
              <a:avLst/>
              <a:gdLst>
                <a:gd name="T0" fmla="*/ 2525 w 2626"/>
                <a:gd name="T1" fmla="*/ 3529 h 3529"/>
                <a:gd name="T2" fmla="*/ 2569 w 2626"/>
                <a:gd name="T3" fmla="*/ 3519 h 3529"/>
                <a:gd name="T4" fmla="*/ 2603 w 2626"/>
                <a:gd name="T5" fmla="*/ 3491 h 3529"/>
                <a:gd name="T6" fmla="*/ 2623 w 2626"/>
                <a:gd name="T7" fmla="*/ 3451 h 3529"/>
                <a:gd name="T8" fmla="*/ 2626 w 2626"/>
                <a:gd name="T9" fmla="*/ 403 h 3529"/>
                <a:gd name="T10" fmla="*/ 2616 w 2626"/>
                <a:gd name="T11" fmla="*/ 359 h 3529"/>
                <a:gd name="T12" fmla="*/ 2588 w 2626"/>
                <a:gd name="T13" fmla="*/ 325 h 3529"/>
                <a:gd name="T14" fmla="*/ 2548 w 2626"/>
                <a:gd name="T15" fmla="*/ 305 h 3529"/>
                <a:gd name="T16" fmla="*/ 1663 w 2626"/>
                <a:gd name="T17" fmla="*/ 302 h 3529"/>
                <a:gd name="T18" fmla="*/ 1638 w 2626"/>
                <a:gd name="T19" fmla="*/ 214 h 3529"/>
                <a:gd name="T20" fmla="*/ 1592 w 2626"/>
                <a:gd name="T21" fmla="*/ 136 h 3529"/>
                <a:gd name="T22" fmla="*/ 1528 w 2626"/>
                <a:gd name="T23" fmla="*/ 73 h 3529"/>
                <a:gd name="T24" fmla="*/ 1449 w 2626"/>
                <a:gd name="T25" fmla="*/ 27 h 3529"/>
                <a:gd name="T26" fmla="*/ 1360 w 2626"/>
                <a:gd name="T27" fmla="*/ 3 h 3529"/>
                <a:gd name="T28" fmla="*/ 1266 w 2626"/>
                <a:gd name="T29" fmla="*/ 3 h 3529"/>
                <a:gd name="T30" fmla="*/ 1177 w 2626"/>
                <a:gd name="T31" fmla="*/ 27 h 3529"/>
                <a:gd name="T32" fmla="*/ 1098 w 2626"/>
                <a:gd name="T33" fmla="*/ 73 h 3529"/>
                <a:gd name="T34" fmla="*/ 1034 w 2626"/>
                <a:gd name="T35" fmla="*/ 136 h 3529"/>
                <a:gd name="T36" fmla="*/ 988 w 2626"/>
                <a:gd name="T37" fmla="*/ 214 h 3529"/>
                <a:gd name="T38" fmla="*/ 963 w 2626"/>
                <a:gd name="T39" fmla="*/ 302 h 3529"/>
                <a:gd name="T40" fmla="*/ 78 w 2626"/>
                <a:gd name="T41" fmla="*/ 305 h 3529"/>
                <a:gd name="T42" fmla="*/ 38 w 2626"/>
                <a:gd name="T43" fmla="*/ 324 h 3529"/>
                <a:gd name="T44" fmla="*/ 11 w 2626"/>
                <a:gd name="T45" fmla="*/ 359 h 3529"/>
                <a:gd name="T46" fmla="*/ 0 w 2626"/>
                <a:gd name="T47" fmla="*/ 403 h 3529"/>
                <a:gd name="T48" fmla="*/ 3 w 2626"/>
                <a:gd name="T49" fmla="*/ 3451 h 3529"/>
                <a:gd name="T50" fmla="*/ 23 w 2626"/>
                <a:gd name="T51" fmla="*/ 3491 h 3529"/>
                <a:gd name="T52" fmla="*/ 57 w 2626"/>
                <a:gd name="T53" fmla="*/ 3519 h 3529"/>
                <a:gd name="T54" fmla="*/ 101 w 2626"/>
                <a:gd name="T55" fmla="*/ 3529 h 3529"/>
                <a:gd name="T56" fmla="*/ 1343 w 2626"/>
                <a:gd name="T57" fmla="*/ 205 h 3529"/>
                <a:gd name="T58" fmla="*/ 1398 w 2626"/>
                <a:gd name="T59" fmla="*/ 227 h 3529"/>
                <a:gd name="T60" fmla="*/ 1439 w 2626"/>
                <a:gd name="T61" fmla="*/ 268 h 3529"/>
                <a:gd name="T62" fmla="*/ 1461 w 2626"/>
                <a:gd name="T63" fmla="*/ 322 h 3529"/>
                <a:gd name="T64" fmla="*/ 1461 w 2626"/>
                <a:gd name="T65" fmla="*/ 383 h 3529"/>
                <a:gd name="T66" fmla="*/ 1439 w 2626"/>
                <a:gd name="T67" fmla="*/ 438 h 3529"/>
                <a:gd name="T68" fmla="*/ 1398 w 2626"/>
                <a:gd name="T69" fmla="*/ 478 h 3529"/>
                <a:gd name="T70" fmla="*/ 1343 w 2626"/>
                <a:gd name="T71" fmla="*/ 501 h 3529"/>
                <a:gd name="T72" fmla="*/ 1283 w 2626"/>
                <a:gd name="T73" fmla="*/ 501 h 3529"/>
                <a:gd name="T74" fmla="*/ 1228 w 2626"/>
                <a:gd name="T75" fmla="*/ 478 h 3529"/>
                <a:gd name="T76" fmla="*/ 1187 w 2626"/>
                <a:gd name="T77" fmla="*/ 438 h 3529"/>
                <a:gd name="T78" fmla="*/ 1165 w 2626"/>
                <a:gd name="T79" fmla="*/ 383 h 3529"/>
                <a:gd name="T80" fmla="*/ 1165 w 2626"/>
                <a:gd name="T81" fmla="*/ 322 h 3529"/>
                <a:gd name="T82" fmla="*/ 1187 w 2626"/>
                <a:gd name="T83" fmla="*/ 268 h 3529"/>
                <a:gd name="T84" fmla="*/ 1228 w 2626"/>
                <a:gd name="T85" fmla="*/ 227 h 3529"/>
                <a:gd name="T86" fmla="*/ 1283 w 2626"/>
                <a:gd name="T87" fmla="*/ 205 h 3529"/>
                <a:gd name="T88" fmla="*/ 202 w 2626"/>
                <a:gd name="T89" fmla="*/ 705 h 3529"/>
                <a:gd name="T90" fmla="*/ 2424 w 2626"/>
                <a:gd name="T91" fmla="*/ 3327 h 3529"/>
                <a:gd name="T92" fmla="*/ 202 w 2626"/>
                <a:gd name="T93" fmla="*/ 705 h 3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626" h="3529">
                  <a:moveTo>
                    <a:pt x="101" y="3529"/>
                  </a:moveTo>
                  <a:lnTo>
                    <a:pt x="2525" y="3529"/>
                  </a:lnTo>
                  <a:lnTo>
                    <a:pt x="2548" y="3526"/>
                  </a:lnTo>
                  <a:lnTo>
                    <a:pt x="2569" y="3519"/>
                  </a:lnTo>
                  <a:lnTo>
                    <a:pt x="2588" y="3507"/>
                  </a:lnTo>
                  <a:lnTo>
                    <a:pt x="2603" y="3491"/>
                  </a:lnTo>
                  <a:lnTo>
                    <a:pt x="2615" y="3473"/>
                  </a:lnTo>
                  <a:lnTo>
                    <a:pt x="2623" y="3451"/>
                  </a:lnTo>
                  <a:lnTo>
                    <a:pt x="2626" y="3428"/>
                  </a:lnTo>
                  <a:lnTo>
                    <a:pt x="2626" y="403"/>
                  </a:lnTo>
                  <a:lnTo>
                    <a:pt x="2623" y="380"/>
                  </a:lnTo>
                  <a:lnTo>
                    <a:pt x="2616" y="359"/>
                  </a:lnTo>
                  <a:lnTo>
                    <a:pt x="2603" y="340"/>
                  </a:lnTo>
                  <a:lnTo>
                    <a:pt x="2588" y="325"/>
                  </a:lnTo>
                  <a:lnTo>
                    <a:pt x="2569" y="312"/>
                  </a:lnTo>
                  <a:lnTo>
                    <a:pt x="2548" y="305"/>
                  </a:lnTo>
                  <a:lnTo>
                    <a:pt x="2525" y="302"/>
                  </a:lnTo>
                  <a:lnTo>
                    <a:pt x="1663" y="302"/>
                  </a:lnTo>
                  <a:lnTo>
                    <a:pt x="1653" y="256"/>
                  </a:lnTo>
                  <a:lnTo>
                    <a:pt x="1638" y="214"/>
                  </a:lnTo>
                  <a:lnTo>
                    <a:pt x="1617" y="173"/>
                  </a:lnTo>
                  <a:lnTo>
                    <a:pt x="1592" y="136"/>
                  </a:lnTo>
                  <a:lnTo>
                    <a:pt x="1562" y="102"/>
                  </a:lnTo>
                  <a:lnTo>
                    <a:pt x="1528" y="73"/>
                  </a:lnTo>
                  <a:lnTo>
                    <a:pt x="1490" y="47"/>
                  </a:lnTo>
                  <a:lnTo>
                    <a:pt x="1449" y="27"/>
                  </a:lnTo>
                  <a:lnTo>
                    <a:pt x="1406" y="12"/>
                  </a:lnTo>
                  <a:lnTo>
                    <a:pt x="1360" y="3"/>
                  </a:lnTo>
                  <a:lnTo>
                    <a:pt x="1313" y="0"/>
                  </a:lnTo>
                  <a:lnTo>
                    <a:pt x="1266" y="3"/>
                  </a:lnTo>
                  <a:lnTo>
                    <a:pt x="1220" y="12"/>
                  </a:lnTo>
                  <a:lnTo>
                    <a:pt x="1177" y="27"/>
                  </a:lnTo>
                  <a:lnTo>
                    <a:pt x="1136" y="47"/>
                  </a:lnTo>
                  <a:lnTo>
                    <a:pt x="1098" y="73"/>
                  </a:lnTo>
                  <a:lnTo>
                    <a:pt x="1064" y="102"/>
                  </a:lnTo>
                  <a:lnTo>
                    <a:pt x="1034" y="136"/>
                  </a:lnTo>
                  <a:lnTo>
                    <a:pt x="1009" y="173"/>
                  </a:lnTo>
                  <a:lnTo>
                    <a:pt x="988" y="214"/>
                  </a:lnTo>
                  <a:lnTo>
                    <a:pt x="973" y="256"/>
                  </a:lnTo>
                  <a:lnTo>
                    <a:pt x="963" y="302"/>
                  </a:lnTo>
                  <a:lnTo>
                    <a:pt x="101" y="302"/>
                  </a:lnTo>
                  <a:lnTo>
                    <a:pt x="78" y="305"/>
                  </a:lnTo>
                  <a:lnTo>
                    <a:pt x="57" y="312"/>
                  </a:lnTo>
                  <a:lnTo>
                    <a:pt x="38" y="324"/>
                  </a:lnTo>
                  <a:lnTo>
                    <a:pt x="23" y="340"/>
                  </a:lnTo>
                  <a:lnTo>
                    <a:pt x="11" y="359"/>
                  </a:lnTo>
                  <a:lnTo>
                    <a:pt x="3" y="380"/>
                  </a:lnTo>
                  <a:lnTo>
                    <a:pt x="0" y="403"/>
                  </a:lnTo>
                  <a:lnTo>
                    <a:pt x="0" y="3428"/>
                  </a:lnTo>
                  <a:lnTo>
                    <a:pt x="3" y="3451"/>
                  </a:lnTo>
                  <a:lnTo>
                    <a:pt x="11" y="3473"/>
                  </a:lnTo>
                  <a:lnTo>
                    <a:pt x="23" y="3491"/>
                  </a:lnTo>
                  <a:lnTo>
                    <a:pt x="38" y="3507"/>
                  </a:lnTo>
                  <a:lnTo>
                    <a:pt x="57" y="3519"/>
                  </a:lnTo>
                  <a:lnTo>
                    <a:pt x="78" y="3526"/>
                  </a:lnTo>
                  <a:lnTo>
                    <a:pt x="101" y="3529"/>
                  </a:lnTo>
                  <a:close/>
                  <a:moveTo>
                    <a:pt x="1313" y="202"/>
                  </a:moveTo>
                  <a:lnTo>
                    <a:pt x="1343" y="205"/>
                  </a:lnTo>
                  <a:lnTo>
                    <a:pt x="1372" y="214"/>
                  </a:lnTo>
                  <a:lnTo>
                    <a:pt x="1398" y="227"/>
                  </a:lnTo>
                  <a:lnTo>
                    <a:pt x="1420" y="246"/>
                  </a:lnTo>
                  <a:lnTo>
                    <a:pt x="1439" y="268"/>
                  </a:lnTo>
                  <a:lnTo>
                    <a:pt x="1452" y="294"/>
                  </a:lnTo>
                  <a:lnTo>
                    <a:pt x="1461" y="322"/>
                  </a:lnTo>
                  <a:lnTo>
                    <a:pt x="1464" y="353"/>
                  </a:lnTo>
                  <a:lnTo>
                    <a:pt x="1461" y="383"/>
                  </a:lnTo>
                  <a:lnTo>
                    <a:pt x="1452" y="412"/>
                  </a:lnTo>
                  <a:lnTo>
                    <a:pt x="1439" y="438"/>
                  </a:lnTo>
                  <a:lnTo>
                    <a:pt x="1420" y="460"/>
                  </a:lnTo>
                  <a:lnTo>
                    <a:pt x="1398" y="478"/>
                  </a:lnTo>
                  <a:lnTo>
                    <a:pt x="1372" y="492"/>
                  </a:lnTo>
                  <a:lnTo>
                    <a:pt x="1343" y="501"/>
                  </a:lnTo>
                  <a:lnTo>
                    <a:pt x="1313" y="504"/>
                  </a:lnTo>
                  <a:lnTo>
                    <a:pt x="1283" y="501"/>
                  </a:lnTo>
                  <a:lnTo>
                    <a:pt x="1254" y="492"/>
                  </a:lnTo>
                  <a:lnTo>
                    <a:pt x="1228" y="478"/>
                  </a:lnTo>
                  <a:lnTo>
                    <a:pt x="1206" y="460"/>
                  </a:lnTo>
                  <a:lnTo>
                    <a:pt x="1187" y="438"/>
                  </a:lnTo>
                  <a:lnTo>
                    <a:pt x="1173" y="412"/>
                  </a:lnTo>
                  <a:lnTo>
                    <a:pt x="1165" y="383"/>
                  </a:lnTo>
                  <a:lnTo>
                    <a:pt x="1162" y="353"/>
                  </a:lnTo>
                  <a:lnTo>
                    <a:pt x="1165" y="322"/>
                  </a:lnTo>
                  <a:lnTo>
                    <a:pt x="1173" y="294"/>
                  </a:lnTo>
                  <a:lnTo>
                    <a:pt x="1187" y="268"/>
                  </a:lnTo>
                  <a:lnTo>
                    <a:pt x="1206" y="246"/>
                  </a:lnTo>
                  <a:lnTo>
                    <a:pt x="1228" y="227"/>
                  </a:lnTo>
                  <a:lnTo>
                    <a:pt x="1254" y="214"/>
                  </a:lnTo>
                  <a:lnTo>
                    <a:pt x="1283" y="205"/>
                  </a:lnTo>
                  <a:lnTo>
                    <a:pt x="1313" y="202"/>
                  </a:lnTo>
                  <a:close/>
                  <a:moveTo>
                    <a:pt x="202" y="705"/>
                  </a:moveTo>
                  <a:lnTo>
                    <a:pt x="2424" y="705"/>
                  </a:lnTo>
                  <a:lnTo>
                    <a:pt x="2424" y="3327"/>
                  </a:lnTo>
                  <a:lnTo>
                    <a:pt x="202" y="3327"/>
                  </a:lnTo>
                  <a:lnTo>
                    <a:pt x="202" y="705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8073247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OST NUPTIAL AGREEMEN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98B2C0-243A-48A4-8E70-2DFD2329F4AF}" type="slidenum">
              <a:rPr lang="en-US" smtClean="0"/>
              <a:t>9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5857202" y="1447800"/>
            <a:ext cx="5725198" cy="82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Entered into prior to a client separating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5857202" y="2417581"/>
            <a:ext cx="5725198" cy="82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iggering events:  adultery, adoption, spouse’s mounting death, no triggering events</a:t>
            </a:r>
          </a:p>
        </p:txBody>
      </p:sp>
      <p:sp>
        <p:nvSpPr>
          <p:cNvPr id="12" name="Rectangle 11"/>
          <p:cNvSpPr/>
          <p:nvPr/>
        </p:nvSpPr>
        <p:spPr>
          <a:xfrm>
            <a:off x="5857202" y="3387362"/>
            <a:ext cx="5725198" cy="82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Effort to save marriage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5857202" y="4357143"/>
            <a:ext cx="5725198" cy="82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r>
              <a:rPr lang="en-US">
                <a:solidFill>
                  <a:schemeClr val="tx1">
                    <a:lumMod val="75000"/>
                    <a:lumOff val="25000"/>
                  </a:schemeClr>
                </a:solidFill>
              </a:rPr>
              <a:t>Gain control over one’s future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5857202" y="5326922"/>
            <a:ext cx="5725198" cy="82296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5760" rtlCol="0" anchor="ctr"/>
          <a:lstStyle/>
          <a:p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</a:rPr>
              <a:t>Clear understanding that a future spouse will not be entitled to an interest in any assets upon execution.</a:t>
            </a:r>
          </a:p>
        </p:txBody>
      </p:sp>
      <p:sp>
        <p:nvSpPr>
          <p:cNvPr id="95" name="Pentagon 94"/>
          <p:cNvSpPr/>
          <p:nvPr/>
        </p:nvSpPr>
        <p:spPr>
          <a:xfrm>
            <a:off x="5297511" y="5326922"/>
            <a:ext cx="822960" cy="822960"/>
          </a:xfrm>
          <a:prstGeom prst="homePlate">
            <a:avLst>
              <a:gd name="adj" fmla="val 19907"/>
            </a:avLst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6" name="Pentagon 95"/>
          <p:cNvSpPr/>
          <p:nvPr/>
        </p:nvSpPr>
        <p:spPr>
          <a:xfrm>
            <a:off x="5297511" y="1447800"/>
            <a:ext cx="822960" cy="822960"/>
          </a:xfrm>
          <a:prstGeom prst="homePlate">
            <a:avLst>
              <a:gd name="adj" fmla="val 19907"/>
            </a:avLst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7" name="Pentagon 96"/>
          <p:cNvSpPr/>
          <p:nvPr/>
        </p:nvSpPr>
        <p:spPr>
          <a:xfrm>
            <a:off x="5297511" y="4357142"/>
            <a:ext cx="822960" cy="822960"/>
          </a:xfrm>
          <a:prstGeom prst="homePlate">
            <a:avLst>
              <a:gd name="adj" fmla="val 19907"/>
            </a:avLst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Pentagon 97"/>
          <p:cNvSpPr/>
          <p:nvPr/>
        </p:nvSpPr>
        <p:spPr>
          <a:xfrm>
            <a:off x="5297511" y="3387361"/>
            <a:ext cx="822960" cy="822960"/>
          </a:xfrm>
          <a:prstGeom prst="homePlate">
            <a:avLst>
              <a:gd name="adj" fmla="val 19907"/>
            </a:avLst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9" name="Pentagon 98"/>
          <p:cNvSpPr/>
          <p:nvPr/>
        </p:nvSpPr>
        <p:spPr>
          <a:xfrm>
            <a:off x="5297511" y="2417580"/>
            <a:ext cx="822960" cy="822960"/>
          </a:xfrm>
          <a:prstGeom prst="homePlate">
            <a:avLst>
              <a:gd name="adj" fmla="val 19907"/>
            </a:avLst>
          </a:prstGeom>
          <a:solidFill>
            <a:srgbClr val="0056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5508753" y="1659225"/>
            <a:ext cx="327334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</a:p>
        </p:txBody>
      </p:sp>
      <p:sp>
        <p:nvSpPr>
          <p:cNvPr id="100" name="TextBox 99"/>
          <p:cNvSpPr txBox="1"/>
          <p:nvPr/>
        </p:nvSpPr>
        <p:spPr>
          <a:xfrm>
            <a:off x="5508753" y="2629005"/>
            <a:ext cx="327334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</a:t>
            </a:r>
          </a:p>
        </p:txBody>
      </p:sp>
      <p:sp>
        <p:nvSpPr>
          <p:cNvPr id="101" name="TextBox 100"/>
          <p:cNvSpPr txBox="1"/>
          <p:nvPr/>
        </p:nvSpPr>
        <p:spPr>
          <a:xfrm>
            <a:off x="5508753" y="3598786"/>
            <a:ext cx="327334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3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5545324" y="4568567"/>
            <a:ext cx="327334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5545324" y="5538347"/>
            <a:ext cx="327334" cy="400110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/>
            <a:r>
              <a:rPr lang="en-US" sz="20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</a:t>
            </a:r>
          </a:p>
        </p:txBody>
      </p:sp>
      <p:grpSp>
        <p:nvGrpSpPr>
          <p:cNvPr id="76" name="Group 75"/>
          <p:cNvGrpSpPr/>
          <p:nvPr/>
        </p:nvGrpSpPr>
        <p:grpSpPr>
          <a:xfrm>
            <a:off x="650152" y="1629372"/>
            <a:ext cx="3591251" cy="4397056"/>
            <a:chOff x="239753" y="1611086"/>
            <a:chExt cx="3865794" cy="4733204"/>
          </a:xfrm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77" name="Freeform 7"/>
            <p:cNvSpPr>
              <a:spLocks/>
            </p:cNvSpPr>
            <p:nvPr/>
          </p:nvSpPr>
          <p:spPr bwMode="auto">
            <a:xfrm>
              <a:off x="1090610" y="1986839"/>
              <a:ext cx="3014937" cy="4021185"/>
            </a:xfrm>
            <a:custGeom>
              <a:avLst/>
              <a:gdLst>
                <a:gd name="T0" fmla="*/ 305 w 2367"/>
                <a:gd name="T1" fmla="*/ 0 h 3157"/>
                <a:gd name="T2" fmla="*/ 1844 w 2367"/>
                <a:gd name="T3" fmla="*/ 102 h 3157"/>
                <a:gd name="T4" fmla="*/ 2054 w 2367"/>
                <a:gd name="T5" fmla="*/ 117 h 3157"/>
                <a:gd name="T6" fmla="*/ 2263 w 2367"/>
                <a:gd name="T7" fmla="*/ 130 h 3157"/>
                <a:gd name="T8" fmla="*/ 2289 w 2367"/>
                <a:gd name="T9" fmla="*/ 135 h 3157"/>
                <a:gd name="T10" fmla="*/ 2313 w 2367"/>
                <a:gd name="T11" fmla="*/ 146 h 3157"/>
                <a:gd name="T12" fmla="*/ 2333 w 2367"/>
                <a:gd name="T13" fmla="*/ 160 h 3157"/>
                <a:gd name="T14" fmla="*/ 2348 w 2367"/>
                <a:gd name="T15" fmla="*/ 180 h 3157"/>
                <a:gd name="T16" fmla="*/ 2359 w 2367"/>
                <a:gd name="T17" fmla="*/ 202 h 3157"/>
                <a:gd name="T18" fmla="*/ 2365 w 2367"/>
                <a:gd name="T19" fmla="*/ 227 h 3157"/>
                <a:gd name="T20" fmla="*/ 2367 w 2367"/>
                <a:gd name="T21" fmla="*/ 254 h 3157"/>
                <a:gd name="T22" fmla="*/ 2301 w 2367"/>
                <a:gd name="T23" fmla="*/ 1234 h 3157"/>
                <a:gd name="T24" fmla="*/ 2297 w 2367"/>
                <a:gd name="T25" fmla="*/ 1260 h 3157"/>
                <a:gd name="T26" fmla="*/ 2288 w 2367"/>
                <a:gd name="T27" fmla="*/ 1285 h 3157"/>
                <a:gd name="T28" fmla="*/ 2274 w 2367"/>
                <a:gd name="T29" fmla="*/ 1304 h 3157"/>
                <a:gd name="T30" fmla="*/ 2255 w 2367"/>
                <a:gd name="T31" fmla="*/ 1321 h 3157"/>
                <a:gd name="T32" fmla="*/ 2234 w 2367"/>
                <a:gd name="T33" fmla="*/ 1334 h 3157"/>
                <a:gd name="T34" fmla="*/ 2211 w 2367"/>
                <a:gd name="T35" fmla="*/ 1341 h 3157"/>
                <a:gd name="T36" fmla="*/ 2183 w 2367"/>
                <a:gd name="T37" fmla="*/ 1342 h 3157"/>
                <a:gd name="T38" fmla="*/ 2089 w 2367"/>
                <a:gd name="T39" fmla="*/ 1337 h 3157"/>
                <a:gd name="T40" fmla="*/ 1976 w 2367"/>
                <a:gd name="T41" fmla="*/ 3039 h 3157"/>
                <a:gd name="T42" fmla="*/ 1973 w 2367"/>
                <a:gd name="T43" fmla="*/ 3066 h 3157"/>
                <a:gd name="T44" fmla="*/ 1962 w 2367"/>
                <a:gd name="T45" fmla="*/ 3091 h 3157"/>
                <a:gd name="T46" fmla="*/ 1946 w 2367"/>
                <a:gd name="T47" fmla="*/ 3113 h 3157"/>
                <a:gd name="T48" fmla="*/ 1928 w 2367"/>
                <a:gd name="T49" fmla="*/ 3133 h 3157"/>
                <a:gd name="T50" fmla="*/ 1904 w 2367"/>
                <a:gd name="T51" fmla="*/ 3146 h 3157"/>
                <a:gd name="T52" fmla="*/ 1880 w 2367"/>
                <a:gd name="T53" fmla="*/ 3155 h 3157"/>
                <a:gd name="T54" fmla="*/ 1853 w 2367"/>
                <a:gd name="T55" fmla="*/ 3157 h 3157"/>
                <a:gd name="T56" fmla="*/ 104 w 2367"/>
                <a:gd name="T57" fmla="*/ 3041 h 3157"/>
                <a:gd name="T58" fmla="*/ 78 w 2367"/>
                <a:gd name="T59" fmla="*/ 3036 h 3157"/>
                <a:gd name="T60" fmla="*/ 55 w 2367"/>
                <a:gd name="T61" fmla="*/ 3024 h 3157"/>
                <a:gd name="T62" fmla="*/ 35 w 2367"/>
                <a:gd name="T63" fmla="*/ 3007 h 3157"/>
                <a:gd name="T64" fmla="*/ 19 w 2367"/>
                <a:gd name="T65" fmla="*/ 2986 h 3157"/>
                <a:gd name="T66" fmla="*/ 8 w 2367"/>
                <a:gd name="T67" fmla="*/ 2962 h 3157"/>
                <a:gd name="T68" fmla="*/ 1 w 2367"/>
                <a:gd name="T69" fmla="*/ 2935 h 3157"/>
                <a:gd name="T70" fmla="*/ 0 w 2367"/>
                <a:gd name="T71" fmla="*/ 2908 h 3157"/>
                <a:gd name="T72" fmla="*/ 184 w 2367"/>
                <a:gd name="T73" fmla="*/ 110 h 3157"/>
                <a:gd name="T74" fmla="*/ 190 w 2367"/>
                <a:gd name="T75" fmla="*/ 84 h 3157"/>
                <a:gd name="T76" fmla="*/ 199 w 2367"/>
                <a:gd name="T77" fmla="*/ 59 h 3157"/>
                <a:gd name="T78" fmla="*/ 213 w 2367"/>
                <a:gd name="T79" fmla="*/ 38 h 3157"/>
                <a:gd name="T80" fmla="*/ 231 w 2367"/>
                <a:gd name="T81" fmla="*/ 21 h 3157"/>
                <a:gd name="T82" fmla="*/ 254 w 2367"/>
                <a:gd name="T83" fmla="*/ 10 h 3157"/>
                <a:gd name="T84" fmla="*/ 279 w 2367"/>
                <a:gd name="T85" fmla="*/ 2 h 3157"/>
                <a:gd name="T86" fmla="*/ 305 w 2367"/>
                <a:gd name="T87" fmla="*/ 0 h 3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367" h="3157">
                  <a:moveTo>
                    <a:pt x="305" y="0"/>
                  </a:moveTo>
                  <a:lnTo>
                    <a:pt x="1844" y="102"/>
                  </a:lnTo>
                  <a:lnTo>
                    <a:pt x="2054" y="117"/>
                  </a:lnTo>
                  <a:lnTo>
                    <a:pt x="2263" y="130"/>
                  </a:lnTo>
                  <a:lnTo>
                    <a:pt x="2289" y="135"/>
                  </a:lnTo>
                  <a:lnTo>
                    <a:pt x="2313" y="146"/>
                  </a:lnTo>
                  <a:lnTo>
                    <a:pt x="2333" y="160"/>
                  </a:lnTo>
                  <a:lnTo>
                    <a:pt x="2348" y="180"/>
                  </a:lnTo>
                  <a:lnTo>
                    <a:pt x="2359" y="202"/>
                  </a:lnTo>
                  <a:lnTo>
                    <a:pt x="2365" y="227"/>
                  </a:lnTo>
                  <a:lnTo>
                    <a:pt x="2367" y="254"/>
                  </a:lnTo>
                  <a:lnTo>
                    <a:pt x="2301" y="1234"/>
                  </a:lnTo>
                  <a:lnTo>
                    <a:pt x="2297" y="1260"/>
                  </a:lnTo>
                  <a:lnTo>
                    <a:pt x="2288" y="1285"/>
                  </a:lnTo>
                  <a:lnTo>
                    <a:pt x="2274" y="1304"/>
                  </a:lnTo>
                  <a:lnTo>
                    <a:pt x="2255" y="1321"/>
                  </a:lnTo>
                  <a:lnTo>
                    <a:pt x="2234" y="1334"/>
                  </a:lnTo>
                  <a:lnTo>
                    <a:pt x="2211" y="1341"/>
                  </a:lnTo>
                  <a:lnTo>
                    <a:pt x="2183" y="1342"/>
                  </a:lnTo>
                  <a:lnTo>
                    <a:pt x="2089" y="1337"/>
                  </a:lnTo>
                  <a:lnTo>
                    <a:pt x="1976" y="3039"/>
                  </a:lnTo>
                  <a:lnTo>
                    <a:pt x="1973" y="3066"/>
                  </a:lnTo>
                  <a:lnTo>
                    <a:pt x="1962" y="3091"/>
                  </a:lnTo>
                  <a:lnTo>
                    <a:pt x="1946" y="3113"/>
                  </a:lnTo>
                  <a:lnTo>
                    <a:pt x="1928" y="3133"/>
                  </a:lnTo>
                  <a:lnTo>
                    <a:pt x="1904" y="3146"/>
                  </a:lnTo>
                  <a:lnTo>
                    <a:pt x="1880" y="3155"/>
                  </a:lnTo>
                  <a:lnTo>
                    <a:pt x="1853" y="3157"/>
                  </a:lnTo>
                  <a:lnTo>
                    <a:pt x="104" y="3041"/>
                  </a:lnTo>
                  <a:lnTo>
                    <a:pt x="78" y="3036"/>
                  </a:lnTo>
                  <a:lnTo>
                    <a:pt x="55" y="3024"/>
                  </a:lnTo>
                  <a:lnTo>
                    <a:pt x="35" y="3007"/>
                  </a:lnTo>
                  <a:lnTo>
                    <a:pt x="19" y="2986"/>
                  </a:lnTo>
                  <a:lnTo>
                    <a:pt x="8" y="2962"/>
                  </a:lnTo>
                  <a:lnTo>
                    <a:pt x="1" y="2935"/>
                  </a:lnTo>
                  <a:lnTo>
                    <a:pt x="0" y="2908"/>
                  </a:lnTo>
                  <a:lnTo>
                    <a:pt x="184" y="110"/>
                  </a:lnTo>
                  <a:lnTo>
                    <a:pt x="190" y="84"/>
                  </a:lnTo>
                  <a:lnTo>
                    <a:pt x="199" y="59"/>
                  </a:lnTo>
                  <a:lnTo>
                    <a:pt x="213" y="38"/>
                  </a:lnTo>
                  <a:lnTo>
                    <a:pt x="231" y="21"/>
                  </a:lnTo>
                  <a:lnTo>
                    <a:pt x="254" y="10"/>
                  </a:lnTo>
                  <a:lnTo>
                    <a:pt x="279" y="2"/>
                  </a:lnTo>
                  <a:lnTo>
                    <a:pt x="305" y="0"/>
                  </a:lnTo>
                  <a:close/>
                </a:path>
              </a:pathLst>
            </a:custGeom>
            <a:solidFill>
              <a:srgbClr val="818287"/>
            </a:solidFill>
            <a:ln w="0">
              <a:solidFill>
                <a:srgbClr val="818287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78" name="Freeform 8"/>
            <p:cNvSpPr>
              <a:spLocks/>
            </p:cNvSpPr>
            <p:nvPr/>
          </p:nvSpPr>
          <p:spPr bwMode="auto">
            <a:xfrm>
              <a:off x="969604" y="1980470"/>
              <a:ext cx="2602246" cy="4147284"/>
            </a:xfrm>
            <a:custGeom>
              <a:avLst/>
              <a:gdLst>
                <a:gd name="T0" fmla="*/ 315 w 2043"/>
                <a:gd name="T1" fmla="*/ 0 h 3256"/>
                <a:gd name="T2" fmla="*/ 1937 w 2043"/>
                <a:gd name="T3" fmla="*/ 224 h 3256"/>
                <a:gd name="T4" fmla="*/ 1963 w 2043"/>
                <a:gd name="T5" fmla="*/ 229 h 3256"/>
                <a:gd name="T6" fmla="*/ 1986 w 2043"/>
                <a:gd name="T7" fmla="*/ 240 h 3256"/>
                <a:gd name="T8" fmla="*/ 2006 w 2043"/>
                <a:gd name="T9" fmla="*/ 255 h 3256"/>
                <a:gd name="T10" fmla="*/ 2023 w 2043"/>
                <a:gd name="T11" fmla="*/ 274 h 3256"/>
                <a:gd name="T12" fmla="*/ 2035 w 2043"/>
                <a:gd name="T13" fmla="*/ 296 h 3256"/>
                <a:gd name="T14" fmla="*/ 2041 w 2043"/>
                <a:gd name="T15" fmla="*/ 322 h 3256"/>
                <a:gd name="T16" fmla="*/ 2043 w 2043"/>
                <a:gd name="T17" fmla="*/ 348 h 3256"/>
                <a:gd name="T18" fmla="*/ 1858 w 2043"/>
                <a:gd name="T19" fmla="*/ 3147 h 3256"/>
                <a:gd name="T20" fmla="*/ 1853 w 2043"/>
                <a:gd name="T21" fmla="*/ 3173 h 3256"/>
                <a:gd name="T22" fmla="*/ 1842 w 2043"/>
                <a:gd name="T23" fmla="*/ 3197 h 3256"/>
                <a:gd name="T24" fmla="*/ 1828 w 2043"/>
                <a:gd name="T25" fmla="*/ 3218 h 3256"/>
                <a:gd name="T26" fmla="*/ 1810 w 2043"/>
                <a:gd name="T27" fmla="*/ 3235 h 3256"/>
                <a:gd name="T28" fmla="*/ 1787 w 2043"/>
                <a:gd name="T29" fmla="*/ 3247 h 3256"/>
                <a:gd name="T30" fmla="*/ 1763 w 2043"/>
                <a:gd name="T31" fmla="*/ 3255 h 3256"/>
                <a:gd name="T32" fmla="*/ 1736 w 2043"/>
                <a:gd name="T33" fmla="*/ 3256 h 3256"/>
                <a:gd name="T34" fmla="*/ 114 w 2043"/>
                <a:gd name="T35" fmla="*/ 3032 h 3256"/>
                <a:gd name="T36" fmla="*/ 87 w 2043"/>
                <a:gd name="T37" fmla="*/ 3027 h 3256"/>
                <a:gd name="T38" fmla="*/ 63 w 2043"/>
                <a:gd name="T39" fmla="*/ 3016 h 3256"/>
                <a:gd name="T40" fmla="*/ 41 w 2043"/>
                <a:gd name="T41" fmla="*/ 3001 h 3256"/>
                <a:gd name="T42" fmla="*/ 24 w 2043"/>
                <a:gd name="T43" fmla="*/ 2981 h 3256"/>
                <a:gd name="T44" fmla="*/ 11 w 2043"/>
                <a:gd name="T45" fmla="*/ 2959 h 3256"/>
                <a:gd name="T46" fmla="*/ 3 w 2043"/>
                <a:gd name="T47" fmla="*/ 2934 h 3256"/>
                <a:gd name="T48" fmla="*/ 0 w 2043"/>
                <a:gd name="T49" fmla="*/ 2906 h 3256"/>
                <a:gd name="T50" fmla="*/ 186 w 2043"/>
                <a:gd name="T51" fmla="*/ 109 h 3256"/>
                <a:gd name="T52" fmla="*/ 192 w 2043"/>
                <a:gd name="T53" fmla="*/ 83 h 3256"/>
                <a:gd name="T54" fmla="*/ 202 w 2043"/>
                <a:gd name="T55" fmla="*/ 59 h 3256"/>
                <a:gd name="T56" fmla="*/ 218 w 2043"/>
                <a:gd name="T57" fmla="*/ 38 h 3256"/>
                <a:gd name="T58" fmla="*/ 239 w 2043"/>
                <a:gd name="T59" fmla="*/ 21 h 3256"/>
                <a:gd name="T60" fmla="*/ 261 w 2043"/>
                <a:gd name="T61" fmla="*/ 9 h 3256"/>
                <a:gd name="T62" fmla="*/ 287 w 2043"/>
                <a:gd name="T63" fmla="*/ 1 h 3256"/>
                <a:gd name="T64" fmla="*/ 315 w 2043"/>
                <a:gd name="T65" fmla="*/ 0 h 3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043" h="3256">
                  <a:moveTo>
                    <a:pt x="315" y="0"/>
                  </a:moveTo>
                  <a:lnTo>
                    <a:pt x="1937" y="224"/>
                  </a:lnTo>
                  <a:lnTo>
                    <a:pt x="1963" y="229"/>
                  </a:lnTo>
                  <a:lnTo>
                    <a:pt x="1986" y="240"/>
                  </a:lnTo>
                  <a:lnTo>
                    <a:pt x="2006" y="255"/>
                  </a:lnTo>
                  <a:lnTo>
                    <a:pt x="2023" y="274"/>
                  </a:lnTo>
                  <a:lnTo>
                    <a:pt x="2035" y="296"/>
                  </a:lnTo>
                  <a:lnTo>
                    <a:pt x="2041" y="322"/>
                  </a:lnTo>
                  <a:lnTo>
                    <a:pt x="2043" y="348"/>
                  </a:lnTo>
                  <a:lnTo>
                    <a:pt x="1858" y="3147"/>
                  </a:lnTo>
                  <a:lnTo>
                    <a:pt x="1853" y="3173"/>
                  </a:lnTo>
                  <a:lnTo>
                    <a:pt x="1842" y="3197"/>
                  </a:lnTo>
                  <a:lnTo>
                    <a:pt x="1828" y="3218"/>
                  </a:lnTo>
                  <a:lnTo>
                    <a:pt x="1810" y="3235"/>
                  </a:lnTo>
                  <a:lnTo>
                    <a:pt x="1787" y="3247"/>
                  </a:lnTo>
                  <a:lnTo>
                    <a:pt x="1763" y="3255"/>
                  </a:lnTo>
                  <a:lnTo>
                    <a:pt x="1736" y="3256"/>
                  </a:lnTo>
                  <a:lnTo>
                    <a:pt x="114" y="3032"/>
                  </a:lnTo>
                  <a:lnTo>
                    <a:pt x="87" y="3027"/>
                  </a:lnTo>
                  <a:lnTo>
                    <a:pt x="63" y="3016"/>
                  </a:lnTo>
                  <a:lnTo>
                    <a:pt x="41" y="3001"/>
                  </a:lnTo>
                  <a:lnTo>
                    <a:pt x="24" y="2981"/>
                  </a:lnTo>
                  <a:lnTo>
                    <a:pt x="11" y="2959"/>
                  </a:lnTo>
                  <a:lnTo>
                    <a:pt x="3" y="2934"/>
                  </a:lnTo>
                  <a:lnTo>
                    <a:pt x="0" y="2906"/>
                  </a:lnTo>
                  <a:lnTo>
                    <a:pt x="186" y="109"/>
                  </a:lnTo>
                  <a:lnTo>
                    <a:pt x="192" y="83"/>
                  </a:lnTo>
                  <a:lnTo>
                    <a:pt x="202" y="59"/>
                  </a:lnTo>
                  <a:lnTo>
                    <a:pt x="218" y="38"/>
                  </a:lnTo>
                  <a:lnTo>
                    <a:pt x="239" y="21"/>
                  </a:lnTo>
                  <a:lnTo>
                    <a:pt x="261" y="9"/>
                  </a:lnTo>
                  <a:lnTo>
                    <a:pt x="287" y="1"/>
                  </a:lnTo>
                  <a:lnTo>
                    <a:pt x="315" y="0"/>
                  </a:lnTo>
                  <a:close/>
                </a:path>
              </a:pathLst>
            </a:custGeom>
            <a:solidFill>
              <a:srgbClr val="164E49"/>
            </a:solidFill>
            <a:ln w="0">
              <a:solidFill>
                <a:srgbClr val="0A434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79" name="Freeform 9"/>
            <p:cNvSpPr>
              <a:spLocks noEditPoints="1"/>
            </p:cNvSpPr>
            <p:nvPr/>
          </p:nvSpPr>
          <p:spPr bwMode="auto">
            <a:xfrm>
              <a:off x="716131" y="5911219"/>
              <a:ext cx="1211325" cy="166860"/>
            </a:xfrm>
            <a:custGeom>
              <a:avLst/>
              <a:gdLst>
                <a:gd name="T0" fmla="*/ 292 w 951"/>
                <a:gd name="T1" fmla="*/ 48 h 131"/>
                <a:gd name="T2" fmla="*/ 288 w 951"/>
                <a:gd name="T3" fmla="*/ 63 h 131"/>
                <a:gd name="T4" fmla="*/ 273 w 951"/>
                <a:gd name="T5" fmla="*/ 57 h 131"/>
                <a:gd name="T6" fmla="*/ 258 w 951"/>
                <a:gd name="T7" fmla="*/ 104 h 131"/>
                <a:gd name="T8" fmla="*/ 6 w 951"/>
                <a:gd name="T9" fmla="*/ 131 h 131"/>
                <a:gd name="T10" fmla="*/ 0 w 951"/>
                <a:gd name="T11" fmla="*/ 81 h 131"/>
                <a:gd name="T12" fmla="*/ 292 w 951"/>
                <a:gd name="T13" fmla="*/ 48 h 131"/>
                <a:gd name="T14" fmla="*/ 710 w 951"/>
                <a:gd name="T15" fmla="*/ 0 h 131"/>
                <a:gd name="T16" fmla="*/ 951 w 951"/>
                <a:gd name="T17" fmla="*/ 34 h 131"/>
                <a:gd name="T18" fmla="*/ 468 w 951"/>
                <a:gd name="T19" fmla="*/ 83 h 131"/>
                <a:gd name="T20" fmla="*/ 486 w 951"/>
                <a:gd name="T21" fmla="*/ 26 h 131"/>
                <a:gd name="T22" fmla="*/ 710 w 951"/>
                <a:gd name="T23" fmla="*/ 0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51" h="131">
                  <a:moveTo>
                    <a:pt x="292" y="48"/>
                  </a:moveTo>
                  <a:lnTo>
                    <a:pt x="288" y="63"/>
                  </a:lnTo>
                  <a:lnTo>
                    <a:pt x="273" y="57"/>
                  </a:lnTo>
                  <a:lnTo>
                    <a:pt x="258" y="104"/>
                  </a:lnTo>
                  <a:lnTo>
                    <a:pt x="6" y="131"/>
                  </a:lnTo>
                  <a:lnTo>
                    <a:pt x="0" y="81"/>
                  </a:lnTo>
                  <a:lnTo>
                    <a:pt x="292" y="48"/>
                  </a:lnTo>
                  <a:close/>
                  <a:moveTo>
                    <a:pt x="710" y="0"/>
                  </a:moveTo>
                  <a:lnTo>
                    <a:pt x="951" y="34"/>
                  </a:lnTo>
                  <a:lnTo>
                    <a:pt x="468" y="83"/>
                  </a:lnTo>
                  <a:lnTo>
                    <a:pt x="486" y="26"/>
                  </a:lnTo>
                  <a:lnTo>
                    <a:pt x="710" y="0"/>
                  </a:lnTo>
                  <a:close/>
                </a:path>
              </a:pathLst>
            </a:custGeom>
            <a:solidFill>
              <a:srgbClr val="26867C"/>
            </a:solidFill>
            <a:ln w="0">
              <a:solidFill>
                <a:srgbClr val="148BA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80" name="Freeform 10"/>
            <p:cNvSpPr>
              <a:spLocks/>
            </p:cNvSpPr>
            <p:nvPr/>
          </p:nvSpPr>
          <p:spPr bwMode="auto">
            <a:xfrm>
              <a:off x="3612610" y="5237413"/>
              <a:ext cx="91710" cy="543886"/>
            </a:xfrm>
            <a:custGeom>
              <a:avLst/>
              <a:gdLst>
                <a:gd name="T0" fmla="*/ 29 w 72"/>
                <a:gd name="T1" fmla="*/ 0 h 427"/>
                <a:gd name="T2" fmla="*/ 72 w 72"/>
                <a:gd name="T3" fmla="*/ 420 h 427"/>
                <a:gd name="T4" fmla="*/ 0 w 72"/>
                <a:gd name="T5" fmla="*/ 427 h 427"/>
                <a:gd name="T6" fmla="*/ 6 w 72"/>
                <a:gd name="T7" fmla="*/ 351 h 427"/>
                <a:gd name="T8" fmla="*/ 44 w 72"/>
                <a:gd name="T9" fmla="*/ 347 h 427"/>
                <a:gd name="T10" fmla="*/ 20 w 72"/>
                <a:gd name="T11" fmla="*/ 141 h 427"/>
                <a:gd name="T12" fmla="*/ 29 w 72"/>
                <a:gd name="T13" fmla="*/ 0 h 4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427">
                  <a:moveTo>
                    <a:pt x="29" y="0"/>
                  </a:moveTo>
                  <a:lnTo>
                    <a:pt x="72" y="420"/>
                  </a:lnTo>
                  <a:lnTo>
                    <a:pt x="0" y="427"/>
                  </a:lnTo>
                  <a:lnTo>
                    <a:pt x="6" y="351"/>
                  </a:lnTo>
                  <a:lnTo>
                    <a:pt x="44" y="347"/>
                  </a:lnTo>
                  <a:lnTo>
                    <a:pt x="20" y="141"/>
                  </a:lnTo>
                  <a:lnTo>
                    <a:pt x="29" y="0"/>
                  </a:lnTo>
                  <a:close/>
                </a:path>
              </a:pathLst>
            </a:custGeom>
            <a:solidFill>
              <a:srgbClr val="9D9D9D"/>
            </a:solidFill>
            <a:ln w="0">
              <a:solidFill>
                <a:srgbClr val="9D9D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81" name="Freeform 11"/>
            <p:cNvSpPr>
              <a:spLocks noEditPoints="1"/>
            </p:cNvSpPr>
            <p:nvPr/>
          </p:nvSpPr>
          <p:spPr bwMode="auto">
            <a:xfrm>
              <a:off x="3578219" y="5001771"/>
              <a:ext cx="71329" cy="782074"/>
            </a:xfrm>
            <a:custGeom>
              <a:avLst/>
              <a:gdLst>
                <a:gd name="T0" fmla="*/ 33 w 56"/>
                <a:gd name="T1" fmla="*/ 536 h 614"/>
                <a:gd name="T2" fmla="*/ 27 w 56"/>
                <a:gd name="T3" fmla="*/ 612 h 614"/>
                <a:gd name="T4" fmla="*/ 0 w 56"/>
                <a:gd name="T5" fmla="*/ 614 h 614"/>
                <a:gd name="T6" fmla="*/ 5 w 56"/>
                <a:gd name="T7" fmla="*/ 538 h 614"/>
                <a:gd name="T8" fmla="*/ 33 w 56"/>
                <a:gd name="T9" fmla="*/ 536 h 614"/>
                <a:gd name="T10" fmla="*/ 37 w 56"/>
                <a:gd name="T11" fmla="*/ 0 h 614"/>
                <a:gd name="T12" fmla="*/ 56 w 56"/>
                <a:gd name="T13" fmla="*/ 185 h 614"/>
                <a:gd name="T14" fmla="*/ 47 w 56"/>
                <a:gd name="T15" fmla="*/ 326 h 614"/>
                <a:gd name="T16" fmla="*/ 27 w 56"/>
                <a:gd name="T17" fmla="*/ 157 h 614"/>
                <a:gd name="T18" fmla="*/ 37 w 56"/>
                <a:gd name="T19" fmla="*/ 0 h 6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6" h="614">
                  <a:moveTo>
                    <a:pt x="33" y="536"/>
                  </a:moveTo>
                  <a:lnTo>
                    <a:pt x="27" y="612"/>
                  </a:lnTo>
                  <a:lnTo>
                    <a:pt x="0" y="614"/>
                  </a:lnTo>
                  <a:lnTo>
                    <a:pt x="5" y="538"/>
                  </a:lnTo>
                  <a:lnTo>
                    <a:pt x="33" y="536"/>
                  </a:lnTo>
                  <a:close/>
                  <a:moveTo>
                    <a:pt x="37" y="0"/>
                  </a:moveTo>
                  <a:lnTo>
                    <a:pt x="56" y="185"/>
                  </a:lnTo>
                  <a:lnTo>
                    <a:pt x="47" y="326"/>
                  </a:lnTo>
                  <a:lnTo>
                    <a:pt x="27" y="157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rgbClr val="164E49"/>
            </a:solidFill>
            <a:ln w="0">
              <a:solidFill>
                <a:srgbClr val="0A434E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82" name="Freeform 12"/>
            <p:cNvSpPr>
              <a:spLocks/>
            </p:cNvSpPr>
            <p:nvPr/>
          </p:nvSpPr>
          <p:spPr bwMode="auto">
            <a:xfrm>
              <a:off x="1620485" y="5830974"/>
              <a:ext cx="1213872" cy="123553"/>
            </a:xfrm>
            <a:custGeom>
              <a:avLst/>
              <a:gdLst>
                <a:gd name="T0" fmla="*/ 559 w 953"/>
                <a:gd name="T1" fmla="*/ 0 h 97"/>
                <a:gd name="T2" fmla="*/ 953 w 953"/>
                <a:gd name="T3" fmla="*/ 23 h 97"/>
                <a:gd name="T4" fmla="*/ 241 w 953"/>
                <a:gd name="T5" fmla="*/ 97 h 97"/>
                <a:gd name="T6" fmla="*/ 0 w 953"/>
                <a:gd name="T7" fmla="*/ 63 h 97"/>
                <a:gd name="T8" fmla="*/ 559 w 953"/>
                <a:gd name="T9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53" h="97">
                  <a:moveTo>
                    <a:pt x="559" y="0"/>
                  </a:moveTo>
                  <a:lnTo>
                    <a:pt x="953" y="23"/>
                  </a:lnTo>
                  <a:lnTo>
                    <a:pt x="241" y="97"/>
                  </a:lnTo>
                  <a:lnTo>
                    <a:pt x="0" y="63"/>
                  </a:lnTo>
                  <a:lnTo>
                    <a:pt x="559" y="0"/>
                  </a:lnTo>
                  <a:close/>
                </a:path>
              </a:pathLst>
            </a:custGeom>
            <a:solidFill>
              <a:srgbClr val="4A4A4C"/>
            </a:solidFill>
            <a:ln w="0">
              <a:solidFill>
                <a:srgbClr val="4A4A4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83" name="Freeform 13"/>
            <p:cNvSpPr>
              <a:spLocks/>
            </p:cNvSpPr>
            <p:nvPr/>
          </p:nvSpPr>
          <p:spPr bwMode="auto">
            <a:xfrm>
              <a:off x="239753" y="1725723"/>
              <a:ext cx="3428902" cy="4291217"/>
            </a:xfrm>
            <a:custGeom>
              <a:avLst/>
              <a:gdLst>
                <a:gd name="T0" fmla="*/ 2338 w 2692"/>
                <a:gd name="T1" fmla="*/ 0 h 3369"/>
                <a:gd name="T2" fmla="*/ 2692 w 2692"/>
                <a:gd name="T3" fmla="*/ 3104 h 3369"/>
                <a:gd name="T4" fmla="*/ 354 w 2692"/>
                <a:gd name="T5" fmla="*/ 3369 h 3369"/>
                <a:gd name="T6" fmla="*/ 0 w 2692"/>
                <a:gd name="T7" fmla="*/ 266 h 3369"/>
                <a:gd name="T8" fmla="*/ 2338 w 2692"/>
                <a:gd name="T9" fmla="*/ 0 h 33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692" h="3369">
                  <a:moveTo>
                    <a:pt x="2338" y="0"/>
                  </a:moveTo>
                  <a:lnTo>
                    <a:pt x="2692" y="3104"/>
                  </a:lnTo>
                  <a:lnTo>
                    <a:pt x="354" y="3369"/>
                  </a:lnTo>
                  <a:lnTo>
                    <a:pt x="0" y="266"/>
                  </a:lnTo>
                  <a:lnTo>
                    <a:pt x="2338" y="0"/>
                  </a:lnTo>
                  <a:close/>
                </a:path>
              </a:pathLst>
            </a:custGeom>
            <a:solidFill>
              <a:srgbClr val="7F7F7F"/>
            </a:solidFill>
            <a:ln w="0">
              <a:solidFill>
                <a:srgbClr val="7F7F7F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84" name="Freeform 14"/>
            <p:cNvSpPr>
              <a:spLocks/>
            </p:cNvSpPr>
            <p:nvPr/>
          </p:nvSpPr>
          <p:spPr bwMode="auto">
            <a:xfrm>
              <a:off x="3342578" y="5783845"/>
              <a:ext cx="235642" cy="122279"/>
            </a:xfrm>
            <a:custGeom>
              <a:avLst/>
              <a:gdLst>
                <a:gd name="T0" fmla="*/ 185 w 185"/>
                <a:gd name="T1" fmla="*/ 0 h 96"/>
                <a:gd name="T2" fmla="*/ 180 w 185"/>
                <a:gd name="T3" fmla="*/ 96 h 96"/>
                <a:gd name="T4" fmla="*/ 0 w 185"/>
                <a:gd name="T5" fmla="*/ 85 h 96"/>
                <a:gd name="T6" fmla="*/ 4 w 185"/>
                <a:gd name="T7" fmla="*/ 20 h 96"/>
                <a:gd name="T8" fmla="*/ 59 w 185"/>
                <a:gd name="T9" fmla="*/ 13 h 96"/>
                <a:gd name="T10" fmla="*/ 163 w 185"/>
                <a:gd name="T11" fmla="*/ 19 h 96"/>
                <a:gd name="T12" fmla="*/ 163 w 185"/>
                <a:gd name="T13" fmla="*/ 3 h 96"/>
                <a:gd name="T14" fmla="*/ 185 w 185"/>
                <a:gd name="T15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85" h="96">
                  <a:moveTo>
                    <a:pt x="185" y="0"/>
                  </a:moveTo>
                  <a:lnTo>
                    <a:pt x="180" y="96"/>
                  </a:lnTo>
                  <a:lnTo>
                    <a:pt x="0" y="85"/>
                  </a:lnTo>
                  <a:lnTo>
                    <a:pt x="4" y="20"/>
                  </a:lnTo>
                  <a:lnTo>
                    <a:pt x="59" y="13"/>
                  </a:lnTo>
                  <a:lnTo>
                    <a:pt x="163" y="19"/>
                  </a:lnTo>
                  <a:lnTo>
                    <a:pt x="163" y="3"/>
                  </a:lnTo>
                  <a:lnTo>
                    <a:pt x="185" y="0"/>
                  </a:lnTo>
                  <a:close/>
                </a:path>
              </a:pathLst>
            </a:custGeom>
            <a:solidFill>
              <a:sysClr val="window" lastClr="FFFFFF">
                <a:lumMod val="65000"/>
              </a:sysClr>
            </a:solidFill>
            <a:ln w="0">
              <a:solidFill>
                <a:srgbClr val="9D9D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85" name="Freeform 15"/>
            <p:cNvSpPr>
              <a:spLocks/>
            </p:cNvSpPr>
            <p:nvPr/>
          </p:nvSpPr>
          <p:spPr bwMode="auto">
            <a:xfrm>
              <a:off x="2834356" y="5809320"/>
              <a:ext cx="513317" cy="82793"/>
            </a:xfrm>
            <a:custGeom>
              <a:avLst/>
              <a:gdLst>
                <a:gd name="T0" fmla="*/ 403 w 403"/>
                <a:gd name="T1" fmla="*/ 0 h 65"/>
                <a:gd name="T2" fmla="*/ 399 w 403"/>
                <a:gd name="T3" fmla="*/ 65 h 65"/>
                <a:gd name="T4" fmla="*/ 0 w 403"/>
                <a:gd name="T5" fmla="*/ 40 h 65"/>
                <a:gd name="T6" fmla="*/ 403 w 403"/>
                <a:gd name="T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3" h="65">
                  <a:moveTo>
                    <a:pt x="403" y="0"/>
                  </a:moveTo>
                  <a:lnTo>
                    <a:pt x="399" y="65"/>
                  </a:lnTo>
                  <a:lnTo>
                    <a:pt x="0" y="40"/>
                  </a:lnTo>
                  <a:lnTo>
                    <a:pt x="403" y="0"/>
                  </a:lnTo>
                  <a:close/>
                </a:path>
              </a:pathLst>
            </a:custGeom>
            <a:solidFill>
              <a:srgbClr val="4A4A4C"/>
            </a:solidFill>
            <a:ln w="0">
              <a:solidFill>
                <a:srgbClr val="4A4A4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86" name="Freeform 16"/>
            <p:cNvSpPr>
              <a:spLocks noEditPoints="1"/>
            </p:cNvSpPr>
            <p:nvPr/>
          </p:nvSpPr>
          <p:spPr bwMode="auto">
            <a:xfrm>
              <a:off x="3347673" y="5687041"/>
              <a:ext cx="236915" cy="122279"/>
            </a:xfrm>
            <a:custGeom>
              <a:avLst/>
              <a:gdLst>
                <a:gd name="T0" fmla="*/ 0 w 186"/>
                <a:gd name="T1" fmla="*/ 87 h 96"/>
                <a:gd name="T2" fmla="*/ 55 w 186"/>
                <a:gd name="T3" fmla="*/ 89 h 96"/>
                <a:gd name="T4" fmla="*/ 0 w 186"/>
                <a:gd name="T5" fmla="*/ 96 h 96"/>
                <a:gd name="T6" fmla="*/ 0 w 186"/>
                <a:gd name="T7" fmla="*/ 87 h 96"/>
                <a:gd name="T8" fmla="*/ 186 w 186"/>
                <a:gd name="T9" fmla="*/ 0 h 96"/>
                <a:gd name="T10" fmla="*/ 181 w 186"/>
                <a:gd name="T11" fmla="*/ 76 h 96"/>
                <a:gd name="T12" fmla="*/ 159 w 186"/>
                <a:gd name="T13" fmla="*/ 79 h 96"/>
                <a:gd name="T14" fmla="*/ 163 w 186"/>
                <a:gd name="T15" fmla="*/ 3 h 96"/>
                <a:gd name="T16" fmla="*/ 186 w 186"/>
                <a:gd name="T17" fmla="*/ 0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6" h="96">
                  <a:moveTo>
                    <a:pt x="0" y="87"/>
                  </a:moveTo>
                  <a:lnTo>
                    <a:pt x="55" y="89"/>
                  </a:lnTo>
                  <a:lnTo>
                    <a:pt x="0" y="96"/>
                  </a:lnTo>
                  <a:lnTo>
                    <a:pt x="0" y="87"/>
                  </a:lnTo>
                  <a:close/>
                  <a:moveTo>
                    <a:pt x="186" y="0"/>
                  </a:moveTo>
                  <a:lnTo>
                    <a:pt x="181" y="76"/>
                  </a:lnTo>
                  <a:lnTo>
                    <a:pt x="159" y="79"/>
                  </a:lnTo>
                  <a:lnTo>
                    <a:pt x="163" y="3"/>
                  </a:lnTo>
                  <a:lnTo>
                    <a:pt x="186" y="0"/>
                  </a:lnTo>
                  <a:close/>
                </a:path>
              </a:pathLst>
            </a:custGeom>
            <a:solidFill>
              <a:srgbClr val="023160"/>
            </a:solidFill>
            <a:ln w="0">
              <a:solidFill>
                <a:srgbClr val="023160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87" name="Freeform 17"/>
            <p:cNvSpPr>
              <a:spLocks/>
            </p:cNvSpPr>
            <p:nvPr/>
          </p:nvSpPr>
          <p:spPr bwMode="auto">
            <a:xfrm>
              <a:off x="2332503" y="5772382"/>
              <a:ext cx="1015169" cy="87888"/>
            </a:xfrm>
            <a:custGeom>
              <a:avLst/>
              <a:gdLst>
                <a:gd name="T0" fmla="*/ 399 w 797"/>
                <a:gd name="T1" fmla="*/ 0 h 69"/>
                <a:gd name="T2" fmla="*/ 797 w 797"/>
                <a:gd name="T3" fmla="*/ 20 h 69"/>
                <a:gd name="T4" fmla="*/ 797 w 797"/>
                <a:gd name="T5" fmla="*/ 29 h 69"/>
                <a:gd name="T6" fmla="*/ 394 w 797"/>
                <a:gd name="T7" fmla="*/ 69 h 69"/>
                <a:gd name="T8" fmla="*/ 0 w 797"/>
                <a:gd name="T9" fmla="*/ 46 h 69"/>
                <a:gd name="T10" fmla="*/ 399 w 797"/>
                <a:gd name="T11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97" h="69">
                  <a:moveTo>
                    <a:pt x="399" y="0"/>
                  </a:moveTo>
                  <a:lnTo>
                    <a:pt x="797" y="20"/>
                  </a:lnTo>
                  <a:lnTo>
                    <a:pt x="797" y="29"/>
                  </a:lnTo>
                  <a:lnTo>
                    <a:pt x="394" y="69"/>
                  </a:lnTo>
                  <a:lnTo>
                    <a:pt x="0" y="46"/>
                  </a:lnTo>
                  <a:lnTo>
                    <a:pt x="399" y="0"/>
                  </a:lnTo>
                  <a:close/>
                </a:path>
              </a:pathLst>
            </a:custGeom>
            <a:solidFill>
              <a:srgbClr val="26867C"/>
            </a:solidFill>
            <a:ln w="0">
              <a:solidFill>
                <a:srgbClr val="148BA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88" name="Freeform 18"/>
            <p:cNvSpPr>
              <a:spLocks noEditPoints="1"/>
            </p:cNvSpPr>
            <p:nvPr/>
          </p:nvSpPr>
          <p:spPr bwMode="auto">
            <a:xfrm>
              <a:off x="579841" y="1946079"/>
              <a:ext cx="3230199" cy="3782997"/>
            </a:xfrm>
            <a:custGeom>
              <a:avLst/>
              <a:gdLst>
                <a:gd name="T0" fmla="*/ 3 w 2536"/>
                <a:gd name="T1" fmla="*/ 2916 h 2970"/>
                <a:gd name="T2" fmla="*/ 55 w 2536"/>
                <a:gd name="T3" fmla="*/ 2919 h 2970"/>
                <a:gd name="T4" fmla="*/ 60 w 2536"/>
                <a:gd name="T5" fmla="*/ 2970 h 2970"/>
                <a:gd name="T6" fmla="*/ 0 w 2536"/>
                <a:gd name="T7" fmla="*/ 2966 h 2970"/>
                <a:gd name="T8" fmla="*/ 3 w 2536"/>
                <a:gd name="T9" fmla="*/ 2916 h 2970"/>
                <a:gd name="T10" fmla="*/ 2481 w 2536"/>
                <a:gd name="T11" fmla="*/ 0 h 2970"/>
                <a:gd name="T12" fmla="*/ 2536 w 2536"/>
                <a:gd name="T13" fmla="*/ 2 h 2970"/>
                <a:gd name="T14" fmla="*/ 2528 w 2536"/>
                <a:gd name="T15" fmla="*/ 153 h 2970"/>
                <a:gd name="T16" fmla="*/ 2474 w 2536"/>
                <a:gd name="T17" fmla="*/ 150 h 2970"/>
                <a:gd name="T18" fmla="*/ 2481 w 2536"/>
                <a:gd name="T19" fmla="*/ 0 h 29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36" h="2970">
                  <a:moveTo>
                    <a:pt x="3" y="2916"/>
                  </a:moveTo>
                  <a:lnTo>
                    <a:pt x="55" y="2919"/>
                  </a:lnTo>
                  <a:lnTo>
                    <a:pt x="60" y="2970"/>
                  </a:lnTo>
                  <a:lnTo>
                    <a:pt x="0" y="2966"/>
                  </a:lnTo>
                  <a:lnTo>
                    <a:pt x="3" y="2916"/>
                  </a:lnTo>
                  <a:close/>
                  <a:moveTo>
                    <a:pt x="2481" y="0"/>
                  </a:moveTo>
                  <a:lnTo>
                    <a:pt x="2536" y="2"/>
                  </a:lnTo>
                  <a:lnTo>
                    <a:pt x="2528" y="153"/>
                  </a:lnTo>
                  <a:lnTo>
                    <a:pt x="2474" y="150"/>
                  </a:lnTo>
                  <a:lnTo>
                    <a:pt x="2481" y="0"/>
                  </a:lnTo>
                  <a:close/>
                </a:path>
              </a:pathLst>
            </a:custGeom>
            <a:solidFill>
              <a:srgbClr val="26867C"/>
            </a:solidFill>
            <a:ln w="0">
              <a:solidFill>
                <a:srgbClr val="148BA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89" name="Freeform 19"/>
            <p:cNvSpPr>
              <a:spLocks/>
            </p:cNvSpPr>
            <p:nvPr/>
          </p:nvSpPr>
          <p:spPr bwMode="auto">
            <a:xfrm>
              <a:off x="3601146" y="2137140"/>
              <a:ext cx="198703" cy="2864633"/>
            </a:xfrm>
            <a:custGeom>
              <a:avLst/>
              <a:gdLst>
                <a:gd name="T0" fmla="*/ 102 w 156"/>
                <a:gd name="T1" fmla="*/ 0 h 2249"/>
                <a:gd name="T2" fmla="*/ 156 w 156"/>
                <a:gd name="T3" fmla="*/ 3 h 2249"/>
                <a:gd name="T4" fmla="*/ 19 w 156"/>
                <a:gd name="T5" fmla="*/ 2249 h 2249"/>
                <a:gd name="T6" fmla="*/ 0 w 156"/>
                <a:gd name="T7" fmla="*/ 2062 h 2249"/>
                <a:gd name="T8" fmla="*/ 102 w 156"/>
                <a:gd name="T9" fmla="*/ 0 h 22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6" h="2249">
                  <a:moveTo>
                    <a:pt x="102" y="0"/>
                  </a:moveTo>
                  <a:lnTo>
                    <a:pt x="156" y="3"/>
                  </a:lnTo>
                  <a:lnTo>
                    <a:pt x="19" y="2249"/>
                  </a:lnTo>
                  <a:lnTo>
                    <a:pt x="0" y="2062"/>
                  </a:lnTo>
                  <a:lnTo>
                    <a:pt x="102" y="0"/>
                  </a:lnTo>
                  <a:close/>
                </a:path>
              </a:pathLst>
            </a:custGeom>
            <a:solidFill>
              <a:srgbClr val="26867C"/>
            </a:solidFill>
            <a:ln w="0">
              <a:solidFill>
                <a:srgbClr val="148BA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90" name="Freeform 20"/>
            <p:cNvSpPr>
              <a:spLocks/>
            </p:cNvSpPr>
            <p:nvPr/>
          </p:nvSpPr>
          <p:spPr bwMode="auto">
            <a:xfrm>
              <a:off x="3589683" y="4763583"/>
              <a:ext cx="35665" cy="438165"/>
            </a:xfrm>
            <a:custGeom>
              <a:avLst/>
              <a:gdLst>
                <a:gd name="T0" fmla="*/ 9 w 28"/>
                <a:gd name="T1" fmla="*/ 0 h 344"/>
                <a:gd name="T2" fmla="*/ 28 w 28"/>
                <a:gd name="T3" fmla="*/ 187 h 344"/>
                <a:gd name="T4" fmla="*/ 18 w 28"/>
                <a:gd name="T5" fmla="*/ 344 h 344"/>
                <a:gd name="T6" fmla="*/ 0 w 28"/>
                <a:gd name="T7" fmla="*/ 181 h 344"/>
                <a:gd name="T8" fmla="*/ 9 w 28"/>
                <a:gd name="T9" fmla="*/ 0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344">
                  <a:moveTo>
                    <a:pt x="9" y="0"/>
                  </a:moveTo>
                  <a:lnTo>
                    <a:pt x="28" y="187"/>
                  </a:lnTo>
                  <a:lnTo>
                    <a:pt x="18" y="344"/>
                  </a:lnTo>
                  <a:lnTo>
                    <a:pt x="0" y="181"/>
                  </a:lnTo>
                  <a:lnTo>
                    <a:pt x="9" y="0"/>
                  </a:lnTo>
                  <a:close/>
                </a:path>
              </a:pathLst>
            </a:custGeom>
            <a:solidFill>
              <a:sysClr val="window" lastClr="FFFFFF">
                <a:lumMod val="65000"/>
              </a:sysClr>
            </a:solidFill>
            <a:ln w="0">
              <a:solidFill>
                <a:srgbClr val="9D9D9D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91" name="Freeform 21"/>
            <p:cNvSpPr>
              <a:spLocks noEditPoints="1"/>
            </p:cNvSpPr>
            <p:nvPr/>
          </p:nvSpPr>
          <p:spPr bwMode="auto">
            <a:xfrm>
              <a:off x="649897" y="4994129"/>
              <a:ext cx="2962714" cy="836845"/>
            </a:xfrm>
            <a:custGeom>
              <a:avLst/>
              <a:gdLst>
                <a:gd name="T0" fmla="*/ 596 w 2326"/>
                <a:gd name="T1" fmla="*/ 556 h 657"/>
                <a:gd name="T2" fmla="*/ 1720 w 2326"/>
                <a:gd name="T3" fmla="*/ 611 h 657"/>
                <a:gd name="T4" fmla="*/ 1321 w 2326"/>
                <a:gd name="T5" fmla="*/ 657 h 657"/>
                <a:gd name="T6" fmla="*/ 579 w 2326"/>
                <a:gd name="T7" fmla="*/ 611 h 657"/>
                <a:gd name="T8" fmla="*/ 596 w 2326"/>
                <a:gd name="T9" fmla="*/ 556 h 657"/>
                <a:gd name="T10" fmla="*/ 0 w 2326"/>
                <a:gd name="T11" fmla="*/ 526 h 657"/>
                <a:gd name="T12" fmla="*/ 412 w 2326"/>
                <a:gd name="T13" fmla="*/ 547 h 657"/>
                <a:gd name="T14" fmla="*/ 395 w 2326"/>
                <a:gd name="T15" fmla="*/ 601 h 657"/>
                <a:gd name="T16" fmla="*/ 5 w 2326"/>
                <a:gd name="T17" fmla="*/ 577 h 657"/>
                <a:gd name="T18" fmla="*/ 0 w 2326"/>
                <a:gd name="T19" fmla="*/ 526 h 657"/>
                <a:gd name="T20" fmla="*/ 2308 w 2326"/>
                <a:gd name="T21" fmla="*/ 0 h 657"/>
                <a:gd name="T22" fmla="*/ 2326 w 2326"/>
                <a:gd name="T23" fmla="*/ 163 h 657"/>
                <a:gd name="T24" fmla="*/ 2304 w 2326"/>
                <a:gd name="T25" fmla="*/ 544 h 657"/>
                <a:gd name="T26" fmla="*/ 2281 w 2326"/>
                <a:gd name="T27" fmla="*/ 547 h 657"/>
                <a:gd name="T28" fmla="*/ 2308 w 2326"/>
                <a:gd name="T29" fmla="*/ 0 h 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326" h="657">
                  <a:moveTo>
                    <a:pt x="596" y="556"/>
                  </a:moveTo>
                  <a:lnTo>
                    <a:pt x="1720" y="611"/>
                  </a:lnTo>
                  <a:lnTo>
                    <a:pt x="1321" y="657"/>
                  </a:lnTo>
                  <a:lnTo>
                    <a:pt x="579" y="611"/>
                  </a:lnTo>
                  <a:lnTo>
                    <a:pt x="596" y="556"/>
                  </a:lnTo>
                  <a:close/>
                  <a:moveTo>
                    <a:pt x="0" y="526"/>
                  </a:moveTo>
                  <a:lnTo>
                    <a:pt x="412" y="547"/>
                  </a:lnTo>
                  <a:lnTo>
                    <a:pt x="395" y="601"/>
                  </a:lnTo>
                  <a:lnTo>
                    <a:pt x="5" y="577"/>
                  </a:lnTo>
                  <a:lnTo>
                    <a:pt x="0" y="526"/>
                  </a:lnTo>
                  <a:close/>
                  <a:moveTo>
                    <a:pt x="2308" y="0"/>
                  </a:moveTo>
                  <a:lnTo>
                    <a:pt x="2326" y="163"/>
                  </a:lnTo>
                  <a:lnTo>
                    <a:pt x="2304" y="544"/>
                  </a:lnTo>
                  <a:lnTo>
                    <a:pt x="2281" y="547"/>
                  </a:lnTo>
                  <a:lnTo>
                    <a:pt x="2308" y="0"/>
                  </a:lnTo>
                  <a:close/>
                </a:path>
              </a:pathLst>
            </a:custGeom>
            <a:solidFill>
              <a:srgbClr val="D9D8D8"/>
            </a:solidFill>
            <a:ln w="0">
              <a:solidFill>
                <a:srgbClr val="D9D8D8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92" name="Freeform 91"/>
            <p:cNvSpPr>
              <a:spLocks noEditPoints="1"/>
            </p:cNvSpPr>
            <p:nvPr/>
          </p:nvSpPr>
          <p:spPr bwMode="auto">
            <a:xfrm>
              <a:off x="497048" y="1730817"/>
              <a:ext cx="3092635" cy="3893811"/>
            </a:xfrm>
            <a:custGeom>
              <a:avLst/>
              <a:gdLst>
                <a:gd name="T0" fmla="*/ 13 w 2428"/>
                <a:gd name="T1" fmla="*/ 2520 h 3057"/>
                <a:gd name="T2" fmla="*/ 13 w 2428"/>
                <a:gd name="T3" fmla="*/ 3029 h 3057"/>
                <a:gd name="T4" fmla="*/ 49 w 2428"/>
                <a:gd name="T5" fmla="*/ 3029 h 3057"/>
                <a:gd name="T6" fmla="*/ 48 w 2428"/>
                <a:gd name="T7" fmla="*/ 3057 h 3057"/>
                <a:gd name="T8" fmla="*/ 0 w 2428"/>
                <a:gd name="T9" fmla="*/ 3055 h 3057"/>
                <a:gd name="T10" fmla="*/ 13 w 2428"/>
                <a:gd name="T11" fmla="*/ 2520 h 3057"/>
                <a:gd name="T12" fmla="*/ 2365 w 2428"/>
                <a:gd name="T13" fmla="*/ 0 h 3057"/>
                <a:gd name="T14" fmla="*/ 2428 w 2428"/>
                <a:gd name="T15" fmla="*/ 1 h 3057"/>
                <a:gd name="T16" fmla="*/ 2425 w 2428"/>
                <a:gd name="T17" fmla="*/ 74 h 3057"/>
                <a:gd name="T18" fmla="*/ 2365 w 2428"/>
                <a:gd name="T19" fmla="*/ 72 h 3057"/>
                <a:gd name="T20" fmla="*/ 2365 w 2428"/>
                <a:gd name="T21" fmla="*/ 0 h 30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428" h="3057">
                  <a:moveTo>
                    <a:pt x="13" y="2520"/>
                  </a:moveTo>
                  <a:lnTo>
                    <a:pt x="13" y="3029"/>
                  </a:lnTo>
                  <a:lnTo>
                    <a:pt x="49" y="3029"/>
                  </a:lnTo>
                  <a:lnTo>
                    <a:pt x="48" y="3057"/>
                  </a:lnTo>
                  <a:lnTo>
                    <a:pt x="0" y="3055"/>
                  </a:lnTo>
                  <a:lnTo>
                    <a:pt x="13" y="2520"/>
                  </a:lnTo>
                  <a:close/>
                  <a:moveTo>
                    <a:pt x="2365" y="0"/>
                  </a:moveTo>
                  <a:lnTo>
                    <a:pt x="2428" y="1"/>
                  </a:lnTo>
                  <a:lnTo>
                    <a:pt x="2425" y="74"/>
                  </a:lnTo>
                  <a:lnTo>
                    <a:pt x="2365" y="72"/>
                  </a:lnTo>
                  <a:lnTo>
                    <a:pt x="2365" y="0"/>
                  </a:lnTo>
                  <a:close/>
                </a:path>
              </a:pathLst>
            </a:custGeom>
            <a:solidFill>
              <a:srgbClr val="4A4A4C"/>
            </a:solidFill>
            <a:ln w="0">
              <a:solidFill>
                <a:srgbClr val="4A4A4C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sp>
          <p:nvSpPr>
            <p:cNvPr id="93" name="Freeform 40"/>
            <p:cNvSpPr>
              <a:spLocks/>
            </p:cNvSpPr>
            <p:nvPr/>
          </p:nvSpPr>
          <p:spPr bwMode="auto">
            <a:xfrm>
              <a:off x="1044755" y="5944336"/>
              <a:ext cx="290412" cy="99351"/>
            </a:xfrm>
            <a:custGeom>
              <a:avLst/>
              <a:gdLst>
                <a:gd name="T0" fmla="*/ 228 w 228"/>
                <a:gd name="T1" fmla="*/ 0 h 78"/>
                <a:gd name="T2" fmla="*/ 210 w 228"/>
                <a:gd name="T3" fmla="*/ 57 h 78"/>
                <a:gd name="T4" fmla="*/ 0 w 228"/>
                <a:gd name="T5" fmla="*/ 78 h 78"/>
                <a:gd name="T6" fmla="*/ 15 w 228"/>
                <a:gd name="T7" fmla="*/ 31 h 78"/>
                <a:gd name="T8" fmla="*/ 30 w 228"/>
                <a:gd name="T9" fmla="*/ 37 h 78"/>
                <a:gd name="T10" fmla="*/ 34 w 228"/>
                <a:gd name="T11" fmla="*/ 22 h 78"/>
                <a:gd name="T12" fmla="*/ 228 w 228"/>
                <a:gd name="T13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28" h="78">
                  <a:moveTo>
                    <a:pt x="228" y="0"/>
                  </a:moveTo>
                  <a:lnTo>
                    <a:pt x="210" y="57"/>
                  </a:lnTo>
                  <a:lnTo>
                    <a:pt x="0" y="78"/>
                  </a:lnTo>
                  <a:lnTo>
                    <a:pt x="15" y="31"/>
                  </a:lnTo>
                  <a:lnTo>
                    <a:pt x="30" y="37"/>
                  </a:lnTo>
                  <a:lnTo>
                    <a:pt x="34" y="22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148BA2"/>
            </a:solidFill>
            <a:ln w="0">
              <a:solidFill>
                <a:srgbClr val="148BA2"/>
              </a:solidFill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 panose="020B0503020102020204"/>
              </a:endParaRPr>
            </a:p>
          </p:txBody>
        </p:sp>
        <p:grpSp>
          <p:nvGrpSpPr>
            <p:cNvPr id="94" name="Group 93"/>
            <p:cNvGrpSpPr/>
            <p:nvPr/>
          </p:nvGrpSpPr>
          <p:grpSpPr>
            <a:xfrm>
              <a:off x="556913" y="1684963"/>
              <a:ext cx="3189439" cy="4123084"/>
              <a:chOff x="4340225" y="533400"/>
              <a:chExt cx="3975100" cy="5138738"/>
            </a:xfrm>
          </p:grpSpPr>
          <p:sp>
            <p:nvSpPr>
              <p:cNvPr id="140" name="Freeform 22"/>
              <p:cNvSpPr>
                <a:spLocks/>
              </p:cNvSpPr>
              <p:nvPr/>
            </p:nvSpPr>
            <p:spPr bwMode="auto">
              <a:xfrm>
                <a:off x="4340225" y="533400"/>
                <a:ext cx="3975100" cy="5138738"/>
              </a:xfrm>
              <a:custGeom>
                <a:avLst/>
                <a:gdLst>
                  <a:gd name="T0" fmla="*/ 153 w 2504"/>
                  <a:gd name="T1" fmla="*/ 0 h 3237"/>
                  <a:gd name="T2" fmla="*/ 2504 w 2504"/>
                  <a:gd name="T3" fmla="*/ 117 h 3237"/>
                  <a:gd name="T4" fmla="*/ 2350 w 2504"/>
                  <a:gd name="T5" fmla="*/ 3237 h 3237"/>
                  <a:gd name="T6" fmla="*/ 0 w 2504"/>
                  <a:gd name="T7" fmla="*/ 3120 h 3237"/>
                  <a:gd name="T8" fmla="*/ 153 w 2504"/>
                  <a:gd name="T9" fmla="*/ 0 h 3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04" h="3237">
                    <a:moveTo>
                      <a:pt x="153" y="0"/>
                    </a:moveTo>
                    <a:lnTo>
                      <a:pt x="2504" y="117"/>
                    </a:lnTo>
                    <a:lnTo>
                      <a:pt x="2350" y="3237"/>
                    </a:lnTo>
                    <a:lnTo>
                      <a:pt x="0" y="3120"/>
                    </a:lnTo>
                    <a:lnTo>
                      <a:pt x="153" y="0"/>
                    </a:lnTo>
                    <a:close/>
                  </a:path>
                </a:pathLst>
              </a:custGeom>
              <a:solidFill>
                <a:srgbClr val="F2F0F0"/>
              </a:solidFill>
              <a:ln w="0">
                <a:solidFill>
                  <a:srgbClr val="F2F0F0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141" name="Freeform 42"/>
              <p:cNvSpPr>
                <a:spLocks/>
              </p:cNvSpPr>
              <p:nvPr/>
            </p:nvSpPr>
            <p:spPr bwMode="auto">
              <a:xfrm>
                <a:off x="5083175" y="5526088"/>
                <a:ext cx="319088" cy="101600"/>
              </a:xfrm>
              <a:custGeom>
                <a:avLst/>
                <a:gdLst>
                  <a:gd name="T0" fmla="*/ 17 w 201"/>
                  <a:gd name="T1" fmla="*/ 0 h 64"/>
                  <a:gd name="T2" fmla="*/ 201 w 201"/>
                  <a:gd name="T3" fmla="*/ 9 h 64"/>
                  <a:gd name="T4" fmla="*/ 184 w 201"/>
                  <a:gd name="T5" fmla="*/ 64 h 64"/>
                  <a:gd name="T6" fmla="*/ 0 w 201"/>
                  <a:gd name="T7" fmla="*/ 54 h 64"/>
                  <a:gd name="T8" fmla="*/ 17 w 201"/>
                  <a:gd name="T9" fmla="*/ 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01" h="64">
                    <a:moveTo>
                      <a:pt x="17" y="0"/>
                    </a:moveTo>
                    <a:lnTo>
                      <a:pt x="201" y="9"/>
                    </a:lnTo>
                    <a:lnTo>
                      <a:pt x="184" y="64"/>
                    </a:lnTo>
                    <a:lnTo>
                      <a:pt x="0" y="54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D9D8D8"/>
              </a:solidFill>
              <a:ln w="0">
                <a:solidFill>
                  <a:srgbClr val="D9D8D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</p:grpSp>
        <p:grpSp>
          <p:nvGrpSpPr>
            <p:cNvPr id="104" name="Group 103"/>
            <p:cNvGrpSpPr/>
            <p:nvPr/>
          </p:nvGrpSpPr>
          <p:grpSpPr>
            <a:xfrm>
              <a:off x="558187" y="1822526"/>
              <a:ext cx="3027675" cy="3873431"/>
              <a:chOff x="4341813" y="704850"/>
              <a:chExt cx="3773488" cy="4827588"/>
            </a:xfrm>
          </p:grpSpPr>
          <p:sp>
            <p:nvSpPr>
              <p:cNvPr id="138" name="Freeform 24"/>
              <p:cNvSpPr>
                <a:spLocks noEditPoints="1"/>
              </p:cNvSpPr>
              <p:nvPr/>
            </p:nvSpPr>
            <p:spPr bwMode="auto">
              <a:xfrm>
                <a:off x="4341813" y="704850"/>
                <a:ext cx="3773488" cy="4827588"/>
              </a:xfrm>
              <a:custGeom>
                <a:avLst/>
                <a:gdLst>
                  <a:gd name="T0" fmla="*/ 694 w 2377"/>
                  <a:gd name="T1" fmla="*/ 2957 h 3041"/>
                  <a:gd name="T2" fmla="*/ 2305 w 2377"/>
                  <a:gd name="T3" fmla="*/ 2957 h 3041"/>
                  <a:gd name="T4" fmla="*/ 2304 w 2377"/>
                  <a:gd name="T5" fmla="*/ 3041 h 3041"/>
                  <a:gd name="T6" fmla="*/ 681 w 2377"/>
                  <a:gd name="T7" fmla="*/ 3000 h 3041"/>
                  <a:gd name="T8" fmla="*/ 694 w 2377"/>
                  <a:gd name="T9" fmla="*/ 2957 h 3041"/>
                  <a:gd name="T10" fmla="*/ 1 w 2377"/>
                  <a:gd name="T11" fmla="*/ 2957 h 3041"/>
                  <a:gd name="T12" fmla="*/ 508 w 2377"/>
                  <a:gd name="T13" fmla="*/ 2957 h 3041"/>
                  <a:gd name="T14" fmla="*/ 496 w 2377"/>
                  <a:gd name="T15" fmla="*/ 2996 h 3041"/>
                  <a:gd name="T16" fmla="*/ 0 w 2377"/>
                  <a:gd name="T17" fmla="*/ 2985 h 3041"/>
                  <a:gd name="T18" fmla="*/ 1 w 2377"/>
                  <a:gd name="T19" fmla="*/ 2957 h 3041"/>
                  <a:gd name="T20" fmla="*/ 2317 w 2377"/>
                  <a:gd name="T21" fmla="*/ 0 h 3041"/>
                  <a:gd name="T22" fmla="*/ 2377 w 2377"/>
                  <a:gd name="T23" fmla="*/ 2 h 3041"/>
                  <a:gd name="T24" fmla="*/ 2317 w 2377"/>
                  <a:gd name="T25" fmla="*/ 2477 h 3041"/>
                  <a:gd name="T26" fmla="*/ 2317 w 2377"/>
                  <a:gd name="T27" fmla="*/ 0 h 30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377" h="3041">
                    <a:moveTo>
                      <a:pt x="694" y="2957"/>
                    </a:moveTo>
                    <a:lnTo>
                      <a:pt x="2305" y="2957"/>
                    </a:lnTo>
                    <a:lnTo>
                      <a:pt x="2304" y="3041"/>
                    </a:lnTo>
                    <a:lnTo>
                      <a:pt x="681" y="3000"/>
                    </a:lnTo>
                    <a:lnTo>
                      <a:pt x="694" y="2957"/>
                    </a:lnTo>
                    <a:close/>
                    <a:moveTo>
                      <a:pt x="1" y="2957"/>
                    </a:moveTo>
                    <a:lnTo>
                      <a:pt x="508" y="2957"/>
                    </a:lnTo>
                    <a:lnTo>
                      <a:pt x="496" y="2996"/>
                    </a:lnTo>
                    <a:lnTo>
                      <a:pt x="0" y="2985"/>
                    </a:lnTo>
                    <a:lnTo>
                      <a:pt x="1" y="2957"/>
                    </a:lnTo>
                    <a:close/>
                    <a:moveTo>
                      <a:pt x="2317" y="0"/>
                    </a:moveTo>
                    <a:lnTo>
                      <a:pt x="2377" y="2"/>
                    </a:lnTo>
                    <a:lnTo>
                      <a:pt x="2317" y="2477"/>
                    </a:lnTo>
                    <a:lnTo>
                      <a:pt x="2317" y="0"/>
                    </a:lnTo>
                    <a:close/>
                  </a:path>
                </a:pathLst>
              </a:custGeom>
              <a:solidFill>
                <a:srgbClr val="D9D8D8"/>
              </a:solidFill>
              <a:ln w="0">
                <a:solidFill>
                  <a:srgbClr val="D9D8D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139" name="Freeform 44"/>
              <p:cNvSpPr>
                <a:spLocks/>
              </p:cNvSpPr>
              <p:nvPr/>
            </p:nvSpPr>
            <p:spPr bwMode="auto">
              <a:xfrm>
                <a:off x="5129213" y="5399088"/>
                <a:ext cx="314325" cy="68263"/>
              </a:xfrm>
              <a:custGeom>
                <a:avLst/>
                <a:gdLst>
                  <a:gd name="T0" fmla="*/ 12 w 198"/>
                  <a:gd name="T1" fmla="*/ 0 h 43"/>
                  <a:gd name="T2" fmla="*/ 198 w 198"/>
                  <a:gd name="T3" fmla="*/ 0 h 43"/>
                  <a:gd name="T4" fmla="*/ 185 w 198"/>
                  <a:gd name="T5" fmla="*/ 43 h 43"/>
                  <a:gd name="T6" fmla="*/ 0 w 198"/>
                  <a:gd name="T7" fmla="*/ 39 h 43"/>
                  <a:gd name="T8" fmla="*/ 12 w 198"/>
                  <a:gd name="T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8" h="43">
                    <a:moveTo>
                      <a:pt x="12" y="0"/>
                    </a:moveTo>
                    <a:lnTo>
                      <a:pt x="198" y="0"/>
                    </a:lnTo>
                    <a:lnTo>
                      <a:pt x="185" y="43"/>
                    </a:lnTo>
                    <a:lnTo>
                      <a:pt x="0" y="39"/>
                    </a:lnTo>
                    <a:lnTo>
                      <a:pt x="12" y="0"/>
                    </a:lnTo>
                    <a:close/>
                  </a:path>
                </a:pathLst>
              </a:custGeom>
              <a:solidFill>
                <a:srgbClr val="D9D8D8"/>
              </a:solidFill>
              <a:ln w="0">
                <a:solidFill>
                  <a:srgbClr val="D9D8D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</p:grpSp>
        <p:grpSp>
          <p:nvGrpSpPr>
            <p:cNvPr id="105" name="Group 104"/>
            <p:cNvGrpSpPr/>
            <p:nvPr/>
          </p:nvGrpSpPr>
          <p:grpSpPr>
            <a:xfrm>
              <a:off x="513606" y="1611086"/>
              <a:ext cx="2995831" cy="3977878"/>
              <a:chOff x="4286250" y="441325"/>
              <a:chExt cx="3733800" cy="4957763"/>
            </a:xfrm>
          </p:grpSpPr>
          <p:sp>
            <p:nvSpPr>
              <p:cNvPr id="117" name="Rectangle 116"/>
              <p:cNvSpPr>
                <a:spLocks noChangeArrowheads="1"/>
              </p:cNvSpPr>
              <p:nvPr/>
            </p:nvSpPr>
            <p:spPr bwMode="auto">
              <a:xfrm>
                <a:off x="4286250" y="441325"/>
                <a:ext cx="3733800" cy="4957763"/>
              </a:xfrm>
              <a:prstGeom prst="rect">
                <a:avLst/>
              </a:prstGeom>
              <a:solidFill>
                <a:srgbClr val="FFFFFF"/>
              </a:solidFill>
              <a:ln w="0">
                <a:solidFill>
                  <a:srgbClr val="FFFFFF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grpSp>
            <p:nvGrpSpPr>
              <p:cNvPr id="118" name="Group 117"/>
              <p:cNvGrpSpPr/>
              <p:nvPr/>
            </p:nvGrpSpPr>
            <p:grpSpPr>
              <a:xfrm>
                <a:off x="4610100" y="1789113"/>
                <a:ext cx="3059113" cy="3078162"/>
                <a:chOff x="4610100" y="1789113"/>
                <a:chExt cx="3059113" cy="3078162"/>
              </a:xfrm>
            </p:grpSpPr>
            <p:sp>
              <p:nvSpPr>
                <p:cNvPr id="119" name="Freeform 26"/>
                <p:cNvSpPr>
                  <a:spLocks noEditPoints="1"/>
                </p:cNvSpPr>
                <p:nvPr/>
              </p:nvSpPr>
              <p:spPr bwMode="auto">
                <a:xfrm>
                  <a:off x="4684713" y="4268788"/>
                  <a:ext cx="600075" cy="73025"/>
                </a:xfrm>
                <a:custGeom>
                  <a:avLst/>
                  <a:gdLst>
                    <a:gd name="T0" fmla="*/ 0 w 378"/>
                    <a:gd name="T1" fmla="*/ 40 h 46"/>
                    <a:gd name="T2" fmla="*/ 8 w 378"/>
                    <a:gd name="T3" fmla="*/ 46 h 46"/>
                    <a:gd name="T4" fmla="*/ 0 w 378"/>
                    <a:gd name="T5" fmla="*/ 46 h 46"/>
                    <a:gd name="T6" fmla="*/ 0 w 378"/>
                    <a:gd name="T7" fmla="*/ 40 h 46"/>
                    <a:gd name="T8" fmla="*/ 0 w 378"/>
                    <a:gd name="T9" fmla="*/ 0 h 46"/>
                    <a:gd name="T10" fmla="*/ 378 w 378"/>
                    <a:gd name="T11" fmla="*/ 0 h 46"/>
                    <a:gd name="T12" fmla="*/ 378 w 378"/>
                    <a:gd name="T13" fmla="*/ 46 h 46"/>
                    <a:gd name="T14" fmla="*/ 21 w 378"/>
                    <a:gd name="T15" fmla="*/ 46 h 46"/>
                    <a:gd name="T16" fmla="*/ 11 w 378"/>
                    <a:gd name="T17" fmla="*/ 39 h 46"/>
                    <a:gd name="T18" fmla="*/ 0 w 378"/>
                    <a:gd name="T19" fmla="*/ 33 h 46"/>
                    <a:gd name="T20" fmla="*/ 0 w 378"/>
                    <a:gd name="T21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78" h="46">
                      <a:moveTo>
                        <a:pt x="0" y="40"/>
                      </a:moveTo>
                      <a:lnTo>
                        <a:pt x="8" y="46"/>
                      </a:lnTo>
                      <a:lnTo>
                        <a:pt x="0" y="46"/>
                      </a:lnTo>
                      <a:lnTo>
                        <a:pt x="0" y="40"/>
                      </a:lnTo>
                      <a:close/>
                      <a:moveTo>
                        <a:pt x="0" y="0"/>
                      </a:moveTo>
                      <a:lnTo>
                        <a:pt x="378" y="0"/>
                      </a:lnTo>
                      <a:lnTo>
                        <a:pt x="378" y="46"/>
                      </a:lnTo>
                      <a:lnTo>
                        <a:pt x="21" y="46"/>
                      </a:lnTo>
                      <a:lnTo>
                        <a:pt x="11" y="39"/>
                      </a:lnTo>
                      <a:lnTo>
                        <a:pt x="0" y="33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818287"/>
                </a:solidFill>
                <a:ln w="0">
                  <a:solidFill>
                    <a:srgbClr val="818287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120" name="Freeform 27"/>
                <p:cNvSpPr>
                  <a:spLocks noEditPoints="1"/>
                </p:cNvSpPr>
                <p:nvPr/>
              </p:nvSpPr>
              <p:spPr bwMode="auto">
                <a:xfrm>
                  <a:off x="4652963" y="4310063"/>
                  <a:ext cx="974725" cy="365125"/>
                </a:xfrm>
                <a:custGeom>
                  <a:avLst/>
                  <a:gdLst>
                    <a:gd name="T0" fmla="*/ 82 w 614"/>
                    <a:gd name="T1" fmla="*/ 151 h 230"/>
                    <a:gd name="T2" fmla="*/ 90 w 614"/>
                    <a:gd name="T3" fmla="*/ 190 h 230"/>
                    <a:gd name="T4" fmla="*/ 154 w 614"/>
                    <a:gd name="T5" fmla="*/ 194 h 230"/>
                    <a:gd name="T6" fmla="*/ 97 w 614"/>
                    <a:gd name="T7" fmla="*/ 126 h 230"/>
                    <a:gd name="T8" fmla="*/ 288 w 614"/>
                    <a:gd name="T9" fmla="*/ 136 h 230"/>
                    <a:gd name="T10" fmla="*/ 113 w 614"/>
                    <a:gd name="T11" fmla="*/ 114 h 230"/>
                    <a:gd name="T12" fmla="*/ 118 w 614"/>
                    <a:gd name="T13" fmla="*/ 122 h 230"/>
                    <a:gd name="T14" fmla="*/ 37 w 614"/>
                    <a:gd name="T15" fmla="*/ 52 h 230"/>
                    <a:gd name="T16" fmla="*/ 97 w 614"/>
                    <a:gd name="T17" fmla="*/ 115 h 230"/>
                    <a:gd name="T18" fmla="*/ 50 w 614"/>
                    <a:gd name="T19" fmla="*/ 38 h 230"/>
                    <a:gd name="T20" fmla="*/ 3 w 614"/>
                    <a:gd name="T21" fmla="*/ 0 h 230"/>
                    <a:gd name="T22" fmla="*/ 66 w 614"/>
                    <a:gd name="T23" fmla="*/ 43 h 230"/>
                    <a:gd name="T24" fmla="*/ 126 w 614"/>
                    <a:gd name="T25" fmla="*/ 101 h 230"/>
                    <a:gd name="T26" fmla="*/ 189 w 614"/>
                    <a:gd name="T27" fmla="*/ 127 h 230"/>
                    <a:gd name="T28" fmla="*/ 223 w 614"/>
                    <a:gd name="T29" fmla="*/ 175 h 230"/>
                    <a:gd name="T30" fmla="*/ 262 w 614"/>
                    <a:gd name="T31" fmla="*/ 152 h 230"/>
                    <a:gd name="T32" fmla="*/ 265 w 614"/>
                    <a:gd name="T33" fmla="*/ 162 h 230"/>
                    <a:gd name="T34" fmla="*/ 274 w 614"/>
                    <a:gd name="T35" fmla="*/ 173 h 230"/>
                    <a:gd name="T36" fmla="*/ 290 w 614"/>
                    <a:gd name="T37" fmla="*/ 169 h 230"/>
                    <a:gd name="T38" fmla="*/ 226 w 614"/>
                    <a:gd name="T39" fmla="*/ 114 h 230"/>
                    <a:gd name="T40" fmla="*/ 227 w 614"/>
                    <a:gd name="T41" fmla="*/ 107 h 230"/>
                    <a:gd name="T42" fmla="*/ 282 w 614"/>
                    <a:gd name="T43" fmla="*/ 123 h 230"/>
                    <a:gd name="T44" fmla="*/ 306 w 614"/>
                    <a:gd name="T45" fmla="*/ 145 h 230"/>
                    <a:gd name="T46" fmla="*/ 326 w 614"/>
                    <a:gd name="T47" fmla="*/ 64 h 230"/>
                    <a:gd name="T48" fmla="*/ 345 w 614"/>
                    <a:gd name="T49" fmla="*/ 55 h 230"/>
                    <a:gd name="T50" fmla="*/ 350 w 614"/>
                    <a:gd name="T51" fmla="*/ 143 h 230"/>
                    <a:gd name="T52" fmla="*/ 370 w 614"/>
                    <a:gd name="T53" fmla="*/ 165 h 230"/>
                    <a:gd name="T54" fmla="*/ 406 w 614"/>
                    <a:gd name="T55" fmla="*/ 177 h 230"/>
                    <a:gd name="T56" fmla="*/ 412 w 614"/>
                    <a:gd name="T57" fmla="*/ 192 h 230"/>
                    <a:gd name="T58" fmla="*/ 400 w 614"/>
                    <a:gd name="T59" fmla="*/ 203 h 230"/>
                    <a:gd name="T60" fmla="*/ 371 w 614"/>
                    <a:gd name="T61" fmla="*/ 217 h 230"/>
                    <a:gd name="T62" fmla="*/ 469 w 614"/>
                    <a:gd name="T63" fmla="*/ 190 h 230"/>
                    <a:gd name="T64" fmla="*/ 613 w 614"/>
                    <a:gd name="T65" fmla="*/ 182 h 230"/>
                    <a:gd name="T66" fmla="*/ 613 w 614"/>
                    <a:gd name="T67" fmla="*/ 189 h 230"/>
                    <a:gd name="T68" fmla="*/ 464 w 614"/>
                    <a:gd name="T69" fmla="*/ 198 h 230"/>
                    <a:gd name="T70" fmla="*/ 367 w 614"/>
                    <a:gd name="T71" fmla="*/ 225 h 230"/>
                    <a:gd name="T72" fmla="*/ 346 w 614"/>
                    <a:gd name="T73" fmla="*/ 219 h 230"/>
                    <a:gd name="T74" fmla="*/ 395 w 614"/>
                    <a:gd name="T75" fmla="*/ 198 h 230"/>
                    <a:gd name="T76" fmla="*/ 404 w 614"/>
                    <a:gd name="T77" fmla="*/ 190 h 230"/>
                    <a:gd name="T78" fmla="*/ 385 w 614"/>
                    <a:gd name="T79" fmla="*/ 174 h 230"/>
                    <a:gd name="T80" fmla="*/ 363 w 614"/>
                    <a:gd name="T81" fmla="*/ 172 h 230"/>
                    <a:gd name="T82" fmla="*/ 341 w 614"/>
                    <a:gd name="T83" fmla="*/ 136 h 230"/>
                    <a:gd name="T84" fmla="*/ 330 w 614"/>
                    <a:gd name="T85" fmla="*/ 71 h 230"/>
                    <a:gd name="T86" fmla="*/ 312 w 614"/>
                    <a:gd name="T87" fmla="*/ 152 h 230"/>
                    <a:gd name="T88" fmla="*/ 303 w 614"/>
                    <a:gd name="T89" fmla="*/ 152 h 230"/>
                    <a:gd name="T90" fmla="*/ 282 w 614"/>
                    <a:gd name="T91" fmla="*/ 181 h 230"/>
                    <a:gd name="T92" fmla="*/ 257 w 614"/>
                    <a:gd name="T93" fmla="*/ 161 h 230"/>
                    <a:gd name="T94" fmla="*/ 205 w 614"/>
                    <a:gd name="T95" fmla="*/ 191 h 230"/>
                    <a:gd name="T96" fmla="*/ 193 w 614"/>
                    <a:gd name="T97" fmla="*/ 151 h 230"/>
                    <a:gd name="T98" fmla="*/ 143 w 614"/>
                    <a:gd name="T99" fmla="*/ 107 h 230"/>
                    <a:gd name="T100" fmla="*/ 146 w 614"/>
                    <a:gd name="T101" fmla="*/ 155 h 230"/>
                    <a:gd name="T102" fmla="*/ 190 w 614"/>
                    <a:gd name="T103" fmla="*/ 227 h 230"/>
                    <a:gd name="T104" fmla="*/ 185 w 614"/>
                    <a:gd name="T105" fmla="*/ 229 h 230"/>
                    <a:gd name="T106" fmla="*/ 162 w 614"/>
                    <a:gd name="T107" fmla="*/ 195 h 230"/>
                    <a:gd name="T108" fmla="*/ 156 w 614"/>
                    <a:gd name="T109" fmla="*/ 200 h 230"/>
                    <a:gd name="T110" fmla="*/ 90 w 614"/>
                    <a:gd name="T111" fmla="*/ 199 h 230"/>
                    <a:gd name="T112" fmla="*/ 72 w 614"/>
                    <a:gd name="T113" fmla="*/ 152 h 230"/>
                    <a:gd name="T114" fmla="*/ 78 w 614"/>
                    <a:gd name="T115" fmla="*/ 106 h 230"/>
                    <a:gd name="T116" fmla="*/ 0 w 614"/>
                    <a:gd name="T117" fmla="*/ 4 h 2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614" h="230">
                      <a:moveTo>
                        <a:pt x="97" y="126"/>
                      </a:moveTo>
                      <a:lnTo>
                        <a:pt x="93" y="130"/>
                      </a:lnTo>
                      <a:lnTo>
                        <a:pt x="87" y="140"/>
                      </a:lnTo>
                      <a:lnTo>
                        <a:pt x="82" y="151"/>
                      </a:lnTo>
                      <a:lnTo>
                        <a:pt x="78" y="162"/>
                      </a:lnTo>
                      <a:lnTo>
                        <a:pt x="78" y="173"/>
                      </a:lnTo>
                      <a:lnTo>
                        <a:pt x="82" y="182"/>
                      </a:lnTo>
                      <a:lnTo>
                        <a:pt x="90" y="190"/>
                      </a:lnTo>
                      <a:lnTo>
                        <a:pt x="105" y="196"/>
                      </a:lnTo>
                      <a:lnTo>
                        <a:pt x="124" y="198"/>
                      </a:lnTo>
                      <a:lnTo>
                        <a:pt x="141" y="196"/>
                      </a:lnTo>
                      <a:lnTo>
                        <a:pt x="154" y="194"/>
                      </a:lnTo>
                      <a:lnTo>
                        <a:pt x="146" y="173"/>
                      </a:lnTo>
                      <a:lnTo>
                        <a:pt x="125" y="152"/>
                      </a:lnTo>
                      <a:lnTo>
                        <a:pt x="101" y="130"/>
                      </a:lnTo>
                      <a:lnTo>
                        <a:pt x="97" y="126"/>
                      </a:lnTo>
                      <a:close/>
                      <a:moveTo>
                        <a:pt x="254" y="120"/>
                      </a:moveTo>
                      <a:lnTo>
                        <a:pt x="270" y="127"/>
                      </a:lnTo>
                      <a:lnTo>
                        <a:pt x="290" y="138"/>
                      </a:lnTo>
                      <a:lnTo>
                        <a:pt x="288" y="136"/>
                      </a:lnTo>
                      <a:lnTo>
                        <a:pt x="275" y="127"/>
                      </a:lnTo>
                      <a:lnTo>
                        <a:pt x="260" y="122"/>
                      </a:lnTo>
                      <a:lnTo>
                        <a:pt x="254" y="120"/>
                      </a:lnTo>
                      <a:close/>
                      <a:moveTo>
                        <a:pt x="113" y="114"/>
                      </a:moveTo>
                      <a:lnTo>
                        <a:pt x="103" y="120"/>
                      </a:lnTo>
                      <a:lnTo>
                        <a:pt x="124" y="140"/>
                      </a:lnTo>
                      <a:lnTo>
                        <a:pt x="137" y="153"/>
                      </a:lnTo>
                      <a:lnTo>
                        <a:pt x="118" y="122"/>
                      </a:lnTo>
                      <a:lnTo>
                        <a:pt x="113" y="114"/>
                      </a:lnTo>
                      <a:close/>
                      <a:moveTo>
                        <a:pt x="12" y="11"/>
                      </a:moveTo>
                      <a:lnTo>
                        <a:pt x="21" y="29"/>
                      </a:lnTo>
                      <a:lnTo>
                        <a:pt x="37" y="52"/>
                      </a:lnTo>
                      <a:lnTo>
                        <a:pt x="57" y="75"/>
                      </a:lnTo>
                      <a:lnTo>
                        <a:pt x="76" y="96"/>
                      </a:lnTo>
                      <a:lnTo>
                        <a:pt x="97" y="115"/>
                      </a:lnTo>
                      <a:lnTo>
                        <a:pt x="97" y="115"/>
                      </a:lnTo>
                      <a:lnTo>
                        <a:pt x="109" y="107"/>
                      </a:lnTo>
                      <a:lnTo>
                        <a:pt x="95" y="88"/>
                      </a:lnTo>
                      <a:lnTo>
                        <a:pt x="74" y="62"/>
                      </a:lnTo>
                      <a:lnTo>
                        <a:pt x="50" y="38"/>
                      </a:lnTo>
                      <a:lnTo>
                        <a:pt x="36" y="25"/>
                      </a:lnTo>
                      <a:lnTo>
                        <a:pt x="20" y="14"/>
                      </a:lnTo>
                      <a:lnTo>
                        <a:pt x="12" y="11"/>
                      </a:lnTo>
                      <a:close/>
                      <a:moveTo>
                        <a:pt x="3" y="0"/>
                      </a:moveTo>
                      <a:lnTo>
                        <a:pt x="6" y="0"/>
                      </a:lnTo>
                      <a:lnTo>
                        <a:pt x="28" y="11"/>
                      </a:lnTo>
                      <a:lnTo>
                        <a:pt x="48" y="25"/>
                      </a:lnTo>
                      <a:lnTo>
                        <a:pt x="66" y="43"/>
                      </a:lnTo>
                      <a:lnTo>
                        <a:pt x="83" y="62"/>
                      </a:lnTo>
                      <a:lnTo>
                        <a:pt x="99" y="81"/>
                      </a:lnTo>
                      <a:lnTo>
                        <a:pt x="116" y="105"/>
                      </a:lnTo>
                      <a:lnTo>
                        <a:pt x="126" y="101"/>
                      </a:lnTo>
                      <a:lnTo>
                        <a:pt x="143" y="100"/>
                      </a:lnTo>
                      <a:lnTo>
                        <a:pt x="160" y="102"/>
                      </a:lnTo>
                      <a:lnTo>
                        <a:pt x="175" y="111"/>
                      </a:lnTo>
                      <a:lnTo>
                        <a:pt x="189" y="127"/>
                      </a:lnTo>
                      <a:lnTo>
                        <a:pt x="199" y="145"/>
                      </a:lnTo>
                      <a:lnTo>
                        <a:pt x="205" y="166"/>
                      </a:lnTo>
                      <a:lnTo>
                        <a:pt x="209" y="182"/>
                      </a:lnTo>
                      <a:lnTo>
                        <a:pt x="223" y="175"/>
                      </a:lnTo>
                      <a:lnTo>
                        <a:pt x="241" y="164"/>
                      </a:lnTo>
                      <a:lnTo>
                        <a:pt x="258" y="152"/>
                      </a:lnTo>
                      <a:lnTo>
                        <a:pt x="260" y="152"/>
                      </a:lnTo>
                      <a:lnTo>
                        <a:pt x="262" y="152"/>
                      </a:lnTo>
                      <a:lnTo>
                        <a:pt x="264" y="153"/>
                      </a:lnTo>
                      <a:lnTo>
                        <a:pt x="264" y="156"/>
                      </a:lnTo>
                      <a:lnTo>
                        <a:pt x="264" y="158"/>
                      </a:lnTo>
                      <a:lnTo>
                        <a:pt x="265" y="162"/>
                      </a:lnTo>
                      <a:lnTo>
                        <a:pt x="266" y="166"/>
                      </a:lnTo>
                      <a:lnTo>
                        <a:pt x="268" y="169"/>
                      </a:lnTo>
                      <a:lnTo>
                        <a:pt x="270" y="172"/>
                      </a:lnTo>
                      <a:lnTo>
                        <a:pt x="274" y="173"/>
                      </a:lnTo>
                      <a:lnTo>
                        <a:pt x="278" y="174"/>
                      </a:lnTo>
                      <a:lnTo>
                        <a:pt x="282" y="173"/>
                      </a:lnTo>
                      <a:lnTo>
                        <a:pt x="286" y="172"/>
                      </a:lnTo>
                      <a:lnTo>
                        <a:pt x="290" y="169"/>
                      </a:lnTo>
                      <a:lnTo>
                        <a:pt x="295" y="158"/>
                      </a:lnTo>
                      <a:lnTo>
                        <a:pt x="295" y="148"/>
                      </a:lnTo>
                      <a:lnTo>
                        <a:pt x="266" y="134"/>
                      </a:lnTo>
                      <a:lnTo>
                        <a:pt x="226" y="114"/>
                      </a:lnTo>
                      <a:lnTo>
                        <a:pt x="224" y="113"/>
                      </a:lnTo>
                      <a:lnTo>
                        <a:pt x="224" y="110"/>
                      </a:lnTo>
                      <a:lnTo>
                        <a:pt x="224" y="109"/>
                      </a:lnTo>
                      <a:lnTo>
                        <a:pt x="227" y="107"/>
                      </a:lnTo>
                      <a:lnTo>
                        <a:pt x="228" y="107"/>
                      </a:lnTo>
                      <a:lnTo>
                        <a:pt x="251" y="111"/>
                      </a:lnTo>
                      <a:lnTo>
                        <a:pt x="271" y="118"/>
                      </a:lnTo>
                      <a:lnTo>
                        <a:pt x="282" y="123"/>
                      </a:lnTo>
                      <a:lnTo>
                        <a:pt x="291" y="128"/>
                      </a:lnTo>
                      <a:lnTo>
                        <a:pt x="298" y="136"/>
                      </a:lnTo>
                      <a:lnTo>
                        <a:pt x="302" y="144"/>
                      </a:lnTo>
                      <a:lnTo>
                        <a:pt x="306" y="145"/>
                      </a:lnTo>
                      <a:lnTo>
                        <a:pt x="307" y="123"/>
                      </a:lnTo>
                      <a:lnTo>
                        <a:pt x="311" y="96"/>
                      </a:lnTo>
                      <a:lnTo>
                        <a:pt x="316" y="79"/>
                      </a:lnTo>
                      <a:lnTo>
                        <a:pt x="326" y="64"/>
                      </a:lnTo>
                      <a:lnTo>
                        <a:pt x="340" y="52"/>
                      </a:lnTo>
                      <a:lnTo>
                        <a:pt x="341" y="52"/>
                      </a:lnTo>
                      <a:lnTo>
                        <a:pt x="343" y="54"/>
                      </a:lnTo>
                      <a:lnTo>
                        <a:pt x="345" y="55"/>
                      </a:lnTo>
                      <a:lnTo>
                        <a:pt x="346" y="77"/>
                      </a:lnTo>
                      <a:lnTo>
                        <a:pt x="346" y="98"/>
                      </a:lnTo>
                      <a:lnTo>
                        <a:pt x="346" y="120"/>
                      </a:lnTo>
                      <a:lnTo>
                        <a:pt x="350" y="143"/>
                      </a:lnTo>
                      <a:lnTo>
                        <a:pt x="353" y="149"/>
                      </a:lnTo>
                      <a:lnTo>
                        <a:pt x="357" y="157"/>
                      </a:lnTo>
                      <a:lnTo>
                        <a:pt x="362" y="164"/>
                      </a:lnTo>
                      <a:lnTo>
                        <a:pt x="370" y="165"/>
                      </a:lnTo>
                      <a:lnTo>
                        <a:pt x="385" y="166"/>
                      </a:lnTo>
                      <a:lnTo>
                        <a:pt x="398" y="172"/>
                      </a:lnTo>
                      <a:lnTo>
                        <a:pt x="402" y="174"/>
                      </a:lnTo>
                      <a:lnTo>
                        <a:pt x="406" y="177"/>
                      </a:lnTo>
                      <a:lnTo>
                        <a:pt x="409" y="181"/>
                      </a:lnTo>
                      <a:lnTo>
                        <a:pt x="412" y="185"/>
                      </a:lnTo>
                      <a:lnTo>
                        <a:pt x="412" y="189"/>
                      </a:lnTo>
                      <a:lnTo>
                        <a:pt x="412" y="192"/>
                      </a:lnTo>
                      <a:lnTo>
                        <a:pt x="409" y="195"/>
                      </a:lnTo>
                      <a:lnTo>
                        <a:pt x="406" y="198"/>
                      </a:lnTo>
                      <a:lnTo>
                        <a:pt x="404" y="200"/>
                      </a:lnTo>
                      <a:lnTo>
                        <a:pt x="400" y="203"/>
                      </a:lnTo>
                      <a:lnTo>
                        <a:pt x="384" y="211"/>
                      </a:lnTo>
                      <a:lnTo>
                        <a:pt x="367" y="216"/>
                      </a:lnTo>
                      <a:lnTo>
                        <a:pt x="364" y="217"/>
                      </a:lnTo>
                      <a:lnTo>
                        <a:pt x="371" y="217"/>
                      </a:lnTo>
                      <a:lnTo>
                        <a:pt x="391" y="213"/>
                      </a:lnTo>
                      <a:lnTo>
                        <a:pt x="410" y="206"/>
                      </a:lnTo>
                      <a:lnTo>
                        <a:pt x="439" y="196"/>
                      </a:lnTo>
                      <a:lnTo>
                        <a:pt x="469" y="190"/>
                      </a:lnTo>
                      <a:lnTo>
                        <a:pt x="516" y="185"/>
                      </a:lnTo>
                      <a:lnTo>
                        <a:pt x="563" y="183"/>
                      </a:lnTo>
                      <a:lnTo>
                        <a:pt x="611" y="182"/>
                      </a:lnTo>
                      <a:lnTo>
                        <a:pt x="613" y="182"/>
                      </a:lnTo>
                      <a:lnTo>
                        <a:pt x="614" y="183"/>
                      </a:lnTo>
                      <a:lnTo>
                        <a:pt x="614" y="186"/>
                      </a:lnTo>
                      <a:lnTo>
                        <a:pt x="614" y="187"/>
                      </a:lnTo>
                      <a:lnTo>
                        <a:pt x="613" y="189"/>
                      </a:lnTo>
                      <a:lnTo>
                        <a:pt x="611" y="190"/>
                      </a:lnTo>
                      <a:lnTo>
                        <a:pt x="562" y="190"/>
                      </a:lnTo>
                      <a:lnTo>
                        <a:pt x="512" y="192"/>
                      </a:lnTo>
                      <a:lnTo>
                        <a:pt x="464" y="198"/>
                      </a:lnTo>
                      <a:lnTo>
                        <a:pt x="432" y="206"/>
                      </a:lnTo>
                      <a:lnTo>
                        <a:pt x="404" y="216"/>
                      </a:lnTo>
                      <a:lnTo>
                        <a:pt x="385" y="223"/>
                      </a:lnTo>
                      <a:lnTo>
                        <a:pt x="367" y="225"/>
                      </a:lnTo>
                      <a:lnTo>
                        <a:pt x="349" y="224"/>
                      </a:lnTo>
                      <a:lnTo>
                        <a:pt x="346" y="223"/>
                      </a:lnTo>
                      <a:lnTo>
                        <a:pt x="346" y="221"/>
                      </a:lnTo>
                      <a:lnTo>
                        <a:pt x="346" y="219"/>
                      </a:lnTo>
                      <a:lnTo>
                        <a:pt x="347" y="217"/>
                      </a:lnTo>
                      <a:lnTo>
                        <a:pt x="363" y="211"/>
                      </a:lnTo>
                      <a:lnTo>
                        <a:pt x="379" y="204"/>
                      </a:lnTo>
                      <a:lnTo>
                        <a:pt x="395" y="198"/>
                      </a:lnTo>
                      <a:lnTo>
                        <a:pt x="397" y="196"/>
                      </a:lnTo>
                      <a:lnTo>
                        <a:pt x="400" y="195"/>
                      </a:lnTo>
                      <a:lnTo>
                        <a:pt x="402" y="192"/>
                      </a:lnTo>
                      <a:lnTo>
                        <a:pt x="404" y="190"/>
                      </a:lnTo>
                      <a:lnTo>
                        <a:pt x="405" y="187"/>
                      </a:lnTo>
                      <a:lnTo>
                        <a:pt x="404" y="185"/>
                      </a:lnTo>
                      <a:lnTo>
                        <a:pt x="396" y="178"/>
                      </a:lnTo>
                      <a:lnTo>
                        <a:pt x="385" y="174"/>
                      </a:lnTo>
                      <a:lnTo>
                        <a:pt x="375" y="173"/>
                      </a:lnTo>
                      <a:lnTo>
                        <a:pt x="371" y="173"/>
                      </a:lnTo>
                      <a:lnTo>
                        <a:pt x="367" y="173"/>
                      </a:lnTo>
                      <a:lnTo>
                        <a:pt x="363" y="172"/>
                      </a:lnTo>
                      <a:lnTo>
                        <a:pt x="359" y="170"/>
                      </a:lnTo>
                      <a:lnTo>
                        <a:pt x="357" y="168"/>
                      </a:lnTo>
                      <a:lnTo>
                        <a:pt x="346" y="153"/>
                      </a:lnTo>
                      <a:lnTo>
                        <a:pt x="341" y="136"/>
                      </a:lnTo>
                      <a:lnTo>
                        <a:pt x="340" y="110"/>
                      </a:lnTo>
                      <a:lnTo>
                        <a:pt x="340" y="84"/>
                      </a:lnTo>
                      <a:lnTo>
                        <a:pt x="338" y="63"/>
                      </a:lnTo>
                      <a:lnTo>
                        <a:pt x="330" y="71"/>
                      </a:lnTo>
                      <a:lnTo>
                        <a:pt x="321" y="85"/>
                      </a:lnTo>
                      <a:lnTo>
                        <a:pt x="317" y="101"/>
                      </a:lnTo>
                      <a:lnTo>
                        <a:pt x="315" y="126"/>
                      </a:lnTo>
                      <a:lnTo>
                        <a:pt x="312" y="152"/>
                      </a:lnTo>
                      <a:lnTo>
                        <a:pt x="312" y="153"/>
                      </a:lnTo>
                      <a:lnTo>
                        <a:pt x="309" y="155"/>
                      </a:lnTo>
                      <a:lnTo>
                        <a:pt x="307" y="155"/>
                      </a:lnTo>
                      <a:lnTo>
                        <a:pt x="303" y="152"/>
                      </a:lnTo>
                      <a:lnTo>
                        <a:pt x="303" y="156"/>
                      </a:lnTo>
                      <a:lnTo>
                        <a:pt x="299" y="168"/>
                      </a:lnTo>
                      <a:lnTo>
                        <a:pt x="292" y="175"/>
                      </a:lnTo>
                      <a:lnTo>
                        <a:pt x="282" y="181"/>
                      </a:lnTo>
                      <a:lnTo>
                        <a:pt x="271" y="179"/>
                      </a:lnTo>
                      <a:lnTo>
                        <a:pt x="264" y="174"/>
                      </a:lnTo>
                      <a:lnTo>
                        <a:pt x="258" y="166"/>
                      </a:lnTo>
                      <a:lnTo>
                        <a:pt x="257" y="161"/>
                      </a:lnTo>
                      <a:lnTo>
                        <a:pt x="244" y="170"/>
                      </a:lnTo>
                      <a:lnTo>
                        <a:pt x="226" y="182"/>
                      </a:lnTo>
                      <a:lnTo>
                        <a:pt x="206" y="191"/>
                      </a:lnTo>
                      <a:lnTo>
                        <a:pt x="205" y="191"/>
                      </a:lnTo>
                      <a:lnTo>
                        <a:pt x="202" y="190"/>
                      </a:lnTo>
                      <a:lnTo>
                        <a:pt x="202" y="187"/>
                      </a:lnTo>
                      <a:lnTo>
                        <a:pt x="198" y="169"/>
                      </a:lnTo>
                      <a:lnTo>
                        <a:pt x="193" y="151"/>
                      </a:lnTo>
                      <a:lnTo>
                        <a:pt x="184" y="132"/>
                      </a:lnTo>
                      <a:lnTo>
                        <a:pt x="172" y="118"/>
                      </a:lnTo>
                      <a:lnTo>
                        <a:pt x="159" y="110"/>
                      </a:lnTo>
                      <a:lnTo>
                        <a:pt x="143" y="107"/>
                      </a:lnTo>
                      <a:lnTo>
                        <a:pt x="127" y="107"/>
                      </a:lnTo>
                      <a:lnTo>
                        <a:pt x="120" y="111"/>
                      </a:lnTo>
                      <a:lnTo>
                        <a:pt x="124" y="117"/>
                      </a:lnTo>
                      <a:lnTo>
                        <a:pt x="146" y="155"/>
                      </a:lnTo>
                      <a:lnTo>
                        <a:pt x="152" y="170"/>
                      </a:lnTo>
                      <a:lnTo>
                        <a:pt x="172" y="194"/>
                      </a:lnTo>
                      <a:lnTo>
                        <a:pt x="190" y="224"/>
                      </a:lnTo>
                      <a:lnTo>
                        <a:pt x="190" y="227"/>
                      </a:lnTo>
                      <a:lnTo>
                        <a:pt x="190" y="228"/>
                      </a:lnTo>
                      <a:lnTo>
                        <a:pt x="189" y="229"/>
                      </a:lnTo>
                      <a:lnTo>
                        <a:pt x="186" y="230"/>
                      </a:lnTo>
                      <a:lnTo>
                        <a:pt x="185" y="229"/>
                      </a:lnTo>
                      <a:lnTo>
                        <a:pt x="184" y="228"/>
                      </a:lnTo>
                      <a:lnTo>
                        <a:pt x="167" y="200"/>
                      </a:lnTo>
                      <a:lnTo>
                        <a:pt x="162" y="192"/>
                      </a:lnTo>
                      <a:lnTo>
                        <a:pt x="162" y="195"/>
                      </a:lnTo>
                      <a:lnTo>
                        <a:pt x="163" y="196"/>
                      </a:lnTo>
                      <a:lnTo>
                        <a:pt x="162" y="199"/>
                      </a:lnTo>
                      <a:lnTo>
                        <a:pt x="160" y="199"/>
                      </a:lnTo>
                      <a:lnTo>
                        <a:pt x="156" y="200"/>
                      </a:lnTo>
                      <a:lnTo>
                        <a:pt x="135" y="204"/>
                      </a:lnTo>
                      <a:lnTo>
                        <a:pt x="116" y="204"/>
                      </a:lnTo>
                      <a:lnTo>
                        <a:pt x="103" y="203"/>
                      </a:lnTo>
                      <a:lnTo>
                        <a:pt x="90" y="199"/>
                      </a:lnTo>
                      <a:lnTo>
                        <a:pt x="80" y="191"/>
                      </a:lnTo>
                      <a:lnTo>
                        <a:pt x="72" y="179"/>
                      </a:lnTo>
                      <a:lnTo>
                        <a:pt x="70" y="166"/>
                      </a:lnTo>
                      <a:lnTo>
                        <a:pt x="72" y="152"/>
                      </a:lnTo>
                      <a:lnTo>
                        <a:pt x="79" y="138"/>
                      </a:lnTo>
                      <a:lnTo>
                        <a:pt x="87" y="126"/>
                      </a:lnTo>
                      <a:lnTo>
                        <a:pt x="92" y="120"/>
                      </a:lnTo>
                      <a:lnTo>
                        <a:pt x="78" y="106"/>
                      </a:lnTo>
                      <a:lnTo>
                        <a:pt x="55" y="84"/>
                      </a:lnTo>
                      <a:lnTo>
                        <a:pt x="35" y="59"/>
                      </a:lnTo>
                      <a:lnTo>
                        <a:pt x="16" y="33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3" y="0"/>
                      </a:lnTo>
                      <a:close/>
                    </a:path>
                  </a:pathLst>
                </a:custGeom>
                <a:solidFill>
                  <a:srgbClr val="148BA2"/>
                </a:solidFill>
                <a:ln w="0">
                  <a:solidFill>
                    <a:srgbClr val="148BA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121" name="Freeform 28"/>
                <p:cNvSpPr>
                  <a:spLocks noEditPoints="1"/>
                </p:cNvSpPr>
                <p:nvPr/>
              </p:nvSpPr>
              <p:spPr bwMode="auto">
                <a:xfrm>
                  <a:off x="6473825" y="4283075"/>
                  <a:ext cx="301625" cy="423863"/>
                </a:xfrm>
                <a:custGeom>
                  <a:avLst/>
                  <a:gdLst>
                    <a:gd name="T0" fmla="*/ 125 w 190"/>
                    <a:gd name="T1" fmla="*/ 11 h 267"/>
                    <a:gd name="T2" fmla="*/ 81 w 190"/>
                    <a:gd name="T3" fmla="*/ 30 h 267"/>
                    <a:gd name="T4" fmla="*/ 53 w 190"/>
                    <a:gd name="T5" fmla="*/ 63 h 267"/>
                    <a:gd name="T6" fmla="*/ 41 w 190"/>
                    <a:gd name="T7" fmla="*/ 103 h 267"/>
                    <a:gd name="T8" fmla="*/ 45 w 190"/>
                    <a:gd name="T9" fmla="*/ 162 h 267"/>
                    <a:gd name="T10" fmla="*/ 91 w 190"/>
                    <a:gd name="T11" fmla="*/ 147 h 267"/>
                    <a:gd name="T12" fmla="*/ 143 w 190"/>
                    <a:gd name="T13" fmla="*/ 115 h 267"/>
                    <a:gd name="T14" fmla="*/ 169 w 190"/>
                    <a:gd name="T15" fmla="*/ 88 h 267"/>
                    <a:gd name="T16" fmla="*/ 182 w 190"/>
                    <a:gd name="T17" fmla="*/ 52 h 267"/>
                    <a:gd name="T18" fmla="*/ 181 w 190"/>
                    <a:gd name="T19" fmla="*/ 29 h 267"/>
                    <a:gd name="T20" fmla="*/ 167 w 190"/>
                    <a:gd name="T21" fmla="*/ 12 h 267"/>
                    <a:gd name="T22" fmla="*/ 147 w 190"/>
                    <a:gd name="T23" fmla="*/ 8 h 267"/>
                    <a:gd name="T24" fmla="*/ 155 w 190"/>
                    <a:gd name="T25" fmla="*/ 1 h 267"/>
                    <a:gd name="T26" fmla="*/ 178 w 190"/>
                    <a:gd name="T27" fmla="*/ 12 h 267"/>
                    <a:gd name="T28" fmla="*/ 190 w 190"/>
                    <a:gd name="T29" fmla="*/ 35 h 267"/>
                    <a:gd name="T30" fmla="*/ 184 w 190"/>
                    <a:gd name="T31" fmla="*/ 76 h 267"/>
                    <a:gd name="T32" fmla="*/ 160 w 190"/>
                    <a:gd name="T33" fmla="*/ 110 h 267"/>
                    <a:gd name="T34" fmla="*/ 112 w 190"/>
                    <a:gd name="T35" fmla="*/ 144 h 267"/>
                    <a:gd name="T36" fmla="*/ 46 w 190"/>
                    <a:gd name="T37" fmla="*/ 170 h 267"/>
                    <a:gd name="T38" fmla="*/ 55 w 190"/>
                    <a:gd name="T39" fmla="*/ 207 h 267"/>
                    <a:gd name="T40" fmla="*/ 57 w 190"/>
                    <a:gd name="T41" fmla="*/ 234 h 267"/>
                    <a:gd name="T42" fmla="*/ 46 w 190"/>
                    <a:gd name="T43" fmla="*/ 259 h 267"/>
                    <a:gd name="T44" fmla="*/ 32 w 190"/>
                    <a:gd name="T45" fmla="*/ 267 h 267"/>
                    <a:gd name="T46" fmla="*/ 29 w 190"/>
                    <a:gd name="T47" fmla="*/ 263 h 267"/>
                    <a:gd name="T48" fmla="*/ 30 w 190"/>
                    <a:gd name="T49" fmla="*/ 258 h 267"/>
                    <a:gd name="T50" fmla="*/ 33 w 190"/>
                    <a:gd name="T51" fmla="*/ 254 h 267"/>
                    <a:gd name="T52" fmla="*/ 40 w 190"/>
                    <a:gd name="T53" fmla="*/ 251 h 267"/>
                    <a:gd name="T54" fmla="*/ 43 w 190"/>
                    <a:gd name="T55" fmla="*/ 250 h 267"/>
                    <a:gd name="T56" fmla="*/ 50 w 190"/>
                    <a:gd name="T57" fmla="*/ 234 h 267"/>
                    <a:gd name="T58" fmla="*/ 49 w 190"/>
                    <a:gd name="T59" fmla="*/ 211 h 267"/>
                    <a:gd name="T60" fmla="*/ 43 w 190"/>
                    <a:gd name="T61" fmla="*/ 189 h 267"/>
                    <a:gd name="T62" fmla="*/ 5 w 190"/>
                    <a:gd name="T63" fmla="*/ 182 h 267"/>
                    <a:gd name="T64" fmla="*/ 2 w 190"/>
                    <a:gd name="T65" fmla="*/ 181 h 267"/>
                    <a:gd name="T66" fmla="*/ 0 w 190"/>
                    <a:gd name="T67" fmla="*/ 177 h 267"/>
                    <a:gd name="T68" fmla="*/ 3 w 190"/>
                    <a:gd name="T69" fmla="*/ 174 h 267"/>
                    <a:gd name="T70" fmla="*/ 38 w 190"/>
                    <a:gd name="T71" fmla="*/ 165 h 267"/>
                    <a:gd name="T72" fmla="*/ 33 w 190"/>
                    <a:gd name="T73" fmla="*/ 136 h 267"/>
                    <a:gd name="T74" fmla="*/ 36 w 190"/>
                    <a:gd name="T75" fmla="*/ 89 h 267"/>
                    <a:gd name="T76" fmla="*/ 50 w 190"/>
                    <a:gd name="T77" fmla="*/ 52 h 267"/>
                    <a:gd name="T78" fmla="*/ 85 w 190"/>
                    <a:gd name="T79" fmla="*/ 20 h 267"/>
                    <a:gd name="T80" fmla="*/ 142 w 190"/>
                    <a:gd name="T81" fmla="*/ 0 h 2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190" h="267">
                      <a:moveTo>
                        <a:pt x="147" y="8"/>
                      </a:moveTo>
                      <a:lnTo>
                        <a:pt x="125" y="11"/>
                      </a:lnTo>
                      <a:lnTo>
                        <a:pt x="102" y="18"/>
                      </a:lnTo>
                      <a:lnTo>
                        <a:pt x="81" y="30"/>
                      </a:lnTo>
                      <a:lnTo>
                        <a:pt x="64" y="46"/>
                      </a:lnTo>
                      <a:lnTo>
                        <a:pt x="53" y="63"/>
                      </a:lnTo>
                      <a:lnTo>
                        <a:pt x="45" y="83"/>
                      </a:lnTo>
                      <a:lnTo>
                        <a:pt x="41" y="103"/>
                      </a:lnTo>
                      <a:lnTo>
                        <a:pt x="40" y="124"/>
                      </a:lnTo>
                      <a:lnTo>
                        <a:pt x="45" y="162"/>
                      </a:lnTo>
                      <a:lnTo>
                        <a:pt x="62" y="157"/>
                      </a:lnTo>
                      <a:lnTo>
                        <a:pt x="91" y="147"/>
                      </a:lnTo>
                      <a:lnTo>
                        <a:pt x="118" y="132"/>
                      </a:lnTo>
                      <a:lnTo>
                        <a:pt x="143" y="115"/>
                      </a:lnTo>
                      <a:lnTo>
                        <a:pt x="157" y="102"/>
                      </a:lnTo>
                      <a:lnTo>
                        <a:pt x="169" y="88"/>
                      </a:lnTo>
                      <a:lnTo>
                        <a:pt x="177" y="71"/>
                      </a:lnTo>
                      <a:lnTo>
                        <a:pt x="182" y="52"/>
                      </a:lnTo>
                      <a:lnTo>
                        <a:pt x="182" y="41"/>
                      </a:lnTo>
                      <a:lnTo>
                        <a:pt x="181" y="29"/>
                      </a:lnTo>
                      <a:lnTo>
                        <a:pt x="174" y="18"/>
                      </a:lnTo>
                      <a:lnTo>
                        <a:pt x="167" y="12"/>
                      </a:lnTo>
                      <a:lnTo>
                        <a:pt x="157" y="9"/>
                      </a:lnTo>
                      <a:lnTo>
                        <a:pt x="147" y="8"/>
                      </a:lnTo>
                      <a:close/>
                      <a:moveTo>
                        <a:pt x="142" y="0"/>
                      </a:moveTo>
                      <a:lnTo>
                        <a:pt x="155" y="1"/>
                      </a:lnTo>
                      <a:lnTo>
                        <a:pt x="168" y="5"/>
                      </a:lnTo>
                      <a:lnTo>
                        <a:pt x="178" y="12"/>
                      </a:lnTo>
                      <a:lnTo>
                        <a:pt x="186" y="22"/>
                      </a:lnTo>
                      <a:lnTo>
                        <a:pt x="190" y="35"/>
                      </a:lnTo>
                      <a:lnTo>
                        <a:pt x="189" y="56"/>
                      </a:lnTo>
                      <a:lnTo>
                        <a:pt x="184" y="76"/>
                      </a:lnTo>
                      <a:lnTo>
                        <a:pt x="173" y="94"/>
                      </a:lnTo>
                      <a:lnTo>
                        <a:pt x="160" y="110"/>
                      </a:lnTo>
                      <a:lnTo>
                        <a:pt x="138" y="128"/>
                      </a:lnTo>
                      <a:lnTo>
                        <a:pt x="112" y="144"/>
                      </a:lnTo>
                      <a:lnTo>
                        <a:pt x="85" y="156"/>
                      </a:lnTo>
                      <a:lnTo>
                        <a:pt x="46" y="170"/>
                      </a:lnTo>
                      <a:lnTo>
                        <a:pt x="50" y="187"/>
                      </a:lnTo>
                      <a:lnTo>
                        <a:pt x="55" y="207"/>
                      </a:lnTo>
                      <a:lnTo>
                        <a:pt x="57" y="220"/>
                      </a:lnTo>
                      <a:lnTo>
                        <a:pt x="57" y="234"/>
                      </a:lnTo>
                      <a:lnTo>
                        <a:pt x="53" y="247"/>
                      </a:lnTo>
                      <a:lnTo>
                        <a:pt x="46" y="259"/>
                      </a:lnTo>
                      <a:lnTo>
                        <a:pt x="34" y="267"/>
                      </a:lnTo>
                      <a:lnTo>
                        <a:pt x="32" y="267"/>
                      </a:lnTo>
                      <a:lnTo>
                        <a:pt x="30" y="266"/>
                      </a:lnTo>
                      <a:lnTo>
                        <a:pt x="29" y="263"/>
                      </a:lnTo>
                      <a:lnTo>
                        <a:pt x="29" y="261"/>
                      </a:lnTo>
                      <a:lnTo>
                        <a:pt x="30" y="258"/>
                      </a:lnTo>
                      <a:lnTo>
                        <a:pt x="32" y="255"/>
                      </a:lnTo>
                      <a:lnTo>
                        <a:pt x="33" y="254"/>
                      </a:lnTo>
                      <a:lnTo>
                        <a:pt x="37" y="253"/>
                      </a:lnTo>
                      <a:lnTo>
                        <a:pt x="40" y="251"/>
                      </a:lnTo>
                      <a:lnTo>
                        <a:pt x="43" y="250"/>
                      </a:lnTo>
                      <a:lnTo>
                        <a:pt x="43" y="250"/>
                      </a:lnTo>
                      <a:lnTo>
                        <a:pt x="47" y="245"/>
                      </a:lnTo>
                      <a:lnTo>
                        <a:pt x="50" y="234"/>
                      </a:lnTo>
                      <a:lnTo>
                        <a:pt x="50" y="223"/>
                      </a:lnTo>
                      <a:lnTo>
                        <a:pt x="49" y="211"/>
                      </a:lnTo>
                      <a:lnTo>
                        <a:pt x="46" y="199"/>
                      </a:lnTo>
                      <a:lnTo>
                        <a:pt x="43" y="189"/>
                      </a:lnTo>
                      <a:lnTo>
                        <a:pt x="40" y="172"/>
                      </a:lnTo>
                      <a:lnTo>
                        <a:pt x="5" y="182"/>
                      </a:lnTo>
                      <a:lnTo>
                        <a:pt x="3" y="182"/>
                      </a:lnTo>
                      <a:lnTo>
                        <a:pt x="2" y="181"/>
                      </a:lnTo>
                      <a:lnTo>
                        <a:pt x="2" y="179"/>
                      </a:lnTo>
                      <a:lnTo>
                        <a:pt x="0" y="177"/>
                      </a:lnTo>
                      <a:lnTo>
                        <a:pt x="2" y="175"/>
                      </a:lnTo>
                      <a:lnTo>
                        <a:pt x="3" y="174"/>
                      </a:lnTo>
                      <a:lnTo>
                        <a:pt x="33" y="166"/>
                      </a:lnTo>
                      <a:lnTo>
                        <a:pt x="38" y="165"/>
                      </a:lnTo>
                      <a:lnTo>
                        <a:pt x="37" y="162"/>
                      </a:lnTo>
                      <a:lnTo>
                        <a:pt x="33" y="136"/>
                      </a:lnTo>
                      <a:lnTo>
                        <a:pt x="33" y="109"/>
                      </a:lnTo>
                      <a:lnTo>
                        <a:pt x="36" y="89"/>
                      </a:lnTo>
                      <a:lnTo>
                        <a:pt x="41" y="71"/>
                      </a:lnTo>
                      <a:lnTo>
                        <a:pt x="50" y="52"/>
                      </a:lnTo>
                      <a:lnTo>
                        <a:pt x="63" y="37"/>
                      </a:lnTo>
                      <a:lnTo>
                        <a:pt x="85" y="20"/>
                      </a:lnTo>
                      <a:lnTo>
                        <a:pt x="113" y="7"/>
                      </a:lnTo>
                      <a:lnTo>
                        <a:pt x="142" y="0"/>
                      </a:lnTo>
                      <a:close/>
                    </a:path>
                  </a:pathLst>
                </a:custGeom>
                <a:solidFill>
                  <a:srgbClr val="148BA2"/>
                </a:solidFill>
                <a:ln w="0">
                  <a:solidFill>
                    <a:srgbClr val="148BA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122" name="Freeform 29"/>
                <p:cNvSpPr>
                  <a:spLocks noEditPoints="1"/>
                </p:cNvSpPr>
                <p:nvPr/>
              </p:nvSpPr>
              <p:spPr bwMode="auto">
                <a:xfrm>
                  <a:off x="6473825" y="4422775"/>
                  <a:ext cx="811213" cy="433388"/>
                </a:xfrm>
                <a:custGeom>
                  <a:avLst/>
                  <a:gdLst>
                    <a:gd name="T0" fmla="*/ 144 w 511"/>
                    <a:gd name="T1" fmla="*/ 97 h 273"/>
                    <a:gd name="T2" fmla="*/ 117 w 511"/>
                    <a:gd name="T3" fmla="*/ 129 h 273"/>
                    <a:gd name="T4" fmla="*/ 155 w 511"/>
                    <a:gd name="T5" fmla="*/ 121 h 273"/>
                    <a:gd name="T6" fmla="*/ 184 w 511"/>
                    <a:gd name="T7" fmla="*/ 90 h 273"/>
                    <a:gd name="T8" fmla="*/ 410 w 511"/>
                    <a:gd name="T9" fmla="*/ 0 h 273"/>
                    <a:gd name="T10" fmla="*/ 423 w 511"/>
                    <a:gd name="T11" fmla="*/ 9 h 273"/>
                    <a:gd name="T12" fmla="*/ 423 w 511"/>
                    <a:gd name="T13" fmla="*/ 38 h 273"/>
                    <a:gd name="T14" fmla="*/ 428 w 511"/>
                    <a:gd name="T15" fmla="*/ 69 h 273"/>
                    <a:gd name="T16" fmla="*/ 461 w 511"/>
                    <a:gd name="T17" fmla="*/ 60 h 273"/>
                    <a:gd name="T18" fmla="*/ 506 w 511"/>
                    <a:gd name="T19" fmla="*/ 23 h 273"/>
                    <a:gd name="T20" fmla="*/ 511 w 511"/>
                    <a:gd name="T21" fmla="*/ 26 h 273"/>
                    <a:gd name="T22" fmla="*/ 502 w 511"/>
                    <a:gd name="T23" fmla="*/ 64 h 273"/>
                    <a:gd name="T24" fmla="*/ 458 w 511"/>
                    <a:gd name="T25" fmla="*/ 133 h 273"/>
                    <a:gd name="T26" fmla="*/ 393 w 511"/>
                    <a:gd name="T27" fmla="*/ 246 h 273"/>
                    <a:gd name="T28" fmla="*/ 380 w 511"/>
                    <a:gd name="T29" fmla="*/ 273 h 273"/>
                    <a:gd name="T30" fmla="*/ 376 w 511"/>
                    <a:gd name="T31" fmla="*/ 272 h 273"/>
                    <a:gd name="T32" fmla="*/ 410 w 511"/>
                    <a:gd name="T33" fmla="*/ 199 h 273"/>
                    <a:gd name="T34" fmla="*/ 483 w 511"/>
                    <a:gd name="T35" fmla="*/ 82 h 273"/>
                    <a:gd name="T36" fmla="*/ 503 w 511"/>
                    <a:gd name="T37" fmla="*/ 35 h 273"/>
                    <a:gd name="T38" fmla="*/ 466 w 511"/>
                    <a:gd name="T39" fmla="*/ 65 h 273"/>
                    <a:gd name="T40" fmla="*/ 430 w 511"/>
                    <a:gd name="T41" fmla="*/ 77 h 273"/>
                    <a:gd name="T42" fmla="*/ 414 w 511"/>
                    <a:gd name="T43" fmla="*/ 56 h 273"/>
                    <a:gd name="T44" fmla="*/ 419 w 511"/>
                    <a:gd name="T45" fmla="*/ 29 h 273"/>
                    <a:gd name="T46" fmla="*/ 407 w 511"/>
                    <a:gd name="T47" fmla="*/ 6 h 273"/>
                    <a:gd name="T48" fmla="*/ 385 w 511"/>
                    <a:gd name="T49" fmla="*/ 25 h 273"/>
                    <a:gd name="T50" fmla="*/ 389 w 511"/>
                    <a:gd name="T51" fmla="*/ 65 h 273"/>
                    <a:gd name="T52" fmla="*/ 401 w 511"/>
                    <a:gd name="T53" fmla="*/ 78 h 273"/>
                    <a:gd name="T54" fmla="*/ 385 w 511"/>
                    <a:gd name="T55" fmla="*/ 89 h 273"/>
                    <a:gd name="T56" fmla="*/ 333 w 511"/>
                    <a:gd name="T57" fmla="*/ 91 h 273"/>
                    <a:gd name="T58" fmla="*/ 259 w 511"/>
                    <a:gd name="T59" fmla="*/ 91 h 273"/>
                    <a:gd name="T60" fmla="*/ 218 w 511"/>
                    <a:gd name="T61" fmla="*/ 115 h 273"/>
                    <a:gd name="T62" fmla="*/ 194 w 511"/>
                    <a:gd name="T63" fmla="*/ 118 h 273"/>
                    <a:gd name="T64" fmla="*/ 186 w 511"/>
                    <a:gd name="T65" fmla="*/ 108 h 273"/>
                    <a:gd name="T66" fmla="*/ 180 w 511"/>
                    <a:gd name="T67" fmla="*/ 108 h 273"/>
                    <a:gd name="T68" fmla="*/ 142 w 511"/>
                    <a:gd name="T69" fmla="*/ 136 h 273"/>
                    <a:gd name="T70" fmla="*/ 109 w 511"/>
                    <a:gd name="T71" fmla="*/ 135 h 273"/>
                    <a:gd name="T72" fmla="*/ 115 w 511"/>
                    <a:gd name="T73" fmla="*/ 116 h 273"/>
                    <a:gd name="T74" fmla="*/ 160 w 511"/>
                    <a:gd name="T75" fmla="*/ 77 h 273"/>
                    <a:gd name="T76" fmla="*/ 187 w 511"/>
                    <a:gd name="T77" fmla="*/ 65 h 273"/>
                    <a:gd name="T78" fmla="*/ 194 w 511"/>
                    <a:gd name="T79" fmla="*/ 69 h 273"/>
                    <a:gd name="T80" fmla="*/ 172 w 511"/>
                    <a:gd name="T81" fmla="*/ 46 h 273"/>
                    <a:gd name="T82" fmla="*/ 96 w 511"/>
                    <a:gd name="T83" fmla="*/ 98 h 273"/>
                    <a:gd name="T84" fmla="*/ 34 w 511"/>
                    <a:gd name="T85" fmla="*/ 141 h 273"/>
                    <a:gd name="T86" fmla="*/ 5 w 511"/>
                    <a:gd name="T87" fmla="*/ 169 h 273"/>
                    <a:gd name="T88" fmla="*/ 2 w 511"/>
                    <a:gd name="T89" fmla="*/ 166 h 273"/>
                    <a:gd name="T90" fmla="*/ 13 w 511"/>
                    <a:gd name="T91" fmla="*/ 149 h 273"/>
                    <a:gd name="T92" fmla="*/ 70 w 511"/>
                    <a:gd name="T93" fmla="*/ 108 h 273"/>
                    <a:gd name="T94" fmla="*/ 143 w 511"/>
                    <a:gd name="T95" fmla="*/ 53 h 273"/>
                    <a:gd name="T96" fmla="*/ 201 w 511"/>
                    <a:gd name="T97" fmla="*/ 27 h 273"/>
                    <a:gd name="T98" fmla="*/ 206 w 511"/>
                    <a:gd name="T99" fmla="*/ 47 h 273"/>
                    <a:gd name="T100" fmla="*/ 191 w 511"/>
                    <a:gd name="T101" fmla="*/ 93 h 273"/>
                    <a:gd name="T102" fmla="*/ 193 w 511"/>
                    <a:gd name="T103" fmla="*/ 106 h 273"/>
                    <a:gd name="T104" fmla="*/ 198 w 511"/>
                    <a:gd name="T105" fmla="*/ 112 h 273"/>
                    <a:gd name="T106" fmla="*/ 212 w 511"/>
                    <a:gd name="T107" fmla="*/ 108 h 273"/>
                    <a:gd name="T108" fmla="*/ 266 w 511"/>
                    <a:gd name="T109" fmla="*/ 82 h 273"/>
                    <a:gd name="T110" fmla="*/ 335 w 511"/>
                    <a:gd name="T111" fmla="*/ 84 h 273"/>
                    <a:gd name="T112" fmla="*/ 383 w 511"/>
                    <a:gd name="T113" fmla="*/ 81 h 273"/>
                    <a:gd name="T114" fmla="*/ 384 w 511"/>
                    <a:gd name="T115" fmla="*/ 69 h 273"/>
                    <a:gd name="T116" fmla="*/ 379 w 511"/>
                    <a:gd name="T117" fmla="*/ 22 h 273"/>
                    <a:gd name="T118" fmla="*/ 401 w 511"/>
                    <a:gd name="T119" fmla="*/ 0 h 2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11" h="273">
                      <a:moveTo>
                        <a:pt x="182" y="73"/>
                      </a:moveTo>
                      <a:lnTo>
                        <a:pt x="164" y="82"/>
                      </a:lnTo>
                      <a:lnTo>
                        <a:pt x="144" y="97"/>
                      </a:lnTo>
                      <a:lnTo>
                        <a:pt x="132" y="107"/>
                      </a:lnTo>
                      <a:lnTo>
                        <a:pt x="122" y="119"/>
                      </a:lnTo>
                      <a:lnTo>
                        <a:pt x="117" y="129"/>
                      </a:lnTo>
                      <a:lnTo>
                        <a:pt x="127" y="132"/>
                      </a:lnTo>
                      <a:lnTo>
                        <a:pt x="142" y="128"/>
                      </a:lnTo>
                      <a:lnTo>
                        <a:pt x="155" y="121"/>
                      </a:lnTo>
                      <a:lnTo>
                        <a:pt x="167" y="112"/>
                      </a:lnTo>
                      <a:lnTo>
                        <a:pt x="176" y="102"/>
                      </a:lnTo>
                      <a:lnTo>
                        <a:pt x="184" y="90"/>
                      </a:lnTo>
                      <a:lnTo>
                        <a:pt x="184" y="86"/>
                      </a:lnTo>
                      <a:lnTo>
                        <a:pt x="182" y="73"/>
                      </a:lnTo>
                      <a:close/>
                      <a:moveTo>
                        <a:pt x="410" y="0"/>
                      </a:moveTo>
                      <a:lnTo>
                        <a:pt x="414" y="1"/>
                      </a:lnTo>
                      <a:lnTo>
                        <a:pt x="419" y="4"/>
                      </a:lnTo>
                      <a:lnTo>
                        <a:pt x="423" y="9"/>
                      </a:lnTo>
                      <a:lnTo>
                        <a:pt x="424" y="13"/>
                      </a:lnTo>
                      <a:lnTo>
                        <a:pt x="426" y="18"/>
                      </a:lnTo>
                      <a:lnTo>
                        <a:pt x="423" y="38"/>
                      </a:lnTo>
                      <a:lnTo>
                        <a:pt x="420" y="57"/>
                      </a:lnTo>
                      <a:lnTo>
                        <a:pt x="423" y="65"/>
                      </a:lnTo>
                      <a:lnTo>
                        <a:pt x="428" y="69"/>
                      </a:lnTo>
                      <a:lnTo>
                        <a:pt x="436" y="69"/>
                      </a:lnTo>
                      <a:lnTo>
                        <a:pt x="445" y="68"/>
                      </a:lnTo>
                      <a:lnTo>
                        <a:pt x="461" y="60"/>
                      </a:lnTo>
                      <a:lnTo>
                        <a:pt x="477" y="48"/>
                      </a:lnTo>
                      <a:lnTo>
                        <a:pt x="491" y="36"/>
                      </a:lnTo>
                      <a:lnTo>
                        <a:pt x="506" y="23"/>
                      </a:lnTo>
                      <a:lnTo>
                        <a:pt x="507" y="23"/>
                      </a:lnTo>
                      <a:lnTo>
                        <a:pt x="509" y="23"/>
                      </a:lnTo>
                      <a:lnTo>
                        <a:pt x="511" y="26"/>
                      </a:lnTo>
                      <a:lnTo>
                        <a:pt x="511" y="27"/>
                      </a:lnTo>
                      <a:lnTo>
                        <a:pt x="508" y="46"/>
                      </a:lnTo>
                      <a:lnTo>
                        <a:pt x="502" y="64"/>
                      </a:lnTo>
                      <a:lnTo>
                        <a:pt x="492" y="81"/>
                      </a:lnTo>
                      <a:lnTo>
                        <a:pt x="475" y="107"/>
                      </a:lnTo>
                      <a:lnTo>
                        <a:pt x="458" y="133"/>
                      </a:lnTo>
                      <a:lnTo>
                        <a:pt x="419" y="199"/>
                      </a:lnTo>
                      <a:lnTo>
                        <a:pt x="406" y="222"/>
                      </a:lnTo>
                      <a:lnTo>
                        <a:pt x="393" y="246"/>
                      </a:lnTo>
                      <a:lnTo>
                        <a:pt x="383" y="272"/>
                      </a:lnTo>
                      <a:lnTo>
                        <a:pt x="383" y="273"/>
                      </a:lnTo>
                      <a:lnTo>
                        <a:pt x="380" y="273"/>
                      </a:lnTo>
                      <a:lnTo>
                        <a:pt x="379" y="273"/>
                      </a:lnTo>
                      <a:lnTo>
                        <a:pt x="377" y="273"/>
                      </a:lnTo>
                      <a:lnTo>
                        <a:pt x="376" y="272"/>
                      </a:lnTo>
                      <a:lnTo>
                        <a:pt x="376" y="269"/>
                      </a:lnTo>
                      <a:lnTo>
                        <a:pt x="392" y="233"/>
                      </a:lnTo>
                      <a:lnTo>
                        <a:pt x="410" y="199"/>
                      </a:lnTo>
                      <a:lnTo>
                        <a:pt x="449" y="135"/>
                      </a:lnTo>
                      <a:lnTo>
                        <a:pt x="466" y="108"/>
                      </a:lnTo>
                      <a:lnTo>
                        <a:pt x="483" y="82"/>
                      </a:lnTo>
                      <a:lnTo>
                        <a:pt x="492" y="65"/>
                      </a:lnTo>
                      <a:lnTo>
                        <a:pt x="500" y="47"/>
                      </a:lnTo>
                      <a:lnTo>
                        <a:pt x="503" y="35"/>
                      </a:lnTo>
                      <a:lnTo>
                        <a:pt x="495" y="42"/>
                      </a:lnTo>
                      <a:lnTo>
                        <a:pt x="482" y="53"/>
                      </a:lnTo>
                      <a:lnTo>
                        <a:pt x="466" y="65"/>
                      </a:lnTo>
                      <a:lnTo>
                        <a:pt x="451" y="73"/>
                      </a:lnTo>
                      <a:lnTo>
                        <a:pt x="440" y="76"/>
                      </a:lnTo>
                      <a:lnTo>
                        <a:pt x="430" y="77"/>
                      </a:lnTo>
                      <a:lnTo>
                        <a:pt x="420" y="73"/>
                      </a:lnTo>
                      <a:lnTo>
                        <a:pt x="415" y="65"/>
                      </a:lnTo>
                      <a:lnTo>
                        <a:pt x="414" y="56"/>
                      </a:lnTo>
                      <a:lnTo>
                        <a:pt x="414" y="47"/>
                      </a:lnTo>
                      <a:lnTo>
                        <a:pt x="417" y="38"/>
                      </a:lnTo>
                      <a:lnTo>
                        <a:pt x="419" y="29"/>
                      </a:lnTo>
                      <a:lnTo>
                        <a:pt x="419" y="18"/>
                      </a:lnTo>
                      <a:lnTo>
                        <a:pt x="415" y="10"/>
                      </a:lnTo>
                      <a:lnTo>
                        <a:pt x="407" y="6"/>
                      </a:lnTo>
                      <a:lnTo>
                        <a:pt x="400" y="8"/>
                      </a:lnTo>
                      <a:lnTo>
                        <a:pt x="393" y="13"/>
                      </a:lnTo>
                      <a:lnTo>
                        <a:pt x="385" y="25"/>
                      </a:lnTo>
                      <a:lnTo>
                        <a:pt x="383" y="39"/>
                      </a:lnTo>
                      <a:lnTo>
                        <a:pt x="384" y="52"/>
                      </a:lnTo>
                      <a:lnTo>
                        <a:pt x="389" y="65"/>
                      </a:lnTo>
                      <a:lnTo>
                        <a:pt x="400" y="74"/>
                      </a:lnTo>
                      <a:lnTo>
                        <a:pt x="401" y="76"/>
                      </a:lnTo>
                      <a:lnTo>
                        <a:pt x="401" y="78"/>
                      </a:lnTo>
                      <a:lnTo>
                        <a:pt x="401" y="80"/>
                      </a:lnTo>
                      <a:lnTo>
                        <a:pt x="400" y="81"/>
                      </a:lnTo>
                      <a:lnTo>
                        <a:pt x="385" y="89"/>
                      </a:lnTo>
                      <a:lnTo>
                        <a:pt x="367" y="91"/>
                      </a:lnTo>
                      <a:lnTo>
                        <a:pt x="350" y="91"/>
                      </a:lnTo>
                      <a:lnTo>
                        <a:pt x="333" y="91"/>
                      </a:lnTo>
                      <a:lnTo>
                        <a:pt x="292" y="89"/>
                      </a:lnTo>
                      <a:lnTo>
                        <a:pt x="275" y="89"/>
                      </a:lnTo>
                      <a:lnTo>
                        <a:pt x="259" y="91"/>
                      </a:lnTo>
                      <a:lnTo>
                        <a:pt x="245" y="98"/>
                      </a:lnTo>
                      <a:lnTo>
                        <a:pt x="231" y="107"/>
                      </a:lnTo>
                      <a:lnTo>
                        <a:pt x="218" y="115"/>
                      </a:lnTo>
                      <a:lnTo>
                        <a:pt x="203" y="120"/>
                      </a:lnTo>
                      <a:lnTo>
                        <a:pt x="198" y="120"/>
                      </a:lnTo>
                      <a:lnTo>
                        <a:pt x="194" y="118"/>
                      </a:lnTo>
                      <a:lnTo>
                        <a:pt x="191" y="116"/>
                      </a:lnTo>
                      <a:lnTo>
                        <a:pt x="187" y="112"/>
                      </a:lnTo>
                      <a:lnTo>
                        <a:pt x="186" y="108"/>
                      </a:lnTo>
                      <a:lnTo>
                        <a:pt x="185" y="104"/>
                      </a:lnTo>
                      <a:lnTo>
                        <a:pt x="185" y="102"/>
                      </a:lnTo>
                      <a:lnTo>
                        <a:pt x="180" y="108"/>
                      </a:lnTo>
                      <a:lnTo>
                        <a:pt x="169" y="119"/>
                      </a:lnTo>
                      <a:lnTo>
                        <a:pt x="156" y="129"/>
                      </a:lnTo>
                      <a:lnTo>
                        <a:pt x="142" y="136"/>
                      </a:lnTo>
                      <a:lnTo>
                        <a:pt x="127" y="139"/>
                      </a:lnTo>
                      <a:lnTo>
                        <a:pt x="110" y="136"/>
                      </a:lnTo>
                      <a:lnTo>
                        <a:pt x="109" y="135"/>
                      </a:lnTo>
                      <a:lnTo>
                        <a:pt x="109" y="133"/>
                      </a:lnTo>
                      <a:lnTo>
                        <a:pt x="109" y="132"/>
                      </a:lnTo>
                      <a:lnTo>
                        <a:pt x="115" y="116"/>
                      </a:lnTo>
                      <a:lnTo>
                        <a:pt x="126" y="103"/>
                      </a:lnTo>
                      <a:lnTo>
                        <a:pt x="139" y="91"/>
                      </a:lnTo>
                      <a:lnTo>
                        <a:pt x="160" y="77"/>
                      </a:lnTo>
                      <a:lnTo>
                        <a:pt x="184" y="64"/>
                      </a:lnTo>
                      <a:lnTo>
                        <a:pt x="185" y="64"/>
                      </a:lnTo>
                      <a:lnTo>
                        <a:pt x="187" y="65"/>
                      </a:lnTo>
                      <a:lnTo>
                        <a:pt x="189" y="67"/>
                      </a:lnTo>
                      <a:lnTo>
                        <a:pt x="190" y="80"/>
                      </a:lnTo>
                      <a:lnTo>
                        <a:pt x="194" y="69"/>
                      </a:lnTo>
                      <a:lnTo>
                        <a:pt x="198" y="51"/>
                      </a:lnTo>
                      <a:lnTo>
                        <a:pt x="197" y="36"/>
                      </a:lnTo>
                      <a:lnTo>
                        <a:pt x="172" y="46"/>
                      </a:lnTo>
                      <a:lnTo>
                        <a:pt x="146" y="61"/>
                      </a:lnTo>
                      <a:lnTo>
                        <a:pt x="121" y="80"/>
                      </a:lnTo>
                      <a:lnTo>
                        <a:pt x="96" y="98"/>
                      </a:lnTo>
                      <a:lnTo>
                        <a:pt x="74" y="115"/>
                      </a:lnTo>
                      <a:lnTo>
                        <a:pt x="50" y="131"/>
                      </a:lnTo>
                      <a:lnTo>
                        <a:pt x="34" y="141"/>
                      </a:lnTo>
                      <a:lnTo>
                        <a:pt x="20" y="153"/>
                      </a:lnTo>
                      <a:lnTo>
                        <a:pt x="7" y="167"/>
                      </a:lnTo>
                      <a:lnTo>
                        <a:pt x="5" y="169"/>
                      </a:lnTo>
                      <a:lnTo>
                        <a:pt x="4" y="169"/>
                      </a:lnTo>
                      <a:lnTo>
                        <a:pt x="3" y="167"/>
                      </a:lnTo>
                      <a:lnTo>
                        <a:pt x="2" y="166"/>
                      </a:lnTo>
                      <a:lnTo>
                        <a:pt x="0" y="165"/>
                      </a:lnTo>
                      <a:lnTo>
                        <a:pt x="2" y="163"/>
                      </a:lnTo>
                      <a:lnTo>
                        <a:pt x="13" y="149"/>
                      </a:lnTo>
                      <a:lnTo>
                        <a:pt x="29" y="136"/>
                      </a:lnTo>
                      <a:lnTo>
                        <a:pt x="45" y="125"/>
                      </a:lnTo>
                      <a:lnTo>
                        <a:pt x="70" y="108"/>
                      </a:lnTo>
                      <a:lnTo>
                        <a:pt x="95" y="90"/>
                      </a:lnTo>
                      <a:lnTo>
                        <a:pt x="118" y="72"/>
                      </a:lnTo>
                      <a:lnTo>
                        <a:pt x="143" y="53"/>
                      </a:lnTo>
                      <a:lnTo>
                        <a:pt x="169" y="38"/>
                      </a:lnTo>
                      <a:lnTo>
                        <a:pt x="198" y="27"/>
                      </a:lnTo>
                      <a:lnTo>
                        <a:pt x="201" y="27"/>
                      </a:lnTo>
                      <a:lnTo>
                        <a:pt x="202" y="29"/>
                      </a:lnTo>
                      <a:lnTo>
                        <a:pt x="203" y="30"/>
                      </a:lnTo>
                      <a:lnTo>
                        <a:pt x="206" y="47"/>
                      </a:lnTo>
                      <a:lnTo>
                        <a:pt x="203" y="63"/>
                      </a:lnTo>
                      <a:lnTo>
                        <a:pt x="198" y="80"/>
                      </a:lnTo>
                      <a:lnTo>
                        <a:pt x="191" y="93"/>
                      </a:lnTo>
                      <a:lnTo>
                        <a:pt x="191" y="99"/>
                      </a:lnTo>
                      <a:lnTo>
                        <a:pt x="191" y="103"/>
                      </a:lnTo>
                      <a:lnTo>
                        <a:pt x="193" y="106"/>
                      </a:lnTo>
                      <a:lnTo>
                        <a:pt x="194" y="108"/>
                      </a:lnTo>
                      <a:lnTo>
                        <a:pt x="195" y="111"/>
                      </a:lnTo>
                      <a:lnTo>
                        <a:pt x="198" y="112"/>
                      </a:lnTo>
                      <a:lnTo>
                        <a:pt x="201" y="112"/>
                      </a:lnTo>
                      <a:lnTo>
                        <a:pt x="207" y="111"/>
                      </a:lnTo>
                      <a:lnTo>
                        <a:pt x="212" y="108"/>
                      </a:lnTo>
                      <a:lnTo>
                        <a:pt x="229" y="99"/>
                      </a:lnTo>
                      <a:lnTo>
                        <a:pt x="246" y="89"/>
                      </a:lnTo>
                      <a:lnTo>
                        <a:pt x="266" y="82"/>
                      </a:lnTo>
                      <a:lnTo>
                        <a:pt x="288" y="81"/>
                      </a:lnTo>
                      <a:lnTo>
                        <a:pt x="312" y="82"/>
                      </a:lnTo>
                      <a:lnTo>
                        <a:pt x="335" y="84"/>
                      </a:lnTo>
                      <a:lnTo>
                        <a:pt x="350" y="85"/>
                      </a:lnTo>
                      <a:lnTo>
                        <a:pt x="367" y="85"/>
                      </a:lnTo>
                      <a:lnTo>
                        <a:pt x="383" y="81"/>
                      </a:lnTo>
                      <a:lnTo>
                        <a:pt x="390" y="77"/>
                      </a:lnTo>
                      <a:lnTo>
                        <a:pt x="388" y="74"/>
                      </a:lnTo>
                      <a:lnTo>
                        <a:pt x="384" y="69"/>
                      </a:lnTo>
                      <a:lnTo>
                        <a:pt x="376" y="55"/>
                      </a:lnTo>
                      <a:lnTo>
                        <a:pt x="375" y="39"/>
                      </a:lnTo>
                      <a:lnTo>
                        <a:pt x="379" y="22"/>
                      </a:lnTo>
                      <a:lnTo>
                        <a:pt x="388" y="9"/>
                      </a:lnTo>
                      <a:lnTo>
                        <a:pt x="393" y="4"/>
                      </a:lnTo>
                      <a:lnTo>
                        <a:pt x="401" y="0"/>
                      </a:lnTo>
                      <a:lnTo>
                        <a:pt x="410" y="0"/>
                      </a:lnTo>
                      <a:close/>
                    </a:path>
                  </a:pathLst>
                </a:custGeom>
                <a:solidFill>
                  <a:srgbClr val="148BA2"/>
                </a:solidFill>
                <a:ln w="0">
                  <a:solidFill>
                    <a:srgbClr val="148BA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123" name="Freeform 30"/>
                <p:cNvSpPr>
                  <a:spLocks/>
                </p:cNvSpPr>
                <p:nvPr/>
              </p:nvSpPr>
              <p:spPr bwMode="auto">
                <a:xfrm>
                  <a:off x="4684713" y="4794250"/>
                  <a:ext cx="646113" cy="73025"/>
                </a:xfrm>
                <a:custGeom>
                  <a:avLst/>
                  <a:gdLst>
                    <a:gd name="T0" fmla="*/ 0 w 407"/>
                    <a:gd name="T1" fmla="*/ 0 h 46"/>
                    <a:gd name="T2" fmla="*/ 407 w 407"/>
                    <a:gd name="T3" fmla="*/ 0 h 46"/>
                    <a:gd name="T4" fmla="*/ 394 w 407"/>
                    <a:gd name="T5" fmla="*/ 46 h 46"/>
                    <a:gd name="T6" fmla="*/ 0 w 407"/>
                    <a:gd name="T7" fmla="*/ 46 h 46"/>
                    <a:gd name="T8" fmla="*/ 0 w 407"/>
                    <a:gd name="T9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07" h="46">
                      <a:moveTo>
                        <a:pt x="0" y="0"/>
                      </a:moveTo>
                      <a:lnTo>
                        <a:pt x="407" y="0"/>
                      </a:lnTo>
                      <a:lnTo>
                        <a:pt x="394" y="46"/>
                      </a:lnTo>
                      <a:lnTo>
                        <a:pt x="0" y="4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rgbClr val="E3FDF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124" name="Rectangle 31"/>
                <p:cNvSpPr>
                  <a:spLocks noChangeArrowheads="1"/>
                </p:cNvSpPr>
                <p:nvPr/>
              </p:nvSpPr>
              <p:spPr bwMode="auto">
                <a:xfrm>
                  <a:off x="4610100" y="1789113"/>
                  <a:ext cx="2095500" cy="73025"/>
                </a:xfrm>
                <a:prstGeom prst="rect">
                  <a:avLst/>
                </a:prstGeom>
                <a:solidFill>
                  <a:srgbClr val="7F7F7F"/>
                </a:solidFill>
                <a:ln w="0">
                  <a:solidFill>
                    <a:srgbClr val="7F7F7F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125" name="Rectangle 32"/>
                <p:cNvSpPr>
                  <a:spLocks noChangeArrowheads="1"/>
                </p:cNvSpPr>
                <p:nvPr/>
              </p:nvSpPr>
              <p:spPr bwMode="auto">
                <a:xfrm>
                  <a:off x="4610100" y="1938338"/>
                  <a:ext cx="3052763" cy="73025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126" name="Rectangle 33"/>
                <p:cNvSpPr>
                  <a:spLocks noChangeArrowheads="1"/>
                </p:cNvSpPr>
                <p:nvPr/>
              </p:nvSpPr>
              <p:spPr bwMode="auto">
                <a:xfrm>
                  <a:off x="4610100" y="2265363"/>
                  <a:ext cx="1385888" cy="69850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127" name="Rectangle 34"/>
                <p:cNvSpPr>
                  <a:spLocks noChangeArrowheads="1"/>
                </p:cNvSpPr>
                <p:nvPr/>
              </p:nvSpPr>
              <p:spPr bwMode="auto">
                <a:xfrm>
                  <a:off x="6370638" y="4119563"/>
                  <a:ext cx="1011238" cy="69850"/>
                </a:xfrm>
                <a:prstGeom prst="rect">
                  <a:avLst/>
                </a:prstGeom>
                <a:solidFill>
                  <a:srgbClr val="818287"/>
                </a:solidFill>
                <a:ln w="0">
                  <a:solidFill>
                    <a:srgbClr val="818287"/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128" name="Freeform 35"/>
                <p:cNvSpPr>
                  <a:spLocks noEditPoints="1"/>
                </p:cNvSpPr>
                <p:nvPr/>
              </p:nvSpPr>
              <p:spPr bwMode="auto">
                <a:xfrm>
                  <a:off x="6370638" y="4268788"/>
                  <a:ext cx="598488" cy="73025"/>
                </a:xfrm>
                <a:custGeom>
                  <a:avLst/>
                  <a:gdLst>
                    <a:gd name="T0" fmla="*/ 211 w 377"/>
                    <a:gd name="T1" fmla="*/ 17 h 46"/>
                    <a:gd name="T2" fmla="*/ 212 w 377"/>
                    <a:gd name="T3" fmla="*/ 17 h 46"/>
                    <a:gd name="T4" fmla="*/ 222 w 377"/>
                    <a:gd name="T5" fmla="*/ 18 h 46"/>
                    <a:gd name="T6" fmla="*/ 232 w 377"/>
                    <a:gd name="T7" fmla="*/ 21 h 46"/>
                    <a:gd name="T8" fmla="*/ 239 w 377"/>
                    <a:gd name="T9" fmla="*/ 27 h 46"/>
                    <a:gd name="T10" fmla="*/ 243 w 377"/>
                    <a:gd name="T11" fmla="*/ 31 h 46"/>
                    <a:gd name="T12" fmla="*/ 245 w 377"/>
                    <a:gd name="T13" fmla="*/ 35 h 46"/>
                    <a:gd name="T14" fmla="*/ 246 w 377"/>
                    <a:gd name="T15" fmla="*/ 40 h 46"/>
                    <a:gd name="T16" fmla="*/ 247 w 377"/>
                    <a:gd name="T17" fmla="*/ 46 h 46"/>
                    <a:gd name="T18" fmla="*/ 140 w 377"/>
                    <a:gd name="T19" fmla="*/ 46 h 46"/>
                    <a:gd name="T20" fmla="*/ 161 w 377"/>
                    <a:gd name="T21" fmla="*/ 30 h 46"/>
                    <a:gd name="T22" fmla="*/ 186 w 377"/>
                    <a:gd name="T23" fmla="*/ 20 h 46"/>
                    <a:gd name="T24" fmla="*/ 211 w 377"/>
                    <a:gd name="T25" fmla="*/ 17 h 46"/>
                    <a:gd name="T26" fmla="*/ 0 w 377"/>
                    <a:gd name="T27" fmla="*/ 0 h 46"/>
                    <a:gd name="T28" fmla="*/ 377 w 377"/>
                    <a:gd name="T29" fmla="*/ 0 h 46"/>
                    <a:gd name="T30" fmla="*/ 377 w 377"/>
                    <a:gd name="T31" fmla="*/ 46 h 46"/>
                    <a:gd name="T32" fmla="*/ 255 w 377"/>
                    <a:gd name="T33" fmla="*/ 46 h 46"/>
                    <a:gd name="T34" fmla="*/ 255 w 377"/>
                    <a:gd name="T35" fmla="*/ 44 h 46"/>
                    <a:gd name="T36" fmla="*/ 251 w 377"/>
                    <a:gd name="T37" fmla="*/ 31 h 46"/>
                    <a:gd name="T38" fmla="*/ 243 w 377"/>
                    <a:gd name="T39" fmla="*/ 22 h 46"/>
                    <a:gd name="T40" fmla="*/ 234 w 377"/>
                    <a:gd name="T41" fmla="*/ 14 h 46"/>
                    <a:gd name="T42" fmla="*/ 222 w 377"/>
                    <a:gd name="T43" fmla="*/ 10 h 46"/>
                    <a:gd name="T44" fmla="*/ 209 w 377"/>
                    <a:gd name="T45" fmla="*/ 9 h 46"/>
                    <a:gd name="T46" fmla="*/ 207 w 377"/>
                    <a:gd name="T47" fmla="*/ 9 h 46"/>
                    <a:gd name="T48" fmla="*/ 178 w 377"/>
                    <a:gd name="T49" fmla="*/ 14 h 46"/>
                    <a:gd name="T50" fmla="*/ 152 w 377"/>
                    <a:gd name="T51" fmla="*/ 27 h 46"/>
                    <a:gd name="T52" fmla="*/ 129 w 377"/>
                    <a:gd name="T53" fmla="*/ 46 h 46"/>
                    <a:gd name="T54" fmla="*/ 0 w 377"/>
                    <a:gd name="T55" fmla="*/ 46 h 46"/>
                    <a:gd name="T56" fmla="*/ 0 w 377"/>
                    <a:gd name="T57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77" h="46">
                      <a:moveTo>
                        <a:pt x="211" y="17"/>
                      </a:moveTo>
                      <a:lnTo>
                        <a:pt x="212" y="17"/>
                      </a:lnTo>
                      <a:lnTo>
                        <a:pt x="222" y="18"/>
                      </a:lnTo>
                      <a:lnTo>
                        <a:pt x="232" y="21"/>
                      </a:lnTo>
                      <a:lnTo>
                        <a:pt x="239" y="27"/>
                      </a:lnTo>
                      <a:lnTo>
                        <a:pt x="243" y="31"/>
                      </a:lnTo>
                      <a:lnTo>
                        <a:pt x="245" y="35"/>
                      </a:lnTo>
                      <a:lnTo>
                        <a:pt x="246" y="40"/>
                      </a:lnTo>
                      <a:lnTo>
                        <a:pt x="247" y="46"/>
                      </a:lnTo>
                      <a:lnTo>
                        <a:pt x="140" y="46"/>
                      </a:lnTo>
                      <a:lnTo>
                        <a:pt x="161" y="30"/>
                      </a:lnTo>
                      <a:lnTo>
                        <a:pt x="186" y="20"/>
                      </a:lnTo>
                      <a:lnTo>
                        <a:pt x="211" y="17"/>
                      </a:lnTo>
                      <a:close/>
                      <a:moveTo>
                        <a:pt x="0" y="0"/>
                      </a:moveTo>
                      <a:lnTo>
                        <a:pt x="377" y="0"/>
                      </a:lnTo>
                      <a:lnTo>
                        <a:pt x="377" y="46"/>
                      </a:lnTo>
                      <a:lnTo>
                        <a:pt x="255" y="46"/>
                      </a:lnTo>
                      <a:lnTo>
                        <a:pt x="255" y="44"/>
                      </a:lnTo>
                      <a:lnTo>
                        <a:pt x="251" y="31"/>
                      </a:lnTo>
                      <a:lnTo>
                        <a:pt x="243" y="22"/>
                      </a:lnTo>
                      <a:lnTo>
                        <a:pt x="234" y="14"/>
                      </a:lnTo>
                      <a:lnTo>
                        <a:pt x="222" y="10"/>
                      </a:lnTo>
                      <a:lnTo>
                        <a:pt x="209" y="9"/>
                      </a:lnTo>
                      <a:lnTo>
                        <a:pt x="207" y="9"/>
                      </a:lnTo>
                      <a:lnTo>
                        <a:pt x="178" y="14"/>
                      </a:lnTo>
                      <a:lnTo>
                        <a:pt x="152" y="27"/>
                      </a:lnTo>
                      <a:lnTo>
                        <a:pt x="129" y="46"/>
                      </a:lnTo>
                      <a:lnTo>
                        <a:pt x="0" y="4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75000"/>
                  </a:sysClr>
                </a:solidFill>
                <a:ln w="0">
                  <a:solidFill>
                    <a:sysClr val="window" lastClr="FFFFFF">
                      <a:lumMod val="75000"/>
                    </a:sys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129" name="Freeform 36"/>
                <p:cNvSpPr>
                  <a:spLocks/>
                </p:cNvSpPr>
                <p:nvPr/>
              </p:nvSpPr>
              <p:spPr bwMode="auto">
                <a:xfrm>
                  <a:off x="6575425" y="4283075"/>
                  <a:ext cx="200025" cy="58738"/>
                </a:xfrm>
                <a:custGeom>
                  <a:avLst/>
                  <a:gdLst>
                    <a:gd name="T0" fmla="*/ 80 w 126"/>
                    <a:gd name="T1" fmla="*/ 0 h 37"/>
                    <a:gd name="T2" fmla="*/ 93 w 126"/>
                    <a:gd name="T3" fmla="*/ 1 h 37"/>
                    <a:gd name="T4" fmla="*/ 105 w 126"/>
                    <a:gd name="T5" fmla="*/ 5 h 37"/>
                    <a:gd name="T6" fmla="*/ 114 w 126"/>
                    <a:gd name="T7" fmla="*/ 13 h 37"/>
                    <a:gd name="T8" fmla="*/ 122 w 126"/>
                    <a:gd name="T9" fmla="*/ 22 h 37"/>
                    <a:gd name="T10" fmla="*/ 126 w 126"/>
                    <a:gd name="T11" fmla="*/ 35 h 37"/>
                    <a:gd name="T12" fmla="*/ 126 w 126"/>
                    <a:gd name="T13" fmla="*/ 37 h 37"/>
                    <a:gd name="T14" fmla="*/ 118 w 126"/>
                    <a:gd name="T15" fmla="*/ 37 h 37"/>
                    <a:gd name="T16" fmla="*/ 117 w 126"/>
                    <a:gd name="T17" fmla="*/ 31 h 37"/>
                    <a:gd name="T18" fmla="*/ 116 w 126"/>
                    <a:gd name="T19" fmla="*/ 26 h 37"/>
                    <a:gd name="T20" fmla="*/ 114 w 126"/>
                    <a:gd name="T21" fmla="*/ 22 h 37"/>
                    <a:gd name="T22" fmla="*/ 110 w 126"/>
                    <a:gd name="T23" fmla="*/ 18 h 37"/>
                    <a:gd name="T24" fmla="*/ 103 w 126"/>
                    <a:gd name="T25" fmla="*/ 12 h 37"/>
                    <a:gd name="T26" fmla="*/ 93 w 126"/>
                    <a:gd name="T27" fmla="*/ 9 h 37"/>
                    <a:gd name="T28" fmla="*/ 83 w 126"/>
                    <a:gd name="T29" fmla="*/ 8 h 37"/>
                    <a:gd name="T30" fmla="*/ 82 w 126"/>
                    <a:gd name="T31" fmla="*/ 8 h 37"/>
                    <a:gd name="T32" fmla="*/ 57 w 126"/>
                    <a:gd name="T33" fmla="*/ 11 h 37"/>
                    <a:gd name="T34" fmla="*/ 32 w 126"/>
                    <a:gd name="T35" fmla="*/ 21 h 37"/>
                    <a:gd name="T36" fmla="*/ 11 w 126"/>
                    <a:gd name="T37" fmla="*/ 37 h 37"/>
                    <a:gd name="T38" fmla="*/ 0 w 126"/>
                    <a:gd name="T39" fmla="*/ 37 h 37"/>
                    <a:gd name="T40" fmla="*/ 23 w 126"/>
                    <a:gd name="T41" fmla="*/ 18 h 37"/>
                    <a:gd name="T42" fmla="*/ 49 w 126"/>
                    <a:gd name="T43" fmla="*/ 5 h 37"/>
                    <a:gd name="T44" fmla="*/ 78 w 126"/>
                    <a:gd name="T45" fmla="*/ 0 h 37"/>
                    <a:gd name="T46" fmla="*/ 80 w 126"/>
                    <a:gd name="T47" fmla="*/ 0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26" h="37">
                      <a:moveTo>
                        <a:pt x="80" y="0"/>
                      </a:moveTo>
                      <a:lnTo>
                        <a:pt x="93" y="1"/>
                      </a:lnTo>
                      <a:lnTo>
                        <a:pt x="105" y="5"/>
                      </a:lnTo>
                      <a:lnTo>
                        <a:pt x="114" y="13"/>
                      </a:lnTo>
                      <a:lnTo>
                        <a:pt x="122" y="22"/>
                      </a:lnTo>
                      <a:lnTo>
                        <a:pt x="126" y="35"/>
                      </a:lnTo>
                      <a:lnTo>
                        <a:pt x="126" y="37"/>
                      </a:lnTo>
                      <a:lnTo>
                        <a:pt x="118" y="37"/>
                      </a:lnTo>
                      <a:lnTo>
                        <a:pt x="117" y="31"/>
                      </a:lnTo>
                      <a:lnTo>
                        <a:pt x="116" y="26"/>
                      </a:lnTo>
                      <a:lnTo>
                        <a:pt x="114" y="22"/>
                      </a:lnTo>
                      <a:lnTo>
                        <a:pt x="110" y="18"/>
                      </a:lnTo>
                      <a:lnTo>
                        <a:pt x="103" y="12"/>
                      </a:lnTo>
                      <a:lnTo>
                        <a:pt x="93" y="9"/>
                      </a:lnTo>
                      <a:lnTo>
                        <a:pt x="83" y="8"/>
                      </a:lnTo>
                      <a:lnTo>
                        <a:pt x="82" y="8"/>
                      </a:lnTo>
                      <a:lnTo>
                        <a:pt x="57" y="11"/>
                      </a:lnTo>
                      <a:lnTo>
                        <a:pt x="32" y="21"/>
                      </a:lnTo>
                      <a:lnTo>
                        <a:pt x="11" y="37"/>
                      </a:lnTo>
                      <a:lnTo>
                        <a:pt x="0" y="37"/>
                      </a:lnTo>
                      <a:lnTo>
                        <a:pt x="23" y="18"/>
                      </a:lnTo>
                      <a:lnTo>
                        <a:pt x="49" y="5"/>
                      </a:lnTo>
                      <a:lnTo>
                        <a:pt x="78" y="0"/>
                      </a:lnTo>
                      <a:lnTo>
                        <a:pt x="80" y="0"/>
                      </a:lnTo>
                      <a:close/>
                    </a:path>
                  </a:pathLst>
                </a:custGeom>
                <a:solidFill>
                  <a:srgbClr val="148BA2"/>
                </a:solidFill>
                <a:ln w="0">
                  <a:solidFill>
                    <a:srgbClr val="148BA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130" name="Freeform 37"/>
                <p:cNvSpPr>
                  <a:spLocks/>
                </p:cNvSpPr>
                <p:nvPr/>
              </p:nvSpPr>
              <p:spPr bwMode="auto">
                <a:xfrm>
                  <a:off x="6370638" y="4794250"/>
                  <a:ext cx="842963" cy="73025"/>
                </a:xfrm>
                <a:custGeom>
                  <a:avLst/>
                  <a:gdLst>
                    <a:gd name="T0" fmla="*/ 0 w 531"/>
                    <a:gd name="T1" fmla="*/ 0 h 46"/>
                    <a:gd name="T2" fmla="*/ 455 w 531"/>
                    <a:gd name="T3" fmla="*/ 0 h 46"/>
                    <a:gd name="T4" fmla="*/ 441 w 531"/>
                    <a:gd name="T5" fmla="*/ 35 h 46"/>
                    <a:gd name="T6" fmla="*/ 441 w 531"/>
                    <a:gd name="T7" fmla="*/ 37 h 46"/>
                    <a:gd name="T8" fmla="*/ 442 w 531"/>
                    <a:gd name="T9" fmla="*/ 39 h 46"/>
                    <a:gd name="T10" fmla="*/ 444 w 531"/>
                    <a:gd name="T11" fmla="*/ 39 h 46"/>
                    <a:gd name="T12" fmla="*/ 445 w 531"/>
                    <a:gd name="T13" fmla="*/ 39 h 46"/>
                    <a:gd name="T14" fmla="*/ 446 w 531"/>
                    <a:gd name="T15" fmla="*/ 39 h 46"/>
                    <a:gd name="T16" fmla="*/ 448 w 531"/>
                    <a:gd name="T17" fmla="*/ 39 h 46"/>
                    <a:gd name="T18" fmla="*/ 448 w 531"/>
                    <a:gd name="T19" fmla="*/ 38 h 46"/>
                    <a:gd name="T20" fmla="*/ 455 w 531"/>
                    <a:gd name="T21" fmla="*/ 18 h 46"/>
                    <a:gd name="T22" fmla="*/ 465 w 531"/>
                    <a:gd name="T23" fmla="*/ 0 h 46"/>
                    <a:gd name="T24" fmla="*/ 531 w 531"/>
                    <a:gd name="T25" fmla="*/ 0 h 46"/>
                    <a:gd name="T26" fmla="*/ 531 w 531"/>
                    <a:gd name="T27" fmla="*/ 46 h 46"/>
                    <a:gd name="T28" fmla="*/ 0 w 531"/>
                    <a:gd name="T29" fmla="*/ 46 h 46"/>
                    <a:gd name="T30" fmla="*/ 0 w 531"/>
                    <a:gd name="T31" fmla="*/ 0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531" h="46">
                      <a:moveTo>
                        <a:pt x="0" y="0"/>
                      </a:moveTo>
                      <a:lnTo>
                        <a:pt x="455" y="0"/>
                      </a:lnTo>
                      <a:lnTo>
                        <a:pt x="441" y="35"/>
                      </a:lnTo>
                      <a:lnTo>
                        <a:pt x="441" y="37"/>
                      </a:lnTo>
                      <a:lnTo>
                        <a:pt x="442" y="39"/>
                      </a:lnTo>
                      <a:lnTo>
                        <a:pt x="444" y="39"/>
                      </a:lnTo>
                      <a:lnTo>
                        <a:pt x="445" y="39"/>
                      </a:lnTo>
                      <a:lnTo>
                        <a:pt x="446" y="39"/>
                      </a:lnTo>
                      <a:lnTo>
                        <a:pt x="448" y="39"/>
                      </a:lnTo>
                      <a:lnTo>
                        <a:pt x="448" y="38"/>
                      </a:lnTo>
                      <a:lnTo>
                        <a:pt x="455" y="18"/>
                      </a:lnTo>
                      <a:lnTo>
                        <a:pt x="465" y="0"/>
                      </a:lnTo>
                      <a:lnTo>
                        <a:pt x="531" y="0"/>
                      </a:lnTo>
                      <a:lnTo>
                        <a:pt x="531" y="46"/>
                      </a:lnTo>
                      <a:lnTo>
                        <a:pt x="0" y="46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rgbClr val="E3FDFC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131" name="Freeform 38"/>
                <p:cNvSpPr>
                  <a:spLocks/>
                </p:cNvSpPr>
                <p:nvPr/>
              </p:nvSpPr>
              <p:spPr bwMode="auto">
                <a:xfrm>
                  <a:off x="7070725" y="4794250"/>
                  <a:ext cx="38100" cy="61913"/>
                </a:xfrm>
                <a:custGeom>
                  <a:avLst/>
                  <a:gdLst>
                    <a:gd name="T0" fmla="*/ 14 w 24"/>
                    <a:gd name="T1" fmla="*/ 0 h 39"/>
                    <a:gd name="T2" fmla="*/ 24 w 24"/>
                    <a:gd name="T3" fmla="*/ 0 h 39"/>
                    <a:gd name="T4" fmla="*/ 14 w 24"/>
                    <a:gd name="T5" fmla="*/ 18 h 39"/>
                    <a:gd name="T6" fmla="*/ 7 w 24"/>
                    <a:gd name="T7" fmla="*/ 38 h 39"/>
                    <a:gd name="T8" fmla="*/ 7 w 24"/>
                    <a:gd name="T9" fmla="*/ 39 h 39"/>
                    <a:gd name="T10" fmla="*/ 5 w 24"/>
                    <a:gd name="T11" fmla="*/ 39 h 39"/>
                    <a:gd name="T12" fmla="*/ 4 w 24"/>
                    <a:gd name="T13" fmla="*/ 39 h 39"/>
                    <a:gd name="T14" fmla="*/ 3 w 24"/>
                    <a:gd name="T15" fmla="*/ 39 h 39"/>
                    <a:gd name="T16" fmla="*/ 1 w 24"/>
                    <a:gd name="T17" fmla="*/ 39 h 39"/>
                    <a:gd name="T18" fmla="*/ 0 w 24"/>
                    <a:gd name="T19" fmla="*/ 37 h 39"/>
                    <a:gd name="T20" fmla="*/ 0 w 24"/>
                    <a:gd name="T21" fmla="*/ 35 h 39"/>
                    <a:gd name="T22" fmla="*/ 14 w 24"/>
                    <a:gd name="T23" fmla="*/ 0 h 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4" h="39">
                      <a:moveTo>
                        <a:pt x="14" y="0"/>
                      </a:moveTo>
                      <a:lnTo>
                        <a:pt x="24" y="0"/>
                      </a:lnTo>
                      <a:lnTo>
                        <a:pt x="14" y="18"/>
                      </a:lnTo>
                      <a:lnTo>
                        <a:pt x="7" y="38"/>
                      </a:lnTo>
                      <a:lnTo>
                        <a:pt x="7" y="39"/>
                      </a:lnTo>
                      <a:lnTo>
                        <a:pt x="5" y="39"/>
                      </a:lnTo>
                      <a:lnTo>
                        <a:pt x="4" y="39"/>
                      </a:lnTo>
                      <a:lnTo>
                        <a:pt x="3" y="39"/>
                      </a:lnTo>
                      <a:lnTo>
                        <a:pt x="1" y="39"/>
                      </a:lnTo>
                      <a:lnTo>
                        <a:pt x="0" y="37"/>
                      </a:lnTo>
                      <a:lnTo>
                        <a:pt x="0" y="35"/>
                      </a:lnTo>
                      <a:lnTo>
                        <a:pt x="14" y="0"/>
                      </a:lnTo>
                      <a:close/>
                    </a:path>
                  </a:pathLst>
                </a:custGeom>
                <a:solidFill>
                  <a:srgbClr val="148BA2"/>
                </a:solidFill>
                <a:ln w="0">
                  <a:solidFill>
                    <a:srgbClr val="148BA2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132" name="Rectangle 49"/>
                <p:cNvSpPr>
                  <a:spLocks noChangeArrowheads="1"/>
                </p:cNvSpPr>
                <p:nvPr/>
              </p:nvSpPr>
              <p:spPr bwMode="auto">
                <a:xfrm>
                  <a:off x="4610100" y="2994025"/>
                  <a:ext cx="3052763" cy="73025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133" name="Freeform 50"/>
                <p:cNvSpPr>
                  <a:spLocks noEditPoints="1"/>
                </p:cNvSpPr>
                <p:nvPr/>
              </p:nvSpPr>
              <p:spPr bwMode="auto">
                <a:xfrm>
                  <a:off x="4610100" y="3146425"/>
                  <a:ext cx="1385888" cy="69850"/>
                </a:xfrm>
                <a:custGeom>
                  <a:avLst/>
                  <a:gdLst>
                    <a:gd name="T0" fmla="*/ 864 w 873"/>
                    <a:gd name="T1" fmla="*/ 0 h 44"/>
                    <a:gd name="T2" fmla="*/ 873 w 873"/>
                    <a:gd name="T3" fmla="*/ 0 h 44"/>
                    <a:gd name="T4" fmla="*/ 873 w 873"/>
                    <a:gd name="T5" fmla="*/ 44 h 44"/>
                    <a:gd name="T6" fmla="*/ 872 w 873"/>
                    <a:gd name="T7" fmla="*/ 44 h 44"/>
                    <a:gd name="T8" fmla="*/ 872 w 873"/>
                    <a:gd name="T9" fmla="*/ 21 h 44"/>
                    <a:gd name="T10" fmla="*/ 861 w 873"/>
                    <a:gd name="T11" fmla="*/ 18 h 44"/>
                    <a:gd name="T12" fmla="*/ 864 w 873"/>
                    <a:gd name="T13" fmla="*/ 0 h 44"/>
                    <a:gd name="T14" fmla="*/ 0 w 873"/>
                    <a:gd name="T15" fmla="*/ 0 h 44"/>
                    <a:gd name="T16" fmla="*/ 854 w 873"/>
                    <a:gd name="T17" fmla="*/ 0 h 44"/>
                    <a:gd name="T18" fmla="*/ 847 w 873"/>
                    <a:gd name="T19" fmla="*/ 14 h 44"/>
                    <a:gd name="T20" fmla="*/ 847 w 873"/>
                    <a:gd name="T21" fmla="*/ 13 h 44"/>
                    <a:gd name="T22" fmla="*/ 838 w 873"/>
                    <a:gd name="T23" fmla="*/ 10 h 44"/>
                    <a:gd name="T24" fmla="*/ 816 w 873"/>
                    <a:gd name="T25" fmla="*/ 44 h 44"/>
                    <a:gd name="T26" fmla="*/ 0 w 873"/>
                    <a:gd name="T27" fmla="*/ 44 h 44"/>
                    <a:gd name="T28" fmla="*/ 0 w 873"/>
                    <a:gd name="T29" fmla="*/ 0 h 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873" h="44">
                      <a:moveTo>
                        <a:pt x="864" y="0"/>
                      </a:moveTo>
                      <a:lnTo>
                        <a:pt x="873" y="0"/>
                      </a:lnTo>
                      <a:lnTo>
                        <a:pt x="873" y="44"/>
                      </a:lnTo>
                      <a:lnTo>
                        <a:pt x="872" y="44"/>
                      </a:lnTo>
                      <a:lnTo>
                        <a:pt x="872" y="21"/>
                      </a:lnTo>
                      <a:lnTo>
                        <a:pt x="861" y="18"/>
                      </a:lnTo>
                      <a:lnTo>
                        <a:pt x="864" y="0"/>
                      </a:lnTo>
                      <a:close/>
                      <a:moveTo>
                        <a:pt x="0" y="0"/>
                      </a:moveTo>
                      <a:lnTo>
                        <a:pt x="854" y="0"/>
                      </a:lnTo>
                      <a:lnTo>
                        <a:pt x="847" y="14"/>
                      </a:lnTo>
                      <a:lnTo>
                        <a:pt x="847" y="13"/>
                      </a:lnTo>
                      <a:lnTo>
                        <a:pt x="838" y="10"/>
                      </a:lnTo>
                      <a:lnTo>
                        <a:pt x="816" y="44"/>
                      </a:lnTo>
                      <a:lnTo>
                        <a:pt x="0" y="4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134" name="Rectangle 62"/>
                <p:cNvSpPr>
                  <a:spLocks noChangeArrowheads="1"/>
                </p:cNvSpPr>
                <p:nvPr/>
              </p:nvSpPr>
              <p:spPr bwMode="auto">
                <a:xfrm>
                  <a:off x="4610100" y="2846388"/>
                  <a:ext cx="3059113" cy="73025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135" name="Rectangle 63"/>
                <p:cNvSpPr>
                  <a:spLocks noChangeArrowheads="1"/>
                </p:cNvSpPr>
                <p:nvPr/>
              </p:nvSpPr>
              <p:spPr bwMode="auto">
                <a:xfrm>
                  <a:off x="4610100" y="2543175"/>
                  <a:ext cx="3059113" cy="74613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136" name="Rectangle 64"/>
                <p:cNvSpPr>
                  <a:spLocks noChangeArrowheads="1"/>
                </p:cNvSpPr>
                <p:nvPr/>
              </p:nvSpPr>
              <p:spPr bwMode="auto">
                <a:xfrm>
                  <a:off x="4610100" y="2693988"/>
                  <a:ext cx="3052763" cy="71438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  <p:sp>
              <p:nvSpPr>
                <p:cNvPr id="137" name="Rectangle 65"/>
                <p:cNvSpPr>
                  <a:spLocks noChangeArrowheads="1"/>
                </p:cNvSpPr>
                <p:nvPr/>
              </p:nvSpPr>
              <p:spPr bwMode="auto">
                <a:xfrm>
                  <a:off x="4610100" y="2100263"/>
                  <a:ext cx="3052763" cy="73025"/>
                </a:xfrm>
                <a:prstGeom prst="rect">
                  <a:avLst/>
                </a:prstGeom>
                <a:solidFill>
                  <a:sysClr val="window" lastClr="FFFFFF">
                    <a:lumMod val="85000"/>
                  </a:sysClr>
                </a:solidFill>
                <a:ln w="0">
                  <a:solidFill>
                    <a:sysClr val="window" lastClr="FFFFFF">
                      <a:lumMod val="85000"/>
                    </a:sysClr>
                  </a:solidFill>
                  <a:prstDash val="solid"/>
                  <a:miter lim="800000"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Franklin Gothic Book" panose="020B0503020102020204"/>
                  </a:endParaRPr>
                </a:p>
              </p:txBody>
            </p:sp>
          </p:grpSp>
        </p:grpSp>
        <p:grpSp>
          <p:nvGrpSpPr>
            <p:cNvPr id="106" name="Group 105"/>
            <p:cNvGrpSpPr/>
            <p:nvPr/>
          </p:nvGrpSpPr>
          <p:grpSpPr>
            <a:xfrm>
              <a:off x="925023" y="3631231"/>
              <a:ext cx="948934" cy="2713059"/>
              <a:chOff x="4799013" y="2959100"/>
              <a:chExt cx="1182687" cy="3381376"/>
            </a:xfrm>
          </p:grpSpPr>
          <p:sp>
            <p:nvSpPr>
              <p:cNvPr id="107" name="Freeform 52"/>
              <p:cNvSpPr>
                <a:spLocks/>
              </p:cNvSpPr>
              <p:nvPr/>
            </p:nvSpPr>
            <p:spPr bwMode="auto">
              <a:xfrm>
                <a:off x="4900613" y="3327400"/>
                <a:ext cx="1074738" cy="2752725"/>
              </a:xfrm>
              <a:custGeom>
                <a:avLst/>
                <a:gdLst>
                  <a:gd name="T0" fmla="*/ 511 w 677"/>
                  <a:gd name="T1" fmla="*/ 0 h 1734"/>
                  <a:gd name="T2" fmla="*/ 677 w 677"/>
                  <a:gd name="T3" fmla="*/ 50 h 1734"/>
                  <a:gd name="T4" fmla="*/ 167 w 677"/>
                  <a:gd name="T5" fmla="*/ 1734 h 1734"/>
                  <a:gd name="T6" fmla="*/ 0 w 677"/>
                  <a:gd name="T7" fmla="*/ 1683 h 1734"/>
                  <a:gd name="T8" fmla="*/ 511 w 677"/>
                  <a:gd name="T9" fmla="*/ 0 h 17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77" h="1734">
                    <a:moveTo>
                      <a:pt x="511" y="0"/>
                    </a:moveTo>
                    <a:lnTo>
                      <a:pt x="677" y="50"/>
                    </a:lnTo>
                    <a:lnTo>
                      <a:pt x="167" y="1734"/>
                    </a:lnTo>
                    <a:lnTo>
                      <a:pt x="0" y="1683"/>
                    </a:lnTo>
                    <a:lnTo>
                      <a:pt x="511" y="0"/>
                    </a:lnTo>
                    <a:close/>
                  </a:path>
                </a:pathLst>
              </a:custGeom>
              <a:solidFill>
                <a:srgbClr val="26867C"/>
              </a:solidFill>
              <a:ln w="0">
                <a:solidFill>
                  <a:srgbClr val="148BA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108" name="Freeform 53"/>
              <p:cNvSpPr>
                <a:spLocks/>
              </p:cNvSpPr>
              <p:nvPr/>
            </p:nvSpPr>
            <p:spPr bwMode="auto">
              <a:xfrm>
                <a:off x="5045074" y="3370264"/>
                <a:ext cx="936626" cy="2713039"/>
              </a:xfrm>
              <a:custGeom>
                <a:avLst/>
                <a:gdLst>
                  <a:gd name="T0" fmla="*/ 510 w 590"/>
                  <a:gd name="T1" fmla="*/ 0 h 1709"/>
                  <a:gd name="T2" fmla="*/ 590 w 590"/>
                  <a:gd name="T3" fmla="*/ 24 h 1709"/>
                  <a:gd name="T4" fmla="*/ 79 w 590"/>
                  <a:gd name="T5" fmla="*/ 1709 h 1709"/>
                  <a:gd name="T6" fmla="*/ 0 w 590"/>
                  <a:gd name="T7" fmla="*/ 1684 h 1709"/>
                  <a:gd name="T8" fmla="*/ 510 w 590"/>
                  <a:gd name="T9" fmla="*/ 0 h 17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90" h="1709">
                    <a:moveTo>
                      <a:pt x="510" y="0"/>
                    </a:moveTo>
                    <a:lnTo>
                      <a:pt x="590" y="24"/>
                    </a:lnTo>
                    <a:lnTo>
                      <a:pt x="79" y="1709"/>
                    </a:lnTo>
                    <a:lnTo>
                      <a:pt x="0" y="1684"/>
                    </a:lnTo>
                    <a:lnTo>
                      <a:pt x="510" y="0"/>
                    </a:lnTo>
                    <a:close/>
                  </a:path>
                </a:pathLst>
              </a:custGeom>
              <a:solidFill>
                <a:srgbClr val="26867C"/>
              </a:solidFill>
              <a:ln w="0">
                <a:solidFill>
                  <a:srgbClr val="148BA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109" name="Freeform 54"/>
              <p:cNvSpPr>
                <a:spLocks/>
              </p:cNvSpPr>
              <p:nvPr/>
            </p:nvSpPr>
            <p:spPr bwMode="auto">
              <a:xfrm>
                <a:off x="4799013" y="5757863"/>
                <a:ext cx="463550" cy="582613"/>
              </a:xfrm>
              <a:custGeom>
                <a:avLst/>
                <a:gdLst>
                  <a:gd name="T0" fmla="*/ 93 w 292"/>
                  <a:gd name="T1" fmla="*/ 0 h 367"/>
                  <a:gd name="T2" fmla="*/ 292 w 292"/>
                  <a:gd name="T3" fmla="*/ 61 h 367"/>
                  <a:gd name="T4" fmla="*/ 199 w 292"/>
                  <a:gd name="T5" fmla="*/ 367 h 367"/>
                  <a:gd name="T6" fmla="*/ 0 w 292"/>
                  <a:gd name="T7" fmla="*/ 307 h 367"/>
                  <a:gd name="T8" fmla="*/ 93 w 292"/>
                  <a:gd name="T9" fmla="*/ 0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92" h="367">
                    <a:moveTo>
                      <a:pt x="93" y="0"/>
                    </a:moveTo>
                    <a:lnTo>
                      <a:pt x="292" y="61"/>
                    </a:lnTo>
                    <a:lnTo>
                      <a:pt x="199" y="367"/>
                    </a:lnTo>
                    <a:lnTo>
                      <a:pt x="0" y="307"/>
                    </a:lnTo>
                    <a:lnTo>
                      <a:pt x="93" y="0"/>
                    </a:lnTo>
                    <a:close/>
                  </a:path>
                </a:pathLst>
              </a:custGeom>
              <a:solidFill>
                <a:srgbClr val="8F9095"/>
              </a:solidFill>
              <a:ln w="0">
                <a:solidFill>
                  <a:srgbClr val="8F9095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110" name="Freeform 55"/>
              <p:cNvSpPr>
                <a:spLocks/>
              </p:cNvSpPr>
              <p:nvPr/>
            </p:nvSpPr>
            <p:spPr bwMode="auto">
              <a:xfrm>
                <a:off x="5875338" y="2959100"/>
                <a:ext cx="87313" cy="209550"/>
              </a:xfrm>
              <a:custGeom>
                <a:avLst/>
                <a:gdLst>
                  <a:gd name="T0" fmla="*/ 55 w 55"/>
                  <a:gd name="T1" fmla="*/ 0 h 132"/>
                  <a:gd name="T2" fmla="*/ 40 w 55"/>
                  <a:gd name="T3" fmla="*/ 132 h 132"/>
                  <a:gd name="T4" fmla="*/ 0 w 55"/>
                  <a:gd name="T5" fmla="*/ 119 h 132"/>
                  <a:gd name="T6" fmla="*/ 55 w 55"/>
                  <a:gd name="T7" fmla="*/ 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55" h="132">
                    <a:moveTo>
                      <a:pt x="55" y="0"/>
                    </a:moveTo>
                    <a:lnTo>
                      <a:pt x="40" y="132"/>
                    </a:lnTo>
                    <a:lnTo>
                      <a:pt x="0" y="119"/>
                    </a:lnTo>
                    <a:lnTo>
                      <a:pt x="55" y="0"/>
                    </a:lnTo>
                    <a:close/>
                  </a:path>
                </a:pathLst>
              </a:custGeom>
              <a:solidFill>
                <a:srgbClr val="333333"/>
              </a:solidFill>
              <a:ln w="0">
                <a:solidFill>
                  <a:srgbClr val="333333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111" name="Rectangle 56"/>
              <p:cNvSpPr>
                <a:spLocks noChangeArrowheads="1"/>
              </p:cNvSpPr>
              <p:nvPr/>
            </p:nvSpPr>
            <p:spPr bwMode="auto">
              <a:xfrm>
                <a:off x="5967413" y="3152775"/>
                <a:ext cx="1588" cy="1588"/>
              </a:xfrm>
              <a:prstGeom prst="rect">
                <a:avLst/>
              </a:prstGeom>
              <a:solidFill>
                <a:srgbClr val="E8C27E"/>
              </a:solidFill>
              <a:ln w="0">
                <a:solidFill>
                  <a:srgbClr val="E8C27E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112" name="Freeform 57"/>
              <p:cNvSpPr>
                <a:spLocks/>
              </p:cNvSpPr>
              <p:nvPr/>
            </p:nvSpPr>
            <p:spPr bwMode="auto">
              <a:xfrm>
                <a:off x="5711825" y="3030538"/>
                <a:ext cx="263525" cy="376238"/>
              </a:xfrm>
              <a:custGeom>
                <a:avLst/>
                <a:gdLst>
                  <a:gd name="T0" fmla="*/ 128 w 166"/>
                  <a:gd name="T1" fmla="*/ 0 h 237"/>
                  <a:gd name="T2" fmla="*/ 162 w 166"/>
                  <a:gd name="T3" fmla="*/ 10 h 237"/>
                  <a:gd name="T4" fmla="*/ 166 w 166"/>
                  <a:gd name="T5" fmla="*/ 237 h 237"/>
                  <a:gd name="T6" fmla="*/ 0 w 166"/>
                  <a:gd name="T7" fmla="*/ 187 h 237"/>
                  <a:gd name="T8" fmla="*/ 128 w 166"/>
                  <a:gd name="T9" fmla="*/ 0 h 2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6" h="237">
                    <a:moveTo>
                      <a:pt x="128" y="0"/>
                    </a:moveTo>
                    <a:lnTo>
                      <a:pt x="162" y="10"/>
                    </a:lnTo>
                    <a:lnTo>
                      <a:pt x="166" y="237"/>
                    </a:lnTo>
                    <a:lnTo>
                      <a:pt x="0" y="187"/>
                    </a:lnTo>
                    <a:lnTo>
                      <a:pt x="128" y="0"/>
                    </a:lnTo>
                    <a:close/>
                  </a:path>
                </a:pathLst>
              </a:custGeom>
              <a:solidFill>
                <a:srgbClr val="BFBFBF"/>
              </a:solidFill>
              <a:ln w="0">
                <a:solidFill>
                  <a:srgbClr val="BFBFB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113" name="Freeform 58"/>
              <p:cNvSpPr>
                <a:spLocks/>
              </p:cNvSpPr>
              <p:nvPr/>
            </p:nvSpPr>
            <p:spPr bwMode="auto">
              <a:xfrm>
                <a:off x="5375275" y="3327400"/>
                <a:ext cx="606425" cy="1190625"/>
              </a:xfrm>
              <a:custGeom>
                <a:avLst/>
                <a:gdLst>
                  <a:gd name="T0" fmla="*/ 212 w 382"/>
                  <a:gd name="T1" fmla="*/ 0 h 750"/>
                  <a:gd name="T2" fmla="*/ 382 w 382"/>
                  <a:gd name="T3" fmla="*/ 51 h 750"/>
                  <a:gd name="T4" fmla="*/ 170 w 382"/>
                  <a:gd name="T5" fmla="*/ 750 h 750"/>
                  <a:gd name="T6" fmla="*/ 0 w 382"/>
                  <a:gd name="T7" fmla="*/ 699 h 750"/>
                  <a:gd name="T8" fmla="*/ 212 w 382"/>
                  <a:gd name="T9" fmla="*/ 0 h 7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82" h="750">
                    <a:moveTo>
                      <a:pt x="212" y="0"/>
                    </a:moveTo>
                    <a:lnTo>
                      <a:pt x="382" y="51"/>
                    </a:lnTo>
                    <a:lnTo>
                      <a:pt x="170" y="750"/>
                    </a:lnTo>
                    <a:lnTo>
                      <a:pt x="0" y="699"/>
                    </a:lnTo>
                    <a:lnTo>
                      <a:pt x="212" y="0"/>
                    </a:lnTo>
                    <a:close/>
                  </a:path>
                </a:pathLst>
              </a:custGeom>
              <a:solidFill>
                <a:srgbClr val="26867C"/>
              </a:solidFill>
              <a:ln w="0">
                <a:solidFill>
                  <a:srgbClr val="148BA2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114" name="Freeform 59"/>
              <p:cNvSpPr>
                <a:spLocks/>
              </p:cNvSpPr>
              <p:nvPr/>
            </p:nvSpPr>
            <p:spPr bwMode="auto">
              <a:xfrm>
                <a:off x="5757863" y="3033713"/>
                <a:ext cx="192088" cy="333375"/>
              </a:xfrm>
              <a:custGeom>
                <a:avLst/>
                <a:gdLst>
                  <a:gd name="T0" fmla="*/ 107 w 121"/>
                  <a:gd name="T1" fmla="*/ 0 h 210"/>
                  <a:gd name="T2" fmla="*/ 121 w 121"/>
                  <a:gd name="T3" fmla="*/ 4 h 210"/>
                  <a:gd name="T4" fmla="*/ 53 w 121"/>
                  <a:gd name="T5" fmla="*/ 210 h 210"/>
                  <a:gd name="T6" fmla="*/ 0 w 121"/>
                  <a:gd name="T7" fmla="*/ 193 h 210"/>
                  <a:gd name="T8" fmla="*/ 107 w 121"/>
                  <a:gd name="T9" fmla="*/ 0 h 2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21" h="210">
                    <a:moveTo>
                      <a:pt x="107" y="0"/>
                    </a:moveTo>
                    <a:lnTo>
                      <a:pt x="121" y="4"/>
                    </a:lnTo>
                    <a:lnTo>
                      <a:pt x="53" y="210"/>
                    </a:lnTo>
                    <a:lnTo>
                      <a:pt x="0" y="193"/>
                    </a:lnTo>
                    <a:lnTo>
                      <a:pt x="107" y="0"/>
                    </a:lnTo>
                    <a:close/>
                  </a:path>
                </a:pathLst>
              </a:custGeom>
              <a:solidFill>
                <a:srgbClr val="E8E8E8"/>
              </a:solidFill>
              <a:ln w="0">
                <a:solidFill>
                  <a:srgbClr val="E8E8E8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115" name="Freeform 60"/>
              <p:cNvSpPr>
                <a:spLocks/>
              </p:cNvSpPr>
              <p:nvPr/>
            </p:nvSpPr>
            <p:spPr bwMode="auto">
              <a:xfrm>
                <a:off x="4799013" y="6157913"/>
                <a:ext cx="342900" cy="182563"/>
              </a:xfrm>
              <a:custGeom>
                <a:avLst/>
                <a:gdLst>
                  <a:gd name="T0" fmla="*/ 17 w 216"/>
                  <a:gd name="T1" fmla="*/ 0 h 115"/>
                  <a:gd name="T2" fmla="*/ 216 w 216"/>
                  <a:gd name="T3" fmla="*/ 60 h 115"/>
                  <a:gd name="T4" fmla="*/ 199 w 216"/>
                  <a:gd name="T5" fmla="*/ 115 h 115"/>
                  <a:gd name="T6" fmla="*/ 0 w 216"/>
                  <a:gd name="T7" fmla="*/ 55 h 115"/>
                  <a:gd name="T8" fmla="*/ 17 w 216"/>
                  <a:gd name="T9" fmla="*/ 0 h 1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16" h="115">
                    <a:moveTo>
                      <a:pt x="17" y="0"/>
                    </a:moveTo>
                    <a:lnTo>
                      <a:pt x="216" y="60"/>
                    </a:lnTo>
                    <a:lnTo>
                      <a:pt x="199" y="115"/>
                    </a:lnTo>
                    <a:lnTo>
                      <a:pt x="0" y="55"/>
                    </a:lnTo>
                    <a:lnTo>
                      <a:pt x="17" y="0"/>
                    </a:lnTo>
                    <a:close/>
                  </a:path>
                </a:pathLst>
              </a:custGeom>
              <a:solidFill>
                <a:srgbClr val="7F7F7F"/>
              </a:solidFill>
              <a:ln w="0">
                <a:solidFill>
                  <a:srgbClr val="7F7F7F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  <p:sp>
            <p:nvSpPr>
              <p:cNvPr id="116" name="Freeform 61"/>
              <p:cNvSpPr>
                <a:spLocks/>
              </p:cNvSpPr>
              <p:nvPr/>
            </p:nvSpPr>
            <p:spPr bwMode="auto">
              <a:xfrm>
                <a:off x="4918075" y="5319713"/>
                <a:ext cx="379413" cy="1000125"/>
              </a:xfrm>
              <a:custGeom>
                <a:avLst/>
                <a:gdLst>
                  <a:gd name="T0" fmla="*/ 186 w 239"/>
                  <a:gd name="T1" fmla="*/ 0 h 630"/>
                  <a:gd name="T2" fmla="*/ 239 w 239"/>
                  <a:gd name="T3" fmla="*/ 16 h 630"/>
                  <a:gd name="T4" fmla="*/ 53 w 239"/>
                  <a:gd name="T5" fmla="*/ 630 h 630"/>
                  <a:gd name="T6" fmla="*/ 0 w 239"/>
                  <a:gd name="T7" fmla="*/ 613 h 630"/>
                  <a:gd name="T8" fmla="*/ 186 w 239"/>
                  <a:gd name="T9" fmla="*/ 0 h 6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39" h="630">
                    <a:moveTo>
                      <a:pt x="186" y="0"/>
                    </a:moveTo>
                    <a:lnTo>
                      <a:pt x="239" y="16"/>
                    </a:lnTo>
                    <a:lnTo>
                      <a:pt x="53" y="630"/>
                    </a:lnTo>
                    <a:lnTo>
                      <a:pt x="0" y="613"/>
                    </a:lnTo>
                    <a:lnTo>
                      <a:pt x="186" y="0"/>
                    </a:lnTo>
                    <a:close/>
                  </a:path>
                </a:pathLst>
              </a:custGeom>
              <a:solidFill>
                <a:sysClr val="window" lastClr="FFFFFF">
                  <a:lumMod val="75000"/>
                </a:sysClr>
              </a:solidFill>
              <a:ln w="0">
                <a:solidFill>
                  <a:sysClr val="window" lastClr="FFFFFF">
                    <a:lumMod val="75000"/>
                  </a:sysClr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Franklin Gothic Book" panose="020B0503020102020204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1518556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25</TotalTime>
  <Words>1628</Words>
  <Application>Microsoft Office PowerPoint</Application>
  <PresentationFormat>Widescreen</PresentationFormat>
  <Paragraphs>268</Paragraphs>
  <Slides>28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3" baseType="lpstr">
      <vt:lpstr>Arial</vt:lpstr>
      <vt:lpstr>Calibri</vt:lpstr>
      <vt:lpstr>Franklin Gothic Book</vt:lpstr>
      <vt:lpstr>Office Theme</vt:lpstr>
      <vt:lpstr>think-cell Slide</vt:lpstr>
      <vt:lpstr>PowerPoint Presentation</vt:lpstr>
      <vt:lpstr>Business and Family Mediations</vt:lpstr>
      <vt:lpstr>INTRODUCTION</vt:lpstr>
      <vt:lpstr>FIRST LEVEL CONSIDERATIONS (Only a baseline to begin communicating)</vt:lpstr>
      <vt:lpstr>HOW WILL ASSETS BE DIVIDED</vt:lpstr>
      <vt:lpstr>BENEFITS OF PRENUTIAL AGREEMENT</vt:lpstr>
      <vt:lpstr>BENEFITS OF PRENUTIAL AGREEMENT</vt:lpstr>
      <vt:lpstr>FACTORS DURING THE MARRIAGE TO CONSIDER</vt:lpstr>
      <vt:lpstr>POST NUPTIAL AGREEMENTS</vt:lpstr>
      <vt:lpstr>MORE REASONS WHY THEY ARE OFTEN CRUCIAL</vt:lpstr>
      <vt:lpstr>ACCEPTANCE OF MARITAL AGREEMENTS</vt:lpstr>
      <vt:lpstr>UNIFORM PREMARITAL AGREEMENT ACT SUMMARY</vt:lpstr>
      <vt:lpstr>ENFORCEABILITY OF MARITAL AGREEMENTS</vt:lpstr>
      <vt:lpstr>DRAFTING AN EFFECTIVE MARITAL AGREEMENT (CHOICE OF LAW)</vt:lpstr>
      <vt:lpstr>DIFFICULTIES IN DRAFTING A MARITAL AGREEMENT</vt:lpstr>
      <vt:lpstr>FINANCIAL DISCLOSURE</vt:lpstr>
      <vt:lpstr>BACK UP INFORMATION</vt:lpstr>
      <vt:lpstr>ASSETS DIFFICULT TO VALUE</vt:lpstr>
      <vt:lpstr>MORE ASSETS TO BE ANALYZED</vt:lpstr>
      <vt:lpstr>ADVISOR REPRESENTATION</vt:lpstr>
      <vt:lpstr>CONSIDERATIONS REGARDING RETIREMENT BENEFITS</vt:lpstr>
      <vt:lpstr>ADDITIONAL CONSIDERATIONS</vt:lpstr>
      <vt:lpstr>ESTATE PLANNING PROVISIONS</vt:lpstr>
      <vt:lpstr>ALTERNATIVES TO A PRENUPTIAL AGREEMENT</vt:lpstr>
      <vt:lpstr>IRREVOCABLE TRUST &amp; FAMILY LLC</vt:lpstr>
      <vt:lpstr>COMMENTS ON MARITAL AGREEMENT BENEFITS</vt:lpstr>
      <vt:lpstr>RECITALS IN THE AGREEMENT</vt:lpstr>
      <vt:lpstr>CONCLUSION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mandeep Singh</dc:creator>
  <cp:lastModifiedBy>Alan Silva</cp:lastModifiedBy>
  <cp:revision>152</cp:revision>
  <dcterms:created xsi:type="dcterms:W3CDTF">2018-04-17T07:46:45Z</dcterms:created>
  <dcterms:modified xsi:type="dcterms:W3CDTF">2020-01-24T00:18:47Z</dcterms:modified>
</cp:coreProperties>
</file>